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5" r:id="rId2"/>
  </p:sldMasterIdLst>
  <p:notesMasterIdLst>
    <p:notesMasterId r:id="rId31"/>
  </p:notesMasterIdLst>
  <p:handoutMasterIdLst>
    <p:handoutMasterId r:id="rId32"/>
  </p:handoutMasterIdLst>
  <p:sldIdLst>
    <p:sldId id="514" r:id="rId3"/>
    <p:sldId id="485" r:id="rId4"/>
    <p:sldId id="537" r:id="rId5"/>
    <p:sldId id="535" r:id="rId6"/>
    <p:sldId id="533" r:id="rId7"/>
    <p:sldId id="541" r:id="rId8"/>
    <p:sldId id="489" r:id="rId9"/>
    <p:sldId id="441" r:id="rId10"/>
    <p:sldId id="505" r:id="rId11"/>
    <p:sldId id="504" r:id="rId12"/>
    <p:sldId id="506" r:id="rId13"/>
    <p:sldId id="507" r:id="rId14"/>
    <p:sldId id="508" r:id="rId15"/>
    <p:sldId id="494" r:id="rId16"/>
    <p:sldId id="540" r:id="rId17"/>
    <p:sldId id="510" r:id="rId18"/>
    <p:sldId id="502" r:id="rId19"/>
    <p:sldId id="543" r:id="rId20"/>
    <p:sldId id="542" r:id="rId21"/>
    <p:sldId id="513" r:id="rId22"/>
    <p:sldId id="545" r:id="rId23"/>
    <p:sldId id="544" r:id="rId24"/>
    <p:sldId id="546" r:id="rId25"/>
    <p:sldId id="547" r:id="rId26"/>
    <p:sldId id="548" r:id="rId27"/>
    <p:sldId id="549" r:id="rId28"/>
    <p:sldId id="550" r:id="rId29"/>
    <p:sldId id="501" r:id="rId30"/>
  </p:sldIdLst>
  <p:sldSz cx="12192000" cy="6858000"/>
  <p:notesSz cx="6858000" cy="9144000"/>
  <p:custDataLst>
    <p:tags r:id="rId3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efaEv1lqEo3gXjjSPN4iWQ==" hashData="eF36FyP4VZpI730zCPU0toazYQ03GC0xG5aEQrClISIEcYir189wI5Z2LuPzgC1Dosji3CkkMthKh7LTTiWDzQ=="/>
  <p:extLst>
    <p:ext uri="{EFAFB233-063F-42B5-8137-9DF3F51BA10A}">
      <p15:sldGuideLst xmlns:p15="http://schemas.microsoft.com/office/powerpoint/2012/main">
        <p15:guide id="1" pos="277" userDrawn="1">
          <p15:clr>
            <a:srgbClr val="A4A3A4"/>
          </p15:clr>
        </p15:guide>
        <p15:guide id="2" pos="740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23B"/>
    <a:srgbClr val="867D76"/>
    <a:srgbClr val="FD2F6A"/>
    <a:srgbClr val="FD0F53"/>
    <a:srgbClr val="FE729A"/>
    <a:srgbClr val="BE4059"/>
    <a:srgbClr val="C74037"/>
    <a:srgbClr val="FFFFFF"/>
    <a:srgbClr val="78698F"/>
    <a:srgbClr val="72E4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58" autoAdjust="0"/>
    <p:restoredTop sz="88946" autoAdjust="0"/>
  </p:normalViewPr>
  <p:slideViewPr>
    <p:cSldViewPr>
      <p:cViewPr varScale="1">
        <p:scale>
          <a:sx n="80" d="100"/>
          <a:sy n="80" d="100"/>
        </p:scale>
        <p:origin x="1062" y="78"/>
      </p:cViewPr>
      <p:guideLst>
        <p:guide pos="277"/>
        <p:guide pos="7400"/>
        <p:guide orient="horz" pos="2160"/>
      </p:guideLst>
    </p:cSldViewPr>
  </p:slideViewPr>
  <p:notesTextViewPr>
    <p:cViewPr>
      <p:scale>
        <a:sx n="75" d="100"/>
        <a:sy n="75" d="100"/>
      </p:scale>
      <p:origin x="0" y="0"/>
    </p:cViewPr>
  </p:notesTextViewPr>
  <p:sorterViewPr>
    <p:cViewPr>
      <p:scale>
        <a:sx n="100" d="100"/>
        <a:sy n="100" d="100"/>
      </p:scale>
      <p:origin x="0" y="-6883"/>
    </p:cViewPr>
  </p:sorterViewPr>
  <p:notesViewPr>
    <p:cSldViewPr>
      <p:cViewPr varScale="1">
        <p:scale>
          <a:sx n="76" d="100"/>
          <a:sy n="76" d="100"/>
        </p:scale>
        <p:origin x="4008" y="96"/>
      </p:cViewPr>
      <p:guideLst/>
    </p:cSldViewPr>
  </p:notesViewPr>
  <p:gridSpacing cx="180000" cy="1800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F263D65D-6EB9-4C3C-A9CB-8B7C9B878C6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a:extLst>
              <a:ext uri="{FF2B5EF4-FFF2-40B4-BE49-F238E27FC236}">
                <a16:creationId xmlns:a16="http://schemas.microsoft.com/office/drawing/2014/main" id="{0EE5F528-F4C5-4CD3-9FDC-2DD4737B688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36E6D51-555F-4558-B708-B61FADE6606C}" type="slidenum">
              <a:rPr lang="fr-FR" smtClean="0"/>
              <a:t>‹#›</a:t>
            </a:fld>
            <a:endParaRPr lang="fr-FR" dirty="0"/>
          </a:p>
        </p:txBody>
      </p:sp>
      <p:pic>
        <p:nvPicPr>
          <p:cNvPr id="8" name="Image 7">
            <a:extLst>
              <a:ext uri="{FF2B5EF4-FFF2-40B4-BE49-F238E27FC236}">
                <a16:creationId xmlns:a16="http://schemas.microsoft.com/office/drawing/2014/main" id="{7BF51FE8-4002-4DFC-B899-5AD0C0C1776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125919" y="229394"/>
            <a:ext cx="606160" cy="606158"/>
          </a:xfrm>
          <a:prstGeom prst="rect">
            <a:avLst/>
          </a:prstGeom>
        </p:spPr>
      </p:pic>
    </p:spTree>
    <p:extLst>
      <p:ext uri="{BB962C8B-B14F-4D97-AF65-F5344CB8AC3E}">
        <p14:creationId xmlns:p14="http://schemas.microsoft.com/office/powerpoint/2010/main" val="30359209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635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75DDB6-6C2D-4324-AFAA-53CE2C665ABD}" type="slidenum">
              <a:rPr lang="fr-FR" smtClean="0"/>
              <a:t>‹#›</a:t>
            </a:fld>
            <a:endParaRPr lang="fr-FR" dirty="0"/>
          </a:p>
        </p:txBody>
      </p:sp>
      <p:pic>
        <p:nvPicPr>
          <p:cNvPr id="8" name="Image 7">
            <a:extLst>
              <a:ext uri="{FF2B5EF4-FFF2-40B4-BE49-F238E27FC236}">
                <a16:creationId xmlns:a16="http://schemas.microsoft.com/office/drawing/2014/main" id="{BB952902-CCDE-43F6-88A7-2AA0188DAC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5919" y="229394"/>
            <a:ext cx="606160" cy="606158"/>
          </a:xfrm>
          <a:prstGeom prst="rect">
            <a:avLst/>
          </a:prstGeom>
        </p:spPr>
      </p:pic>
    </p:spTree>
    <p:extLst>
      <p:ext uri="{BB962C8B-B14F-4D97-AF65-F5344CB8AC3E}">
        <p14:creationId xmlns:p14="http://schemas.microsoft.com/office/powerpoint/2010/main" val="7137461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275DDB6-6C2D-4324-AFAA-53CE2C665ABD}" type="slidenum">
              <a:rPr lang="fr-FR" smtClean="0"/>
              <a:t>1</a:t>
            </a:fld>
            <a:endParaRPr lang="fr-FR" dirty="0"/>
          </a:p>
        </p:txBody>
      </p:sp>
    </p:spTree>
    <p:extLst>
      <p:ext uri="{BB962C8B-B14F-4D97-AF65-F5344CB8AC3E}">
        <p14:creationId xmlns:p14="http://schemas.microsoft.com/office/powerpoint/2010/main" val="2053747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7F7C889-8994-45AC-B68A-07971EB87465}" type="slidenum">
              <a:rPr lang="fr-FR"/>
              <a:pPr/>
              <a:t>28</a:t>
            </a:fld>
            <a:endParaRPr lang="fr-FR"/>
          </a:p>
        </p:txBody>
      </p:sp>
      <p:sp>
        <p:nvSpPr>
          <p:cNvPr id="1104901" name="Rectangle 5"/>
          <p:cNvSpPr>
            <a:spLocks noGrp="1" noRot="1" noChangeAspect="1" noChangeArrowheads="1" noTextEdit="1"/>
          </p:cNvSpPr>
          <p:nvPr>
            <p:ph type="sldImg"/>
          </p:nvPr>
        </p:nvSpPr>
        <p:spPr>
          <a:ln/>
        </p:spPr>
      </p:sp>
      <p:sp>
        <p:nvSpPr>
          <p:cNvPr id="1104902" name="Rectangle 6"/>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044830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275DDB6-6C2D-4324-AFAA-53CE2C665ABD}" type="slidenum">
              <a:rPr lang="fr-FR" smtClean="0"/>
              <a:t>2</a:t>
            </a:fld>
            <a:endParaRPr lang="fr-FR" dirty="0"/>
          </a:p>
        </p:txBody>
      </p:sp>
    </p:spTree>
    <p:extLst>
      <p:ext uri="{BB962C8B-B14F-4D97-AF65-F5344CB8AC3E}">
        <p14:creationId xmlns:p14="http://schemas.microsoft.com/office/powerpoint/2010/main" val="2124695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275DDB6-6C2D-4324-AFAA-53CE2C665ABD}" type="slidenum">
              <a:rPr lang="fr-FR" smtClean="0">
                <a:solidFill>
                  <a:prstClr val="black"/>
                </a:solidFill>
              </a:rPr>
              <a:pPr/>
              <a:t>6</a:t>
            </a:fld>
            <a:endParaRPr lang="fr-FR">
              <a:solidFill>
                <a:prstClr val="black"/>
              </a:solidFill>
            </a:endParaRPr>
          </a:p>
        </p:txBody>
      </p:sp>
    </p:spTree>
    <p:extLst>
      <p:ext uri="{BB962C8B-B14F-4D97-AF65-F5344CB8AC3E}">
        <p14:creationId xmlns:p14="http://schemas.microsoft.com/office/powerpoint/2010/main" val="1700294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275DDB6-6C2D-4324-AFAA-53CE2C665ABD}" type="slidenum">
              <a:rPr lang="fr-FR" smtClean="0"/>
              <a:t>7</a:t>
            </a:fld>
            <a:endParaRPr lang="fr-FR" dirty="0"/>
          </a:p>
        </p:txBody>
      </p:sp>
    </p:spTree>
    <p:extLst>
      <p:ext uri="{BB962C8B-B14F-4D97-AF65-F5344CB8AC3E}">
        <p14:creationId xmlns:p14="http://schemas.microsoft.com/office/powerpoint/2010/main" val="2838237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275DDB6-6C2D-4324-AFAA-53CE2C665ABD}" type="slidenum">
              <a:rPr lang="fr-FR" smtClean="0"/>
              <a:t>8</a:t>
            </a:fld>
            <a:endParaRPr lang="fr-FR" dirty="0"/>
          </a:p>
        </p:txBody>
      </p:sp>
    </p:spTree>
    <p:extLst>
      <p:ext uri="{BB962C8B-B14F-4D97-AF65-F5344CB8AC3E}">
        <p14:creationId xmlns:p14="http://schemas.microsoft.com/office/powerpoint/2010/main" val="2544531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275DDB6-6C2D-4324-AFAA-53CE2C665ABD}" type="slidenum">
              <a:rPr lang="fr-FR" smtClean="0"/>
              <a:t>14</a:t>
            </a:fld>
            <a:endParaRPr lang="fr-FR" dirty="0"/>
          </a:p>
        </p:txBody>
      </p:sp>
    </p:spTree>
    <p:extLst>
      <p:ext uri="{BB962C8B-B14F-4D97-AF65-F5344CB8AC3E}">
        <p14:creationId xmlns:p14="http://schemas.microsoft.com/office/powerpoint/2010/main" val="182607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B275DDB6-6C2D-4324-AFAA-53CE2C665ABD}" type="slidenum">
              <a:rPr lang="fr-FR" smtClean="0"/>
              <a:t>15</a:t>
            </a:fld>
            <a:endParaRPr lang="fr-FR" dirty="0"/>
          </a:p>
        </p:txBody>
      </p:sp>
    </p:spTree>
    <p:extLst>
      <p:ext uri="{BB962C8B-B14F-4D97-AF65-F5344CB8AC3E}">
        <p14:creationId xmlns:p14="http://schemas.microsoft.com/office/powerpoint/2010/main" val="3102980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275DDB6-6C2D-4324-AFAA-53CE2C665ABD}" type="slidenum">
              <a:rPr lang="fr-FR" smtClean="0"/>
              <a:t>18</a:t>
            </a:fld>
            <a:endParaRPr lang="fr-FR" dirty="0"/>
          </a:p>
        </p:txBody>
      </p:sp>
    </p:spTree>
    <p:extLst>
      <p:ext uri="{BB962C8B-B14F-4D97-AF65-F5344CB8AC3E}">
        <p14:creationId xmlns:p14="http://schemas.microsoft.com/office/powerpoint/2010/main" val="1872141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B275DDB6-6C2D-4324-AFAA-53CE2C665ABD}" type="slidenum">
              <a:rPr lang="fr-FR" smtClean="0"/>
              <a:t>20</a:t>
            </a:fld>
            <a:endParaRPr lang="fr-FR" dirty="0"/>
          </a:p>
        </p:txBody>
      </p:sp>
    </p:spTree>
    <p:extLst>
      <p:ext uri="{BB962C8B-B14F-4D97-AF65-F5344CB8AC3E}">
        <p14:creationId xmlns:p14="http://schemas.microsoft.com/office/powerpoint/2010/main" val="364163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F03F152-E288-4FFE-9759-C7057D6B6C73}"/>
              </a:ext>
            </a:extLst>
          </p:cNvPr>
          <p:cNvSpPr/>
          <p:nvPr userDrawn="1"/>
        </p:nvSpPr>
        <p:spPr>
          <a:xfrm>
            <a:off x="0" y="0"/>
            <a:ext cx="26379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 name="Titre 1">
            <a:extLst>
              <a:ext uri="{FF2B5EF4-FFF2-40B4-BE49-F238E27FC236}">
                <a16:creationId xmlns:a16="http://schemas.microsoft.com/office/drawing/2014/main" id="{913F60E8-1574-4674-BB0C-C4378F37B13D}"/>
              </a:ext>
            </a:extLst>
          </p:cNvPr>
          <p:cNvSpPr>
            <a:spLocks noGrp="1"/>
          </p:cNvSpPr>
          <p:nvPr>
            <p:ph type="ctrTitle" hasCustomPrompt="1"/>
          </p:nvPr>
        </p:nvSpPr>
        <p:spPr>
          <a:xfrm>
            <a:off x="3035999" y="2390226"/>
            <a:ext cx="8981248" cy="2114920"/>
          </a:xfrm>
          <a:noFill/>
        </p:spPr>
        <p:txBody>
          <a:bodyPr anchor="ctr">
            <a:normAutofit/>
          </a:bodyPr>
          <a:lstStyle>
            <a:lvl1pPr algn="l">
              <a:lnSpc>
                <a:spcPct val="90000"/>
              </a:lnSpc>
              <a:defRPr sz="4800">
                <a:solidFill>
                  <a:schemeClr val="bg1"/>
                </a:solidFill>
              </a:defRPr>
            </a:lvl1pPr>
          </a:lstStyle>
          <a:p>
            <a:r>
              <a:rPr lang="en-GB" dirty="0"/>
              <a:t>Titre de la </a:t>
            </a:r>
            <a:r>
              <a:rPr lang="en-GB" dirty="0" err="1"/>
              <a:t>présentation</a:t>
            </a:r>
            <a:endParaRPr lang="en-GB" dirty="0"/>
          </a:p>
        </p:txBody>
      </p:sp>
      <p:sp>
        <p:nvSpPr>
          <p:cNvPr id="10" name="Rectangle 9">
            <a:extLst>
              <a:ext uri="{FF2B5EF4-FFF2-40B4-BE49-F238E27FC236}">
                <a16:creationId xmlns:a16="http://schemas.microsoft.com/office/drawing/2014/main" id="{97906B3A-BEF9-459F-A2ED-B20D9CDC8FD8}"/>
              </a:ext>
            </a:extLst>
          </p:cNvPr>
          <p:cNvSpPr/>
          <p:nvPr userDrawn="1"/>
        </p:nvSpPr>
        <p:spPr>
          <a:xfrm>
            <a:off x="2637900" y="2390226"/>
            <a:ext cx="119063" cy="2053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pic>
        <p:nvPicPr>
          <p:cNvPr id="12" name="Image 11">
            <a:extLst>
              <a:ext uri="{FF2B5EF4-FFF2-40B4-BE49-F238E27FC236}">
                <a16:creationId xmlns:a16="http://schemas.microsoft.com/office/drawing/2014/main" id="{9D0EAE64-CA23-4F7B-8DC6-E3740CD75C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0792" y="2559637"/>
            <a:ext cx="1369458" cy="1696062"/>
          </a:xfrm>
          <a:prstGeom prst="rect">
            <a:avLst/>
          </a:prstGeom>
        </p:spPr>
      </p:pic>
      <p:sp>
        <p:nvSpPr>
          <p:cNvPr id="14" name="Espace réservé de la date 13">
            <a:extLst>
              <a:ext uri="{FF2B5EF4-FFF2-40B4-BE49-F238E27FC236}">
                <a16:creationId xmlns:a16="http://schemas.microsoft.com/office/drawing/2014/main" id="{DFA46C24-5486-4DD8-B19C-E170EC70485A}"/>
              </a:ext>
            </a:extLst>
          </p:cNvPr>
          <p:cNvSpPr>
            <a:spLocks noGrp="1"/>
          </p:cNvSpPr>
          <p:nvPr>
            <p:ph type="dt" sz="half" idx="11"/>
          </p:nvPr>
        </p:nvSpPr>
        <p:spPr>
          <a:xfrm>
            <a:off x="3036000" y="2135977"/>
            <a:ext cx="763029" cy="138499"/>
          </a:xfrm>
        </p:spPr>
        <p:txBody>
          <a:bodyPr wrap="none" lIns="0" tIns="0" rIns="0" bIns="0">
            <a:spAutoFit/>
          </a:bodyPr>
          <a:lstStyle>
            <a:lvl1pPr>
              <a:defRPr sz="900" spc="300">
                <a:solidFill>
                  <a:schemeClr val="bg1"/>
                </a:solidFill>
              </a:defRPr>
            </a:lvl1pPr>
          </a:lstStyle>
          <a:p>
            <a:fld id="{EF89F9DA-405E-48EC-8555-B0874A1A363D}" type="datetime6">
              <a:rPr lang="en-GB" smtClean="0"/>
              <a:t>January 24</a:t>
            </a:fld>
            <a:endParaRPr lang="en-GB" dirty="0"/>
          </a:p>
        </p:txBody>
      </p:sp>
      <p:sp>
        <p:nvSpPr>
          <p:cNvPr id="11" name="Espace réservé du pied de page 3">
            <a:extLst>
              <a:ext uri="{FF2B5EF4-FFF2-40B4-BE49-F238E27FC236}">
                <a16:creationId xmlns:a16="http://schemas.microsoft.com/office/drawing/2014/main" id="{96703941-FFD7-41CF-87D6-F2B2F6EBB3E9}"/>
              </a:ext>
            </a:extLst>
          </p:cNvPr>
          <p:cNvSpPr>
            <a:spLocks noGrp="1"/>
          </p:cNvSpPr>
          <p:nvPr>
            <p:ph type="ftr" sz="quarter" idx="3"/>
          </p:nvPr>
        </p:nvSpPr>
        <p:spPr>
          <a:xfrm>
            <a:off x="4128903" y="2135976"/>
            <a:ext cx="2688854" cy="13849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wrap="none" lIns="180000" tIns="0" rIns="0" bIns="0" rtlCol="0" anchor="ctr">
            <a:spAutoFit/>
          </a:bodyPr>
          <a:lstStyle>
            <a:lvl1pPr>
              <a:defRPr lang="fr-FR" spc="300" smtClean="0">
                <a:solidFill>
                  <a:schemeClr val="bg1"/>
                </a:solidFill>
              </a:defRPr>
            </a:lvl1pPr>
          </a:lstStyle>
          <a:p>
            <a:r>
              <a:rPr lang="en-GB" dirty="0"/>
              <a:t>NAME OF THE PRESENTATION</a:t>
            </a:r>
          </a:p>
        </p:txBody>
      </p:sp>
    </p:spTree>
    <p:extLst>
      <p:ext uri="{BB962C8B-B14F-4D97-AF65-F5344CB8AC3E}">
        <p14:creationId xmlns:p14="http://schemas.microsoft.com/office/powerpoint/2010/main" val="11259949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 the left">
    <p:spTree>
      <p:nvGrpSpPr>
        <p:cNvPr id="1" name=""/>
        <p:cNvGrpSpPr/>
        <p:nvPr/>
      </p:nvGrpSpPr>
      <p:grpSpPr>
        <a:xfrm>
          <a:off x="0" y="0"/>
          <a:ext cx="0" cy="0"/>
          <a:chOff x="0" y="0"/>
          <a:chExt cx="0" cy="0"/>
        </a:xfrm>
      </p:grpSpPr>
      <p:sp>
        <p:nvSpPr>
          <p:cNvPr id="8" name="Espace réservé du pied de page 7">
            <a:extLst>
              <a:ext uri="{FF2B5EF4-FFF2-40B4-BE49-F238E27FC236}">
                <a16:creationId xmlns:a16="http://schemas.microsoft.com/office/drawing/2014/main" id="{96112FCB-C59D-4EF8-A3F4-220DFAEE32CC}"/>
              </a:ext>
            </a:extLst>
          </p:cNvPr>
          <p:cNvSpPr>
            <a:spLocks noGrp="1"/>
          </p:cNvSpPr>
          <p:nvPr>
            <p:ph type="ftr" sz="quarter" idx="11"/>
          </p:nvPr>
        </p:nvSpPr>
        <p:spPr/>
        <p:txBody>
          <a:bodyPr/>
          <a:lstStyle/>
          <a:p>
            <a:r>
              <a:rPr lang="en-GB" dirty="0"/>
              <a:t>CPS INTRODUCTION – NOVEMBER 2018</a:t>
            </a:r>
          </a:p>
        </p:txBody>
      </p:sp>
      <p:sp>
        <p:nvSpPr>
          <p:cNvPr id="9" name="Espace réservé du numéro de diapositive 8">
            <a:extLst>
              <a:ext uri="{FF2B5EF4-FFF2-40B4-BE49-F238E27FC236}">
                <a16:creationId xmlns:a16="http://schemas.microsoft.com/office/drawing/2014/main" id="{9141CAEB-FEF2-4B0D-BD8C-1A6D6A4388A6}"/>
              </a:ext>
            </a:extLst>
          </p:cNvPr>
          <p:cNvSpPr>
            <a:spLocks noGrp="1"/>
          </p:cNvSpPr>
          <p:nvPr>
            <p:ph type="sldNum" sz="quarter" idx="12"/>
          </p:nvPr>
        </p:nvSpPr>
        <p:spPr/>
        <p:txBody>
          <a:bodyPr/>
          <a:lstStyle/>
          <a:p>
            <a:r>
              <a:rPr lang="en-GB" dirty="0"/>
              <a:t>Slide / </a:t>
            </a:r>
            <a:fld id="{3EA6A558-C4CA-4506-B5EC-E793D5AE9532}" type="slidenum">
              <a:rPr lang="en-GB" smtClean="0"/>
              <a:pPr/>
              <a:t>‹#›</a:t>
            </a:fld>
            <a:endParaRPr lang="en-GB" dirty="0"/>
          </a:p>
        </p:txBody>
      </p:sp>
      <p:sp>
        <p:nvSpPr>
          <p:cNvPr id="11" name="Title 1">
            <a:extLst>
              <a:ext uri="{FF2B5EF4-FFF2-40B4-BE49-F238E27FC236}">
                <a16:creationId xmlns:a16="http://schemas.microsoft.com/office/drawing/2014/main" id="{DEAE1897-35B6-4A8D-8FD9-605CBF4DF6EF}"/>
              </a:ext>
            </a:extLst>
          </p:cNvPr>
          <p:cNvSpPr>
            <a:spLocks noGrp="1"/>
          </p:cNvSpPr>
          <p:nvPr>
            <p:ph type="title"/>
          </p:nvPr>
        </p:nvSpPr>
        <p:spPr>
          <a:xfrm>
            <a:off x="336000" y="169579"/>
            <a:ext cx="11520000" cy="1125821"/>
          </a:xfrm>
          <a:blipFill>
            <a:blip r:embed="rId2" cstate="screen">
              <a:extLst>
                <a:ext uri="{28A0092B-C50C-407E-A947-70E740481C1C}">
                  <a14:useLocalDpi xmlns:a14="http://schemas.microsoft.com/office/drawing/2010/main"/>
                </a:ext>
              </a:extLst>
            </a:blip>
            <a:stretch>
              <a:fillRect l="938" r="-938"/>
            </a:stretch>
          </a:blipFill>
        </p:spPr>
        <p:txBody>
          <a:bodyPr tIns="108000" bIns="0" anchor="t">
            <a:noAutofit/>
          </a:bodyPr>
          <a:lstStyle>
            <a:lvl1pPr>
              <a:lnSpc>
                <a:spcPct val="90000"/>
              </a:lnSpc>
              <a:defRPr/>
            </a:lvl1pPr>
          </a:lstStyle>
          <a:p>
            <a:r>
              <a:rPr lang="en-GB"/>
              <a:t>Modifiez le style du titre</a:t>
            </a:r>
            <a:endParaRPr lang="en-GB" dirty="0"/>
          </a:p>
        </p:txBody>
      </p:sp>
    </p:spTree>
    <p:extLst>
      <p:ext uri="{BB962C8B-B14F-4D97-AF65-F5344CB8AC3E}">
        <p14:creationId xmlns:p14="http://schemas.microsoft.com/office/powerpoint/2010/main" val="3962154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in the 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3A0EE0-E236-48CC-A51B-AA53323C00B1}"/>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a:p>
        </p:txBody>
      </p:sp>
      <p:sp>
        <p:nvSpPr>
          <p:cNvPr id="6" name="Espace réservé du numéro de diapositive 5">
            <a:extLst>
              <a:ext uri="{FF2B5EF4-FFF2-40B4-BE49-F238E27FC236}">
                <a16:creationId xmlns:a16="http://schemas.microsoft.com/office/drawing/2014/main" id="{E7C1EB9D-4579-46E8-AAE3-FD83BAD7388F}"/>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5" name="Rectangle 4">
            <a:extLst>
              <a:ext uri="{FF2B5EF4-FFF2-40B4-BE49-F238E27FC236}">
                <a16:creationId xmlns:a16="http://schemas.microsoft.com/office/drawing/2014/main" id="{90B8241A-757E-4272-A9DD-2937B65C0160}"/>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Image 6">
            <a:extLst>
              <a:ext uri="{FF2B5EF4-FFF2-40B4-BE49-F238E27FC236}">
                <a16:creationId xmlns:a16="http://schemas.microsoft.com/office/drawing/2014/main" id="{C53FA805-7A91-4F80-891E-C4712D9EF3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8362" y="6079331"/>
            <a:ext cx="506185" cy="623888"/>
          </a:xfrm>
          <a:prstGeom prst="rect">
            <a:avLst/>
          </a:prstGeom>
        </p:spPr>
      </p:pic>
      <p:sp>
        <p:nvSpPr>
          <p:cNvPr id="15" name="Espace réservé du pied de page 14">
            <a:extLst>
              <a:ext uri="{FF2B5EF4-FFF2-40B4-BE49-F238E27FC236}">
                <a16:creationId xmlns:a16="http://schemas.microsoft.com/office/drawing/2014/main" id="{E1741012-68DC-44CD-8DB6-C5A7CD04F25D}"/>
              </a:ext>
            </a:extLst>
          </p:cNvPr>
          <p:cNvSpPr>
            <a:spLocks noGrp="1"/>
          </p:cNvSpPr>
          <p:nvPr>
            <p:ph type="ftr" sz="quarter" idx="12"/>
          </p:nvPr>
        </p:nvSpPr>
        <p:spPr/>
        <p:txBody>
          <a:bodyPr/>
          <a:lstStyle/>
          <a:p>
            <a:r>
              <a:rPr lang="en-GB" dirty="0"/>
              <a:t>CPS INTRODUCTION – NOVEMBER 2018</a:t>
            </a:r>
          </a:p>
        </p:txBody>
      </p:sp>
      <p:sp>
        <p:nvSpPr>
          <p:cNvPr id="16" name="Title 1">
            <a:extLst>
              <a:ext uri="{FF2B5EF4-FFF2-40B4-BE49-F238E27FC236}">
                <a16:creationId xmlns:a16="http://schemas.microsoft.com/office/drawing/2014/main" id="{260DD3C9-E70F-40AA-B603-6C3F5FB348C4}"/>
              </a:ext>
            </a:extLst>
          </p:cNvPr>
          <p:cNvSpPr>
            <a:spLocks noGrp="1"/>
          </p:cNvSpPr>
          <p:nvPr>
            <p:ph type="title"/>
          </p:nvPr>
        </p:nvSpPr>
        <p:spPr>
          <a:xfrm>
            <a:off x="336000" y="169579"/>
            <a:ext cx="11520000" cy="1125821"/>
          </a:xfrm>
          <a:blipFill>
            <a:blip r:embed="rId3"/>
            <a:stretch>
              <a:fillRect/>
            </a:stretch>
          </a:blipFill>
        </p:spPr>
        <p:txBody>
          <a:bodyPr lIns="0" tIns="108000" bIns="144000" anchor="t">
            <a:noAutofit/>
          </a:bodyPr>
          <a:lstStyle>
            <a:lvl1pPr algn="ctr">
              <a:lnSpc>
                <a:spcPct val="90000"/>
              </a:lnSpc>
              <a:defRPr>
                <a:solidFill>
                  <a:schemeClr val="accent1"/>
                </a:solidFill>
              </a:defRPr>
            </a:lvl1pPr>
          </a:lstStyle>
          <a:p>
            <a:r>
              <a:rPr lang="en-GB"/>
              <a:t>Modifiez le style du titre</a:t>
            </a:r>
            <a:endParaRPr lang="en-GB" dirty="0"/>
          </a:p>
        </p:txBody>
      </p:sp>
    </p:spTree>
    <p:extLst>
      <p:ext uri="{BB962C8B-B14F-4D97-AF65-F5344CB8AC3E}">
        <p14:creationId xmlns:p14="http://schemas.microsoft.com/office/powerpoint/2010/main" val="2102938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y area on the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D6CB2A-8D4E-4547-9FD0-21DDBA4F20E6}"/>
              </a:ext>
            </a:extLst>
          </p:cNvPr>
          <p:cNvSpPr/>
          <p:nvPr userDrawn="1"/>
        </p:nvSpPr>
        <p:spPr>
          <a:xfrm>
            <a:off x="6096000" y="-2946"/>
            <a:ext cx="6096000" cy="68609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Espace réservé du pied de page 7">
            <a:extLst>
              <a:ext uri="{FF2B5EF4-FFF2-40B4-BE49-F238E27FC236}">
                <a16:creationId xmlns:a16="http://schemas.microsoft.com/office/drawing/2014/main" id="{96112FCB-C59D-4EF8-A3F4-220DFAEE32CC}"/>
              </a:ext>
            </a:extLst>
          </p:cNvPr>
          <p:cNvSpPr>
            <a:spLocks noGrp="1"/>
          </p:cNvSpPr>
          <p:nvPr>
            <p:ph type="ftr" sz="quarter" idx="11"/>
          </p:nvPr>
        </p:nvSpPr>
        <p:spPr/>
        <p:txBody>
          <a:bodyPr/>
          <a:lstStyle/>
          <a:p>
            <a:r>
              <a:rPr lang="en-GB" dirty="0"/>
              <a:t>CPS INTRODUCTION – NOVEMBER 2018</a:t>
            </a:r>
          </a:p>
        </p:txBody>
      </p:sp>
      <p:sp>
        <p:nvSpPr>
          <p:cNvPr id="9" name="Espace réservé du numéro de diapositive 8">
            <a:extLst>
              <a:ext uri="{FF2B5EF4-FFF2-40B4-BE49-F238E27FC236}">
                <a16:creationId xmlns:a16="http://schemas.microsoft.com/office/drawing/2014/main" id="{9141CAEB-FEF2-4B0D-BD8C-1A6D6A4388A6}"/>
              </a:ext>
            </a:extLst>
          </p:cNvPr>
          <p:cNvSpPr>
            <a:spLocks noGrp="1"/>
          </p:cNvSpPr>
          <p:nvPr>
            <p:ph type="sldNum" sz="quarter" idx="12"/>
          </p:nvPr>
        </p:nvSpPr>
        <p:spPr/>
        <p:txBody>
          <a:bodyPr/>
          <a:lstStyle/>
          <a:p>
            <a:r>
              <a:rPr lang="en-GB" dirty="0"/>
              <a:t>Slide / </a:t>
            </a:r>
            <a:fld id="{3EA6A558-C4CA-4506-B5EC-E793D5AE9532}" type="slidenum">
              <a:rPr lang="en-GB" smtClean="0"/>
              <a:pPr/>
              <a:t>‹#›</a:t>
            </a:fld>
            <a:endParaRPr lang="en-GB" dirty="0"/>
          </a:p>
        </p:txBody>
      </p:sp>
      <p:sp>
        <p:nvSpPr>
          <p:cNvPr id="11" name="Title 1">
            <a:extLst>
              <a:ext uri="{FF2B5EF4-FFF2-40B4-BE49-F238E27FC236}">
                <a16:creationId xmlns:a16="http://schemas.microsoft.com/office/drawing/2014/main" id="{DEAE1897-35B6-4A8D-8FD9-605CBF4DF6EF}"/>
              </a:ext>
            </a:extLst>
          </p:cNvPr>
          <p:cNvSpPr>
            <a:spLocks noGrp="1"/>
          </p:cNvSpPr>
          <p:nvPr>
            <p:ph type="title"/>
          </p:nvPr>
        </p:nvSpPr>
        <p:spPr>
          <a:xfrm>
            <a:off x="336000" y="169579"/>
            <a:ext cx="11520000" cy="1125821"/>
          </a:xfrm>
          <a:blipFill>
            <a:blip r:embed="rId2" cstate="screen">
              <a:extLst>
                <a:ext uri="{28A0092B-C50C-407E-A947-70E740481C1C}">
                  <a14:useLocalDpi xmlns:a14="http://schemas.microsoft.com/office/drawing/2010/main"/>
                </a:ext>
              </a:extLst>
            </a:blip>
            <a:stretch>
              <a:fillRect l="938" r="-938"/>
            </a:stretch>
          </a:blipFill>
        </p:spPr>
        <p:txBody>
          <a:bodyPr tIns="108000" bIns="0" anchor="t">
            <a:noAutofit/>
          </a:bodyPr>
          <a:lstStyle>
            <a:lvl1pPr>
              <a:lnSpc>
                <a:spcPct val="90000"/>
              </a:lnSpc>
              <a:defRPr/>
            </a:lvl1pPr>
          </a:lstStyle>
          <a:p>
            <a:r>
              <a:rPr lang="en-GB"/>
              <a:t>Modifiez le style du titre</a:t>
            </a:r>
            <a:endParaRPr lang="en-GB" dirty="0"/>
          </a:p>
        </p:txBody>
      </p:sp>
      <p:sp>
        <p:nvSpPr>
          <p:cNvPr id="6" name="Rectangle 5">
            <a:extLst>
              <a:ext uri="{FF2B5EF4-FFF2-40B4-BE49-F238E27FC236}">
                <a16:creationId xmlns:a16="http://schemas.microsoft.com/office/drawing/2014/main" id="{40344623-07AE-4F77-AC7F-1C3D401B3C50}"/>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Espace réservé du texte 2">
            <a:extLst>
              <a:ext uri="{FF2B5EF4-FFF2-40B4-BE49-F238E27FC236}">
                <a16:creationId xmlns:a16="http://schemas.microsoft.com/office/drawing/2014/main" id="{7FBB6511-F0A4-4F51-A96F-45C5673E681D}"/>
              </a:ext>
            </a:extLst>
          </p:cNvPr>
          <p:cNvSpPr>
            <a:spLocks noGrp="1"/>
          </p:cNvSpPr>
          <p:nvPr>
            <p:ph idx="1"/>
          </p:nvPr>
        </p:nvSpPr>
        <p:spPr>
          <a:xfrm>
            <a:off x="336000" y="1703388"/>
            <a:ext cx="5580000" cy="4169413"/>
          </a:xfrm>
          <a:prstGeom prst="rect">
            <a:avLst/>
          </a:prstGeom>
        </p:spPr>
        <p:txBody>
          <a:bodyPr vert="horz" lIns="0" tIns="45720" rIns="91440" bIns="45720" rtlCol="0">
            <a:noAutofit/>
          </a:bodyPr>
          <a:lstStyle/>
          <a:p>
            <a:pPr lvl="0"/>
            <a:r>
              <a:rPr lang="en-GB" dirty="0"/>
              <a:t>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Tree>
    <p:extLst>
      <p:ext uri="{BB962C8B-B14F-4D97-AF65-F5344CB8AC3E}">
        <p14:creationId xmlns:p14="http://schemas.microsoft.com/office/powerpoint/2010/main" val="1564142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visuals">
    <p:spTree>
      <p:nvGrpSpPr>
        <p:cNvPr id="1" name=""/>
        <p:cNvGrpSpPr/>
        <p:nvPr/>
      </p:nvGrpSpPr>
      <p:grpSpPr>
        <a:xfrm>
          <a:off x="0" y="0"/>
          <a:ext cx="0" cy="0"/>
          <a:chOff x="0" y="0"/>
          <a:chExt cx="0" cy="0"/>
        </a:xfrm>
      </p:grpSpPr>
      <p:sp>
        <p:nvSpPr>
          <p:cNvPr id="13" name="Picture Placeholder 11">
            <a:extLst>
              <a:ext uri="{FF2B5EF4-FFF2-40B4-BE49-F238E27FC236}">
                <a16:creationId xmlns:a16="http://schemas.microsoft.com/office/drawing/2014/main" id="{617504D6-B7FC-4638-92E2-E3BF1447E8D9}"/>
              </a:ext>
            </a:extLst>
          </p:cNvPr>
          <p:cNvSpPr>
            <a:spLocks noGrp="1"/>
          </p:cNvSpPr>
          <p:nvPr>
            <p:ph type="pic" sz="quarter" idx="11"/>
          </p:nvPr>
        </p:nvSpPr>
        <p:spPr>
          <a:xfrm>
            <a:off x="0" y="-1767"/>
            <a:ext cx="4064000" cy="6858000"/>
          </a:xfrm>
          <a:solidFill>
            <a:schemeClr val="bg2"/>
          </a:solidFill>
        </p:spPr>
        <p:txBody>
          <a:bodyPr/>
          <a:lstStyle/>
          <a:p>
            <a:endParaRPr lang="fr-FR" dirty="0"/>
          </a:p>
        </p:txBody>
      </p:sp>
      <p:sp>
        <p:nvSpPr>
          <p:cNvPr id="15" name="Picture Placeholder 11">
            <a:extLst>
              <a:ext uri="{FF2B5EF4-FFF2-40B4-BE49-F238E27FC236}">
                <a16:creationId xmlns:a16="http://schemas.microsoft.com/office/drawing/2014/main" id="{E2769F8F-8D96-4C6F-840C-1653F690DF3D}"/>
              </a:ext>
            </a:extLst>
          </p:cNvPr>
          <p:cNvSpPr>
            <a:spLocks noGrp="1"/>
          </p:cNvSpPr>
          <p:nvPr>
            <p:ph type="pic" sz="quarter" idx="12"/>
          </p:nvPr>
        </p:nvSpPr>
        <p:spPr>
          <a:xfrm>
            <a:off x="4064000" y="0"/>
            <a:ext cx="4064000" cy="6858000"/>
          </a:xfrm>
          <a:solidFill>
            <a:schemeClr val="bg2"/>
          </a:solidFill>
        </p:spPr>
        <p:txBody>
          <a:bodyPr/>
          <a:lstStyle/>
          <a:p>
            <a:endParaRPr lang="fr-FR" dirty="0"/>
          </a:p>
        </p:txBody>
      </p:sp>
      <p:sp>
        <p:nvSpPr>
          <p:cNvPr id="23" name="Espace réservé pour une image  22">
            <a:extLst>
              <a:ext uri="{FF2B5EF4-FFF2-40B4-BE49-F238E27FC236}">
                <a16:creationId xmlns:a16="http://schemas.microsoft.com/office/drawing/2014/main" id="{4F6E51C4-94CC-4EE6-AF96-BAC83682047D}"/>
              </a:ext>
            </a:extLst>
          </p:cNvPr>
          <p:cNvSpPr>
            <a:spLocks noGrp="1"/>
          </p:cNvSpPr>
          <p:nvPr>
            <p:ph type="pic" sz="quarter" idx="13"/>
          </p:nvPr>
        </p:nvSpPr>
        <p:spPr>
          <a:xfrm>
            <a:off x="8123524" y="0"/>
            <a:ext cx="4064000" cy="6858000"/>
          </a:xfrm>
          <a:custGeom>
            <a:avLst/>
            <a:gdLst>
              <a:gd name="connsiteX0" fmla="*/ 0 w 4064000"/>
              <a:gd name="connsiteY0" fmla="*/ 0 h 6858000"/>
              <a:gd name="connsiteX1" fmla="*/ 4064000 w 4064000"/>
              <a:gd name="connsiteY1" fmla="*/ 0 h 6858000"/>
              <a:gd name="connsiteX2" fmla="*/ 4064000 w 4064000"/>
              <a:gd name="connsiteY2" fmla="*/ 6781800 h 6858000"/>
              <a:gd name="connsiteX3" fmla="*/ 2973388 w 4064000"/>
              <a:gd name="connsiteY3" fmla="*/ 6781800 h 6858000"/>
              <a:gd name="connsiteX4" fmla="*/ 2973388 w 4064000"/>
              <a:gd name="connsiteY4" fmla="*/ 6858000 h 6858000"/>
              <a:gd name="connsiteX5" fmla="*/ 0 w 4064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4000" h="6858000">
                <a:moveTo>
                  <a:pt x="0" y="0"/>
                </a:moveTo>
                <a:lnTo>
                  <a:pt x="4064000" y="0"/>
                </a:lnTo>
                <a:lnTo>
                  <a:pt x="4064000" y="6781800"/>
                </a:lnTo>
                <a:lnTo>
                  <a:pt x="2973388" y="6781800"/>
                </a:lnTo>
                <a:lnTo>
                  <a:pt x="2973388" y="6858000"/>
                </a:lnTo>
                <a:lnTo>
                  <a:pt x="0" y="6858000"/>
                </a:lnTo>
                <a:close/>
              </a:path>
            </a:pathLst>
          </a:custGeom>
          <a:solidFill>
            <a:schemeClr val="bg2"/>
          </a:solidFill>
        </p:spPr>
        <p:txBody>
          <a:bodyPr wrap="square">
            <a:noAutofit/>
          </a:bodyPr>
          <a:lstStyle/>
          <a:p>
            <a:endParaRPr lang="fr-FR" dirty="0"/>
          </a:p>
        </p:txBody>
      </p:sp>
      <p:sp>
        <p:nvSpPr>
          <p:cNvPr id="19" name="Espace réservé du texte 18">
            <a:extLst>
              <a:ext uri="{FF2B5EF4-FFF2-40B4-BE49-F238E27FC236}">
                <a16:creationId xmlns:a16="http://schemas.microsoft.com/office/drawing/2014/main" id="{B2690A34-0974-43D6-B0C5-474A2BAF0E57}"/>
              </a:ext>
            </a:extLst>
          </p:cNvPr>
          <p:cNvSpPr>
            <a:spLocks noGrp="1"/>
          </p:cNvSpPr>
          <p:nvPr>
            <p:ph type="body" sz="quarter" idx="14" hasCustomPrompt="1"/>
          </p:nvPr>
        </p:nvSpPr>
        <p:spPr>
          <a:xfrm>
            <a:off x="141610" y="6035675"/>
            <a:ext cx="3780780" cy="313932"/>
          </a:xfrm>
        </p:spPr>
        <p:txBody>
          <a:bodyPr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20" name="Espace réservé du texte 18">
            <a:extLst>
              <a:ext uri="{FF2B5EF4-FFF2-40B4-BE49-F238E27FC236}">
                <a16:creationId xmlns:a16="http://schemas.microsoft.com/office/drawing/2014/main" id="{A4715E07-B183-42FA-A0D1-A44677255958}"/>
              </a:ext>
            </a:extLst>
          </p:cNvPr>
          <p:cNvSpPr>
            <a:spLocks noGrp="1"/>
          </p:cNvSpPr>
          <p:nvPr>
            <p:ph type="body" sz="quarter" idx="15" hasCustomPrompt="1"/>
          </p:nvPr>
        </p:nvSpPr>
        <p:spPr>
          <a:xfrm>
            <a:off x="4205610" y="6035675"/>
            <a:ext cx="3780780" cy="313932"/>
          </a:xfrm>
        </p:spPr>
        <p:txBody>
          <a:bodyPr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21" name="Espace réservé du texte 18">
            <a:extLst>
              <a:ext uri="{FF2B5EF4-FFF2-40B4-BE49-F238E27FC236}">
                <a16:creationId xmlns:a16="http://schemas.microsoft.com/office/drawing/2014/main" id="{18A8F0D0-D2CA-4CEE-902B-5382BDE96DD3}"/>
              </a:ext>
            </a:extLst>
          </p:cNvPr>
          <p:cNvSpPr>
            <a:spLocks noGrp="1"/>
          </p:cNvSpPr>
          <p:nvPr>
            <p:ph type="body" sz="quarter" idx="16" hasCustomPrompt="1"/>
          </p:nvPr>
        </p:nvSpPr>
        <p:spPr>
          <a:xfrm>
            <a:off x="8265134" y="6035675"/>
            <a:ext cx="3780780" cy="313932"/>
          </a:xfrm>
        </p:spPr>
        <p:txBody>
          <a:bodyPr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6" name="Espace réservé du numéro de diapositive 5">
            <a:extLst>
              <a:ext uri="{FF2B5EF4-FFF2-40B4-BE49-F238E27FC236}">
                <a16:creationId xmlns:a16="http://schemas.microsoft.com/office/drawing/2014/main" id="{E7C1EB9D-4579-46E8-AAE3-FD83BAD7388F}"/>
              </a:ext>
            </a:extLst>
          </p:cNvPr>
          <p:cNvSpPr>
            <a:spLocks noGrp="1"/>
          </p:cNvSpPr>
          <p:nvPr>
            <p:ph type="sldNum" sz="quarter" idx="10"/>
          </p:nvPr>
        </p:nvSpPr>
        <p:spPr/>
        <p:txBody>
          <a:bodyPr/>
          <a:lstStyle>
            <a:lvl1pPr>
              <a:defRPr>
                <a:solidFill>
                  <a:schemeClr val="bg1"/>
                </a:solidFill>
              </a:defRPr>
            </a:lvl1pPr>
          </a:lstStyle>
          <a:p>
            <a:r>
              <a:rPr lang="en-GB" dirty="0"/>
              <a:t>Slide / </a:t>
            </a:r>
            <a:fld id="{3EA6A558-C4CA-4506-B5EC-E793D5AE9532}" type="slidenum">
              <a:rPr lang="en-GB" smtClean="0"/>
              <a:pPr/>
              <a:t>‹#›</a:t>
            </a:fld>
            <a:endParaRPr lang="en-GB" dirty="0"/>
          </a:p>
        </p:txBody>
      </p:sp>
      <p:sp>
        <p:nvSpPr>
          <p:cNvPr id="5" name="Rectangle 4">
            <a:extLst>
              <a:ext uri="{FF2B5EF4-FFF2-40B4-BE49-F238E27FC236}">
                <a16:creationId xmlns:a16="http://schemas.microsoft.com/office/drawing/2014/main" id="{90B8241A-757E-4272-A9DD-2937B65C0160}"/>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11" name="Title 1">
            <a:extLst>
              <a:ext uri="{FF2B5EF4-FFF2-40B4-BE49-F238E27FC236}">
                <a16:creationId xmlns:a16="http://schemas.microsoft.com/office/drawing/2014/main" id="{265AEC4D-3FE4-4669-9057-62A226A085A9}"/>
              </a:ext>
            </a:extLst>
          </p:cNvPr>
          <p:cNvSpPr>
            <a:spLocks noGrp="1"/>
          </p:cNvSpPr>
          <p:nvPr>
            <p:ph type="title"/>
          </p:nvPr>
        </p:nvSpPr>
        <p:spPr>
          <a:xfrm>
            <a:off x="336000" y="169579"/>
            <a:ext cx="11520000" cy="1125821"/>
          </a:xfrm>
          <a:blipFill>
            <a:blip r:embed="rId2"/>
            <a:stretch>
              <a:fillRect/>
            </a:stretch>
          </a:blipFill>
        </p:spPr>
        <p:txBody>
          <a:bodyPr tIns="108000" bIns="144000" anchor="t">
            <a:noAutofit/>
          </a:bodyPr>
          <a:lstStyle>
            <a:lvl1pPr algn="ctr">
              <a:lnSpc>
                <a:spcPct val="90000"/>
              </a:lnSpc>
              <a:defRPr>
                <a:solidFill>
                  <a:schemeClr val="bg1"/>
                </a:solidFill>
              </a:defRPr>
            </a:lvl1pPr>
          </a:lstStyle>
          <a:p>
            <a:r>
              <a:rPr lang="en-GB"/>
              <a:t>Modifiez le style du titre</a:t>
            </a:r>
            <a:endParaRPr lang="en-GB" dirty="0"/>
          </a:p>
        </p:txBody>
      </p:sp>
    </p:spTree>
    <p:extLst>
      <p:ext uri="{BB962C8B-B14F-4D97-AF65-F5344CB8AC3E}">
        <p14:creationId xmlns:p14="http://schemas.microsoft.com/office/powerpoint/2010/main" val="1973633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visuals diago">
    <p:spTree>
      <p:nvGrpSpPr>
        <p:cNvPr id="1" name=""/>
        <p:cNvGrpSpPr/>
        <p:nvPr/>
      </p:nvGrpSpPr>
      <p:grpSpPr>
        <a:xfrm>
          <a:off x="0" y="0"/>
          <a:ext cx="0" cy="0"/>
          <a:chOff x="0" y="0"/>
          <a:chExt cx="0" cy="0"/>
        </a:xfrm>
      </p:grpSpPr>
      <p:sp>
        <p:nvSpPr>
          <p:cNvPr id="18" name="Espace réservé pour une image  17">
            <a:extLst>
              <a:ext uri="{FF2B5EF4-FFF2-40B4-BE49-F238E27FC236}">
                <a16:creationId xmlns:a16="http://schemas.microsoft.com/office/drawing/2014/main" id="{DA245EB1-A2B2-42AA-B486-C6F9B71A985C}"/>
              </a:ext>
            </a:extLst>
          </p:cNvPr>
          <p:cNvSpPr>
            <a:spLocks noGrp="1"/>
          </p:cNvSpPr>
          <p:nvPr>
            <p:ph type="pic" sz="quarter" idx="17"/>
          </p:nvPr>
        </p:nvSpPr>
        <p:spPr>
          <a:xfrm>
            <a:off x="0" y="0"/>
            <a:ext cx="7356000" cy="6858000"/>
          </a:xfrm>
          <a:custGeom>
            <a:avLst/>
            <a:gdLst>
              <a:gd name="connsiteX0" fmla="*/ 0 w 7341938"/>
              <a:gd name="connsiteY0" fmla="*/ 0 h 6845300"/>
              <a:gd name="connsiteX1" fmla="*/ 7341938 w 7341938"/>
              <a:gd name="connsiteY1" fmla="*/ 0 h 6845300"/>
              <a:gd name="connsiteX2" fmla="*/ 7341938 w 7341938"/>
              <a:gd name="connsiteY2" fmla="*/ 26461 h 6845300"/>
              <a:gd name="connsiteX3" fmla="*/ 4845586 w 7341938"/>
              <a:gd name="connsiteY3" fmla="*/ 6845300 h 6845300"/>
              <a:gd name="connsiteX4" fmla="*/ 0 w 7341938"/>
              <a:gd name="connsiteY4" fmla="*/ 6845300 h 684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1938" h="6845300">
                <a:moveTo>
                  <a:pt x="0" y="0"/>
                </a:moveTo>
                <a:lnTo>
                  <a:pt x="7341938" y="0"/>
                </a:lnTo>
                <a:lnTo>
                  <a:pt x="7341938" y="26461"/>
                </a:lnTo>
                <a:lnTo>
                  <a:pt x="4845586" y="6845300"/>
                </a:lnTo>
                <a:lnTo>
                  <a:pt x="0" y="6845300"/>
                </a:lnTo>
                <a:close/>
              </a:path>
            </a:pathLst>
          </a:custGeom>
          <a:solidFill>
            <a:schemeClr val="bg2"/>
          </a:solidFill>
        </p:spPr>
        <p:txBody>
          <a:bodyPr vert="horz" wrap="square" lIns="0" tIns="45720" rIns="91440" bIns="45720" rtlCol="0">
            <a:noAutofit/>
          </a:bodyPr>
          <a:lstStyle>
            <a:lvl1pPr>
              <a:defRPr lang="fr-FR"/>
            </a:lvl1pPr>
          </a:lstStyle>
          <a:p>
            <a:pPr lvl="0"/>
            <a:endParaRPr lang="fr-FR" dirty="0"/>
          </a:p>
        </p:txBody>
      </p:sp>
      <p:sp>
        <p:nvSpPr>
          <p:cNvPr id="25" name="Espace réservé pour une image  24">
            <a:extLst>
              <a:ext uri="{FF2B5EF4-FFF2-40B4-BE49-F238E27FC236}">
                <a16:creationId xmlns:a16="http://schemas.microsoft.com/office/drawing/2014/main" id="{A660113D-A03E-4519-85CD-3C8E97CB32D6}"/>
              </a:ext>
            </a:extLst>
          </p:cNvPr>
          <p:cNvSpPr>
            <a:spLocks noGrp="1"/>
          </p:cNvSpPr>
          <p:nvPr>
            <p:ph type="pic" sz="quarter" idx="13"/>
          </p:nvPr>
        </p:nvSpPr>
        <p:spPr>
          <a:xfrm>
            <a:off x="4845586" y="0"/>
            <a:ext cx="7346414" cy="6858000"/>
          </a:xfrm>
          <a:custGeom>
            <a:avLst/>
            <a:gdLst>
              <a:gd name="connsiteX0" fmla="*/ 2508364 w 7341938"/>
              <a:gd name="connsiteY0" fmla="*/ 0 h 6851650"/>
              <a:gd name="connsiteX1" fmla="*/ 7341938 w 7341938"/>
              <a:gd name="connsiteY1" fmla="*/ 0 h 6851650"/>
              <a:gd name="connsiteX2" fmla="*/ 7341938 w 7341938"/>
              <a:gd name="connsiteY2" fmla="*/ 5883275 h 6851650"/>
              <a:gd name="connsiteX3" fmla="*/ 7341938 w 7341938"/>
              <a:gd name="connsiteY3" fmla="*/ 6775522 h 6851650"/>
              <a:gd name="connsiteX4" fmla="*/ 7341938 w 7341938"/>
              <a:gd name="connsiteY4" fmla="*/ 6781800 h 6851650"/>
              <a:gd name="connsiteX5" fmla="*/ 6255802 w 7341938"/>
              <a:gd name="connsiteY5" fmla="*/ 6781800 h 6851650"/>
              <a:gd name="connsiteX6" fmla="*/ 6255802 w 7341938"/>
              <a:gd name="connsiteY6" fmla="*/ 6851650 h 6851650"/>
              <a:gd name="connsiteX7" fmla="*/ 5935890 w 7341938"/>
              <a:gd name="connsiteY7" fmla="*/ 6851650 h 6851650"/>
              <a:gd name="connsiteX8" fmla="*/ 5570414 w 7341938"/>
              <a:gd name="connsiteY8" fmla="*/ 6851650 h 6851650"/>
              <a:gd name="connsiteX9" fmla="*/ 0 w 7341938"/>
              <a:gd name="connsiteY9" fmla="*/ 6851650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41938" h="6851650">
                <a:moveTo>
                  <a:pt x="2508364" y="0"/>
                </a:moveTo>
                <a:lnTo>
                  <a:pt x="7341938" y="0"/>
                </a:lnTo>
                <a:lnTo>
                  <a:pt x="7341938" y="5883275"/>
                </a:lnTo>
                <a:lnTo>
                  <a:pt x="7341938" y="6775522"/>
                </a:lnTo>
                <a:lnTo>
                  <a:pt x="7341938" y="6781800"/>
                </a:lnTo>
                <a:lnTo>
                  <a:pt x="6255802" y="6781800"/>
                </a:lnTo>
                <a:lnTo>
                  <a:pt x="6255802" y="6851650"/>
                </a:lnTo>
                <a:lnTo>
                  <a:pt x="5935890" y="6851650"/>
                </a:lnTo>
                <a:lnTo>
                  <a:pt x="5570414" y="6851650"/>
                </a:lnTo>
                <a:lnTo>
                  <a:pt x="0" y="6851650"/>
                </a:lnTo>
                <a:close/>
              </a:path>
            </a:pathLst>
          </a:custGeom>
          <a:solidFill>
            <a:schemeClr val="bg2"/>
          </a:solidFill>
        </p:spPr>
        <p:txBody>
          <a:bodyPr wrap="square">
            <a:noAutofit/>
          </a:bodyPr>
          <a:lstStyle/>
          <a:p>
            <a:endParaRPr lang="fr-FR" dirty="0"/>
          </a:p>
        </p:txBody>
      </p:sp>
      <p:sp>
        <p:nvSpPr>
          <p:cNvPr id="19" name="Espace réservé du texte 18">
            <a:extLst>
              <a:ext uri="{FF2B5EF4-FFF2-40B4-BE49-F238E27FC236}">
                <a16:creationId xmlns:a16="http://schemas.microsoft.com/office/drawing/2014/main" id="{B2690A34-0974-43D6-B0C5-474A2BAF0E57}"/>
              </a:ext>
            </a:extLst>
          </p:cNvPr>
          <p:cNvSpPr>
            <a:spLocks noGrp="1"/>
          </p:cNvSpPr>
          <p:nvPr>
            <p:ph type="body" sz="quarter" idx="14" hasCustomPrompt="1"/>
          </p:nvPr>
        </p:nvSpPr>
        <p:spPr>
          <a:xfrm>
            <a:off x="1157610" y="6035675"/>
            <a:ext cx="3780780" cy="313932"/>
          </a:xfrm>
        </p:spPr>
        <p:txBody>
          <a:bodyPr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21" name="Espace réservé du texte 18">
            <a:extLst>
              <a:ext uri="{FF2B5EF4-FFF2-40B4-BE49-F238E27FC236}">
                <a16:creationId xmlns:a16="http://schemas.microsoft.com/office/drawing/2014/main" id="{18A8F0D0-D2CA-4CEE-902B-5382BDE96DD3}"/>
              </a:ext>
            </a:extLst>
          </p:cNvPr>
          <p:cNvSpPr>
            <a:spLocks noGrp="1"/>
          </p:cNvSpPr>
          <p:nvPr>
            <p:ph type="body" sz="quarter" idx="16" hasCustomPrompt="1"/>
          </p:nvPr>
        </p:nvSpPr>
        <p:spPr>
          <a:xfrm>
            <a:off x="7249134" y="6035675"/>
            <a:ext cx="3780780" cy="313932"/>
          </a:xfrm>
        </p:spPr>
        <p:txBody>
          <a:bodyPr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6" name="Espace réservé du numéro de diapositive 5">
            <a:extLst>
              <a:ext uri="{FF2B5EF4-FFF2-40B4-BE49-F238E27FC236}">
                <a16:creationId xmlns:a16="http://schemas.microsoft.com/office/drawing/2014/main" id="{E7C1EB9D-4579-46E8-AAE3-FD83BAD7388F}"/>
              </a:ext>
            </a:extLst>
          </p:cNvPr>
          <p:cNvSpPr>
            <a:spLocks noGrp="1"/>
          </p:cNvSpPr>
          <p:nvPr>
            <p:ph type="sldNum" sz="quarter" idx="10"/>
          </p:nvPr>
        </p:nvSpPr>
        <p:spPr/>
        <p:txBody>
          <a:bodyPr/>
          <a:lstStyle>
            <a:lvl1pPr>
              <a:defRPr>
                <a:solidFill>
                  <a:schemeClr val="bg1"/>
                </a:solidFill>
              </a:defRPr>
            </a:lvl1pPr>
          </a:lstStyle>
          <a:p>
            <a:r>
              <a:rPr lang="en-GB" dirty="0"/>
              <a:t>Slide / </a:t>
            </a:r>
            <a:fld id="{3EA6A558-C4CA-4506-B5EC-E793D5AE9532}" type="slidenum">
              <a:rPr lang="en-GB" smtClean="0"/>
              <a:pPr/>
              <a:t>‹#›</a:t>
            </a:fld>
            <a:endParaRPr lang="en-GB" dirty="0"/>
          </a:p>
        </p:txBody>
      </p:sp>
      <p:sp>
        <p:nvSpPr>
          <p:cNvPr id="14" name="Rectangle 13">
            <a:extLst>
              <a:ext uri="{FF2B5EF4-FFF2-40B4-BE49-F238E27FC236}">
                <a16:creationId xmlns:a16="http://schemas.microsoft.com/office/drawing/2014/main" id="{9F6ED6F0-F7E3-483A-B8E7-11FF8D7D6A8A}"/>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itle 1">
            <a:extLst>
              <a:ext uri="{FF2B5EF4-FFF2-40B4-BE49-F238E27FC236}">
                <a16:creationId xmlns:a16="http://schemas.microsoft.com/office/drawing/2014/main" id="{DF2BF70A-E0FD-425C-A9C3-8C9BA39EA04E}"/>
              </a:ext>
            </a:extLst>
          </p:cNvPr>
          <p:cNvSpPr>
            <a:spLocks noGrp="1"/>
          </p:cNvSpPr>
          <p:nvPr>
            <p:ph type="title"/>
          </p:nvPr>
        </p:nvSpPr>
        <p:spPr>
          <a:xfrm>
            <a:off x="336000" y="169579"/>
            <a:ext cx="11520000" cy="1125821"/>
          </a:xfrm>
          <a:blipFill>
            <a:blip r:embed="rId2"/>
            <a:stretch>
              <a:fillRect/>
            </a:stretch>
          </a:blipFill>
        </p:spPr>
        <p:txBody>
          <a:bodyPr tIns="108000" bIns="144000" anchor="t">
            <a:noAutofit/>
          </a:bodyPr>
          <a:lstStyle>
            <a:lvl1pPr algn="ctr">
              <a:lnSpc>
                <a:spcPct val="90000"/>
              </a:lnSpc>
              <a:defRPr>
                <a:solidFill>
                  <a:schemeClr val="bg1"/>
                </a:solidFill>
              </a:defRPr>
            </a:lvl1pPr>
          </a:lstStyle>
          <a:p>
            <a:r>
              <a:rPr lang="en-GB" dirty="0" err="1"/>
              <a:t>Modifiez</a:t>
            </a:r>
            <a:r>
              <a:rPr lang="en-GB" dirty="0"/>
              <a:t> le style du titre</a:t>
            </a:r>
          </a:p>
        </p:txBody>
      </p:sp>
    </p:spTree>
    <p:extLst>
      <p:ext uri="{BB962C8B-B14F-4D97-AF65-F5344CB8AC3E}">
        <p14:creationId xmlns:p14="http://schemas.microsoft.com/office/powerpoint/2010/main" val="1840186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visuals">
    <p:spTree>
      <p:nvGrpSpPr>
        <p:cNvPr id="1" name=""/>
        <p:cNvGrpSpPr/>
        <p:nvPr/>
      </p:nvGrpSpPr>
      <p:grpSpPr>
        <a:xfrm>
          <a:off x="0" y="0"/>
          <a:ext cx="0" cy="0"/>
          <a:chOff x="0" y="0"/>
          <a:chExt cx="0" cy="0"/>
        </a:xfrm>
      </p:grpSpPr>
      <p:sp>
        <p:nvSpPr>
          <p:cNvPr id="13" name="Picture Placeholder 11">
            <a:extLst>
              <a:ext uri="{FF2B5EF4-FFF2-40B4-BE49-F238E27FC236}">
                <a16:creationId xmlns:a16="http://schemas.microsoft.com/office/drawing/2014/main" id="{617504D6-B7FC-4638-92E2-E3BF1447E8D9}"/>
              </a:ext>
            </a:extLst>
          </p:cNvPr>
          <p:cNvSpPr>
            <a:spLocks noGrp="1"/>
          </p:cNvSpPr>
          <p:nvPr>
            <p:ph type="pic" sz="quarter" idx="11"/>
          </p:nvPr>
        </p:nvSpPr>
        <p:spPr>
          <a:xfrm>
            <a:off x="0" y="-1767"/>
            <a:ext cx="6096000" cy="6858000"/>
          </a:xfrm>
          <a:solidFill>
            <a:schemeClr val="bg2"/>
          </a:solidFill>
        </p:spPr>
        <p:txBody>
          <a:bodyPr/>
          <a:lstStyle/>
          <a:p>
            <a:endParaRPr lang="fr-FR" dirty="0"/>
          </a:p>
        </p:txBody>
      </p:sp>
      <p:sp>
        <p:nvSpPr>
          <p:cNvPr id="12" name="Espace réservé pour une image  11">
            <a:extLst>
              <a:ext uri="{FF2B5EF4-FFF2-40B4-BE49-F238E27FC236}">
                <a16:creationId xmlns:a16="http://schemas.microsoft.com/office/drawing/2014/main" id="{932C7D49-5A93-4769-AFEA-044C4A821638}"/>
              </a:ext>
            </a:extLst>
          </p:cNvPr>
          <p:cNvSpPr>
            <a:spLocks noGrp="1"/>
          </p:cNvSpPr>
          <p:nvPr>
            <p:ph type="pic" sz="quarter" idx="13"/>
          </p:nvPr>
        </p:nvSpPr>
        <p:spPr>
          <a:xfrm>
            <a:off x="6091524" y="0"/>
            <a:ext cx="6096000" cy="6858000"/>
          </a:xfrm>
          <a:custGeom>
            <a:avLst/>
            <a:gdLst>
              <a:gd name="connsiteX0" fmla="*/ 0 w 6096000"/>
              <a:gd name="connsiteY0" fmla="*/ 0 h 6858000"/>
              <a:gd name="connsiteX1" fmla="*/ 6096000 w 6096000"/>
              <a:gd name="connsiteY1" fmla="*/ 0 h 6858000"/>
              <a:gd name="connsiteX2" fmla="*/ 6096000 w 6096000"/>
              <a:gd name="connsiteY2" fmla="*/ 6781801 h 6858000"/>
              <a:gd name="connsiteX3" fmla="*/ 5009864 w 6096000"/>
              <a:gd name="connsiteY3" fmla="*/ 6781801 h 6858000"/>
              <a:gd name="connsiteX4" fmla="*/ 5009864 w 6096000"/>
              <a:gd name="connsiteY4" fmla="*/ 6858000 h 6858000"/>
              <a:gd name="connsiteX5" fmla="*/ 0 w 6096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858000">
                <a:moveTo>
                  <a:pt x="0" y="0"/>
                </a:moveTo>
                <a:lnTo>
                  <a:pt x="6096000" y="0"/>
                </a:lnTo>
                <a:lnTo>
                  <a:pt x="6096000" y="6781801"/>
                </a:lnTo>
                <a:lnTo>
                  <a:pt x="5009864" y="6781801"/>
                </a:lnTo>
                <a:lnTo>
                  <a:pt x="5009864" y="6858000"/>
                </a:lnTo>
                <a:lnTo>
                  <a:pt x="0" y="6858000"/>
                </a:lnTo>
                <a:close/>
              </a:path>
            </a:pathLst>
          </a:custGeom>
          <a:solidFill>
            <a:schemeClr val="bg2"/>
          </a:solidFill>
        </p:spPr>
        <p:txBody>
          <a:bodyPr wrap="square">
            <a:noAutofit/>
          </a:bodyPr>
          <a:lstStyle/>
          <a:p>
            <a:endParaRPr lang="fr-FR" dirty="0"/>
          </a:p>
        </p:txBody>
      </p:sp>
      <p:sp>
        <p:nvSpPr>
          <p:cNvPr id="19" name="Espace réservé du texte 18">
            <a:extLst>
              <a:ext uri="{FF2B5EF4-FFF2-40B4-BE49-F238E27FC236}">
                <a16:creationId xmlns:a16="http://schemas.microsoft.com/office/drawing/2014/main" id="{B2690A34-0974-43D6-B0C5-474A2BAF0E57}"/>
              </a:ext>
            </a:extLst>
          </p:cNvPr>
          <p:cNvSpPr>
            <a:spLocks noGrp="1"/>
          </p:cNvSpPr>
          <p:nvPr>
            <p:ph type="body" sz="quarter" idx="14" hasCustomPrompt="1"/>
          </p:nvPr>
        </p:nvSpPr>
        <p:spPr>
          <a:xfrm>
            <a:off x="1157610" y="6035675"/>
            <a:ext cx="3780780" cy="313932"/>
          </a:xfrm>
        </p:spPr>
        <p:txBody>
          <a:bodyPr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21" name="Espace réservé du texte 18">
            <a:extLst>
              <a:ext uri="{FF2B5EF4-FFF2-40B4-BE49-F238E27FC236}">
                <a16:creationId xmlns:a16="http://schemas.microsoft.com/office/drawing/2014/main" id="{18A8F0D0-D2CA-4CEE-902B-5382BDE96DD3}"/>
              </a:ext>
            </a:extLst>
          </p:cNvPr>
          <p:cNvSpPr>
            <a:spLocks noGrp="1"/>
          </p:cNvSpPr>
          <p:nvPr>
            <p:ph type="body" sz="quarter" idx="16" hasCustomPrompt="1"/>
          </p:nvPr>
        </p:nvSpPr>
        <p:spPr>
          <a:xfrm>
            <a:off x="7249134" y="6035675"/>
            <a:ext cx="3780780" cy="313932"/>
          </a:xfrm>
        </p:spPr>
        <p:txBody>
          <a:bodyPr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6" name="Espace réservé du numéro de diapositive 5">
            <a:extLst>
              <a:ext uri="{FF2B5EF4-FFF2-40B4-BE49-F238E27FC236}">
                <a16:creationId xmlns:a16="http://schemas.microsoft.com/office/drawing/2014/main" id="{E7C1EB9D-4579-46E8-AAE3-FD83BAD7388F}"/>
              </a:ext>
            </a:extLst>
          </p:cNvPr>
          <p:cNvSpPr>
            <a:spLocks noGrp="1"/>
          </p:cNvSpPr>
          <p:nvPr>
            <p:ph type="sldNum" sz="quarter" idx="10"/>
          </p:nvPr>
        </p:nvSpPr>
        <p:spPr/>
        <p:txBody>
          <a:bodyPr/>
          <a:lstStyle>
            <a:lvl1pPr>
              <a:defRPr>
                <a:solidFill>
                  <a:schemeClr val="bg1"/>
                </a:solidFill>
              </a:defRPr>
            </a:lvl1pPr>
          </a:lstStyle>
          <a:p>
            <a:r>
              <a:rPr lang="en-GB" dirty="0"/>
              <a:t>Slide / </a:t>
            </a:r>
            <a:fld id="{3EA6A558-C4CA-4506-B5EC-E793D5AE9532}" type="slidenum">
              <a:rPr lang="en-GB" smtClean="0"/>
              <a:pPr/>
              <a:t>‹#›</a:t>
            </a:fld>
            <a:endParaRPr lang="en-GB" dirty="0"/>
          </a:p>
        </p:txBody>
      </p:sp>
      <p:sp>
        <p:nvSpPr>
          <p:cNvPr id="14" name="Rectangle 13">
            <a:extLst>
              <a:ext uri="{FF2B5EF4-FFF2-40B4-BE49-F238E27FC236}">
                <a16:creationId xmlns:a16="http://schemas.microsoft.com/office/drawing/2014/main" id="{9F6ED6F0-F7E3-483A-B8E7-11FF8D7D6A8A}"/>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itle 1">
            <a:extLst>
              <a:ext uri="{FF2B5EF4-FFF2-40B4-BE49-F238E27FC236}">
                <a16:creationId xmlns:a16="http://schemas.microsoft.com/office/drawing/2014/main" id="{DF2BF70A-E0FD-425C-A9C3-8C9BA39EA04E}"/>
              </a:ext>
            </a:extLst>
          </p:cNvPr>
          <p:cNvSpPr>
            <a:spLocks noGrp="1"/>
          </p:cNvSpPr>
          <p:nvPr>
            <p:ph type="title"/>
          </p:nvPr>
        </p:nvSpPr>
        <p:spPr>
          <a:xfrm>
            <a:off x="336000" y="169579"/>
            <a:ext cx="11520000" cy="1125821"/>
          </a:xfrm>
          <a:blipFill>
            <a:blip r:embed="rId2"/>
            <a:stretch>
              <a:fillRect/>
            </a:stretch>
          </a:blipFill>
        </p:spPr>
        <p:txBody>
          <a:bodyPr tIns="108000" bIns="144000" anchor="t">
            <a:noAutofit/>
          </a:bodyPr>
          <a:lstStyle>
            <a:lvl1pPr algn="ctr">
              <a:lnSpc>
                <a:spcPct val="90000"/>
              </a:lnSpc>
              <a:defRPr>
                <a:solidFill>
                  <a:schemeClr val="bg1"/>
                </a:solidFill>
              </a:defRPr>
            </a:lvl1pPr>
          </a:lstStyle>
          <a:p>
            <a:r>
              <a:rPr lang="en-GB"/>
              <a:t>Modifiez le style du titre</a:t>
            </a:r>
            <a:endParaRPr lang="en-GB" dirty="0"/>
          </a:p>
        </p:txBody>
      </p:sp>
    </p:spTree>
    <p:extLst>
      <p:ext uri="{BB962C8B-B14F-4D97-AF65-F5344CB8AC3E}">
        <p14:creationId xmlns:p14="http://schemas.microsoft.com/office/powerpoint/2010/main" val="26761475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visual">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D0B0D7E1-86B4-4CF6-A2A1-C2D59F393237}"/>
              </a:ext>
            </a:extLst>
          </p:cNvPr>
          <p:cNvSpPr>
            <a:spLocks noGrp="1"/>
          </p:cNvSpPr>
          <p:nvPr>
            <p:ph type="pic" sz="quarter" idx="11"/>
          </p:nvPr>
        </p:nvSpPr>
        <p:spPr>
          <a:xfrm>
            <a:off x="0" y="-1767"/>
            <a:ext cx="12192000" cy="6858000"/>
          </a:xfrm>
          <a:custGeom>
            <a:avLst/>
            <a:gdLst>
              <a:gd name="connsiteX0" fmla="*/ 0 w 12192000"/>
              <a:gd name="connsiteY0" fmla="*/ 0 h 6858000"/>
              <a:gd name="connsiteX1" fmla="*/ 12192000 w 12192000"/>
              <a:gd name="connsiteY1" fmla="*/ 0 h 6858000"/>
              <a:gd name="connsiteX2" fmla="*/ 12192000 w 12192000"/>
              <a:gd name="connsiteY2" fmla="*/ 6783568 h 6858000"/>
              <a:gd name="connsiteX3" fmla="*/ 11101388 w 12192000"/>
              <a:gd name="connsiteY3" fmla="*/ 6783568 h 6858000"/>
              <a:gd name="connsiteX4" fmla="*/ 11101388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783568"/>
                </a:lnTo>
                <a:lnTo>
                  <a:pt x="11101388" y="6783568"/>
                </a:lnTo>
                <a:lnTo>
                  <a:pt x="11101388" y="6858000"/>
                </a:lnTo>
                <a:lnTo>
                  <a:pt x="0" y="6858000"/>
                </a:lnTo>
                <a:close/>
              </a:path>
            </a:pathLst>
          </a:custGeom>
          <a:solidFill>
            <a:schemeClr val="bg2"/>
          </a:solidFill>
        </p:spPr>
        <p:txBody>
          <a:bodyPr wrap="square">
            <a:noAutofit/>
          </a:bodyPr>
          <a:lstStyle/>
          <a:p>
            <a:endParaRPr lang="fr-FR" dirty="0"/>
          </a:p>
        </p:txBody>
      </p:sp>
      <p:sp>
        <p:nvSpPr>
          <p:cNvPr id="19" name="Espace réservé du texte 18">
            <a:extLst>
              <a:ext uri="{FF2B5EF4-FFF2-40B4-BE49-F238E27FC236}">
                <a16:creationId xmlns:a16="http://schemas.microsoft.com/office/drawing/2014/main" id="{B2690A34-0974-43D6-B0C5-474A2BAF0E57}"/>
              </a:ext>
            </a:extLst>
          </p:cNvPr>
          <p:cNvSpPr>
            <a:spLocks noGrp="1"/>
          </p:cNvSpPr>
          <p:nvPr>
            <p:ph type="body" sz="quarter" idx="14" hasCustomPrompt="1"/>
          </p:nvPr>
        </p:nvSpPr>
        <p:spPr>
          <a:xfrm>
            <a:off x="3446805" y="6035675"/>
            <a:ext cx="5298390" cy="313932"/>
          </a:xfrm>
        </p:spPr>
        <p:txBody>
          <a:bodyPr wrap="square" rIns="0">
            <a:spAutoFit/>
          </a:bodyPr>
          <a:lstStyle>
            <a:lvl1pPr marL="0" indent="0" algn="ctr">
              <a:buNone/>
              <a:defRPr>
                <a:solidFill>
                  <a:schemeClr val="bg1"/>
                </a:solidFill>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6" name="Espace réservé du numéro de diapositive 5">
            <a:extLst>
              <a:ext uri="{FF2B5EF4-FFF2-40B4-BE49-F238E27FC236}">
                <a16:creationId xmlns:a16="http://schemas.microsoft.com/office/drawing/2014/main" id="{E7C1EB9D-4579-46E8-AAE3-FD83BAD7388F}"/>
              </a:ext>
            </a:extLst>
          </p:cNvPr>
          <p:cNvSpPr>
            <a:spLocks noGrp="1"/>
          </p:cNvSpPr>
          <p:nvPr>
            <p:ph type="sldNum" sz="quarter" idx="10"/>
          </p:nvPr>
        </p:nvSpPr>
        <p:spPr/>
        <p:txBody>
          <a:bodyPr/>
          <a:lstStyle>
            <a:lvl1pPr>
              <a:defRPr>
                <a:solidFill>
                  <a:schemeClr val="bg1"/>
                </a:solidFill>
              </a:defRPr>
            </a:lvl1pPr>
          </a:lstStyle>
          <a:p>
            <a:r>
              <a:rPr lang="en-GB" dirty="0"/>
              <a:t>Slide / </a:t>
            </a:r>
            <a:fld id="{3EA6A558-C4CA-4506-B5EC-E793D5AE9532}" type="slidenum">
              <a:rPr lang="en-GB" smtClean="0"/>
              <a:pPr/>
              <a:t>‹#›</a:t>
            </a:fld>
            <a:endParaRPr lang="en-GB" dirty="0"/>
          </a:p>
        </p:txBody>
      </p:sp>
      <p:sp>
        <p:nvSpPr>
          <p:cNvPr id="11" name="Rectangle 10">
            <a:extLst>
              <a:ext uri="{FF2B5EF4-FFF2-40B4-BE49-F238E27FC236}">
                <a16:creationId xmlns:a16="http://schemas.microsoft.com/office/drawing/2014/main" id="{538DABCA-FD74-4DFB-B2E9-6283DAFEA9EC}"/>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7" name="Title 1">
            <a:extLst>
              <a:ext uri="{FF2B5EF4-FFF2-40B4-BE49-F238E27FC236}">
                <a16:creationId xmlns:a16="http://schemas.microsoft.com/office/drawing/2014/main" id="{BF305560-F990-4784-8364-D5FE81D9B80B}"/>
              </a:ext>
            </a:extLst>
          </p:cNvPr>
          <p:cNvSpPr>
            <a:spLocks noGrp="1"/>
          </p:cNvSpPr>
          <p:nvPr>
            <p:ph type="title"/>
          </p:nvPr>
        </p:nvSpPr>
        <p:spPr>
          <a:xfrm>
            <a:off x="336000" y="169579"/>
            <a:ext cx="11520000" cy="1125821"/>
          </a:xfrm>
          <a:blipFill>
            <a:blip r:embed="rId2"/>
            <a:stretch>
              <a:fillRect/>
            </a:stretch>
          </a:blipFill>
        </p:spPr>
        <p:txBody>
          <a:bodyPr tIns="108000" bIns="144000" anchor="t">
            <a:noAutofit/>
          </a:bodyPr>
          <a:lstStyle>
            <a:lvl1pPr algn="ctr">
              <a:lnSpc>
                <a:spcPct val="90000"/>
              </a:lnSpc>
              <a:defRPr>
                <a:solidFill>
                  <a:schemeClr val="bg1"/>
                </a:solidFill>
              </a:defRPr>
            </a:lvl1pPr>
          </a:lstStyle>
          <a:p>
            <a:r>
              <a:rPr lang="en-GB"/>
              <a:t>Modifiez le style du titre</a:t>
            </a:r>
            <a:endParaRPr lang="en-GB" dirty="0"/>
          </a:p>
        </p:txBody>
      </p:sp>
    </p:spTree>
    <p:extLst>
      <p:ext uri="{BB962C8B-B14F-4D97-AF65-F5344CB8AC3E}">
        <p14:creationId xmlns:p14="http://schemas.microsoft.com/office/powerpoint/2010/main" val="3960473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C0B86883-D027-4D8A-8364-AA223BDF3082}"/>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Image 3">
            <a:extLst>
              <a:ext uri="{FF2B5EF4-FFF2-40B4-BE49-F238E27FC236}">
                <a16:creationId xmlns:a16="http://schemas.microsoft.com/office/drawing/2014/main" id="{BF6BCE15-9B50-4760-95DD-5277A99F9252}"/>
              </a:ext>
            </a:extLst>
          </p:cNvPr>
          <p:cNvPicPr>
            <a:picLocks noChangeAspect="1"/>
          </p:cNvPicPr>
          <p:nvPr userDrawn="1"/>
        </p:nvPicPr>
        <p:blipFill>
          <a:blip r:embed="rId2" cstate="screen">
            <a:lum bright="100000"/>
            <a:extLst>
              <a:ext uri="{28A0092B-C50C-407E-A947-70E740481C1C}">
                <a14:useLocalDpi xmlns:a14="http://schemas.microsoft.com/office/drawing/2010/main"/>
              </a:ext>
            </a:extLst>
          </a:blip>
          <a:stretch>
            <a:fillRect/>
          </a:stretch>
        </p:blipFill>
        <p:spPr>
          <a:xfrm>
            <a:off x="188362" y="6079331"/>
            <a:ext cx="506185" cy="623888"/>
          </a:xfrm>
          <a:prstGeom prst="rect">
            <a:avLst/>
          </a:prstGeom>
        </p:spPr>
      </p:pic>
      <p:sp>
        <p:nvSpPr>
          <p:cNvPr id="5" name="Rectangle 4">
            <a:extLst>
              <a:ext uri="{FF2B5EF4-FFF2-40B4-BE49-F238E27FC236}">
                <a16:creationId xmlns:a16="http://schemas.microsoft.com/office/drawing/2014/main" id="{CF135745-DC36-4622-91D5-C736F9011458}"/>
              </a:ext>
            </a:extLst>
          </p:cNvPr>
          <p:cNvSpPr/>
          <p:nvPr userDrawn="1"/>
        </p:nvSpPr>
        <p:spPr>
          <a:xfrm>
            <a:off x="11101388" y="6781801"/>
            <a:ext cx="1090612"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a:extLst>
              <a:ext uri="{FF2B5EF4-FFF2-40B4-BE49-F238E27FC236}">
                <a16:creationId xmlns:a16="http://schemas.microsoft.com/office/drawing/2014/main" id="{FA513CBF-24DC-4627-A9C0-032617D201D8}"/>
              </a:ext>
            </a:extLst>
          </p:cNvPr>
          <p:cNvSpPr/>
          <p:nvPr userDrawn="1"/>
        </p:nvSpPr>
        <p:spPr>
          <a:xfrm>
            <a:off x="477899" y="2257425"/>
            <a:ext cx="2674876"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7" name="Rectangle 16">
            <a:extLst>
              <a:ext uri="{FF2B5EF4-FFF2-40B4-BE49-F238E27FC236}">
                <a16:creationId xmlns:a16="http://schemas.microsoft.com/office/drawing/2014/main" id="{5B5B294C-67DB-420B-AB57-F9EDE0075B67}"/>
              </a:ext>
            </a:extLst>
          </p:cNvPr>
          <p:cNvSpPr/>
          <p:nvPr userDrawn="1"/>
        </p:nvSpPr>
        <p:spPr>
          <a:xfrm>
            <a:off x="3338217" y="2257425"/>
            <a:ext cx="2674876"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8" name="Rectangle 17">
            <a:extLst>
              <a:ext uri="{FF2B5EF4-FFF2-40B4-BE49-F238E27FC236}">
                <a16:creationId xmlns:a16="http://schemas.microsoft.com/office/drawing/2014/main" id="{4A8909AC-AE8F-4DD2-8591-74C97C35F95D}"/>
              </a:ext>
            </a:extLst>
          </p:cNvPr>
          <p:cNvSpPr/>
          <p:nvPr userDrawn="1"/>
        </p:nvSpPr>
        <p:spPr>
          <a:xfrm>
            <a:off x="6185451" y="2257425"/>
            <a:ext cx="2674876"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9" name="Rectangle 18">
            <a:extLst>
              <a:ext uri="{FF2B5EF4-FFF2-40B4-BE49-F238E27FC236}">
                <a16:creationId xmlns:a16="http://schemas.microsoft.com/office/drawing/2014/main" id="{D435EAB6-7C9B-4339-A986-ED5BCC5BC24A}"/>
              </a:ext>
            </a:extLst>
          </p:cNvPr>
          <p:cNvSpPr/>
          <p:nvPr userDrawn="1"/>
        </p:nvSpPr>
        <p:spPr>
          <a:xfrm>
            <a:off x="9039226" y="2257425"/>
            <a:ext cx="2674876"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5" name="Espace réservé du texte 23">
            <a:extLst>
              <a:ext uri="{FF2B5EF4-FFF2-40B4-BE49-F238E27FC236}">
                <a16:creationId xmlns:a16="http://schemas.microsoft.com/office/drawing/2014/main" id="{D22C8BD4-F63A-4390-84BD-0EE45BFF5FE0}"/>
              </a:ext>
            </a:extLst>
          </p:cNvPr>
          <p:cNvSpPr>
            <a:spLocks noGrp="1"/>
          </p:cNvSpPr>
          <p:nvPr>
            <p:ph type="body" sz="quarter" idx="12" hasCustomPrompt="1"/>
          </p:nvPr>
        </p:nvSpPr>
        <p:spPr>
          <a:xfrm>
            <a:off x="3595430" y="3616414"/>
            <a:ext cx="2160450" cy="914400"/>
          </a:xfrm>
        </p:spPr>
        <p:txBody>
          <a:bodyPr anchor="ctr">
            <a:normAutofit/>
          </a:bodyPr>
          <a:lstStyle>
            <a:lvl1pPr marL="0" indent="0" algn="ctr">
              <a:buNone/>
              <a:defRPr lang="fr-FR" sz="6000" b="1" kern="1200" dirty="0">
                <a:solidFill>
                  <a:schemeClr val="accent6"/>
                </a:solidFill>
                <a:latin typeface="+mn-lt"/>
                <a:ea typeface="+mn-ea"/>
                <a:cs typeface="+mn-cs"/>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26" name="Espace réservé du texte 23">
            <a:extLst>
              <a:ext uri="{FF2B5EF4-FFF2-40B4-BE49-F238E27FC236}">
                <a16:creationId xmlns:a16="http://schemas.microsoft.com/office/drawing/2014/main" id="{CAAF78CE-73CB-4723-BBEF-855D11B858E9}"/>
              </a:ext>
            </a:extLst>
          </p:cNvPr>
          <p:cNvSpPr>
            <a:spLocks noGrp="1"/>
          </p:cNvSpPr>
          <p:nvPr>
            <p:ph type="body" sz="quarter" idx="13" hasCustomPrompt="1"/>
          </p:nvPr>
        </p:nvSpPr>
        <p:spPr>
          <a:xfrm>
            <a:off x="6442664" y="3616414"/>
            <a:ext cx="2160450" cy="914400"/>
          </a:xfrm>
        </p:spPr>
        <p:txBody>
          <a:bodyPr anchor="ctr">
            <a:normAutofit/>
          </a:bodyPr>
          <a:lstStyle>
            <a:lvl1pPr marL="0" indent="0" algn="ctr">
              <a:buNone/>
              <a:defRPr lang="fr-FR" sz="6000" b="1" kern="1200" dirty="0">
                <a:solidFill>
                  <a:schemeClr val="accent3"/>
                </a:solidFill>
                <a:latin typeface="+mn-lt"/>
                <a:ea typeface="+mn-ea"/>
                <a:cs typeface="+mn-cs"/>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27" name="Espace réservé du texte 23">
            <a:extLst>
              <a:ext uri="{FF2B5EF4-FFF2-40B4-BE49-F238E27FC236}">
                <a16:creationId xmlns:a16="http://schemas.microsoft.com/office/drawing/2014/main" id="{5BE217B0-5640-489A-99CD-89814185B713}"/>
              </a:ext>
            </a:extLst>
          </p:cNvPr>
          <p:cNvSpPr>
            <a:spLocks noGrp="1"/>
          </p:cNvSpPr>
          <p:nvPr>
            <p:ph type="body" sz="quarter" idx="14" hasCustomPrompt="1"/>
          </p:nvPr>
        </p:nvSpPr>
        <p:spPr>
          <a:xfrm>
            <a:off x="9296439" y="3616414"/>
            <a:ext cx="2160450" cy="914400"/>
          </a:xfrm>
        </p:spPr>
        <p:txBody>
          <a:bodyPr anchor="ctr">
            <a:normAutofit/>
          </a:bodyPr>
          <a:lstStyle>
            <a:lvl1pPr marL="0" indent="0" algn="ctr">
              <a:buNone/>
              <a:defRPr lang="fr-FR" sz="6000" b="1" kern="1200" dirty="0">
                <a:solidFill>
                  <a:schemeClr val="accent2"/>
                </a:solidFill>
                <a:latin typeface="+mn-lt"/>
                <a:ea typeface="+mn-ea"/>
                <a:cs typeface="+mn-cs"/>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28" name="Espace réservé du texte 23">
            <a:extLst>
              <a:ext uri="{FF2B5EF4-FFF2-40B4-BE49-F238E27FC236}">
                <a16:creationId xmlns:a16="http://schemas.microsoft.com/office/drawing/2014/main" id="{5552934F-672D-4D75-8920-60684CB42C38}"/>
              </a:ext>
            </a:extLst>
          </p:cNvPr>
          <p:cNvSpPr>
            <a:spLocks noGrp="1"/>
          </p:cNvSpPr>
          <p:nvPr>
            <p:ph type="body" sz="quarter" idx="15" hasCustomPrompt="1"/>
          </p:nvPr>
        </p:nvSpPr>
        <p:spPr>
          <a:xfrm>
            <a:off x="735112" y="3616414"/>
            <a:ext cx="2160450" cy="914400"/>
          </a:xfrm>
        </p:spPr>
        <p:txBody>
          <a:bodyPr anchor="ctr">
            <a:normAutofit/>
          </a:bodyPr>
          <a:lstStyle>
            <a:lvl1pPr marL="0" indent="0" algn="ctr">
              <a:buNone/>
              <a:defRPr lang="fr-FR" sz="6000" b="1" kern="1200" dirty="0">
                <a:solidFill>
                  <a:schemeClr val="accent1"/>
                </a:solidFill>
                <a:latin typeface="+mn-lt"/>
                <a:ea typeface="+mn-ea"/>
                <a:cs typeface="+mn-cs"/>
              </a:defRPr>
            </a:lvl1pPr>
            <a:lvl2pPr marL="0" indent="0">
              <a:buNone/>
              <a:defRPr/>
            </a:lvl2pPr>
            <a:lvl3pPr marL="88900" indent="0">
              <a:buNone/>
              <a:defRPr/>
            </a:lvl3pPr>
            <a:lvl4pPr marL="0" indent="0">
              <a:buNone/>
              <a:defRPr/>
            </a:lvl4pPr>
            <a:lvl5pPr marL="88900" indent="0">
              <a:buNone/>
              <a:defRPr/>
            </a:lvl5pPr>
          </a:lstStyle>
          <a:p>
            <a:pPr lvl="0"/>
            <a:r>
              <a:rPr lang="en-GB"/>
              <a:t>XXX</a:t>
            </a:r>
            <a:endParaRPr lang="en-GB" dirty="0"/>
          </a:p>
        </p:txBody>
      </p:sp>
      <p:sp>
        <p:nvSpPr>
          <p:cNvPr id="30" name="Espace réservé du texte 29">
            <a:extLst>
              <a:ext uri="{FF2B5EF4-FFF2-40B4-BE49-F238E27FC236}">
                <a16:creationId xmlns:a16="http://schemas.microsoft.com/office/drawing/2014/main" id="{2F1F0FA1-7E5E-40F6-B1A2-B77524C9DE46}"/>
              </a:ext>
            </a:extLst>
          </p:cNvPr>
          <p:cNvSpPr>
            <a:spLocks noGrp="1"/>
          </p:cNvSpPr>
          <p:nvPr>
            <p:ph type="body" sz="quarter" idx="16" hasCustomPrompt="1"/>
          </p:nvPr>
        </p:nvSpPr>
        <p:spPr>
          <a:xfrm>
            <a:off x="735112" y="4606119"/>
            <a:ext cx="2160450" cy="622881"/>
          </a:xfrm>
        </p:spPr>
        <p:txBody>
          <a:bodyPr>
            <a:normAutofit/>
          </a:bodyPr>
          <a:lstStyle>
            <a:lvl1pPr marL="0" indent="0" algn="ctr">
              <a:buNone/>
              <a:defRPr sz="1400" b="0"/>
            </a:lvl1pPr>
            <a:lvl2pPr marL="0" indent="0">
              <a:buNone/>
              <a:defRPr/>
            </a:lvl2pPr>
            <a:lvl3pPr marL="88900" indent="0">
              <a:buNone/>
              <a:defRPr/>
            </a:lvl3pPr>
            <a:lvl4pPr marL="0" indent="0">
              <a:buNone/>
              <a:defRPr/>
            </a:lvl4pPr>
            <a:lvl5pPr marL="88900" indent="0">
              <a:buNone/>
              <a:defRPr/>
            </a:lvl5pPr>
          </a:lstStyle>
          <a:p>
            <a:pPr lvl="0"/>
            <a:r>
              <a:rPr lang="en-GB"/>
              <a:t>Texte</a:t>
            </a:r>
            <a:endParaRPr lang="en-GB" dirty="0"/>
          </a:p>
        </p:txBody>
      </p:sp>
      <p:sp>
        <p:nvSpPr>
          <p:cNvPr id="31" name="Espace réservé du texte 29">
            <a:extLst>
              <a:ext uri="{FF2B5EF4-FFF2-40B4-BE49-F238E27FC236}">
                <a16:creationId xmlns:a16="http://schemas.microsoft.com/office/drawing/2014/main" id="{DEEBB227-5AE4-48D1-98A6-69D192A958DE}"/>
              </a:ext>
            </a:extLst>
          </p:cNvPr>
          <p:cNvSpPr>
            <a:spLocks noGrp="1"/>
          </p:cNvSpPr>
          <p:nvPr>
            <p:ph type="body" sz="quarter" idx="17" hasCustomPrompt="1"/>
          </p:nvPr>
        </p:nvSpPr>
        <p:spPr>
          <a:xfrm>
            <a:off x="3595430" y="4606119"/>
            <a:ext cx="2160450" cy="622881"/>
          </a:xfrm>
        </p:spPr>
        <p:txBody>
          <a:bodyPr>
            <a:normAutofit/>
          </a:bodyPr>
          <a:lstStyle>
            <a:lvl1pPr marL="0" indent="0" algn="ctr">
              <a:buNone/>
              <a:defRPr sz="1400" b="0"/>
            </a:lvl1pPr>
            <a:lvl2pPr marL="0" indent="0">
              <a:buNone/>
              <a:defRPr/>
            </a:lvl2pPr>
            <a:lvl3pPr marL="88900" indent="0">
              <a:buNone/>
              <a:defRPr/>
            </a:lvl3pPr>
            <a:lvl4pPr marL="0" indent="0">
              <a:buNone/>
              <a:defRPr/>
            </a:lvl4pPr>
            <a:lvl5pPr marL="88900" indent="0">
              <a:buNone/>
              <a:defRPr/>
            </a:lvl5pPr>
          </a:lstStyle>
          <a:p>
            <a:pPr lvl="0"/>
            <a:r>
              <a:rPr lang="en-GB"/>
              <a:t>Texte</a:t>
            </a:r>
            <a:endParaRPr lang="en-GB" dirty="0"/>
          </a:p>
        </p:txBody>
      </p:sp>
      <p:sp>
        <p:nvSpPr>
          <p:cNvPr id="34" name="Espace réservé du texte 29">
            <a:extLst>
              <a:ext uri="{FF2B5EF4-FFF2-40B4-BE49-F238E27FC236}">
                <a16:creationId xmlns:a16="http://schemas.microsoft.com/office/drawing/2014/main" id="{F6961EFD-7160-41CA-96C2-8AA7E09DB61C}"/>
              </a:ext>
            </a:extLst>
          </p:cNvPr>
          <p:cNvSpPr>
            <a:spLocks noGrp="1"/>
          </p:cNvSpPr>
          <p:nvPr>
            <p:ph type="body" sz="quarter" idx="18" hasCustomPrompt="1"/>
          </p:nvPr>
        </p:nvSpPr>
        <p:spPr>
          <a:xfrm>
            <a:off x="6442664" y="4606119"/>
            <a:ext cx="2160450" cy="622881"/>
          </a:xfrm>
        </p:spPr>
        <p:txBody>
          <a:bodyPr>
            <a:normAutofit/>
          </a:bodyPr>
          <a:lstStyle>
            <a:lvl1pPr marL="0" indent="0" algn="ctr">
              <a:buNone/>
              <a:defRPr sz="1400" b="0"/>
            </a:lvl1pPr>
            <a:lvl2pPr marL="0" indent="0">
              <a:buNone/>
              <a:defRPr/>
            </a:lvl2pPr>
            <a:lvl3pPr marL="88900" indent="0">
              <a:buNone/>
              <a:defRPr/>
            </a:lvl3pPr>
            <a:lvl4pPr marL="0" indent="0">
              <a:buNone/>
              <a:defRPr/>
            </a:lvl4pPr>
            <a:lvl5pPr marL="88900" indent="0">
              <a:buNone/>
              <a:defRPr/>
            </a:lvl5pPr>
          </a:lstStyle>
          <a:p>
            <a:pPr lvl="0"/>
            <a:r>
              <a:rPr lang="en-GB"/>
              <a:t>Texte</a:t>
            </a:r>
            <a:endParaRPr lang="en-GB" dirty="0"/>
          </a:p>
        </p:txBody>
      </p:sp>
      <p:sp>
        <p:nvSpPr>
          <p:cNvPr id="35" name="Espace réservé du texte 29">
            <a:extLst>
              <a:ext uri="{FF2B5EF4-FFF2-40B4-BE49-F238E27FC236}">
                <a16:creationId xmlns:a16="http://schemas.microsoft.com/office/drawing/2014/main" id="{62BC1751-D24D-4EEC-AF33-1ADD3D7A42D4}"/>
              </a:ext>
            </a:extLst>
          </p:cNvPr>
          <p:cNvSpPr>
            <a:spLocks noGrp="1"/>
          </p:cNvSpPr>
          <p:nvPr>
            <p:ph type="body" sz="quarter" idx="19" hasCustomPrompt="1"/>
          </p:nvPr>
        </p:nvSpPr>
        <p:spPr>
          <a:xfrm>
            <a:off x="9296439" y="4606119"/>
            <a:ext cx="2160450" cy="622881"/>
          </a:xfrm>
        </p:spPr>
        <p:txBody>
          <a:bodyPr>
            <a:normAutofit/>
          </a:bodyPr>
          <a:lstStyle>
            <a:lvl1pPr marL="0" indent="0" algn="ctr">
              <a:buNone/>
              <a:defRPr sz="1400" b="0"/>
            </a:lvl1pPr>
            <a:lvl2pPr marL="0" indent="0">
              <a:buNone/>
              <a:defRPr/>
            </a:lvl2pPr>
            <a:lvl3pPr marL="88900" indent="0">
              <a:buNone/>
              <a:defRPr/>
            </a:lvl3pPr>
            <a:lvl4pPr marL="0" indent="0">
              <a:buNone/>
              <a:defRPr/>
            </a:lvl4pPr>
            <a:lvl5pPr marL="88900" indent="0">
              <a:buNone/>
              <a:defRPr/>
            </a:lvl5pPr>
          </a:lstStyle>
          <a:p>
            <a:pPr lvl="0"/>
            <a:r>
              <a:rPr lang="en-GB"/>
              <a:t>Texte</a:t>
            </a:r>
            <a:endParaRPr lang="en-GB" dirty="0"/>
          </a:p>
        </p:txBody>
      </p:sp>
      <p:sp>
        <p:nvSpPr>
          <p:cNvPr id="22" name="Title 1">
            <a:extLst>
              <a:ext uri="{FF2B5EF4-FFF2-40B4-BE49-F238E27FC236}">
                <a16:creationId xmlns:a16="http://schemas.microsoft.com/office/drawing/2014/main" id="{020A1C1A-8E75-4429-8394-48E6A9A50CD4}"/>
              </a:ext>
            </a:extLst>
          </p:cNvPr>
          <p:cNvSpPr>
            <a:spLocks noGrp="1"/>
          </p:cNvSpPr>
          <p:nvPr>
            <p:ph type="title"/>
          </p:nvPr>
        </p:nvSpPr>
        <p:spPr>
          <a:xfrm>
            <a:off x="336000" y="169579"/>
            <a:ext cx="11520000" cy="1027099"/>
          </a:xfrm>
          <a:blipFill>
            <a:blip r:embed="rId3"/>
            <a:stretch>
              <a:fillRect/>
            </a:stretch>
          </a:blipFill>
        </p:spPr>
        <p:txBody>
          <a:bodyPr lIns="0" tIns="108000" bIns="144000" anchor="t">
            <a:noAutofit/>
          </a:bodyPr>
          <a:lstStyle>
            <a:lvl1pPr algn="ctr">
              <a:lnSpc>
                <a:spcPct val="90000"/>
              </a:lnSpc>
              <a:defRPr>
                <a:solidFill>
                  <a:schemeClr val="accent1"/>
                </a:solidFill>
              </a:defRPr>
            </a:lvl1pPr>
          </a:lstStyle>
          <a:p>
            <a:r>
              <a:rPr lang="en-GB"/>
              <a:t>Modifiez le style du titre</a:t>
            </a:r>
            <a:endParaRPr lang="en-GB" dirty="0"/>
          </a:p>
        </p:txBody>
      </p:sp>
      <p:sp>
        <p:nvSpPr>
          <p:cNvPr id="6" name="Espace réservé du numéro de diapositive 5">
            <a:extLst>
              <a:ext uri="{FF2B5EF4-FFF2-40B4-BE49-F238E27FC236}">
                <a16:creationId xmlns:a16="http://schemas.microsoft.com/office/drawing/2014/main" id="{E7C1EB9D-4579-46E8-AAE3-FD83BAD7388F}"/>
              </a:ext>
            </a:extLst>
          </p:cNvPr>
          <p:cNvSpPr>
            <a:spLocks noGrp="1"/>
          </p:cNvSpPr>
          <p:nvPr>
            <p:ph type="sldNum" sz="quarter" idx="10"/>
          </p:nvPr>
        </p:nvSpPr>
        <p:spPr/>
        <p:txBody>
          <a:bodyPr vert="horz" wrap="none" lIns="91440" tIns="0" rIns="91440" bIns="0" rtlCol="0" anchor="ctr">
            <a:spAutoFit/>
          </a:bodyPr>
          <a:lstStyle>
            <a:lvl1pPr>
              <a:defRPr lang="fr-FR" smtClean="0"/>
            </a:lvl1pPr>
          </a:lstStyle>
          <a:p>
            <a:r>
              <a:rPr lang="en-GB" dirty="0"/>
              <a:t>Slide / </a:t>
            </a:r>
            <a:fld id="{3EA6A558-C4CA-4506-B5EC-E793D5AE9532}" type="slidenum">
              <a:rPr lang="en-GB" smtClean="0"/>
              <a:pPr/>
              <a:t>‹#›</a:t>
            </a:fld>
            <a:endParaRPr lang="en-GB" dirty="0"/>
          </a:p>
        </p:txBody>
      </p:sp>
      <p:pic>
        <p:nvPicPr>
          <p:cNvPr id="20" name="Image 19">
            <a:extLst>
              <a:ext uri="{FF2B5EF4-FFF2-40B4-BE49-F238E27FC236}">
                <a16:creationId xmlns:a16="http://schemas.microsoft.com/office/drawing/2014/main" id="{6C3D3A15-5847-4F56-B1ED-07E6679572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8362" y="6079331"/>
            <a:ext cx="506185" cy="623888"/>
          </a:xfrm>
          <a:prstGeom prst="rect">
            <a:avLst/>
          </a:prstGeom>
        </p:spPr>
      </p:pic>
      <p:sp>
        <p:nvSpPr>
          <p:cNvPr id="21" name="Espace réservé du pied de page 3">
            <a:extLst>
              <a:ext uri="{FF2B5EF4-FFF2-40B4-BE49-F238E27FC236}">
                <a16:creationId xmlns:a16="http://schemas.microsoft.com/office/drawing/2014/main" id="{ECEAE438-C453-4F08-9B66-62E2EC94EA31}"/>
              </a:ext>
            </a:extLst>
          </p:cNvPr>
          <p:cNvSpPr>
            <a:spLocks noGrp="1"/>
          </p:cNvSpPr>
          <p:nvPr>
            <p:ph type="ftr" sz="quarter" idx="3"/>
          </p:nvPr>
        </p:nvSpPr>
        <p:spPr>
          <a:xfrm>
            <a:off x="876000" y="6356350"/>
            <a:ext cx="9583200" cy="365125"/>
          </a:xfrm>
          <a:prstGeom prst="rect">
            <a:avLst/>
          </a:prstGeom>
        </p:spPr>
        <p:txBody>
          <a:bodyPr vert="horz" lIns="91440" tIns="45720" rIns="91440" bIns="45720" rtlCol="0" anchor="ctr"/>
          <a:lstStyle>
            <a:lvl1pPr algn="l">
              <a:defRPr sz="900" cap="all" baseline="0">
                <a:solidFill>
                  <a:schemeClr val="tx1">
                    <a:tint val="75000"/>
                  </a:schemeClr>
                </a:solidFill>
              </a:defRPr>
            </a:lvl1pPr>
          </a:lstStyle>
          <a:p>
            <a:r>
              <a:rPr lang="en-GB" dirty="0"/>
              <a:t>CPS INTRODUCTION – NOVEMBER 2018</a:t>
            </a:r>
          </a:p>
        </p:txBody>
      </p:sp>
    </p:spTree>
    <p:extLst>
      <p:ext uri="{BB962C8B-B14F-4D97-AF65-F5344CB8AC3E}">
        <p14:creationId xmlns:p14="http://schemas.microsoft.com/office/powerpoint/2010/main" val="31364283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information">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A7B3AA0A-3BE5-4E5D-99B8-AE2160F2CD74}"/>
              </a:ext>
            </a:extLst>
          </p:cNvPr>
          <p:cNvSpPr>
            <a:spLocks noGrp="1"/>
          </p:cNvSpPr>
          <p:nvPr>
            <p:ph type="sldNum" sz="quarter" idx="10"/>
          </p:nvPr>
        </p:nvSpPr>
        <p:spPr/>
        <p:txBody>
          <a:bodyPr/>
          <a:lstStyle>
            <a:lvl1pPr>
              <a:defRPr>
                <a:solidFill>
                  <a:schemeClr val="bg1"/>
                </a:solidFill>
              </a:defRPr>
            </a:lvl1pPr>
          </a:lstStyle>
          <a:p>
            <a:r>
              <a:rPr lang="en-GB" dirty="0"/>
              <a:t>Slide / </a:t>
            </a:r>
            <a:fld id="{3EA6A558-C4CA-4506-B5EC-E793D5AE9532}" type="slidenum">
              <a:rPr lang="en-GB" smtClean="0"/>
              <a:pPr/>
              <a:t>‹#›</a:t>
            </a:fld>
            <a:endParaRPr lang="en-GB" dirty="0"/>
          </a:p>
        </p:txBody>
      </p:sp>
      <p:pic>
        <p:nvPicPr>
          <p:cNvPr id="3" name="Image 2">
            <a:extLst>
              <a:ext uri="{FF2B5EF4-FFF2-40B4-BE49-F238E27FC236}">
                <a16:creationId xmlns:a16="http://schemas.microsoft.com/office/drawing/2014/main" id="{9DFD6BE0-3882-402B-ABE6-4C3E9E7C5B8D}"/>
              </a:ext>
            </a:extLst>
          </p:cNvPr>
          <p:cNvPicPr>
            <a:picLocks noChangeAspect="1"/>
          </p:cNvPicPr>
          <p:nvPr userDrawn="1"/>
        </p:nvPicPr>
        <p:blipFill>
          <a:blip r:embed="rId2" cstate="screen">
            <a:lum bright="100000"/>
            <a:extLst>
              <a:ext uri="{28A0092B-C50C-407E-A947-70E740481C1C}">
                <a14:useLocalDpi xmlns:a14="http://schemas.microsoft.com/office/drawing/2010/main"/>
              </a:ext>
            </a:extLst>
          </a:blip>
          <a:stretch>
            <a:fillRect/>
          </a:stretch>
        </p:blipFill>
        <p:spPr>
          <a:xfrm>
            <a:off x="188362" y="6079331"/>
            <a:ext cx="506185" cy="623888"/>
          </a:xfrm>
          <a:prstGeom prst="rect">
            <a:avLst/>
          </a:prstGeom>
        </p:spPr>
      </p:pic>
      <p:sp>
        <p:nvSpPr>
          <p:cNvPr id="4" name="Rectangle 3">
            <a:extLst>
              <a:ext uri="{FF2B5EF4-FFF2-40B4-BE49-F238E27FC236}">
                <a16:creationId xmlns:a16="http://schemas.microsoft.com/office/drawing/2014/main" id="{BEE042C2-4EA8-4785-9737-6E370E14BA48}"/>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C65841C9-95C5-40DF-B862-635F025C5F29}"/>
              </a:ext>
            </a:extLst>
          </p:cNvPr>
          <p:cNvSpPr/>
          <p:nvPr userDrawn="1"/>
        </p:nvSpPr>
        <p:spPr>
          <a:xfrm>
            <a:off x="2619022" y="1083733"/>
            <a:ext cx="6953956" cy="4690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4" name="Rectangle 13">
            <a:extLst>
              <a:ext uri="{FF2B5EF4-FFF2-40B4-BE49-F238E27FC236}">
                <a16:creationId xmlns:a16="http://schemas.microsoft.com/office/drawing/2014/main" id="{109B863F-9D4D-4011-BC37-624A826494B1}"/>
              </a:ext>
            </a:extLst>
          </p:cNvPr>
          <p:cNvSpPr/>
          <p:nvPr userDrawn="1"/>
        </p:nvSpPr>
        <p:spPr>
          <a:xfrm>
            <a:off x="5816172" y="4357018"/>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 Placeholder 14">
            <a:extLst>
              <a:ext uri="{FF2B5EF4-FFF2-40B4-BE49-F238E27FC236}">
                <a16:creationId xmlns:a16="http://schemas.microsoft.com/office/drawing/2014/main" id="{D7FBF31D-5964-4BC3-B7B5-B8A077848A5F}"/>
              </a:ext>
            </a:extLst>
          </p:cNvPr>
          <p:cNvSpPr>
            <a:spLocks noGrp="1"/>
          </p:cNvSpPr>
          <p:nvPr>
            <p:ph type="body" sz="quarter" idx="11" hasCustomPrompt="1"/>
          </p:nvPr>
        </p:nvSpPr>
        <p:spPr>
          <a:xfrm>
            <a:off x="2901244" y="3837985"/>
            <a:ext cx="6389512" cy="424732"/>
          </a:xfrm>
        </p:spPr>
        <p:txBody>
          <a:bodyPr rIns="0" anchor="b">
            <a:spAutoFit/>
          </a:bodyPr>
          <a:lstStyle>
            <a:lvl1pPr marL="0" indent="0" algn="ctr">
              <a:buNone/>
              <a:defRPr sz="2400" cap="all" baseline="0"/>
            </a:lvl1pPr>
            <a:lvl2pPr marL="0" indent="0">
              <a:buNone/>
              <a:defRPr sz="2400"/>
            </a:lvl2pPr>
            <a:lvl3pPr marL="88900" indent="0">
              <a:buNone/>
              <a:defRPr sz="2400"/>
            </a:lvl3pPr>
            <a:lvl4pPr marL="0" indent="0">
              <a:buNone/>
              <a:defRPr sz="2400"/>
            </a:lvl4pPr>
            <a:lvl5pPr marL="88900" indent="0">
              <a:buNone/>
              <a:defRPr sz="2400"/>
            </a:lvl5pPr>
          </a:lstStyle>
          <a:p>
            <a:pPr lvl="0"/>
            <a:r>
              <a:rPr lang="en-GB"/>
              <a:t>Your text here</a:t>
            </a:r>
            <a:endParaRPr lang="en-GB" dirty="0"/>
          </a:p>
        </p:txBody>
      </p:sp>
      <p:sp>
        <p:nvSpPr>
          <p:cNvPr id="16" name="Text Placeholder 14">
            <a:extLst>
              <a:ext uri="{FF2B5EF4-FFF2-40B4-BE49-F238E27FC236}">
                <a16:creationId xmlns:a16="http://schemas.microsoft.com/office/drawing/2014/main" id="{40BAF786-FA06-464B-9942-9DA26E50F05E}"/>
              </a:ext>
            </a:extLst>
          </p:cNvPr>
          <p:cNvSpPr>
            <a:spLocks noGrp="1"/>
          </p:cNvSpPr>
          <p:nvPr>
            <p:ph type="body" sz="quarter" idx="12" hasCustomPrompt="1"/>
          </p:nvPr>
        </p:nvSpPr>
        <p:spPr>
          <a:xfrm>
            <a:off x="2901244" y="4527521"/>
            <a:ext cx="6389512" cy="313932"/>
          </a:xfrm>
        </p:spPr>
        <p:txBody>
          <a:bodyPr rIns="0" anchor="t">
            <a:spAutoFit/>
          </a:bodyPr>
          <a:lstStyle>
            <a:lvl1pPr marL="0" indent="0" algn="ctr">
              <a:buNone/>
              <a:defRPr sz="1600" b="0" cap="none" baseline="0"/>
            </a:lvl1pPr>
            <a:lvl2pPr marL="0" indent="0">
              <a:buNone/>
              <a:defRPr sz="2400"/>
            </a:lvl2pPr>
            <a:lvl3pPr marL="88900" indent="0">
              <a:buNone/>
              <a:defRPr sz="2400"/>
            </a:lvl3pPr>
            <a:lvl4pPr marL="0" indent="0">
              <a:buNone/>
              <a:defRPr sz="2400"/>
            </a:lvl4pPr>
            <a:lvl5pPr marL="88900" indent="0">
              <a:buNone/>
              <a:defRPr sz="2400"/>
            </a:lvl5pPr>
          </a:lstStyle>
          <a:p>
            <a:pPr lvl="0"/>
            <a:r>
              <a:rPr lang="en-GB"/>
              <a:t>Your text here</a:t>
            </a:r>
            <a:endParaRPr lang="en-GB" dirty="0"/>
          </a:p>
        </p:txBody>
      </p:sp>
    </p:spTree>
    <p:extLst>
      <p:ext uri="{BB962C8B-B14F-4D97-AF65-F5344CB8AC3E}">
        <p14:creationId xmlns:p14="http://schemas.microsoft.com/office/powerpoint/2010/main" val="36061888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A7B3AA0A-3BE5-4E5D-99B8-AE2160F2CD74}"/>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3" name="Espace réservé du pied de page 2">
            <a:extLst>
              <a:ext uri="{FF2B5EF4-FFF2-40B4-BE49-F238E27FC236}">
                <a16:creationId xmlns:a16="http://schemas.microsoft.com/office/drawing/2014/main" id="{B88F34FF-8B48-49EC-86F0-D8C46DA6660B}"/>
              </a:ext>
            </a:extLst>
          </p:cNvPr>
          <p:cNvSpPr>
            <a:spLocks noGrp="1"/>
          </p:cNvSpPr>
          <p:nvPr>
            <p:ph type="ftr" sz="quarter" idx="12"/>
          </p:nvPr>
        </p:nvSpPr>
        <p:spPr/>
        <p:txBody>
          <a:bodyPr/>
          <a:lstStyle/>
          <a:p>
            <a:r>
              <a:rPr lang="en-GB" dirty="0"/>
              <a:t>NAME OF THE PRESENTATION</a:t>
            </a:r>
          </a:p>
        </p:txBody>
      </p:sp>
    </p:spTree>
    <p:extLst>
      <p:ext uri="{BB962C8B-B14F-4D97-AF65-F5344CB8AC3E}">
        <p14:creationId xmlns:p14="http://schemas.microsoft.com/office/powerpoint/2010/main" val="38508106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mmary [x3]">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16508A9-744D-4E7B-9FE4-59B4CD2283AC}"/>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5" name="Espace réservé du pied de page 4">
            <a:extLst>
              <a:ext uri="{FF2B5EF4-FFF2-40B4-BE49-F238E27FC236}">
                <a16:creationId xmlns:a16="http://schemas.microsoft.com/office/drawing/2014/main" id="{1FC7DA10-1DFA-4749-A71E-07E5CD544EA4}"/>
              </a:ext>
            </a:extLst>
          </p:cNvPr>
          <p:cNvSpPr>
            <a:spLocks noGrp="1"/>
          </p:cNvSpPr>
          <p:nvPr>
            <p:ph type="ftr" sz="quarter" idx="12"/>
          </p:nvPr>
        </p:nvSpPr>
        <p:spPr/>
        <p:txBody>
          <a:bodyPr/>
          <a:lstStyle/>
          <a:p>
            <a:r>
              <a:rPr lang="en-GB" dirty="0"/>
              <a:t>CPS INTRODUCTION – NOVEMBER 2018</a:t>
            </a:r>
          </a:p>
        </p:txBody>
      </p:sp>
      <p:sp>
        <p:nvSpPr>
          <p:cNvPr id="9" name="Espace réservé du texte 8">
            <a:extLst>
              <a:ext uri="{FF2B5EF4-FFF2-40B4-BE49-F238E27FC236}">
                <a16:creationId xmlns:a16="http://schemas.microsoft.com/office/drawing/2014/main" id="{040AFA8F-D19E-4EF4-A57B-D26260014145}"/>
              </a:ext>
            </a:extLst>
          </p:cNvPr>
          <p:cNvSpPr>
            <a:spLocks noGrp="1"/>
          </p:cNvSpPr>
          <p:nvPr>
            <p:ph type="body" sz="quarter" idx="13" hasCustomPrompt="1"/>
          </p:nvPr>
        </p:nvSpPr>
        <p:spPr>
          <a:xfrm>
            <a:off x="2361088" y="2694703"/>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1</a:t>
            </a:r>
            <a:endParaRPr lang="en-GB" dirty="0"/>
          </a:p>
        </p:txBody>
      </p:sp>
      <p:sp>
        <p:nvSpPr>
          <p:cNvPr id="10" name="Espace réservé du texte 8">
            <a:extLst>
              <a:ext uri="{FF2B5EF4-FFF2-40B4-BE49-F238E27FC236}">
                <a16:creationId xmlns:a16="http://schemas.microsoft.com/office/drawing/2014/main" id="{EF8D1796-0BB5-49F3-99E4-682A53D766E2}"/>
              </a:ext>
            </a:extLst>
          </p:cNvPr>
          <p:cNvSpPr>
            <a:spLocks noGrp="1"/>
          </p:cNvSpPr>
          <p:nvPr>
            <p:ph type="body" sz="quarter" idx="14" hasCustomPrompt="1"/>
          </p:nvPr>
        </p:nvSpPr>
        <p:spPr>
          <a:xfrm>
            <a:off x="5642496" y="2694703"/>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2</a:t>
            </a:r>
            <a:endParaRPr lang="en-GB" dirty="0"/>
          </a:p>
        </p:txBody>
      </p:sp>
      <p:sp>
        <p:nvSpPr>
          <p:cNvPr id="11" name="Espace réservé du texte 8">
            <a:extLst>
              <a:ext uri="{FF2B5EF4-FFF2-40B4-BE49-F238E27FC236}">
                <a16:creationId xmlns:a16="http://schemas.microsoft.com/office/drawing/2014/main" id="{D5B66FC1-16B8-42C9-ADE0-A09FD3FAE1B1}"/>
              </a:ext>
            </a:extLst>
          </p:cNvPr>
          <p:cNvSpPr>
            <a:spLocks noGrp="1"/>
          </p:cNvSpPr>
          <p:nvPr>
            <p:ph type="body" sz="quarter" idx="15" hasCustomPrompt="1"/>
          </p:nvPr>
        </p:nvSpPr>
        <p:spPr>
          <a:xfrm>
            <a:off x="8923904" y="2694703"/>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3</a:t>
            </a:r>
            <a:endParaRPr lang="en-GB" dirty="0"/>
          </a:p>
        </p:txBody>
      </p:sp>
      <p:sp>
        <p:nvSpPr>
          <p:cNvPr id="16" name="Espace réservé du texte 8">
            <a:extLst>
              <a:ext uri="{FF2B5EF4-FFF2-40B4-BE49-F238E27FC236}">
                <a16:creationId xmlns:a16="http://schemas.microsoft.com/office/drawing/2014/main" id="{185F89B6-EC00-4D94-B556-3655A73C58AF}"/>
              </a:ext>
            </a:extLst>
          </p:cNvPr>
          <p:cNvSpPr>
            <a:spLocks noGrp="1"/>
          </p:cNvSpPr>
          <p:nvPr>
            <p:ph type="body" sz="quarter" idx="20" hasCustomPrompt="1"/>
          </p:nvPr>
        </p:nvSpPr>
        <p:spPr>
          <a:xfrm>
            <a:off x="1470976" y="3429000"/>
            <a:ext cx="2694624"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7" name="Espace réservé du texte 8">
            <a:extLst>
              <a:ext uri="{FF2B5EF4-FFF2-40B4-BE49-F238E27FC236}">
                <a16:creationId xmlns:a16="http://schemas.microsoft.com/office/drawing/2014/main" id="{A45D2D62-AC96-4399-B966-E0B5C80BC28F}"/>
              </a:ext>
            </a:extLst>
          </p:cNvPr>
          <p:cNvSpPr>
            <a:spLocks noGrp="1"/>
          </p:cNvSpPr>
          <p:nvPr>
            <p:ph type="body" sz="quarter" idx="21" hasCustomPrompt="1"/>
          </p:nvPr>
        </p:nvSpPr>
        <p:spPr>
          <a:xfrm>
            <a:off x="4752384" y="3429000"/>
            <a:ext cx="2694624"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8" name="Espace réservé du texte 8">
            <a:extLst>
              <a:ext uri="{FF2B5EF4-FFF2-40B4-BE49-F238E27FC236}">
                <a16:creationId xmlns:a16="http://schemas.microsoft.com/office/drawing/2014/main" id="{EC722B0D-B255-46A7-BA86-AAF6D9D7DB87}"/>
              </a:ext>
            </a:extLst>
          </p:cNvPr>
          <p:cNvSpPr>
            <a:spLocks noGrp="1"/>
          </p:cNvSpPr>
          <p:nvPr>
            <p:ph type="body" sz="quarter" idx="22" hasCustomPrompt="1"/>
          </p:nvPr>
        </p:nvSpPr>
        <p:spPr>
          <a:xfrm>
            <a:off x="8033792" y="3429000"/>
            <a:ext cx="2694624"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grpSp>
        <p:nvGrpSpPr>
          <p:cNvPr id="13" name="Group 4">
            <a:extLst>
              <a:ext uri="{FF2B5EF4-FFF2-40B4-BE49-F238E27FC236}">
                <a16:creationId xmlns:a16="http://schemas.microsoft.com/office/drawing/2014/main" id="{D9E88B03-9EFD-456B-ADCF-B68098EA9C6B}"/>
              </a:ext>
            </a:extLst>
          </p:cNvPr>
          <p:cNvGrpSpPr>
            <a:grpSpLocks noChangeAspect="1"/>
          </p:cNvGrpSpPr>
          <p:nvPr userDrawn="1"/>
        </p:nvGrpSpPr>
        <p:grpSpPr bwMode="auto">
          <a:xfrm>
            <a:off x="10545647" y="3732293"/>
            <a:ext cx="1084263" cy="1033463"/>
            <a:chOff x="6436" y="2923"/>
            <a:chExt cx="683" cy="651"/>
          </a:xfrm>
        </p:grpSpPr>
        <p:sp>
          <p:nvSpPr>
            <p:cNvPr id="14" name="Freeform 5">
              <a:extLst>
                <a:ext uri="{FF2B5EF4-FFF2-40B4-BE49-F238E27FC236}">
                  <a16:creationId xmlns:a16="http://schemas.microsoft.com/office/drawing/2014/main" id="{CC2CEABD-F8FD-4C62-9725-089AEDB79836}"/>
                </a:ext>
              </a:extLst>
            </p:cNvPr>
            <p:cNvSpPr>
              <a:spLocks/>
            </p:cNvSpPr>
            <p:nvPr userDrawn="1"/>
          </p:nvSpPr>
          <p:spPr bwMode="auto">
            <a:xfrm>
              <a:off x="6473" y="3217"/>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6">
              <a:extLst>
                <a:ext uri="{FF2B5EF4-FFF2-40B4-BE49-F238E27FC236}">
                  <a16:creationId xmlns:a16="http://schemas.microsoft.com/office/drawing/2014/main" id="{70653788-4B64-4CDE-9F18-29709A3CA533}"/>
                </a:ext>
              </a:extLst>
            </p:cNvPr>
            <p:cNvSpPr>
              <a:spLocks/>
            </p:cNvSpPr>
            <p:nvPr userDrawn="1"/>
          </p:nvSpPr>
          <p:spPr bwMode="auto">
            <a:xfrm>
              <a:off x="6448" y="3023"/>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7">
              <a:extLst>
                <a:ext uri="{FF2B5EF4-FFF2-40B4-BE49-F238E27FC236}">
                  <a16:creationId xmlns:a16="http://schemas.microsoft.com/office/drawing/2014/main" id="{CD33CCDB-4A5F-4349-81DD-4F6ED9632A32}"/>
                </a:ext>
              </a:extLst>
            </p:cNvPr>
            <p:cNvSpPr>
              <a:spLocks/>
            </p:cNvSpPr>
            <p:nvPr userDrawn="1"/>
          </p:nvSpPr>
          <p:spPr bwMode="auto">
            <a:xfrm>
              <a:off x="6461" y="3120"/>
              <a:ext cx="645" cy="357"/>
            </a:xfrm>
            <a:custGeom>
              <a:avLst/>
              <a:gdLst>
                <a:gd name="T0" fmla="*/ 0 w 645"/>
                <a:gd name="T1" fmla="*/ 191 h 357"/>
                <a:gd name="T2" fmla="*/ 181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81"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8">
              <a:extLst>
                <a:ext uri="{FF2B5EF4-FFF2-40B4-BE49-F238E27FC236}">
                  <a16:creationId xmlns:a16="http://schemas.microsoft.com/office/drawing/2014/main" id="{8191F416-2F37-4547-AA92-E8E337CC0827}"/>
                </a:ext>
              </a:extLst>
            </p:cNvPr>
            <p:cNvSpPr>
              <a:spLocks/>
            </p:cNvSpPr>
            <p:nvPr userDrawn="1"/>
          </p:nvSpPr>
          <p:spPr bwMode="auto">
            <a:xfrm>
              <a:off x="6436" y="2923"/>
              <a:ext cx="645" cy="357"/>
            </a:xfrm>
            <a:custGeom>
              <a:avLst/>
              <a:gdLst>
                <a:gd name="T0" fmla="*/ 0 w 645"/>
                <a:gd name="T1" fmla="*/ 191 h 357"/>
                <a:gd name="T2" fmla="*/ 178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78"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Title 1">
            <a:extLst>
              <a:ext uri="{FF2B5EF4-FFF2-40B4-BE49-F238E27FC236}">
                <a16:creationId xmlns:a16="http://schemas.microsoft.com/office/drawing/2014/main" id="{FA74E62C-808E-4979-82E5-74629E897133}"/>
              </a:ext>
            </a:extLst>
          </p:cNvPr>
          <p:cNvSpPr>
            <a:spLocks noGrp="1"/>
          </p:cNvSpPr>
          <p:nvPr>
            <p:ph type="title"/>
          </p:nvPr>
        </p:nvSpPr>
        <p:spPr>
          <a:xfrm>
            <a:off x="336000" y="169579"/>
            <a:ext cx="11520000" cy="1125821"/>
          </a:xfrm>
          <a:blipFill>
            <a:blip r:embed="rId2"/>
            <a:stretch>
              <a:fillRect/>
            </a:stretch>
          </a:blipFill>
        </p:spPr>
        <p:txBody>
          <a:bodyPr lIns="0" tIns="108000" bIns="0" anchor="t">
            <a:noAutofit/>
          </a:bodyPr>
          <a:lstStyle>
            <a:lvl1pPr algn="ctr">
              <a:lnSpc>
                <a:spcPct val="90000"/>
              </a:lnSpc>
              <a:defRPr>
                <a:solidFill>
                  <a:schemeClr val="accent1"/>
                </a:solidFill>
              </a:defRPr>
            </a:lvl1pPr>
          </a:lstStyle>
          <a:p>
            <a:r>
              <a:rPr lang="en-GB"/>
              <a:t>Modifiez le style du titre</a:t>
            </a:r>
            <a:endParaRPr lang="en-GB" dirty="0"/>
          </a:p>
        </p:txBody>
      </p:sp>
    </p:spTree>
    <p:extLst>
      <p:ext uri="{BB962C8B-B14F-4D97-AF65-F5344CB8AC3E}">
        <p14:creationId xmlns:p14="http://schemas.microsoft.com/office/powerpoint/2010/main" val="3971316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ackground Visual">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A7B3AA0A-3BE5-4E5D-99B8-AE2160F2CD74}"/>
              </a:ext>
            </a:extLst>
          </p:cNvPr>
          <p:cNvSpPr>
            <a:spLocks noGrp="1"/>
          </p:cNvSpPr>
          <p:nvPr>
            <p:ph type="sldNum" sz="quarter" idx="10"/>
          </p:nvPr>
        </p:nvSpPr>
        <p:spPr/>
        <p:txBody>
          <a:bodyPr/>
          <a:lstStyle>
            <a:lvl1pPr>
              <a:defRPr>
                <a:solidFill>
                  <a:schemeClr val="bg1"/>
                </a:solidFill>
              </a:defRPr>
            </a:lvl1pPr>
          </a:lstStyle>
          <a:p>
            <a:r>
              <a:rPr lang="en-GB" dirty="0"/>
              <a:t>Slide / </a:t>
            </a:r>
            <a:fld id="{3EA6A558-C4CA-4506-B5EC-E793D5AE9532}" type="slidenum">
              <a:rPr lang="en-GB" smtClean="0"/>
              <a:pPr/>
              <a:t>‹#›</a:t>
            </a:fld>
            <a:endParaRPr lang="en-GB" dirty="0"/>
          </a:p>
        </p:txBody>
      </p:sp>
      <p:pic>
        <p:nvPicPr>
          <p:cNvPr id="3" name="Image 2">
            <a:extLst>
              <a:ext uri="{FF2B5EF4-FFF2-40B4-BE49-F238E27FC236}">
                <a16:creationId xmlns:a16="http://schemas.microsoft.com/office/drawing/2014/main" id="{9DFD6BE0-3882-402B-ABE6-4C3E9E7C5B8D}"/>
              </a:ext>
            </a:extLst>
          </p:cNvPr>
          <p:cNvPicPr>
            <a:picLocks noChangeAspect="1"/>
          </p:cNvPicPr>
          <p:nvPr userDrawn="1"/>
        </p:nvPicPr>
        <p:blipFill>
          <a:blip r:embed="rId2" cstate="screen">
            <a:lum bright="100000"/>
            <a:extLst>
              <a:ext uri="{28A0092B-C50C-407E-A947-70E740481C1C}">
                <a14:useLocalDpi xmlns:a14="http://schemas.microsoft.com/office/drawing/2010/main"/>
              </a:ext>
            </a:extLst>
          </a:blip>
          <a:stretch>
            <a:fillRect/>
          </a:stretch>
        </p:blipFill>
        <p:spPr>
          <a:xfrm>
            <a:off x="188362" y="6079331"/>
            <a:ext cx="506185" cy="623888"/>
          </a:xfrm>
          <a:prstGeom prst="rect">
            <a:avLst/>
          </a:prstGeom>
        </p:spPr>
      </p:pic>
      <p:sp>
        <p:nvSpPr>
          <p:cNvPr id="4" name="Rectangle 3">
            <a:extLst>
              <a:ext uri="{FF2B5EF4-FFF2-40B4-BE49-F238E27FC236}">
                <a16:creationId xmlns:a16="http://schemas.microsoft.com/office/drawing/2014/main" id="{BEE042C2-4EA8-4785-9737-6E370E14BA48}"/>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8106121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p>
            <a:r>
              <a:rPr lang="en-GB"/>
              <a:t>Slide / </a:t>
            </a:r>
            <a:fld id="{3EA6A558-C4CA-4506-B5EC-E793D5AE9532}" type="slidenum">
              <a:rPr lang="en-GB" smtClean="0"/>
              <a:pPr/>
              <a:t>‹#›</a:t>
            </a:fld>
            <a:endParaRPr lang="en-GB" dirty="0"/>
          </a:p>
        </p:txBody>
      </p:sp>
      <p:sp>
        <p:nvSpPr>
          <p:cNvPr id="4" name="日期版面配置區 3"/>
          <p:cNvSpPr>
            <a:spLocks noGrp="1"/>
          </p:cNvSpPr>
          <p:nvPr>
            <p:ph type="dt" sz="half" idx="11"/>
          </p:nvPr>
        </p:nvSpPr>
        <p:spPr/>
        <p:txBody>
          <a:bodyPr/>
          <a:lstStyle/>
          <a:p>
            <a:fld id="{317E9F93-8240-4A70-B44D-1855F6CF5D19}" type="datetime6">
              <a:rPr lang="en-GB" smtClean="0"/>
              <a:t>January 24</a:t>
            </a:fld>
            <a:endParaRPr lang="en-GB" dirty="0"/>
          </a:p>
        </p:txBody>
      </p:sp>
      <p:sp>
        <p:nvSpPr>
          <p:cNvPr id="5" name="頁尾版面配置區 4"/>
          <p:cNvSpPr>
            <a:spLocks noGrp="1"/>
          </p:cNvSpPr>
          <p:nvPr>
            <p:ph type="ftr" sz="quarter" idx="12"/>
          </p:nvPr>
        </p:nvSpPr>
        <p:spPr/>
        <p:txBody>
          <a:bodyPr/>
          <a:lstStyle/>
          <a:p>
            <a:r>
              <a:rPr lang="en-GB"/>
              <a:t>CPSTW INTRODUCTION – 2019</a:t>
            </a:r>
            <a:endParaRPr lang="en-GB" dirty="0"/>
          </a:p>
        </p:txBody>
      </p:sp>
    </p:spTree>
    <p:extLst>
      <p:ext uri="{BB962C8B-B14F-4D97-AF65-F5344CB8AC3E}">
        <p14:creationId xmlns:p14="http://schemas.microsoft.com/office/powerpoint/2010/main" val="18651670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Highlighted Slid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3A0EE0-E236-48CC-A51B-AA53323C00B1}"/>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re 1">
            <a:extLst>
              <a:ext uri="{FF2B5EF4-FFF2-40B4-BE49-F238E27FC236}">
                <a16:creationId xmlns:a16="http://schemas.microsoft.com/office/drawing/2014/main" id="{9888DD00-2F2D-4271-B628-975C3030E67D}"/>
              </a:ext>
            </a:extLst>
          </p:cNvPr>
          <p:cNvSpPr>
            <a:spLocks noGrp="1"/>
          </p:cNvSpPr>
          <p:nvPr>
            <p:ph type="title"/>
          </p:nvPr>
        </p:nvSpPr>
        <p:spPr/>
        <p:txBody>
          <a:bodyPr/>
          <a:lstStyle>
            <a:lvl1pPr algn="ctr">
              <a:defRPr>
                <a:solidFill>
                  <a:schemeClr val="accent1"/>
                </a:solidFill>
              </a:defRPr>
            </a:lvl1pPr>
          </a:lstStyle>
          <a:p>
            <a:r>
              <a:rPr lang="fr-FR"/>
              <a:t>Modifiez le style du titre</a:t>
            </a:r>
          </a:p>
        </p:txBody>
      </p:sp>
      <p:sp>
        <p:nvSpPr>
          <p:cNvPr id="6" name="Espace réservé du numéro de diapositive 5">
            <a:extLst>
              <a:ext uri="{FF2B5EF4-FFF2-40B4-BE49-F238E27FC236}">
                <a16:creationId xmlns:a16="http://schemas.microsoft.com/office/drawing/2014/main" id="{E7C1EB9D-4579-46E8-AAE3-FD83BAD7388F}"/>
              </a:ext>
            </a:extLst>
          </p:cNvPr>
          <p:cNvSpPr>
            <a:spLocks noGrp="1"/>
          </p:cNvSpPr>
          <p:nvPr>
            <p:ph type="sldNum" sz="quarter" idx="10"/>
          </p:nvPr>
        </p:nvSpPr>
        <p:spPr/>
        <p:txBody>
          <a:bodyPr/>
          <a:lstStyle/>
          <a:p>
            <a:r>
              <a:rPr lang="fr-FR">
                <a:solidFill>
                  <a:srgbClr val="333333">
                    <a:tint val="75000"/>
                  </a:srgbClr>
                </a:solidFill>
              </a:rPr>
              <a:t>Slide / </a:t>
            </a:r>
            <a:fld id="{3EA6A558-C4CA-4506-B5EC-E793D5AE9532}" type="slidenum">
              <a:rPr lang="fr-FR" smtClean="0">
                <a:solidFill>
                  <a:srgbClr val="333333">
                    <a:tint val="75000"/>
                  </a:srgbClr>
                </a:solidFill>
              </a:rPr>
              <a:pPr/>
              <a:t>‹#›</a:t>
            </a:fld>
            <a:endParaRPr lang="fr-FR" dirty="0">
              <a:solidFill>
                <a:srgbClr val="333333">
                  <a:tint val="75000"/>
                </a:srgbClr>
              </a:solidFill>
            </a:endParaRPr>
          </a:p>
        </p:txBody>
      </p:sp>
      <p:sp>
        <p:nvSpPr>
          <p:cNvPr id="5" name="Rectangle 4">
            <a:extLst>
              <a:ext uri="{FF2B5EF4-FFF2-40B4-BE49-F238E27FC236}">
                <a16:creationId xmlns:a16="http://schemas.microsoft.com/office/drawing/2014/main" id="{90B8241A-757E-4272-A9DD-2937B65C0160}"/>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7" name="Image 6">
            <a:extLst>
              <a:ext uri="{FF2B5EF4-FFF2-40B4-BE49-F238E27FC236}">
                <a16:creationId xmlns:a16="http://schemas.microsoft.com/office/drawing/2014/main" id="{C53FA805-7A91-4F80-891E-C4712D9EF37E}"/>
              </a:ext>
            </a:extLst>
          </p:cNvPr>
          <p:cNvPicPr>
            <a:picLocks noChangeAspect="1"/>
          </p:cNvPicPr>
          <p:nvPr userDrawn="1"/>
        </p:nvPicPr>
        <p:blipFill>
          <a:blip r:embed="rId2"/>
          <a:stretch>
            <a:fillRect/>
          </a:stretch>
        </p:blipFill>
        <p:spPr>
          <a:xfrm>
            <a:off x="188362" y="6079331"/>
            <a:ext cx="506185" cy="623888"/>
          </a:xfrm>
          <a:prstGeom prst="rect">
            <a:avLst/>
          </a:prstGeom>
        </p:spPr>
      </p:pic>
    </p:spTree>
    <p:extLst>
      <p:ext uri="{BB962C8B-B14F-4D97-AF65-F5344CB8AC3E}">
        <p14:creationId xmlns:p14="http://schemas.microsoft.com/office/powerpoint/2010/main" val="3482479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cSld name="Background Image">
    <p:bg>
      <p:bgPr>
        <a:solidFill>
          <a:schemeClr val="bg2"/>
        </a:solidFill>
        <a:effectLst/>
      </p:bgPr>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A7B3AA0A-3BE5-4E5D-99B8-AE2160F2CD74}"/>
              </a:ext>
            </a:extLst>
          </p:cNvPr>
          <p:cNvSpPr>
            <a:spLocks noGrp="1"/>
          </p:cNvSpPr>
          <p:nvPr>
            <p:ph type="sldNum" sz="quarter" idx="10"/>
          </p:nvPr>
        </p:nvSpPr>
        <p:spPr/>
        <p:txBody>
          <a:bodyPr/>
          <a:lstStyle>
            <a:lvl1pPr>
              <a:defRPr>
                <a:solidFill>
                  <a:schemeClr val="bg1"/>
                </a:solidFill>
              </a:defRPr>
            </a:lvl1pPr>
          </a:lstStyle>
          <a:p>
            <a:r>
              <a:rPr lang="fr-FR">
                <a:solidFill>
                  <a:prstClr val="white"/>
                </a:solidFill>
              </a:rPr>
              <a:t>Slide / </a:t>
            </a:r>
            <a:fld id="{3EA6A558-C4CA-4506-B5EC-E793D5AE9532}" type="slidenum">
              <a:rPr lang="fr-FR" smtClean="0">
                <a:solidFill>
                  <a:prstClr val="white"/>
                </a:solidFill>
              </a:rPr>
              <a:pPr/>
              <a:t>‹#›</a:t>
            </a:fld>
            <a:endParaRPr lang="fr-FR" dirty="0">
              <a:solidFill>
                <a:prstClr val="white"/>
              </a:solidFill>
            </a:endParaRPr>
          </a:p>
        </p:txBody>
      </p:sp>
      <p:pic>
        <p:nvPicPr>
          <p:cNvPr id="3" name="Image 2">
            <a:extLst>
              <a:ext uri="{FF2B5EF4-FFF2-40B4-BE49-F238E27FC236}">
                <a16:creationId xmlns:a16="http://schemas.microsoft.com/office/drawing/2014/main" id="{9DFD6BE0-3882-402B-ABE6-4C3E9E7C5B8D}"/>
              </a:ext>
            </a:extLst>
          </p:cNvPr>
          <p:cNvPicPr>
            <a:picLocks noChangeAspect="1"/>
          </p:cNvPicPr>
          <p:nvPr userDrawn="1"/>
        </p:nvPicPr>
        <p:blipFill>
          <a:blip r:embed="rId2">
            <a:lum bright="100000"/>
          </a:blip>
          <a:stretch>
            <a:fillRect/>
          </a:stretch>
        </p:blipFill>
        <p:spPr>
          <a:xfrm>
            <a:off x="188362" y="6079331"/>
            <a:ext cx="506185" cy="623888"/>
          </a:xfrm>
          <a:prstGeom prst="rect">
            <a:avLst/>
          </a:prstGeom>
        </p:spPr>
      </p:pic>
      <p:sp>
        <p:nvSpPr>
          <p:cNvPr id="4" name="Rectangle 3">
            <a:extLst>
              <a:ext uri="{FF2B5EF4-FFF2-40B4-BE49-F238E27FC236}">
                <a16:creationId xmlns:a16="http://schemas.microsoft.com/office/drawing/2014/main" id="{BEE042C2-4EA8-4785-9737-6E370E14BA48}"/>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Tree>
    <p:extLst>
      <p:ext uri="{BB962C8B-B14F-4D97-AF65-F5344CB8AC3E}">
        <p14:creationId xmlns:p14="http://schemas.microsoft.com/office/powerpoint/2010/main" val="2424381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mmary [x4]">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16508A9-744D-4E7B-9FE4-59B4CD2283AC}"/>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5" name="Espace réservé du pied de page 4">
            <a:extLst>
              <a:ext uri="{FF2B5EF4-FFF2-40B4-BE49-F238E27FC236}">
                <a16:creationId xmlns:a16="http://schemas.microsoft.com/office/drawing/2014/main" id="{1FC7DA10-1DFA-4749-A71E-07E5CD544EA4}"/>
              </a:ext>
            </a:extLst>
          </p:cNvPr>
          <p:cNvSpPr>
            <a:spLocks noGrp="1"/>
          </p:cNvSpPr>
          <p:nvPr>
            <p:ph type="ftr" sz="quarter" idx="12"/>
          </p:nvPr>
        </p:nvSpPr>
        <p:spPr/>
        <p:txBody>
          <a:bodyPr/>
          <a:lstStyle/>
          <a:p>
            <a:r>
              <a:rPr lang="en-GB" dirty="0"/>
              <a:t>CPS INTRODUCTION – NOVEMBER 2018</a:t>
            </a:r>
          </a:p>
        </p:txBody>
      </p:sp>
      <p:sp>
        <p:nvSpPr>
          <p:cNvPr id="9" name="Espace réservé du texte 8">
            <a:extLst>
              <a:ext uri="{FF2B5EF4-FFF2-40B4-BE49-F238E27FC236}">
                <a16:creationId xmlns:a16="http://schemas.microsoft.com/office/drawing/2014/main" id="{040AFA8F-D19E-4EF4-A57B-D26260014145}"/>
              </a:ext>
            </a:extLst>
          </p:cNvPr>
          <p:cNvSpPr>
            <a:spLocks noGrp="1"/>
          </p:cNvSpPr>
          <p:nvPr>
            <p:ph type="body" sz="quarter" idx="13" hasCustomPrompt="1"/>
          </p:nvPr>
        </p:nvSpPr>
        <p:spPr>
          <a:xfrm>
            <a:off x="1946910" y="2694703"/>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1</a:t>
            </a:r>
            <a:endParaRPr lang="en-GB" dirty="0"/>
          </a:p>
        </p:txBody>
      </p:sp>
      <p:sp>
        <p:nvSpPr>
          <p:cNvPr id="10" name="Espace réservé du texte 8">
            <a:extLst>
              <a:ext uri="{FF2B5EF4-FFF2-40B4-BE49-F238E27FC236}">
                <a16:creationId xmlns:a16="http://schemas.microsoft.com/office/drawing/2014/main" id="{EF8D1796-0BB5-49F3-99E4-682A53D766E2}"/>
              </a:ext>
            </a:extLst>
          </p:cNvPr>
          <p:cNvSpPr>
            <a:spLocks noGrp="1"/>
          </p:cNvSpPr>
          <p:nvPr>
            <p:ph type="body" sz="quarter" idx="14" hasCustomPrompt="1"/>
          </p:nvPr>
        </p:nvSpPr>
        <p:spPr>
          <a:xfrm>
            <a:off x="4367486" y="2694703"/>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2</a:t>
            </a:r>
            <a:endParaRPr lang="en-GB" dirty="0"/>
          </a:p>
        </p:txBody>
      </p:sp>
      <p:sp>
        <p:nvSpPr>
          <p:cNvPr id="11" name="Espace réservé du texte 8">
            <a:extLst>
              <a:ext uri="{FF2B5EF4-FFF2-40B4-BE49-F238E27FC236}">
                <a16:creationId xmlns:a16="http://schemas.microsoft.com/office/drawing/2014/main" id="{D5B66FC1-16B8-42C9-ADE0-A09FD3FAE1B1}"/>
              </a:ext>
            </a:extLst>
          </p:cNvPr>
          <p:cNvSpPr>
            <a:spLocks noGrp="1"/>
          </p:cNvSpPr>
          <p:nvPr>
            <p:ph type="body" sz="quarter" idx="15" hasCustomPrompt="1"/>
          </p:nvPr>
        </p:nvSpPr>
        <p:spPr>
          <a:xfrm>
            <a:off x="6788062" y="2694703"/>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3</a:t>
            </a:r>
            <a:endParaRPr lang="en-GB" dirty="0"/>
          </a:p>
        </p:txBody>
      </p:sp>
      <p:sp>
        <p:nvSpPr>
          <p:cNvPr id="12" name="Espace réservé du texte 8">
            <a:extLst>
              <a:ext uri="{FF2B5EF4-FFF2-40B4-BE49-F238E27FC236}">
                <a16:creationId xmlns:a16="http://schemas.microsoft.com/office/drawing/2014/main" id="{D2E83211-12F9-442A-A50D-F4F9713867AD}"/>
              </a:ext>
            </a:extLst>
          </p:cNvPr>
          <p:cNvSpPr>
            <a:spLocks noGrp="1"/>
          </p:cNvSpPr>
          <p:nvPr>
            <p:ph type="body" sz="quarter" idx="16" hasCustomPrompt="1"/>
          </p:nvPr>
        </p:nvSpPr>
        <p:spPr>
          <a:xfrm>
            <a:off x="9208639" y="2694703"/>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4</a:t>
            </a:r>
            <a:endParaRPr lang="en-GB" dirty="0"/>
          </a:p>
        </p:txBody>
      </p:sp>
      <p:sp>
        <p:nvSpPr>
          <p:cNvPr id="16" name="Espace réservé du texte 8">
            <a:extLst>
              <a:ext uri="{FF2B5EF4-FFF2-40B4-BE49-F238E27FC236}">
                <a16:creationId xmlns:a16="http://schemas.microsoft.com/office/drawing/2014/main" id="{185F89B6-EC00-4D94-B556-3655A73C58AF}"/>
              </a:ext>
            </a:extLst>
          </p:cNvPr>
          <p:cNvSpPr>
            <a:spLocks noGrp="1"/>
          </p:cNvSpPr>
          <p:nvPr>
            <p:ph type="body" sz="quarter" idx="20" hasCustomPrompt="1"/>
          </p:nvPr>
        </p:nvSpPr>
        <p:spPr>
          <a:xfrm>
            <a:off x="1299259" y="3429000"/>
            <a:ext cx="2209702"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7" name="Espace réservé du texte 8">
            <a:extLst>
              <a:ext uri="{FF2B5EF4-FFF2-40B4-BE49-F238E27FC236}">
                <a16:creationId xmlns:a16="http://schemas.microsoft.com/office/drawing/2014/main" id="{A45D2D62-AC96-4399-B966-E0B5C80BC28F}"/>
              </a:ext>
            </a:extLst>
          </p:cNvPr>
          <p:cNvSpPr>
            <a:spLocks noGrp="1"/>
          </p:cNvSpPr>
          <p:nvPr>
            <p:ph type="body" sz="quarter" idx="21" hasCustomPrompt="1"/>
          </p:nvPr>
        </p:nvSpPr>
        <p:spPr>
          <a:xfrm>
            <a:off x="3719835" y="3429000"/>
            <a:ext cx="2209702"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8" name="Espace réservé du texte 8">
            <a:extLst>
              <a:ext uri="{FF2B5EF4-FFF2-40B4-BE49-F238E27FC236}">
                <a16:creationId xmlns:a16="http://schemas.microsoft.com/office/drawing/2014/main" id="{EC722B0D-B255-46A7-BA86-AAF6D9D7DB87}"/>
              </a:ext>
            </a:extLst>
          </p:cNvPr>
          <p:cNvSpPr>
            <a:spLocks noGrp="1"/>
          </p:cNvSpPr>
          <p:nvPr>
            <p:ph type="body" sz="quarter" idx="22" hasCustomPrompt="1"/>
          </p:nvPr>
        </p:nvSpPr>
        <p:spPr>
          <a:xfrm>
            <a:off x="6140411" y="3429000"/>
            <a:ext cx="2209702"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9" name="Espace réservé du texte 8">
            <a:extLst>
              <a:ext uri="{FF2B5EF4-FFF2-40B4-BE49-F238E27FC236}">
                <a16:creationId xmlns:a16="http://schemas.microsoft.com/office/drawing/2014/main" id="{61AFFE95-8AF7-4FD9-BF6F-B432D6673BE7}"/>
              </a:ext>
            </a:extLst>
          </p:cNvPr>
          <p:cNvSpPr>
            <a:spLocks noGrp="1"/>
          </p:cNvSpPr>
          <p:nvPr>
            <p:ph type="body" sz="quarter" idx="23" hasCustomPrompt="1"/>
          </p:nvPr>
        </p:nvSpPr>
        <p:spPr>
          <a:xfrm>
            <a:off x="8560988" y="3429000"/>
            <a:ext cx="2209702"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5" name="Title 1">
            <a:extLst>
              <a:ext uri="{FF2B5EF4-FFF2-40B4-BE49-F238E27FC236}">
                <a16:creationId xmlns:a16="http://schemas.microsoft.com/office/drawing/2014/main" id="{A4792205-FC62-4553-B142-4EF93EF093AA}"/>
              </a:ext>
            </a:extLst>
          </p:cNvPr>
          <p:cNvSpPr>
            <a:spLocks noGrp="1"/>
          </p:cNvSpPr>
          <p:nvPr>
            <p:ph type="title"/>
          </p:nvPr>
        </p:nvSpPr>
        <p:spPr>
          <a:xfrm>
            <a:off x="336000" y="169579"/>
            <a:ext cx="11520000" cy="1125821"/>
          </a:xfrm>
          <a:blipFill>
            <a:blip r:embed="rId2"/>
            <a:stretch>
              <a:fillRect/>
            </a:stretch>
          </a:blipFill>
        </p:spPr>
        <p:txBody>
          <a:bodyPr lIns="0" tIns="108000" bIns="144000" anchor="t">
            <a:noAutofit/>
          </a:bodyPr>
          <a:lstStyle>
            <a:lvl1pPr algn="ctr">
              <a:lnSpc>
                <a:spcPct val="90000"/>
              </a:lnSpc>
              <a:defRPr>
                <a:solidFill>
                  <a:schemeClr val="accent1"/>
                </a:solidFill>
              </a:defRPr>
            </a:lvl1pPr>
          </a:lstStyle>
          <a:p>
            <a:r>
              <a:rPr lang="en-GB"/>
              <a:t>Modifiez le style du titre</a:t>
            </a:r>
            <a:endParaRPr lang="en-GB" dirty="0"/>
          </a:p>
        </p:txBody>
      </p:sp>
      <p:grpSp>
        <p:nvGrpSpPr>
          <p:cNvPr id="25" name="Group 4">
            <a:extLst>
              <a:ext uri="{FF2B5EF4-FFF2-40B4-BE49-F238E27FC236}">
                <a16:creationId xmlns:a16="http://schemas.microsoft.com/office/drawing/2014/main" id="{6317369B-2CD5-401C-AC81-DAC3B337F261}"/>
              </a:ext>
            </a:extLst>
          </p:cNvPr>
          <p:cNvGrpSpPr>
            <a:grpSpLocks noChangeAspect="1"/>
          </p:cNvGrpSpPr>
          <p:nvPr userDrawn="1"/>
        </p:nvGrpSpPr>
        <p:grpSpPr bwMode="auto">
          <a:xfrm>
            <a:off x="10545647" y="3732293"/>
            <a:ext cx="1084263" cy="1033463"/>
            <a:chOff x="6436" y="2923"/>
            <a:chExt cx="683" cy="651"/>
          </a:xfrm>
        </p:grpSpPr>
        <p:sp>
          <p:nvSpPr>
            <p:cNvPr id="26" name="Freeform 5">
              <a:extLst>
                <a:ext uri="{FF2B5EF4-FFF2-40B4-BE49-F238E27FC236}">
                  <a16:creationId xmlns:a16="http://schemas.microsoft.com/office/drawing/2014/main" id="{A04CA561-5199-48BF-9999-4B2169DB9A4E}"/>
                </a:ext>
              </a:extLst>
            </p:cNvPr>
            <p:cNvSpPr>
              <a:spLocks/>
            </p:cNvSpPr>
            <p:nvPr userDrawn="1"/>
          </p:nvSpPr>
          <p:spPr bwMode="auto">
            <a:xfrm>
              <a:off x="6473" y="3217"/>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6">
              <a:extLst>
                <a:ext uri="{FF2B5EF4-FFF2-40B4-BE49-F238E27FC236}">
                  <a16:creationId xmlns:a16="http://schemas.microsoft.com/office/drawing/2014/main" id="{1BB00AAE-5029-4DAF-BD1A-725064056168}"/>
                </a:ext>
              </a:extLst>
            </p:cNvPr>
            <p:cNvSpPr>
              <a:spLocks/>
            </p:cNvSpPr>
            <p:nvPr userDrawn="1"/>
          </p:nvSpPr>
          <p:spPr bwMode="auto">
            <a:xfrm>
              <a:off x="6448" y="3023"/>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7">
              <a:extLst>
                <a:ext uri="{FF2B5EF4-FFF2-40B4-BE49-F238E27FC236}">
                  <a16:creationId xmlns:a16="http://schemas.microsoft.com/office/drawing/2014/main" id="{85D88EC4-379C-4904-AE1D-2694724F0ABF}"/>
                </a:ext>
              </a:extLst>
            </p:cNvPr>
            <p:cNvSpPr>
              <a:spLocks/>
            </p:cNvSpPr>
            <p:nvPr userDrawn="1"/>
          </p:nvSpPr>
          <p:spPr bwMode="auto">
            <a:xfrm>
              <a:off x="6461" y="3120"/>
              <a:ext cx="645" cy="357"/>
            </a:xfrm>
            <a:custGeom>
              <a:avLst/>
              <a:gdLst>
                <a:gd name="T0" fmla="*/ 0 w 645"/>
                <a:gd name="T1" fmla="*/ 191 h 357"/>
                <a:gd name="T2" fmla="*/ 181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81"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8">
              <a:extLst>
                <a:ext uri="{FF2B5EF4-FFF2-40B4-BE49-F238E27FC236}">
                  <a16:creationId xmlns:a16="http://schemas.microsoft.com/office/drawing/2014/main" id="{EC017F26-8386-4E9C-ADE0-00A154B2EE3F}"/>
                </a:ext>
              </a:extLst>
            </p:cNvPr>
            <p:cNvSpPr>
              <a:spLocks/>
            </p:cNvSpPr>
            <p:nvPr userDrawn="1"/>
          </p:nvSpPr>
          <p:spPr bwMode="auto">
            <a:xfrm>
              <a:off x="6436" y="2923"/>
              <a:ext cx="645" cy="357"/>
            </a:xfrm>
            <a:custGeom>
              <a:avLst/>
              <a:gdLst>
                <a:gd name="T0" fmla="*/ 0 w 645"/>
                <a:gd name="T1" fmla="*/ 191 h 357"/>
                <a:gd name="T2" fmla="*/ 178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78"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070715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mmary [x5]">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16508A9-744D-4E7B-9FE4-59B4CD2283AC}"/>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5" name="Espace réservé du pied de page 4">
            <a:extLst>
              <a:ext uri="{FF2B5EF4-FFF2-40B4-BE49-F238E27FC236}">
                <a16:creationId xmlns:a16="http://schemas.microsoft.com/office/drawing/2014/main" id="{1FC7DA10-1DFA-4749-A71E-07E5CD544EA4}"/>
              </a:ext>
            </a:extLst>
          </p:cNvPr>
          <p:cNvSpPr>
            <a:spLocks noGrp="1"/>
          </p:cNvSpPr>
          <p:nvPr>
            <p:ph type="ftr" sz="quarter" idx="12"/>
          </p:nvPr>
        </p:nvSpPr>
        <p:spPr/>
        <p:txBody>
          <a:bodyPr/>
          <a:lstStyle/>
          <a:p>
            <a:r>
              <a:rPr lang="en-GB" dirty="0"/>
              <a:t>CPS INTRODUCTION – NOVEMBER 2018</a:t>
            </a:r>
          </a:p>
        </p:txBody>
      </p:sp>
      <p:sp>
        <p:nvSpPr>
          <p:cNvPr id="9" name="Espace réservé du texte 8">
            <a:extLst>
              <a:ext uri="{FF2B5EF4-FFF2-40B4-BE49-F238E27FC236}">
                <a16:creationId xmlns:a16="http://schemas.microsoft.com/office/drawing/2014/main" id="{040AFA8F-D19E-4EF4-A57B-D26260014145}"/>
              </a:ext>
            </a:extLst>
          </p:cNvPr>
          <p:cNvSpPr>
            <a:spLocks noGrp="1"/>
          </p:cNvSpPr>
          <p:nvPr>
            <p:ph type="body" sz="quarter" idx="13" hasCustomPrompt="1"/>
          </p:nvPr>
        </p:nvSpPr>
        <p:spPr>
          <a:xfrm>
            <a:off x="2815520"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1</a:t>
            </a:r>
            <a:endParaRPr lang="en-GB" dirty="0"/>
          </a:p>
        </p:txBody>
      </p:sp>
      <p:sp>
        <p:nvSpPr>
          <p:cNvPr id="10" name="Espace réservé du texte 8">
            <a:extLst>
              <a:ext uri="{FF2B5EF4-FFF2-40B4-BE49-F238E27FC236}">
                <a16:creationId xmlns:a16="http://schemas.microsoft.com/office/drawing/2014/main" id="{EF8D1796-0BB5-49F3-99E4-682A53D766E2}"/>
              </a:ext>
            </a:extLst>
          </p:cNvPr>
          <p:cNvSpPr>
            <a:spLocks noGrp="1"/>
          </p:cNvSpPr>
          <p:nvPr>
            <p:ph type="body" sz="quarter" idx="14" hasCustomPrompt="1"/>
          </p:nvPr>
        </p:nvSpPr>
        <p:spPr>
          <a:xfrm>
            <a:off x="5642496"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2</a:t>
            </a:r>
            <a:endParaRPr lang="en-GB" dirty="0"/>
          </a:p>
        </p:txBody>
      </p:sp>
      <p:sp>
        <p:nvSpPr>
          <p:cNvPr id="11" name="Espace réservé du texte 8">
            <a:extLst>
              <a:ext uri="{FF2B5EF4-FFF2-40B4-BE49-F238E27FC236}">
                <a16:creationId xmlns:a16="http://schemas.microsoft.com/office/drawing/2014/main" id="{D5B66FC1-16B8-42C9-ADE0-A09FD3FAE1B1}"/>
              </a:ext>
            </a:extLst>
          </p:cNvPr>
          <p:cNvSpPr>
            <a:spLocks noGrp="1"/>
          </p:cNvSpPr>
          <p:nvPr>
            <p:ph type="body" sz="quarter" idx="15" hasCustomPrompt="1"/>
          </p:nvPr>
        </p:nvSpPr>
        <p:spPr>
          <a:xfrm>
            <a:off x="8459312"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3</a:t>
            </a:r>
            <a:endParaRPr lang="en-GB" dirty="0"/>
          </a:p>
        </p:txBody>
      </p:sp>
      <p:sp>
        <p:nvSpPr>
          <p:cNvPr id="12" name="Espace réservé du texte 8">
            <a:extLst>
              <a:ext uri="{FF2B5EF4-FFF2-40B4-BE49-F238E27FC236}">
                <a16:creationId xmlns:a16="http://schemas.microsoft.com/office/drawing/2014/main" id="{D2E83211-12F9-442A-A50D-F4F9713867AD}"/>
              </a:ext>
            </a:extLst>
          </p:cNvPr>
          <p:cNvSpPr>
            <a:spLocks noGrp="1"/>
          </p:cNvSpPr>
          <p:nvPr>
            <p:ph type="body" sz="quarter" idx="16" hasCustomPrompt="1"/>
          </p:nvPr>
        </p:nvSpPr>
        <p:spPr>
          <a:xfrm>
            <a:off x="4222816"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4</a:t>
            </a:r>
            <a:endParaRPr lang="en-GB" dirty="0"/>
          </a:p>
        </p:txBody>
      </p:sp>
      <p:sp>
        <p:nvSpPr>
          <p:cNvPr id="13" name="Espace réservé du texte 8">
            <a:extLst>
              <a:ext uri="{FF2B5EF4-FFF2-40B4-BE49-F238E27FC236}">
                <a16:creationId xmlns:a16="http://schemas.microsoft.com/office/drawing/2014/main" id="{537E036A-09FA-46FE-AEBC-6AB5A5444D28}"/>
              </a:ext>
            </a:extLst>
          </p:cNvPr>
          <p:cNvSpPr>
            <a:spLocks noGrp="1"/>
          </p:cNvSpPr>
          <p:nvPr>
            <p:ph type="body" sz="quarter" idx="17" hasCustomPrompt="1"/>
          </p:nvPr>
        </p:nvSpPr>
        <p:spPr>
          <a:xfrm>
            <a:off x="7049792"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5</a:t>
            </a:r>
            <a:endParaRPr lang="en-GB" dirty="0"/>
          </a:p>
        </p:txBody>
      </p:sp>
      <p:sp>
        <p:nvSpPr>
          <p:cNvPr id="16" name="Espace réservé du texte 8">
            <a:extLst>
              <a:ext uri="{FF2B5EF4-FFF2-40B4-BE49-F238E27FC236}">
                <a16:creationId xmlns:a16="http://schemas.microsoft.com/office/drawing/2014/main" id="{185F89B6-EC00-4D94-B556-3655A73C58AF}"/>
              </a:ext>
            </a:extLst>
          </p:cNvPr>
          <p:cNvSpPr>
            <a:spLocks noGrp="1"/>
          </p:cNvSpPr>
          <p:nvPr>
            <p:ph type="body" sz="quarter" idx="20" hasCustomPrompt="1"/>
          </p:nvPr>
        </p:nvSpPr>
        <p:spPr>
          <a:xfrm>
            <a:off x="2069440" y="2891764"/>
            <a:ext cx="240656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7" name="Espace réservé du texte 8">
            <a:extLst>
              <a:ext uri="{FF2B5EF4-FFF2-40B4-BE49-F238E27FC236}">
                <a16:creationId xmlns:a16="http://schemas.microsoft.com/office/drawing/2014/main" id="{A45D2D62-AC96-4399-B966-E0B5C80BC28F}"/>
              </a:ext>
            </a:extLst>
          </p:cNvPr>
          <p:cNvSpPr>
            <a:spLocks noGrp="1"/>
          </p:cNvSpPr>
          <p:nvPr>
            <p:ph type="body" sz="quarter" idx="21" hasCustomPrompt="1"/>
          </p:nvPr>
        </p:nvSpPr>
        <p:spPr>
          <a:xfrm>
            <a:off x="4896416" y="2891764"/>
            <a:ext cx="240656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8" name="Espace réservé du texte 8">
            <a:extLst>
              <a:ext uri="{FF2B5EF4-FFF2-40B4-BE49-F238E27FC236}">
                <a16:creationId xmlns:a16="http://schemas.microsoft.com/office/drawing/2014/main" id="{EC722B0D-B255-46A7-BA86-AAF6D9D7DB87}"/>
              </a:ext>
            </a:extLst>
          </p:cNvPr>
          <p:cNvSpPr>
            <a:spLocks noGrp="1"/>
          </p:cNvSpPr>
          <p:nvPr>
            <p:ph type="body" sz="quarter" idx="22" hasCustomPrompt="1"/>
          </p:nvPr>
        </p:nvSpPr>
        <p:spPr>
          <a:xfrm>
            <a:off x="7713232" y="2891764"/>
            <a:ext cx="240656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9" name="Espace réservé du texte 8">
            <a:extLst>
              <a:ext uri="{FF2B5EF4-FFF2-40B4-BE49-F238E27FC236}">
                <a16:creationId xmlns:a16="http://schemas.microsoft.com/office/drawing/2014/main" id="{61AFFE95-8AF7-4FD9-BF6F-B432D6673BE7}"/>
              </a:ext>
            </a:extLst>
          </p:cNvPr>
          <p:cNvSpPr>
            <a:spLocks noGrp="1"/>
          </p:cNvSpPr>
          <p:nvPr>
            <p:ph type="body" sz="quarter" idx="23" hasCustomPrompt="1"/>
          </p:nvPr>
        </p:nvSpPr>
        <p:spPr>
          <a:xfrm>
            <a:off x="3476736" y="4904817"/>
            <a:ext cx="240656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0" name="Espace réservé du texte 8">
            <a:extLst>
              <a:ext uri="{FF2B5EF4-FFF2-40B4-BE49-F238E27FC236}">
                <a16:creationId xmlns:a16="http://schemas.microsoft.com/office/drawing/2014/main" id="{11F63256-0C1C-4799-858F-B28C38060C79}"/>
              </a:ext>
            </a:extLst>
          </p:cNvPr>
          <p:cNvSpPr>
            <a:spLocks noGrp="1"/>
          </p:cNvSpPr>
          <p:nvPr>
            <p:ph type="body" sz="quarter" idx="24" hasCustomPrompt="1"/>
          </p:nvPr>
        </p:nvSpPr>
        <p:spPr>
          <a:xfrm>
            <a:off x="6303712" y="4905613"/>
            <a:ext cx="240656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1" name="Title 1">
            <a:extLst>
              <a:ext uri="{FF2B5EF4-FFF2-40B4-BE49-F238E27FC236}">
                <a16:creationId xmlns:a16="http://schemas.microsoft.com/office/drawing/2014/main" id="{3DCE6171-D685-4CFD-8072-5669F2FD3983}"/>
              </a:ext>
            </a:extLst>
          </p:cNvPr>
          <p:cNvSpPr>
            <a:spLocks noGrp="1"/>
          </p:cNvSpPr>
          <p:nvPr>
            <p:ph type="title"/>
          </p:nvPr>
        </p:nvSpPr>
        <p:spPr>
          <a:xfrm>
            <a:off x="336000" y="169579"/>
            <a:ext cx="11520000" cy="1125821"/>
          </a:xfrm>
          <a:blipFill>
            <a:blip r:embed="rId2"/>
            <a:stretch>
              <a:fillRect/>
            </a:stretch>
          </a:blipFill>
        </p:spPr>
        <p:txBody>
          <a:bodyPr lIns="0" tIns="108000" bIns="144000" anchor="t">
            <a:noAutofit/>
          </a:bodyPr>
          <a:lstStyle>
            <a:lvl1pPr algn="ctr">
              <a:lnSpc>
                <a:spcPct val="90000"/>
              </a:lnSpc>
              <a:defRPr>
                <a:solidFill>
                  <a:schemeClr val="accent1"/>
                </a:solidFill>
              </a:defRPr>
            </a:lvl1pPr>
          </a:lstStyle>
          <a:p>
            <a:r>
              <a:rPr lang="en-GB"/>
              <a:t>Modifiez le style du titre</a:t>
            </a:r>
            <a:endParaRPr lang="en-GB" dirty="0"/>
          </a:p>
        </p:txBody>
      </p:sp>
      <p:grpSp>
        <p:nvGrpSpPr>
          <p:cNvPr id="22" name="Group 4">
            <a:extLst>
              <a:ext uri="{FF2B5EF4-FFF2-40B4-BE49-F238E27FC236}">
                <a16:creationId xmlns:a16="http://schemas.microsoft.com/office/drawing/2014/main" id="{868D895C-96B0-461E-9367-5871DF0726E3}"/>
              </a:ext>
            </a:extLst>
          </p:cNvPr>
          <p:cNvGrpSpPr>
            <a:grpSpLocks noChangeAspect="1"/>
          </p:cNvGrpSpPr>
          <p:nvPr userDrawn="1"/>
        </p:nvGrpSpPr>
        <p:grpSpPr bwMode="auto">
          <a:xfrm>
            <a:off x="9577660" y="4149000"/>
            <a:ext cx="1084263" cy="1033463"/>
            <a:chOff x="6436" y="2923"/>
            <a:chExt cx="683" cy="651"/>
          </a:xfrm>
        </p:grpSpPr>
        <p:sp>
          <p:nvSpPr>
            <p:cNvPr id="25" name="Freeform 5">
              <a:extLst>
                <a:ext uri="{FF2B5EF4-FFF2-40B4-BE49-F238E27FC236}">
                  <a16:creationId xmlns:a16="http://schemas.microsoft.com/office/drawing/2014/main" id="{DA54990C-B7D2-49CF-B86F-042955672236}"/>
                </a:ext>
              </a:extLst>
            </p:cNvPr>
            <p:cNvSpPr>
              <a:spLocks/>
            </p:cNvSpPr>
            <p:nvPr userDrawn="1"/>
          </p:nvSpPr>
          <p:spPr bwMode="auto">
            <a:xfrm>
              <a:off x="6473" y="3217"/>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6">
              <a:extLst>
                <a:ext uri="{FF2B5EF4-FFF2-40B4-BE49-F238E27FC236}">
                  <a16:creationId xmlns:a16="http://schemas.microsoft.com/office/drawing/2014/main" id="{950C49B3-20EC-4F19-BB62-6BF1325628A5}"/>
                </a:ext>
              </a:extLst>
            </p:cNvPr>
            <p:cNvSpPr>
              <a:spLocks/>
            </p:cNvSpPr>
            <p:nvPr userDrawn="1"/>
          </p:nvSpPr>
          <p:spPr bwMode="auto">
            <a:xfrm>
              <a:off x="6448" y="3023"/>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7">
              <a:extLst>
                <a:ext uri="{FF2B5EF4-FFF2-40B4-BE49-F238E27FC236}">
                  <a16:creationId xmlns:a16="http://schemas.microsoft.com/office/drawing/2014/main" id="{0B477E9E-85CA-4195-9892-5DE93772AC3D}"/>
                </a:ext>
              </a:extLst>
            </p:cNvPr>
            <p:cNvSpPr>
              <a:spLocks/>
            </p:cNvSpPr>
            <p:nvPr userDrawn="1"/>
          </p:nvSpPr>
          <p:spPr bwMode="auto">
            <a:xfrm>
              <a:off x="6461" y="3120"/>
              <a:ext cx="645" cy="357"/>
            </a:xfrm>
            <a:custGeom>
              <a:avLst/>
              <a:gdLst>
                <a:gd name="T0" fmla="*/ 0 w 645"/>
                <a:gd name="T1" fmla="*/ 191 h 357"/>
                <a:gd name="T2" fmla="*/ 181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81"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8">
              <a:extLst>
                <a:ext uri="{FF2B5EF4-FFF2-40B4-BE49-F238E27FC236}">
                  <a16:creationId xmlns:a16="http://schemas.microsoft.com/office/drawing/2014/main" id="{8E4C2A58-29C7-45EE-8A86-CA31D8C9EB33}"/>
                </a:ext>
              </a:extLst>
            </p:cNvPr>
            <p:cNvSpPr>
              <a:spLocks/>
            </p:cNvSpPr>
            <p:nvPr userDrawn="1"/>
          </p:nvSpPr>
          <p:spPr bwMode="auto">
            <a:xfrm>
              <a:off x="6436" y="2923"/>
              <a:ext cx="645" cy="357"/>
            </a:xfrm>
            <a:custGeom>
              <a:avLst/>
              <a:gdLst>
                <a:gd name="T0" fmla="*/ 0 w 645"/>
                <a:gd name="T1" fmla="*/ 191 h 357"/>
                <a:gd name="T2" fmla="*/ 178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78"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568250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 [x6]">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16508A9-744D-4E7B-9FE4-59B4CD2283AC}"/>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5" name="Espace réservé du pied de page 4">
            <a:extLst>
              <a:ext uri="{FF2B5EF4-FFF2-40B4-BE49-F238E27FC236}">
                <a16:creationId xmlns:a16="http://schemas.microsoft.com/office/drawing/2014/main" id="{1FC7DA10-1DFA-4749-A71E-07E5CD544EA4}"/>
              </a:ext>
            </a:extLst>
          </p:cNvPr>
          <p:cNvSpPr>
            <a:spLocks noGrp="1"/>
          </p:cNvSpPr>
          <p:nvPr>
            <p:ph type="ftr" sz="quarter" idx="12"/>
          </p:nvPr>
        </p:nvSpPr>
        <p:spPr/>
        <p:txBody>
          <a:bodyPr/>
          <a:lstStyle/>
          <a:p>
            <a:r>
              <a:rPr lang="en-GB" dirty="0"/>
              <a:t>CPS INTRODUCTION – NOVEMBER 2018</a:t>
            </a:r>
          </a:p>
        </p:txBody>
      </p:sp>
      <p:sp>
        <p:nvSpPr>
          <p:cNvPr id="9" name="Espace réservé du texte 8">
            <a:extLst>
              <a:ext uri="{FF2B5EF4-FFF2-40B4-BE49-F238E27FC236}">
                <a16:creationId xmlns:a16="http://schemas.microsoft.com/office/drawing/2014/main" id="{040AFA8F-D19E-4EF4-A57B-D26260014145}"/>
              </a:ext>
            </a:extLst>
          </p:cNvPr>
          <p:cNvSpPr>
            <a:spLocks noGrp="1"/>
          </p:cNvSpPr>
          <p:nvPr>
            <p:ph type="body" sz="quarter" idx="13" hasCustomPrompt="1"/>
          </p:nvPr>
        </p:nvSpPr>
        <p:spPr>
          <a:xfrm>
            <a:off x="2815520"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1</a:t>
            </a:r>
            <a:endParaRPr lang="en-GB" dirty="0"/>
          </a:p>
        </p:txBody>
      </p:sp>
      <p:sp>
        <p:nvSpPr>
          <p:cNvPr id="10" name="Espace réservé du texte 8">
            <a:extLst>
              <a:ext uri="{FF2B5EF4-FFF2-40B4-BE49-F238E27FC236}">
                <a16:creationId xmlns:a16="http://schemas.microsoft.com/office/drawing/2014/main" id="{EF8D1796-0BB5-49F3-99E4-682A53D766E2}"/>
              </a:ext>
            </a:extLst>
          </p:cNvPr>
          <p:cNvSpPr>
            <a:spLocks noGrp="1"/>
          </p:cNvSpPr>
          <p:nvPr>
            <p:ph type="body" sz="quarter" idx="14" hasCustomPrompt="1"/>
          </p:nvPr>
        </p:nvSpPr>
        <p:spPr>
          <a:xfrm>
            <a:off x="5642496"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2</a:t>
            </a:r>
            <a:endParaRPr lang="en-GB" dirty="0"/>
          </a:p>
        </p:txBody>
      </p:sp>
      <p:sp>
        <p:nvSpPr>
          <p:cNvPr id="11" name="Espace réservé du texte 8">
            <a:extLst>
              <a:ext uri="{FF2B5EF4-FFF2-40B4-BE49-F238E27FC236}">
                <a16:creationId xmlns:a16="http://schemas.microsoft.com/office/drawing/2014/main" id="{D5B66FC1-16B8-42C9-ADE0-A09FD3FAE1B1}"/>
              </a:ext>
            </a:extLst>
          </p:cNvPr>
          <p:cNvSpPr>
            <a:spLocks noGrp="1"/>
          </p:cNvSpPr>
          <p:nvPr>
            <p:ph type="body" sz="quarter" idx="15" hasCustomPrompt="1"/>
          </p:nvPr>
        </p:nvSpPr>
        <p:spPr>
          <a:xfrm>
            <a:off x="8459312"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3</a:t>
            </a:r>
            <a:endParaRPr lang="en-GB" dirty="0"/>
          </a:p>
        </p:txBody>
      </p:sp>
      <p:sp>
        <p:nvSpPr>
          <p:cNvPr id="12" name="Espace réservé du texte 8">
            <a:extLst>
              <a:ext uri="{FF2B5EF4-FFF2-40B4-BE49-F238E27FC236}">
                <a16:creationId xmlns:a16="http://schemas.microsoft.com/office/drawing/2014/main" id="{D2E83211-12F9-442A-A50D-F4F9713867AD}"/>
              </a:ext>
            </a:extLst>
          </p:cNvPr>
          <p:cNvSpPr>
            <a:spLocks noGrp="1"/>
          </p:cNvSpPr>
          <p:nvPr>
            <p:ph type="body" sz="quarter" idx="16" hasCustomPrompt="1"/>
          </p:nvPr>
        </p:nvSpPr>
        <p:spPr>
          <a:xfrm>
            <a:off x="2815520"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4</a:t>
            </a:r>
            <a:endParaRPr lang="en-GB" dirty="0"/>
          </a:p>
        </p:txBody>
      </p:sp>
      <p:sp>
        <p:nvSpPr>
          <p:cNvPr id="13" name="Espace réservé du texte 8">
            <a:extLst>
              <a:ext uri="{FF2B5EF4-FFF2-40B4-BE49-F238E27FC236}">
                <a16:creationId xmlns:a16="http://schemas.microsoft.com/office/drawing/2014/main" id="{537E036A-09FA-46FE-AEBC-6AB5A5444D28}"/>
              </a:ext>
            </a:extLst>
          </p:cNvPr>
          <p:cNvSpPr>
            <a:spLocks noGrp="1"/>
          </p:cNvSpPr>
          <p:nvPr>
            <p:ph type="body" sz="quarter" idx="17" hasCustomPrompt="1"/>
          </p:nvPr>
        </p:nvSpPr>
        <p:spPr>
          <a:xfrm>
            <a:off x="5642496"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5</a:t>
            </a:r>
            <a:endParaRPr lang="en-GB" dirty="0"/>
          </a:p>
        </p:txBody>
      </p:sp>
      <p:sp>
        <p:nvSpPr>
          <p:cNvPr id="14" name="Espace réservé du texte 8">
            <a:extLst>
              <a:ext uri="{FF2B5EF4-FFF2-40B4-BE49-F238E27FC236}">
                <a16:creationId xmlns:a16="http://schemas.microsoft.com/office/drawing/2014/main" id="{61C17977-40C0-46BE-97B0-39F6349F0097}"/>
              </a:ext>
            </a:extLst>
          </p:cNvPr>
          <p:cNvSpPr>
            <a:spLocks noGrp="1"/>
          </p:cNvSpPr>
          <p:nvPr>
            <p:ph type="body" sz="quarter" idx="18" hasCustomPrompt="1"/>
          </p:nvPr>
        </p:nvSpPr>
        <p:spPr>
          <a:xfrm>
            <a:off x="8463532"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6</a:t>
            </a:r>
            <a:endParaRPr lang="en-GB" dirty="0"/>
          </a:p>
        </p:txBody>
      </p:sp>
      <p:sp>
        <p:nvSpPr>
          <p:cNvPr id="16" name="Espace réservé du texte 8">
            <a:extLst>
              <a:ext uri="{FF2B5EF4-FFF2-40B4-BE49-F238E27FC236}">
                <a16:creationId xmlns:a16="http://schemas.microsoft.com/office/drawing/2014/main" id="{185F89B6-EC00-4D94-B556-3655A73C58AF}"/>
              </a:ext>
            </a:extLst>
          </p:cNvPr>
          <p:cNvSpPr>
            <a:spLocks noGrp="1"/>
          </p:cNvSpPr>
          <p:nvPr>
            <p:ph type="body" sz="quarter" idx="20" hasCustomPrompt="1"/>
          </p:nvPr>
        </p:nvSpPr>
        <p:spPr>
          <a:xfrm>
            <a:off x="2016416" y="2891764"/>
            <a:ext cx="2512608"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7" name="Espace réservé du texte 8">
            <a:extLst>
              <a:ext uri="{FF2B5EF4-FFF2-40B4-BE49-F238E27FC236}">
                <a16:creationId xmlns:a16="http://schemas.microsoft.com/office/drawing/2014/main" id="{A45D2D62-AC96-4399-B966-E0B5C80BC28F}"/>
              </a:ext>
            </a:extLst>
          </p:cNvPr>
          <p:cNvSpPr>
            <a:spLocks noGrp="1"/>
          </p:cNvSpPr>
          <p:nvPr>
            <p:ph type="body" sz="quarter" idx="21" hasCustomPrompt="1"/>
          </p:nvPr>
        </p:nvSpPr>
        <p:spPr>
          <a:xfrm>
            <a:off x="4843392" y="2891764"/>
            <a:ext cx="2512608"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8" name="Espace réservé du texte 8">
            <a:extLst>
              <a:ext uri="{FF2B5EF4-FFF2-40B4-BE49-F238E27FC236}">
                <a16:creationId xmlns:a16="http://schemas.microsoft.com/office/drawing/2014/main" id="{EC722B0D-B255-46A7-BA86-AAF6D9D7DB87}"/>
              </a:ext>
            </a:extLst>
          </p:cNvPr>
          <p:cNvSpPr>
            <a:spLocks noGrp="1"/>
          </p:cNvSpPr>
          <p:nvPr>
            <p:ph type="body" sz="quarter" idx="22" hasCustomPrompt="1"/>
          </p:nvPr>
        </p:nvSpPr>
        <p:spPr>
          <a:xfrm>
            <a:off x="7660208" y="2891764"/>
            <a:ext cx="2512608"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9" name="Espace réservé du texte 8">
            <a:extLst>
              <a:ext uri="{FF2B5EF4-FFF2-40B4-BE49-F238E27FC236}">
                <a16:creationId xmlns:a16="http://schemas.microsoft.com/office/drawing/2014/main" id="{61AFFE95-8AF7-4FD9-BF6F-B432D6673BE7}"/>
              </a:ext>
            </a:extLst>
          </p:cNvPr>
          <p:cNvSpPr>
            <a:spLocks noGrp="1"/>
          </p:cNvSpPr>
          <p:nvPr>
            <p:ph type="body" sz="quarter" idx="23" hasCustomPrompt="1"/>
          </p:nvPr>
        </p:nvSpPr>
        <p:spPr>
          <a:xfrm>
            <a:off x="2016416" y="4904817"/>
            <a:ext cx="2512608"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0" name="Espace réservé du texte 8">
            <a:extLst>
              <a:ext uri="{FF2B5EF4-FFF2-40B4-BE49-F238E27FC236}">
                <a16:creationId xmlns:a16="http://schemas.microsoft.com/office/drawing/2014/main" id="{11F63256-0C1C-4799-858F-B28C38060C79}"/>
              </a:ext>
            </a:extLst>
          </p:cNvPr>
          <p:cNvSpPr>
            <a:spLocks noGrp="1"/>
          </p:cNvSpPr>
          <p:nvPr>
            <p:ph type="body" sz="quarter" idx="24" hasCustomPrompt="1"/>
          </p:nvPr>
        </p:nvSpPr>
        <p:spPr>
          <a:xfrm>
            <a:off x="4843392" y="4905613"/>
            <a:ext cx="2512608"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1" name="Espace réservé du texte 8">
            <a:extLst>
              <a:ext uri="{FF2B5EF4-FFF2-40B4-BE49-F238E27FC236}">
                <a16:creationId xmlns:a16="http://schemas.microsoft.com/office/drawing/2014/main" id="{5AA7E3C8-A0A4-440C-9977-14B17ED95C7F}"/>
              </a:ext>
            </a:extLst>
          </p:cNvPr>
          <p:cNvSpPr>
            <a:spLocks noGrp="1"/>
          </p:cNvSpPr>
          <p:nvPr>
            <p:ph type="body" sz="quarter" idx="25" hasCustomPrompt="1"/>
          </p:nvPr>
        </p:nvSpPr>
        <p:spPr>
          <a:xfrm>
            <a:off x="7664428" y="4905613"/>
            <a:ext cx="2512608"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2" name="Title 1">
            <a:extLst>
              <a:ext uri="{FF2B5EF4-FFF2-40B4-BE49-F238E27FC236}">
                <a16:creationId xmlns:a16="http://schemas.microsoft.com/office/drawing/2014/main" id="{7B4BFDA5-F46A-4354-BB16-5EFE2434F1B6}"/>
              </a:ext>
            </a:extLst>
          </p:cNvPr>
          <p:cNvSpPr>
            <a:spLocks noGrp="1"/>
          </p:cNvSpPr>
          <p:nvPr>
            <p:ph type="title"/>
          </p:nvPr>
        </p:nvSpPr>
        <p:spPr>
          <a:xfrm>
            <a:off x="336000" y="169579"/>
            <a:ext cx="11520000" cy="1125821"/>
          </a:xfrm>
          <a:blipFill>
            <a:blip r:embed="rId2"/>
            <a:stretch>
              <a:fillRect/>
            </a:stretch>
          </a:blipFill>
        </p:spPr>
        <p:txBody>
          <a:bodyPr lIns="0" tIns="108000" bIns="144000" anchor="t">
            <a:noAutofit/>
          </a:bodyPr>
          <a:lstStyle>
            <a:lvl1pPr algn="ctr">
              <a:lnSpc>
                <a:spcPct val="90000"/>
              </a:lnSpc>
              <a:defRPr>
                <a:solidFill>
                  <a:schemeClr val="accent1"/>
                </a:solidFill>
              </a:defRPr>
            </a:lvl1pPr>
          </a:lstStyle>
          <a:p>
            <a:r>
              <a:rPr lang="en-GB"/>
              <a:t>Modifiez le style du titre</a:t>
            </a:r>
            <a:endParaRPr lang="en-GB" dirty="0"/>
          </a:p>
        </p:txBody>
      </p:sp>
      <p:grpSp>
        <p:nvGrpSpPr>
          <p:cNvPr id="25" name="Group 4">
            <a:extLst>
              <a:ext uri="{FF2B5EF4-FFF2-40B4-BE49-F238E27FC236}">
                <a16:creationId xmlns:a16="http://schemas.microsoft.com/office/drawing/2014/main" id="{8648C08F-7038-4189-A33E-D25FF949A419}"/>
              </a:ext>
            </a:extLst>
          </p:cNvPr>
          <p:cNvGrpSpPr>
            <a:grpSpLocks noChangeAspect="1"/>
          </p:cNvGrpSpPr>
          <p:nvPr userDrawn="1"/>
        </p:nvGrpSpPr>
        <p:grpSpPr bwMode="auto">
          <a:xfrm>
            <a:off x="10262150" y="5047933"/>
            <a:ext cx="1084263" cy="1033463"/>
            <a:chOff x="6436" y="2923"/>
            <a:chExt cx="683" cy="651"/>
          </a:xfrm>
        </p:grpSpPr>
        <p:sp>
          <p:nvSpPr>
            <p:cNvPr id="26" name="Freeform 5">
              <a:extLst>
                <a:ext uri="{FF2B5EF4-FFF2-40B4-BE49-F238E27FC236}">
                  <a16:creationId xmlns:a16="http://schemas.microsoft.com/office/drawing/2014/main" id="{DD9596D3-90EF-438D-966C-A0FB940DC335}"/>
                </a:ext>
              </a:extLst>
            </p:cNvPr>
            <p:cNvSpPr>
              <a:spLocks/>
            </p:cNvSpPr>
            <p:nvPr userDrawn="1"/>
          </p:nvSpPr>
          <p:spPr bwMode="auto">
            <a:xfrm>
              <a:off x="6473" y="3217"/>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6">
              <a:extLst>
                <a:ext uri="{FF2B5EF4-FFF2-40B4-BE49-F238E27FC236}">
                  <a16:creationId xmlns:a16="http://schemas.microsoft.com/office/drawing/2014/main" id="{626E0306-433B-4B8F-8992-85691C0A9305}"/>
                </a:ext>
              </a:extLst>
            </p:cNvPr>
            <p:cNvSpPr>
              <a:spLocks/>
            </p:cNvSpPr>
            <p:nvPr userDrawn="1"/>
          </p:nvSpPr>
          <p:spPr bwMode="auto">
            <a:xfrm>
              <a:off x="6448" y="3023"/>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7">
              <a:extLst>
                <a:ext uri="{FF2B5EF4-FFF2-40B4-BE49-F238E27FC236}">
                  <a16:creationId xmlns:a16="http://schemas.microsoft.com/office/drawing/2014/main" id="{3633B6A0-882F-4ED4-BD2D-641AB43C83E1}"/>
                </a:ext>
              </a:extLst>
            </p:cNvPr>
            <p:cNvSpPr>
              <a:spLocks/>
            </p:cNvSpPr>
            <p:nvPr userDrawn="1"/>
          </p:nvSpPr>
          <p:spPr bwMode="auto">
            <a:xfrm>
              <a:off x="6461" y="3120"/>
              <a:ext cx="645" cy="357"/>
            </a:xfrm>
            <a:custGeom>
              <a:avLst/>
              <a:gdLst>
                <a:gd name="T0" fmla="*/ 0 w 645"/>
                <a:gd name="T1" fmla="*/ 191 h 357"/>
                <a:gd name="T2" fmla="*/ 181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81"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8">
              <a:extLst>
                <a:ext uri="{FF2B5EF4-FFF2-40B4-BE49-F238E27FC236}">
                  <a16:creationId xmlns:a16="http://schemas.microsoft.com/office/drawing/2014/main" id="{292813C0-4999-4B3B-BAE7-9E69513BFEBA}"/>
                </a:ext>
              </a:extLst>
            </p:cNvPr>
            <p:cNvSpPr>
              <a:spLocks/>
            </p:cNvSpPr>
            <p:nvPr userDrawn="1"/>
          </p:nvSpPr>
          <p:spPr bwMode="auto">
            <a:xfrm>
              <a:off x="6436" y="2923"/>
              <a:ext cx="645" cy="357"/>
            </a:xfrm>
            <a:custGeom>
              <a:avLst/>
              <a:gdLst>
                <a:gd name="T0" fmla="*/ 0 w 645"/>
                <a:gd name="T1" fmla="*/ 191 h 357"/>
                <a:gd name="T2" fmla="*/ 178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78"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1126418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x7]">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16508A9-744D-4E7B-9FE4-59B4CD2283AC}"/>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5" name="Espace réservé du pied de page 4">
            <a:extLst>
              <a:ext uri="{FF2B5EF4-FFF2-40B4-BE49-F238E27FC236}">
                <a16:creationId xmlns:a16="http://schemas.microsoft.com/office/drawing/2014/main" id="{1FC7DA10-1DFA-4749-A71E-07E5CD544EA4}"/>
              </a:ext>
            </a:extLst>
          </p:cNvPr>
          <p:cNvSpPr>
            <a:spLocks noGrp="1"/>
          </p:cNvSpPr>
          <p:nvPr>
            <p:ph type="ftr" sz="quarter" idx="12"/>
          </p:nvPr>
        </p:nvSpPr>
        <p:spPr/>
        <p:txBody>
          <a:bodyPr/>
          <a:lstStyle/>
          <a:p>
            <a:r>
              <a:rPr lang="en-GB" dirty="0"/>
              <a:t>CPS INTRODUCTION – NOVEMBER 2018</a:t>
            </a:r>
          </a:p>
        </p:txBody>
      </p:sp>
      <p:sp>
        <p:nvSpPr>
          <p:cNvPr id="9" name="Espace réservé du texte 8">
            <a:extLst>
              <a:ext uri="{FF2B5EF4-FFF2-40B4-BE49-F238E27FC236}">
                <a16:creationId xmlns:a16="http://schemas.microsoft.com/office/drawing/2014/main" id="{040AFA8F-D19E-4EF4-A57B-D26260014145}"/>
              </a:ext>
            </a:extLst>
          </p:cNvPr>
          <p:cNvSpPr>
            <a:spLocks noGrp="1"/>
          </p:cNvSpPr>
          <p:nvPr>
            <p:ph type="body" sz="quarter" idx="13" hasCustomPrompt="1"/>
          </p:nvPr>
        </p:nvSpPr>
        <p:spPr>
          <a:xfrm>
            <a:off x="1946910"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1</a:t>
            </a:r>
            <a:endParaRPr lang="en-GB" dirty="0"/>
          </a:p>
        </p:txBody>
      </p:sp>
      <p:sp>
        <p:nvSpPr>
          <p:cNvPr id="10" name="Espace réservé du texte 8">
            <a:extLst>
              <a:ext uri="{FF2B5EF4-FFF2-40B4-BE49-F238E27FC236}">
                <a16:creationId xmlns:a16="http://schemas.microsoft.com/office/drawing/2014/main" id="{EF8D1796-0BB5-49F3-99E4-682A53D766E2}"/>
              </a:ext>
            </a:extLst>
          </p:cNvPr>
          <p:cNvSpPr>
            <a:spLocks noGrp="1"/>
          </p:cNvSpPr>
          <p:nvPr>
            <p:ph type="body" sz="quarter" idx="14" hasCustomPrompt="1"/>
          </p:nvPr>
        </p:nvSpPr>
        <p:spPr>
          <a:xfrm>
            <a:off x="4367486"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2</a:t>
            </a:r>
            <a:endParaRPr lang="en-GB" dirty="0"/>
          </a:p>
        </p:txBody>
      </p:sp>
      <p:sp>
        <p:nvSpPr>
          <p:cNvPr id="11" name="Espace réservé du texte 8">
            <a:extLst>
              <a:ext uri="{FF2B5EF4-FFF2-40B4-BE49-F238E27FC236}">
                <a16:creationId xmlns:a16="http://schemas.microsoft.com/office/drawing/2014/main" id="{D5B66FC1-16B8-42C9-ADE0-A09FD3FAE1B1}"/>
              </a:ext>
            </a:extLst>
          </p:cNvPr>
          <p:cNvSpPr>
            <a:spLocks noGrp="1"/>
          </p:cNvSpPr>
          <p:nvPr>
            <p:ph type="body" sz="quarter" idx="15" hasCustomPrompt="1"/>
          </p:nvPr>
        </p:nvSpPr>
        <p:spPr>
          <a:xfrm>
            <a:off x="6788062"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3</a:t>
            </a:r>
            <a:endParaRPr lang="en-GB" dirty="0"/>
          </a:p>
        </p:txBody>
      </p:sp>
      <p:sp>
        <p:nvSpPr>
          <p:cNvPr id="12" name="Espace réservé du texte 8">
            <a:extLst>
              <a:ext uri="{FF2B5EF4-FFF2-40B4-BE49-F238E27FC236}">
                <a16:creationId xmlns:a16="http://schemas.microsoft.com/office/drawing/2014/main" id="{D2E83211-12F9-442A-A50D-F4F9713867AD}"/>
              </a:ext>
            </a:extLst>
          </p:cNvPr>
          <p:cNvSpPr>
            <a:spLocks noGrp="1"/>
          </p:cNvSpPr>
          <p:nvPr>
            <p:ph type="body" sz="quarter" idx="16" hasCustomPrompt="1"/>
          </p:nvPr>
        </p:nvSpPr>
        <p:spPr>
          <a:xfrm>
            <a:off x="9208639"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4</a:t>
            </a:r>
            <a:endParaRPr lang="en-GB" dirty="0"/>
          </a:p>
        </p:txBody>
      </p:sp>
      <p:sp>
        <p:nvSpPr>
          <p:cNvPr id="13" name="Espace réservé du texte 8">
            <a:extLst>
              <a:ext uri="{FF2B5EF4-FFF2-40B4-BE49-F238E27FC236}">
                <a16:creationId xmlns:a16="http://schemas.microsoft.com/office/drawing/2014/main" id="{537E036A-09FA-46FE-AEBC-6AB5A5444D28}"/>
              </a:ext>
            </a:extLst>
          </p:cNvPr>
          <p:cNvSpPr>
            <a:spLocks noGrp="1"/>
          </p:cNvSpPr>
          <p:nvPr>
            <p:ph type="body" sz="quarter" idx="17" hasCustomPrompt="1"/>
          </p:nvPr>
        </p:nvSpPr>
        <p:spPr>
          <a:xfrm>
            <a:off x="3191422"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5</a:t>
            </a:r>
            <a:endParaRPr lang="en-GB" dirty="0"/>
          </a:p>
        </p:txBody>
      </p:sp>
      <p:sp>
        <p:nvSpPr>
          <p:cNvPr id="14" name="Espace réservé du texte 8">
            <a:extLst>
              <a:ext uri="{FF2B5EF4-FFF2-40B4-BE49-F238E27FC236}">
                <a16:creationId xmlns:a16="http://schemas.microsoft.com/office/drawing/2014/main" id="{61C17977-40C0-46BE-97B0-39F6349F0097}"/>
              </a:ext>
            </a:extLst>
          </p:cNvPr>
          <p:cNvSpPr>
            <a:spLocks noGrp="1"/>
          </p:cNvSpPr>
          <p:nvPr>
            <p:ph type="body" sz="quarter" idx="18" hasCustomPrompt="1"/>
          </p:nvPr>
        </p:nvSpPr>
        <p:spPr>
          <a:xfrm>
            <a:off x="5616218"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6</a:t>
            </a:r>
            <a:endParaRPr lang="en-GB" dirty="0"/>
          </a:p>
        </p:txBody>
      </p:sp>
      <p:sp>
        <p:nvSpPr>
          <p:cNvPr id="15" name="Espace réservé du texte 8">
            <a:extLst>
              <a:ext uri="{FF2B5EF4-FFF2-40B4-BE49-F238E27FC236}">
                <a16:creationId xmlns:a16="http://schemas.microsoft.com/office/drawing/2014/main" id="{761FB88C-B080-440E-8F71-1D57A4FF510D}"/>
              </a:ext>
            </a:extLst>
          </p:cNvPr>
          <p:cNvSpPr>
            <a:spLocks noGrp="1"/>
          </p:cNvSpPr>
          <p:nvPr>
            <p:ph type="body" sz="quarter" idx="19" hasCustomPrompt="1"/>
          </p:nvPr>
        </p:nvSpPr>
        <p:spPr>
          <a:xfrm>
            <a:off x="8041015"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7</a:t>
            </a:r>
            <a:endParaRPr lang="en-GB" dirty="0"/>
          </a:p>
        </p:txBody>
      </p:sp>
      <p:sp>
        <p:nvSpPr>
          <p:cNvPr id="16" name="Espace réservé du texte 8">
            <a:extLst>
              <a:ext uri="{FF2B5EF4-FFF2-40B4-BE49-F238E27FC236}">
                <a16:creationId xmlns:a16="http://schemas.microsoft.com/office/drawing/2014/main" id="{185F89B6-EC00-4D94-B556-3655A73C58AF}"/>
              </a:ext>
            </a:extLst>
          </p:cNvPr>
          <p:cNvSpPr>
            <a:spLocks noGrp="1"/>
          </p:cNvSpPr>
          <p:nvPr>
            <p:ph type="body" sz="quarter" idx="20" hasCustomPrompt="1"/>
          </p:nvPr>
        </p:nvSpPr>
        <p:spPr>
          <a:xfrm>
            <a:off x="1343660" y="2891764"/>
            <a:ext cx="212090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7" name="Espace réservé du texte 8">
            <a:extLst>
              <a:ext uri="{FF2B5EF4-FFF2-40B4-BE49-F238E27FC236}">
                <a16:creationId xmlns:a16="http://schemas.microsoft.com/office/drawing/2014/main" id="{A45D2D62-AC96-4399-B966-E0B5C80BC28F}"/>
              </a:ext>
            </a:extLst>
          </p:cNvPr>
          <p:cNvSpPr>
            <a:spLocks noGrp="1"/>
          </p:cNvSpPr>
          <p:nvPr>
            <p:ph type="body" sz="quarter" idx="21" hasCustomPrompt="1"/>
          </p:nvPr>
        </p:nvSpPr>
        <p:spPr>
          <a:xfrm>
            <a:off x="3764236" y="2891764"/>
            <a:ext cx="212090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8" name="Espace réservé du texte 8">
            <a:extLst>
              <a:ext uri="{FF2B5EF4-FFF2-40B4-BE49-F238E27FC236}">
                <a16:creationId xmlns:a16="http://schemas.microsoft.com/office/drawing/2014/main" id="{EC722B0D-B255-46A7-BA86-AAF6D9D7DB87}"/>
              </a:ext>
            </a:extLst>
          </p:cNvPr>
          <p:cNvSpPr>
            <a:spLocks noGrp="1"/>
          </p:cNvSpPr>
          <p:nvPr>
            <p:ph type="body" sz="quarter" idx="22" hasCustomPrompt="1"/>
          </p:nvPr>
        </p:nvSpPr>
        <p:spPr>
          <a:xfrm>
            <a:off x="6184812" y="2891764"/>
            <a:ext cx="212090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9" name="Espace réservé du texte 8">
            <a:extLst>
              <a:ext uri="{FF2B5EF4-FFF2-40B4-BE49-F238E27FC236}">
                <a16:creationId xmlns:a16="http://schemas.microsoft.com/office/drawing/2014/main" id="{61AFFE95-8AF7-4FD9-BF6F-B432D6673BE7}"/>
              </a:ext>
            </a:extLst>
          </p:cNvPr>
          <p:cNvSpPr>
            <a:spLocks noGrp="1"/>
          </p:cNvSpPr>
          <p:nvPr>
            <p:ph type="body" sz="quarter" idx="23" hasCustomPrompt="1"/>
          </p:nvPr>
        </p:nvSpPr>
        <p:spPr>
          <a:xfrm>
            <a:off x="8605389" y="2891764"/>
            <a:ext cx="212090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0" name="Espace réservé du texte 8">
            <a:extLst>
              <a:ext uri="{FF2B5EF4-FFF2-40B4-BE49-F238E27FC236}">
                <a16:creationId xmlns:a16="http://schemas.microsoft.com/office/drawing/2014/main" id="{11F63256-0C1C-4799-858F-B28C38060C79}"/>
              </a:ext>
            </a:extLst>
          </p:cNvPr>
          <p:cNvSpPr>
            <a:spLocks noGrp="1"/>
          </p:cNvSpPr>
          <p:nvPr>
            <p:ph type="body" sz="quarter" idx="24" hasCustomPrompt="1"/>
          </p:nvPr>
        </p:nvSpPr>
        <p:spPr>
          <a:xfrm>
            <a:off x="2588172" y="4905613"/>
            <a:ext cx="212090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1" name="Espace réservé du texte 8">
            <a:extLst>
              <a:ext uri="{FF2B5EF4-FFF2-40B4-BE49-F238E27FC236}">
                <a16:creationId xmlns:a16="http://schemas.microsoft.com/office/drawing/2014/main" id="{5AA7E3C8-A0A4-440C-9977-14B17ED95C7F}"/>
              </a:ext>
            </a:extLst>
          </p:cNvPr>
          <p:cNvSpPr>
            <a:spLocks noGrp="1"/>
          </p:cNvSpPr>
          <p:nvPr>
            <p:ph type="body" sz="quarter" idx="25" hasCustomPrompt="1"/>
          </p:nvPr>
        </p:nvSpPr>
        <p:spPr>
          <a:xfrm>
            <a:off x="5012968" y="4905613"/>
            <a:ext cx="212090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2" name="Espace réservé du texte 8">
            <a:extLst>
              <a:ext uri="{FF2B5EF4-FFF2-40B4-BE49-F238E27FC236}">
                <a16:creationId xmlns:a16="http://schemas.microsoft.com/office/drawing/2014/main" id="{5966FDE0-A72E-44C9-8A71-F43F582DA9D8}"/>
              </a:ext>
            </a:extLst>
          </p:cNvPr>
          <p:cNvSpPr>
            <a:spLocks noGrp="1"/>
          </p:cNvSpPr>
          <p:nvPr>
            <p:ph type="body" sz="quarter" idx="26" hasCustomPrompt="1"/>
          </p:nvPr>
        </p:nvSpPr>
        <p:spPr>
          <a:xfrm>
            <a:off x="7437765" y="4905613"/>
            <a:ext cx="212090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5" name="Title 1">
            <a:extLst>
              <a:ext uri="{FF2B5EF4-FFF2-40B4-BE49-F238E27FC236}">
                <a16:creationId xmlns:a16="http://schemas.microsoft.com/office/drawing/2014/main" id="{2C3CFA38-9AAA-41F1-BC58-42FE118F173C}"/>
              </a:ext>
            </a:extLst>
          </p:cNvPr>
          <p:cNvSpPr>
            <a:spLocks noGrp="1"/>
          </p:cNvSpPr>
          <p:nvPr>
            <p:ph type="title"/>
          </p:nvPr>
        </p:nvSpPr>
        <p:spPr>
          <a:xfrm>
            <a:off x="336000" y="169579"/>
            <a:ext cx="11520000" cy="1125821"/>
          </a:xfrm>
          <a:blipFill>
            <a:blip r:embed="rId2"/>
            <a:stretch>
              <a:fillRect/>
            </a:stretch>
          </a:blipFill>
        </p:spPr>
        <p:txBody>
          <a:bodyPr lIns="0" tIns="108000" bIns="144000" anchor="t">
            <a:noAutofit/>
          </a:bodyPr>
          <a:lstStyle>
            <a:lvl1pPr algn="ctr">
              <a:lnSpc>
                <a:spcPct val="90000"/>
              </a:lnSpc>
              <a:defRPr>
                <a:solidFill>
                  <a:schemeClr val="accent1"/>
                </a:solidFill>
              </a:defRPr>
            </a:lvl1pPr>
          </a:lstStyle>
          <a:p>
            <a:r>
              <a:rPr lang="en-GB"/>
              <a:t>Modifiez le style du titre</a:t>
            </a:r>
            <a:endParaRPr lang="en-GB" dirty="0"/>
          </a:p>
        </p:txBody>
      </p:sp>
      <p:grpSp>
        <p:nvGrpSpPr>
          <p:cNvPr id="26" name="Group 4">
            <a:extLst>
              <a:ext uri="{FF2B5EF4-FFF2-40B4-BE49-F238E27FC236}">
                <a16:creationId xmlns:a16="http://schemas.microsoft.com/office/drawing/2014/main" id="{C5511982-0FAF-4AD0-A17E-50521323DE9A}"/>
              </a:ext>
            </a:extLst>
          </p:cNvPr>
          <p:cNvGrpSpPr>
            <a:grpSpLocks noChangeAspect="1"/>
          </p:cNvGrpSpPr>
          <p:nvPr userDrawn="1"/>
        </p:nvGrpSpPr>
        <p:grpSpPr bwMode="auto">
          <a:xfrm>
            <a:off x="10262150" y="5047933"/>
            <a:ext cx="1084263" cy="1033463"/>
            <a:chOff x="6436" y="2923"/>
            <a:chExt cx="683" cy="651"/>
          </a:xfrm>
        </p:grpSpPr>
        <p:sp>
          <p:nvSpPr>
            <p:cNvPr id="27" name="Freeform 5">
              <a:extLst>
                <a:ext uri="{FF2B5EF4-FFF2-40B4-BE49-F238E27FC236}">
                  <a16:creationId xmlns:a16="http://schemas.microsoft.com/office/drawing/2014/main" id="{87970C8E-6427-4B67-AF18-1E3557132484}"/>
                </a:ext>
              </a:extLst>
            </p:cNvPr>
            <p:cNvSpPr>
              <a:spLocks/>
            </p:cNvSpPr>
            <p:nvPr userDrawn="1"/>
          </p:nvSpPr>
          <p:spPr bwMode="auto">
            <a:xfrm>
              <a:off x="6473" y="3217"/>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6">
              <a:extLst>
                <a:ext uri="{FF2B5EF4-FFF2-40B4-BE49-F238E27FC236}">
                  <a16:creationId xmlns:a16="http://schemas.microsoft.com/office/drawing/2014/main" id="{C22A5863-44AC-4122-A6F7-575AEB6D4E73}"/>
                </a:ext>
              </a:extLst>
            </p:cNvPr>
            <p:cNvSpPr>
              <a:spLocks/>
            </p:cNvSpPr>
            <p:nvPr userDrawn="1"/>
          </p:nvSpPr>
          <p:spPr bwMode="auto">
            <a:xfrm>
              <a:off x="6448" y="3023"/>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7">
              <a:extLst>
                <a:ext uri="{FF2B5EF4-FFF2-40B4-BE49-F238E27FC236}">
                  <a16:creationId xmlns:a16="http://schemas.microsoft.com/office/drawing/2014/main" id="{BDAB370A-57FA-4EFD-B45C-942660A5AC68}"/>
                </a:ext>
              </a:extLst>
            </p:cNvPr>
            <p:cNvSpPr>
              <a:spLocks/>
            </p:cNvSpPr>
            <p:nvPr userDrawn="1"/>
          </p:nvSpPr>
          <p:spPr bwMode="auto">
            <a:xfrm>
              <a:off x="6461" y="3120"/>
              <a:ext cx="645" cy="357"/>
            </a:xfrm>
            <a:custGeom>
              <a:avLst/>
              <a:gdLst>
                <a:gd name="T0" fmla="*/ 0 w 645"/>
                <a:gd name="T1" fmla="*/ 191 h 357"/>
                <a:gd name="T2" fmla="*/ 181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81"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8">
              <a:extLst>
                <a:ext uri="{FF2B5EF4-FFF2-40B4-BE49-F238E27FC236}">
                  <a16:creationId xmlns:a16="http://schemas.microsoft.com/office/drawing/2014/main" id="{5400141D-CC54-4E14-86D3-3D84297C085F}"/>
                </a:ext>
              </a:extLst>
            </p:cNvPr>
            <p:cNvSpPr>
              <a:spLocks/>
            </p:cNvSpPr>
            <p:nvPr userDrawn="1"/>
          </p:nvSpPr>
          <p:spPr bwMode="auto">
            <a:xfrm>
              <a:off x="6436" y="2923"/>
              <a:ext cx="645" cy="357"/>
            </a:xfrm>
            <a:custGeom>
              <a:avLst/>
              <a:gdLst>
                <a:gd name="T0" fmla="*/ 0 w 645"/>
                <a:gd name="T1" fmla="*/ 191 h 357"/>
                <a:gd name="T2" fmla="*/ 178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78"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133109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mmary [x8]">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16508A9-744D-4E7B-9FE4-59B4CD2283AC}"/>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5" name="Espace réservé du pied de page 4">
            <a:extLst>
              <a:ext uri="{FF2B5EF4-FFF2-40B4-BE49-F238E27FC236}">
                <a16:creationId xmlns:a16="http://schemas.microsoft.com/office/drawing/2014/main" id="{1FC7DA10-1DFA-4749-A71E-07E5CD544EA4}"/>
              </a:ext>
            </a:extLst>
          </p:cNvPr>
          <p:cNvSpPr>
            <a:spLocks noGrp="1"/>
          </p:cNvSpPr>
          <p:nvPr>
            <p:ph type="ftr" sz="quarter" idx="12"/>
          </p:nvPr>
        </p:nvSpPr>
        <p:spPr/>
        <p:txBody>
          <a:bodyPr/>
          <a:lstStyle/>
          <a:p>
            <a:r>
              <a:rPr lang="en-GB" dirty="0"/>
              <a:t>CPS INTRODUCTION – NOVEMBER 2018</a:t>
            </a:r>
          </a:p>
        </p:txBody>
      </p:sp>
      <p:sp>
        <p:nvSpPr>
          <p:cNvPr id="9" name="Espace réservé du texte 8">
            <a:extLst>
              <a:ext uri="{FF2B5EF4-FFF2-40B4-BE49-F238E27FC236}">
                <a16:creationId xmlns:a16="http://schemas.microsoft.com/office/drawing/2014/main" id="{040AFA8F-D19E-4EF4-A57B-D26260014145}"/>
              </a:ext>
            </a:extLst>
          </p:cNvPr>
          <p:cNvSpPr>
            <a:spLocks noGrp="1"/>
          </p:cNvSpPr>
          <p:nvPr>
            <p:ph type="body" sz="quarter" idx="13" hasCustomPrompt="1"/>
          </p:nvPr>
        </p:nvSpPr>
        <p:spPr>
          <a:xfrm>
            <a:off x="1946910"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1</a:t>
            </a:r>
            <a:endParaRPr lang="en-GB" dirty="0"/>
          </a:p>
        </p:txBody>
      </p:sp>
      <p:sp>
        <p:nvSpPr>
          <p:cNvPr id="10" name="Espace réservé du texte 8">
            <a:extLst>
              <a:ext uri="{FF2B5EF4-FFF2-40B4-BE49-F238E27FC236}">
                <a16:creationId xmlns:a16="http://schemas.microsoft.com/office/drawing/2014/main" id="{EF8D1796-0BB5-49F3-99E4-682A53D766E2}"/>
              </a:ext>
            </a:extLst>
          </p:cNvPr>
          <p:cNvSpPr>
            <a:spLocks noGrp="1"/>
          </p:cNvSpPr>
          <p:nvPr>
            <p:ph type="body" sz="quarter" idx="14" hasCustomPrompt="1"/>
          </p:nvPr>
        </p:nvSpPr>
        <p:spPr>
          <a:xfrm>
            <a:off x="4367486"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2</a:t>
            </a:r>
            <a:endParaRPr lang="en-GB" dirty="0"/>
          </a:p>
        </p:txBody>
      </p:sp>
      <p:sp>
        <p:nvSpPr>
          <p:cNvPr id="11" name="Espace réservé du texte 8">
            <a:extLst>
              <a:ext uri="{FF2B5EF4-FFF2-40B4-BE49-F238E27FC236}">
                <a16:creationId xmlns:a16="http://schemas.microsoft.com/office/drawing/2014/main" id="{D5B66FC1-16B8-42C9-ADE0-A09FD3FAE1B1}"/>
              </a:ext>
            </a:extLst>
          </p:cNvPr>
          <p:cNvSpPr>
            <a:spLocks noGrp="1"/>
          </p:cNvSpPr>
          <p:nvPr>
            <p:ph type="body" sz="quarter" idx="15" hasCustomPrompt="1"/>
          </p:nvPr>
        </p:nvSpPr>
        <p:spPr>
          <a:xfrm>
            <a:off x="6788062"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3</a:t>
            </a:r>
            <a:endParaRPr lang="en-GB" dirty="0"/>
          </a:p>
        </p:txBody>
      </p:sp>
      <p:sp>
        <p:nvSpPr>
          <p:cNvPr id="12" name="Espace réservé du texte 8">
            <a:extLst>
              <a:ext uri="{FF2B5EF4-FFF2-40B4-BE49-F238E27FC236}">
                <a16:creationId xmlns:a16="http://schemas.microsoft.com/office/drawing/2014/main" id="{D2E83211-12F9-442A-A50D-F4F9713867AD}"/>
              </a:ext>
            </a:extLst>
          </p:cNvPr>
          <p:cNvSpPr>
            <a:spLocks noGrp="1"/>
          </p:cNvSpPr>
          <p:nvPr>
            <p:ph type="body" sz="quarter" idx="16" hasCustomPrompt="1"/>
          </p:nvPr>
        </p:nvSpPr>
        <p:spPr>
          <a:xfrm>
            <a:off x="9208639" y="2157467"/>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4</a:t>
            </a:r>
            <a:endParaRPr lang="en-GB" dirty="0"/>
          </a:p>
        </p:txBody>
      </p:sp>
      <p:sp>
        <p:nvSpPr>
          <p:cNvPr id="13" name="Espace réservé du texte 8">
            <a:extLst>
              <a:ext uri="{FF2B5EF4-FFF2-40B4-BE49-F238E27FC236}">
                <a16:creationId xmlns:a16="http://schemas.microsoft.com/office/drawing/2014/main" id="{537E036A-09FA-46FE-AEBC-6AB5A5444D28}"/>
              </a:ext>
            </a:extLst>
          </p:cNvPr>
          <p:cNvSpPr>
            <a:spLocks noGrp="1"/>
          </p:cNvSpPr>
          <p:nvPr>
            <p:ph type="body" sz="quarter" idx="17" hasCustomPrompt="1"/>
          </p:nvPr>
        </p:nvSpPr>
        <p:spPr>
          <a:xfrm>
            <a:off x="1946910"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5</a:t>
            </a:r>
            <a:endParaRPr lang="en-GB" dirty="0"/>
          </a:p>
        </p:txBody>
      </p:sp>
      <p:sp>
        <p:nvSpPr>
          <p:cNvPr id="14" name="Espace réservé du texte 8">
            <a:extLst>
              <a:ext uri="{FF2B5EF4-FFF2-40B4-BE49-F238E27FC236}">
                <a16:creationId xmlns:a16="http://schemas.microsoft.com/office/drawing/2014/main" id="{61C17977-40C0-46BE-97B0-39F6349F0097}"/>
              </a:ext>
            </a:extLst>
          </p:cNvPr>
          <p:cNvSpPr>
            <a:spLocks noGrp="1"/>
          </p:cNvSpPr>
          <p:nvPr>
            <p:ph type="body" sz="quarter" idx="18" hasCustomPrompt="1"/>
          </p:nvPr>
        </p:nvSpPr>
        <p:spPr>
          <a:xfrm>
            <a:off x="4371706"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6</a:t>
            </a:r>
            <a:endParaRPr lang="en-GB" dirty="0"/>
          </a:p>
        </p:txBody>
      </p:sp>
      <p:sp>
        <p:nvSpPr>
          <p:cNvPr id="15" name="Espace réservé du texte 8">
            <a:extLst>
              <a:ext uri="{FF2B5EF4-FFF2-40B4-BE49-F238E27FC236}">
                <a16:creationId xmlns:a16="http://schemas.microsoft.com/office/drawing/2014/main" id="{761FB88C-B080-440E-8F71-1D57A4FF510D}"/>
              </a:ext>
            </a:extLst>
          </p:cNvPr>
          <p:cNvSpPr>
            <a:spLocks noGrp="1"/>
          </p:cNvSpPr>
          <p:nvPr>
            <p:ph type="body" sz="quarter" idx="19" hasCustomPrompt="1"/>
          </p:nvPr>
        </p:nvSpPr>
        <p:spPr>
          <a:xfrm>
            <a:off x="6796503"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7</a:t>
            </a:r>
            <a:endParaRPr lang="en-GB" dirty="0"/>
          </a:p>
        </p:txBody>
      </p:sp>
      <p:sp>
        <p:nvSpPr>
          <p:cNvPr id="16" name="Espace réservé du texte 8">
            <a:extLst>
              <a:ext uri="{FF2B5EF4-FFF2-40B4-BE49-F238E27FC236}">
                <a16:creationId xmlns:a16="http://schemas.microsoft.com/office/drawing/2014/main" id="{185F89B6-EC00-4D94-B556-3655A73C58AF}"/>
              </a:ext>
            </a:extLst>
          </p:cNvPr>
          <p:cNvSpPr>
            <a:spLocks noGrp="1"/>
          </p:cNvSpPr>
          <p:nvPr>
            <p:ph type="body" sz="quarter" idx="20" hasCustomPrompt="1"/>
          </p:nvPr>
        </p:nvSpPr>
        <p:spPr>
          <a:xfrm>
            <a:off x="1412220" y="2891764"/>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7" name="Espace réservé du texte 8">
            <a:extLst>
              <a:ext uri="{FF2B5EF4-FFF2-40B4-BE49-F238E27FC236}">
                <a16:creationId xmlns:a16="http://schemas.microsoft.com/office/drawing/2014/main" id="{A45D2D62-AC96-4399-B966-E0B5C80BC28F}"/>
              </a:ext>
            </a:extLst>
          </p:cNvPr>
          <p:cNvSpPr>
            <a:spLocks noGrp="1"/>
          </p:cNvSpPr>
          <p:nvPr>
            <p:ph type="body" sz="quarter" idx="21" hasCustomPrompt="1"/>
          </p:nvPr>
        </p:nvSpPr>
        <p:spPr>
          <a:xfrm>
            <a:off x="3832796" y="2891764"/>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8" name="Espace réservé du texte 8">
            <a:extLst>
              <a:ext uri="{FF2B5EF4-FFF2-40B4-BE49-F238E27FC236}">
                <a16:creationId xmlns:a16="http://schemas.microsoft.com/office/drawing/2014/main" id="{EC722B0D-B255-46A7-BA86-AAF6D9D7DB87}"/>
              </a:ext>
            </a:extLst>
          </p:cNvPr>
          <p:cNvSpPr>
            <a:spLocks noGrp="1"/>
          </p:cNvSpPr>
          <p:nvPr>
            <p:ph type="body" sz="quarter" idx="22" hasCustomPrompt="1"/>
          </p:nvPr>
        </p:nvSpPr>
        <p:spPr>
          <a:xfrm>
            <a:off x="6253372" y="2891764"/>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19" name="Espace réservé du texte 8">
            <a:extLst>
              <a:ext uri="{FF2B5EF4-FFF2-40B4-BE49-F238E27FC236}">
                <a16:creationId xmlns:a16="http://schemas.microsoft.com/office/drawing/2014/main" id="{61AFFE95-8AF7-4FD9-BF6F-B432D6673BE7}"/>
              </a:ext>
            </a:extLst>
          </p:cNvPr>
          <p:cNvSpPr>
            <a:spLocks noGrp="1"/>
          </p:cNvSpPr>
          <p:nvPr>
            <p:ph type="body" sz="quarter" idx="23" hasCustomPrompt="1"/>
          </p:nvPr>
        </p:nvSpPr>
        <p:spPr>
          <a:xfrm>
            <a:off x="8673949" y="2891764"/>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0" name="Espace réservé du texte 8">
            <a:extLst>
              <a:ext uri="{FF2B5EF4-FFF2-40B4-BE49-F238E27FC236}">
                <a16:creationId xmlns:a16="http://schemas.microsoft.com/office/drawing/2014/main" id="{11F63256-0C1C-4799-858F-B28C38060C79}"/>
              </a:ext>
            </a:extLst>
          </p:cNvPr>
          <p:cNvSpPr>
            <a:spLocks noGrp="1"/>
          </p:cNvSpPr>
          <p:nvPr>
            <p:ph type="body" sz="quarter" idx="24" hasCustomPrompt="1"/>
          </p:nvPr>
        </p:nvSpPr>
        <p:spPr>
          <a:xfrm>
            <a:off x="1412220" y="4905613"/>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1" name="Espace réservé du texte 8">
            <a:extLst>
              <a:ext uri="{FF2B5EF4-FFF2-40B4-BE49-F238E27FC236}">
                <a16:creationId xmlns:a16="http://schemas.microsoft.com/office/drawing/2014/main" id="{5AA7E3C8-A0A4-440C-9977-14B17ED95C7F}"/>
              </a:ext>
            </a:extLst>
          </p:cNvPr>
          <p:cNvSpPr>
            <a:spLocks noGrp="1"/>
          </p:cNvSpPr>
          <p:nvPr>
            <p:ph type="body" sz="quarter" idx="25" hasCustomPrompt="1"/>
          </p:nvPr>
        </p:nvSpPr>
        <p:spPr>
          <a:xfrm>
            <a:off x="3837016" y="4905613"/>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2" name="Espace réservé du texte 8">
            <a:extLst>
              <a:ext uri="{FF2B5EF4-FFF2-40B4-BE49-F238E27FC236}">
                <a16:creationId xmlns:a16="http://schemas.microsoft.com/office/drawing/2014/main" id="{5966FDE0-A72E-44C9-8A71-F43F582DA9D8}"/>
              </a:ext>
            </a:extLst>
          </p:cNvPr>
          <p:cNvSpPr>
            <a:spLocks noGrp="1"/>
          </p:cNvSpPr>
          <p:nvPr>
            <p:ph type="body" sz="quarter" idx="26" hasCustomPrompt="1"/>
          </p:nvPr>
        </p:nvSpPr>
        <p:spPr>
          <a:xfrm>
            <a:off x="6261813" y="4905613"/>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5" name="Espace réservé du texte 8">
            <a:extLst>
              <a:ext uri="{FF2B5EF4-FFF2-40B4-BE49-F238E27FC236}">
                <a16:creationId xmlns:a16="http://schemas.microsoft.com/office/drawing/2014/main" id="{23627032-EC31-41AD-AC08-DAEC3EBBC764}"/>
              </a:ext>
            </a:extLst>
          </p:cNvPr>
          <p:cNvSpPr>
            <a:spLocks noGrp="1"/>
          </p:cNvSpPr>
          <p:nvPr>
            <p:ph type="body" sz="quarter" idx="27" hasCustomPrompt="1"/>
          </p:nvPr>
        </p:nvSpPr>
        <p:spPr>
          <a:xfrm>
            <a:off x="9208639" y="4170520"/>
            <a:ext cx="914400" cy="717236"/>
          </a:xfrm>
        </p:spPr>
        <p:txBody>
          <a:bodyPr rIns="0" anchor="ctr">
            <a:normAutofit/>
          </a:bodyPr>
          <a:lstStyle>
            <a:lvl1pPr marL="0" indent="0" algn="ctr">
              <a:buNone/>
              <a:defRPr sz="40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8</a:t>
            </a:r>
            <a:endParaRPr lang="en-GB" dirty="0"/>
          </a:p>
        </p:txBody>
      </p:sp>
      <p:sp>
        <p:nvSpPr>
          <p:cNvPr id="26" name="Espace réservé du texte 8">
            <a:extLst>
              <a:ext uri="{FF2B5EF4-FFF2-40B4-BE49-F238E27FC236}">
                <a16:creationId xmlns:a16="http://schemas.microsoft.com/office/drawing/2014/main" id="{BCCFA221-1725-420C-AE4F-383D1A8E02D6}"/>
              </a:ext>
            </a:extLst>
          </p:cNvPr>
          <p:cNvSpPr>
            <a:spLocks noGrp="1"/>
          </p:cNvSpPr>
          <p:nvPr>
            <p:ph type="body" sz="quarter" idx="28" hasCustomPrompt="1"/>
          </p:nvPr>
        </p:nvSpPr>
        <p:spPr>
          <a:xfrm>
            <a:off x="8673949" y="4905613"/>
            <a:ext cx="1983780" cy="286232"/>
          </a:xfrm>
        </p:spPr>
        <p:txBody>
          <a:bodyPr rIns="0" anchor="t">
            <a:spAutoFit/>
          </a:bodyPr>
          <a:lstStyle>
            <a:lvl1pPr marL="0" indent="0" algn="ctr">
              <a:buNone/>
              <a:defRPr sz="1400" cap="all" baseline="0">
                <a:solidFill>
                  <a:schemeClr val="accent2"/>
                </a:solidFill>
              </a:defRPr>
            </a:lvl1pPr>
            <a:lvl2pPr marL="0" indent="0">
              <a:buNone/>
              <a:defRPr/>
            </a:lvl2pPr>
            <a:lvl3pPr marL="88900" indent="0">
              <a:buNone/>
              <a:defRPr/>
            </a:lvl3pPr>
            <a:lvl4pPr marL="0" indent="0">
              <a:buNone/>
              <a:defRPr/>
            </a:lvl4pPr>
            <a:lvl5pPr marL="88900" indent="0">
              <a:buNone/>
              <a:defRPr/>
            </a:lvl5pPr>
          </a:lstStyle>
          <a:p>
            <a:pPr lvl="0"/>
            <a:r>
              <a:rPr lang="en-GB"/>
              <a:t>TITRE DU chapitre</a:t>
            </a:r>
            <a:endParaRPr lang="en-GB" dirty="0"/>
          </a:p>
        </p:txBody>
      </p:sp>
      <p:sp>
        <p:nvSpPr>
          <p:cNvPr id="27" name="Title 1">
            <a:extLst>
              <a:ext uri="{FF2B5EF4-FFF2-40B4-BE49-F238E27FC236}">
                <a16:creationId xmlns:a16="http://schemas.microsoft.com/office/drawing/2014/main" id="{2F0A313F-F68A-481D-BDE8-F3DA70D12524}"/>
              </a:ext>
            </a:extLst>
          </p:cNvPr>
          <p:cNvSpPr>
            <a:spLocks noGrp="1"/>
          </p:cNvSpPr>
          <p:nvPr>
            <p:ph type="title"/>
          </p:nvPr>
        </p:nvSpPr>
        <p:spPr>
          <a:xfrm>
            <a:off x="336000" y="169579"/>
            <a:ext cx="11520000" cy="1125821"/>
          </a:xfrm>
          <a:blipFill>
            <a:blip r:embed="rId2"/>
            <a:stretch>
              <a:fillRect/>
            </a:stretch>
          </a:blipFill>
        </p:spPr>
        <p:txBody>
          <a:bodyPr lIns="0" tIns="108000" bIns="144000" anchor="t">
            <a:noAutofit/>
          </a:bodyPr>
          <a:lstStyle>
            <a:lvl1pPr algn="ctr">
              <a:lnSpc>
                <a:spcPct val="90000"/>
              </a:lnSpc>
              <a:defRPr>
                <a:solidFill>
                  <a:schemeClr val="accent1"/>
                </a:solidFill>
              </a:defRPr>
            </a:lvl1pPr>
          </a:lstStyle>
          <a:p>
            <a:r>
              <a:rPr lang="en-GB"/>
              <a:t>Modifiez le style du titre</a:t>
            </a:r>
            <a:endParaRPr lang="en-GB" dirty="0"/>
          </a:p>
        </p:txBody>
      </p:sp>
      <p:grpSp>
        <p:nvGrpSpPr>
          <p:cNvPr id="28" name="Group 4">
            <a:extLst>
              <a:ext uri="{FF2B5EF4-FFF2-40B4-BE49-F238E27FC236}">
                <a16:creationId xmlns:a16="http://schemas.microsoft.com/office/drawing/2014/main" id="{13DFC18F-13E3-47CE-ACB7-74374298C05E}"/>
              </a:ext>
            </a:extLst>
          </p:cNvPr>
          <p:cNvGrpSpPr>
            <a:grpSpLocks noChangeAspect="1"/>
          </p:cNvGrpSpPr>
          <p:nvPr userDrawn="1"/>
        </p:nvGrpSpPr>
        <p:grpSpPr bwMode="auto">
          <a:xfrm>
            <a:off x="10523807" y="5123974"/>
            <a:ext cx="1084263" cy="1033463"/>
            <a:chOff x="6436" y="2923"/>
            <a:chExt cx="683" cy="651"/>
          </a:xfrm>
        </p:grpSpPr>
        <p:sp>
          <p:nvSpPr>
            <p:cNvPr id="29" name="Freeform 5">
              <a:extLst>
                <a:ext uri="{FF2B5EF4-FFF2-40B4-BE49-F238E27FC236}">
                  <a16:creationId xmlns:a16="http://schemas.microsoft.com/office/drawing/2014/main" id="{8DFD1CEB-6C44-4D86-A4A2-C24CA92420E6}"/>
                </a:ext>
              </a:extLst>
            </p:cNvPr>
            <p:cNvSpPr>
              <a:spLocks/>
            </p:cNvSpPr>
            <p:nvPr userDrawn="1"/>
          </p:nvSpPr>
          <p:spPr bwMode="auto">
            <a:xfrm>
              <a:off x="6473" y="3217"/>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6">
              <a:extLst>
                <a:ext uri="{FF2B5EF4-FFF2-40B4-BE49-F238E27FC236}">
                  <a16:creationId xmlns:a16="http://schemas.microsoft.com/office/drawing/2014/main" id="{02A98686-BF73-432C-A996-ADA46621562F}"/>
                </a:ext>
              </a:extLst>
            </p:cNvPr>
            <p:cNvSpPr>
              <a:spLocks/>
            </p:cNvSpPr>
            <p:nvPr userDrawn="1"/>
          </p:nvSpPr>
          <p:spPr bwMode="auto">
            <a:xfrm>
              <a:off x="6448" y="3023"/>
              <a:ext cx="646" cy="357"/>
            </a:xfrm>
            <a:custGeom>
              <a:avLst/>
              <a:gdLst>
                <a:gd name="T0" fmla="*/ 0 w 646"/>
                <a:gd name="T1" fmla="*/ 191 h 357"/>
                <a:gd name="T2" fmla="*/ 181 w 646"/>
                <a:gd name="T3" fmla="*/ 191 h 357"/>
                <a:gd name="T4" fmla="*/ 399 w 646"/>
                <a:gd name="T5" fmla="*/ 357 h 357"/>
                <a:gd name="T6" fmla="*/ 646 w 646"/>
                <a:gd name="T7" fmla="*/ 0 h 357"/>
              </a:gdLst>
              <a:ahLst/>
              <a:cxnLst>
                <a:cxn ang="0">
                  <a:pos x="T0" y="T1"/>
                </a:cxn>
                <a:cxn ang="0">
                  <a:pos x="T2" y="T3"/>
                </a:cxn>
                <a:cxn ang="0">
                  <a:pos x="T4" y="T5"/>
                </a:cxn>
                <a:cxn ang="0">
                  <a:pos x="T6" y="T7"/>
                </a:cxn>
              </a:cxnLst>
              <a:rect l="0" t="0" r="r" b="b"/>
              <a:pathLst>
                <a:path w="646" h="357">
                  <a:moveTo>
                    <a:pt x="0" y="191"/>
                  </a:moveTo>
                  <a:lnTo>
                    <a:pt x="181" y="191"/>
                  </a:lnTo>
                  <a:lnTo>
                    <a:pt x="399" y="357"/>
                  </a:lnTo>
                  <a:lnTo>
                    <a:pt x="646"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7">
              <a:extLst>
                <a:ext uri="{FF2B5EF4-FFF2-40B4-BE49-F238E27FC236}">
                  <a16:creationId xmlns:a16="http://schemas.microsoft.com/office/drawing/2014/main" id="{36E3D62E-41B1-416E-A02C-786B544326CF}"/>
                </a:ext>
              </a:extLst>
            </p:cNvPr>
            <p:cNvSpPr>
              <a:spLocks/>
            </p:cNvSpPr>
            <p:nvPr userDrawn="1"/>
          </p:nvSpPr>
          <p:spPr bwMode="auto">
            <a:xfrm>
              <a:off x="6461" y="3120"/>
              <a:ext cx="645" cy="357"/>
            </a:xfrm>
            <a:custGeom>
              <a:avLst/>
              <a:gdLst>
                <a:gd name="T0" fmla="*/ 0 w 645"/>
                <a:gd name="T1" fmla="*/ 191 h 357"/>
                <a:gd name="T2" fmla="*/ 181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81"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8">
              <a:extLst>
                <a:ext uri="{FF2B5EF4-FFF2-40B4-BE49-F238E27FC236}">
                  <a16:creationId xmlns:a16="http://schemas.microsoft.com/office/drawing/2014/main" id="{4408B6CE-B5FD-45A0-95BE-747604780973}"/>
                </a:ext>
              </a:extLst>
            </p:cNvPr>
            <p:cNvSpPr>
              <a:spLocks/>
            </p:cNvSpPr>
            <p:nvPr userDrawn="1"/>
          </p:nvSpPr>
          <p:spPr bwMode="auto">
            <a:xfrm>
              <a:off x="6436" y="2923"/>
              <a:ext cx="645" cy="357"/>
            </a:xfrm>
            <a:custGeom>
              <a:avLst/>
              <a:gdLst>
                <a:gd name="T0" fmla="*/ 0 w 645"/>
                <a:gd name="T1" fmla="*/ 191 h 357"/>
                <a:gd name="T2" fmla="*/ 178 w 645"/>
                <a:gd name="T3" fmla="*/ 191 h 357"/>
                <a:gd name="T4" fmla="*/ 399 w 645"/>
                <a:gd name="T5" fmla="*/ 357 h 357"/>
                <a:gd name="T6" fmla="*/ 645 w 645"/>
                <a:gd name="T7" fmla="*/ 0 h 357"/>
              </a:gdLst>
              <a:ahLst/>
              <a:cxnLst>
                <a:cxn ang="0">
                  <a:pos x="T0" y="T1"/>
                </a:cxn>
                <a:cxn ang="0">
                  <a:pos x="T2" y="T3"/>
                </a:cxn>
                <a:cxn ang="0">
                  <a:pos x="T4" y="T5"/>
                </a:cxn>
                <a:cxn ang="0">
                  <a:pos x="T6" y="T7"/>
                </a:cxn>
              </a:cxnLst>
              <a:rect l="0" t="0" r="r" b="b"/>
              <a:pathLst>
                <a:path w="645" h="357">
                  <a:moveTo>
                    <a:pt x="0" y="191"/>
                  </a:moveTo>
                  <a:lnTo>
                    <a:pt x="178" y="191"/>
                  </a:lnTo>
                  <a:lnTo>
                    <a:pt x="399" y="357"/>
                  </a:lnTo>
                  <a:lnTo>
                    <a:pt x="645" y="0"/>
                  </a:lnTo>
                </a:path>
              </a:pathLst>
            </a:custGeom>
            <a:noFill/>
            <a:ln w="14288"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51949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69AE9-5538-4CED-96BC-9E3CC2078F83}"/>
              </a:ext>
            </a:extLst>
          </p:cNvPr>
          <p:cNvSpPr>
            <a:spLocks noGrp="1"/>
          </p:cNvSpPr>
          <p:nvPr>
            <p:ph type="title"/>
          </p:nvPr>
        </p:nvSpPr>
        <p:spPr>
          <a:xfrm>
            <a:off x="336000" y="169579"/>
            <a:ext cx="11520000" cy="1125821"/>
          </a:xfrm>
          <a:blipFill>
            <a:blip r:embed="rId2" cstate="screen">
              <a:extLst>
                <a:ext uri="{28A0092B-C50C-407E-A947-70E740481C1C}">
                  <a14:useLocalDpi xmlns:a14="http://schemas.microsoft.com/office/drawing/2010/main"/>
                </a:ext>
              </a:extLst>
            </a:blip>
            <a:stretch>
              <a:fillRect l="938" r="-938"/>
            </a:stretch>
          </a:blipFill>
        </p:spPr>
        <p:txBody>
          <a:bodyPr lIns="90000" tIns="108000" bIns="0" anchor="t">
            <a:noAutofit/>
          </a:bodyPr>
          <a:lstStyle>
            <a:lvl1pPr>
              <a:lnSpc>
                <a:spcPct val="90000"/>
              </a:lnSpc>
              <a:defRPr/>
            </a:lvl1pPr>
          </a:lstStyle>
          <a:p>
            <a:r>
              <a:rPr lang="en-GB" dirty="0" err="1"/>
              <a:t>Modifiez</a:t>
            </a:r>
            <a:r>
              <a:rPr lang="en-GB" dirty="0"/>
              <a:t> le style du titre</a:t>
            </a:r>
          </a:p>
        </p:txBody>
      </p:sp>
      <p:sp>
        <p:nvSpPr>
          <p:cNvPr id="3" name="Espace réservé du contenu 2">
            <a:extLst>
              <a:ext uri="{FF2B5EF4-FFF2-40B4-BE49-F238E27FC236}">
                <a16:creationId xmlns:a16="http://schemas.microsoft.com/office/drawing/2014/main" id="{936127F1-FD95-4357-A7B5-CA9504632284}"/>
              </a:ext>
            </a:extLst>
          </p:cNvPr>
          <p:cNvSpPr>
            <a:spLocks noGrp="1"/>
          </p:cNvSpPr>
          <p:nvPr>
            <p:ph idx="1"/>
          </p:nvPr>
        </p:nvSpPr>
        <p:spPr>
          <a:xfrm>
            <a:off x="336000" y="1705200"/>
            <a:ext cx="11520000" cy="4167601"/>
          </a:xfrm>
        </p:spPr>
        <p:txBody>
          <a:bodyPr/>
          <a:lstStyle>
            <a:lvl2pPr>
              <a:spcBef>
                <a:spcPts val="600"/>
              </a:spcBef>
              <a:defRPr/>
            </a:lvl2pPr>
            <a:lvl3pPr>
              <a:spcBef>
                <a:spcPts val="600"/>
              </a:spcBef>
              <a:defRPr/>
            </a:lvl3pPr>
          </a:lstStyle>
          <a:p>
            <a:pPr lvl="0"/>
            <a:r>
              <a:rPr lang="en-GB" dirty="0"/>
              <a:t>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9" name="Espace réservé du pied de page 8">
            <a:extLst>
              <a:ext uri="{FF2B5EF4-FFF2-40B4-BE49-F238E27FC236}">
                <a16:creationId xmlns:a16="http://schemas.microsoft.com/office/drawing/2014/main" id="{BA1312D9-81A7-4FBA-9E44-636643A1B38B}"/>
              </a:ext>
            </a:extLst>
          </p:cNvPr>
          <p:cNvSpPr>
            <a:spLocks noGrp="1"/>
          </p:cNvSpPr>
          <p:nvPr>
            <p:ph type="ftr" sz="quarter" idx="11"/>
          </p:nvPr>
        </p:nvSpPr>
        <p:spPr/>
        <p:txBody>
          <a:bodyPr/>
          <a:lstStyle/>
          <a:p>
            <a:r>
              <a:rPr lang="en-GB" dirty="0"/>
              <a:t>CPS INTRODUCTION – NOVEMBER 2018</a:t>
            </a:r>
          </a:p>
        </p:txBody>
      </p:sp>
      <p:sp>
        <p:nvSpPr>
          <p:cNvPr id="10" name="Espace réservé du numéro de diapositive 9">
            <a:extLst>
              <a:ext uri="{FF2B5EF4-FFF2-40B4-BE49-F238E27FC236}">
                <a16:creationId xmlns:a16="http://schemas.microsoft.com/office/drawing/2014/main" id="{778DB922-087F-4EFE-980D-3654B8668FF1}"/>
              </a:ext>
            </a:extLst>
          </p:cNvPr>
          <p:cNvSpPr>
            <a:spLocks noGrp="1"/>
          </p:cNvSpPr>
          <p:nvPr>
            <p:ph type="sldNum" sz="quarter" idx="12"/>
          </p:nvPr>
        </p:nvSpPr>
        <p:spPr/>
        <p:txBody>
          <a:bodyPr/>
          <a:lstStyle/>
          <a:p>
            <a:r>
              <a:rPr lang="en-GB" dirty="0"/>
              <a:t>Slide / </a:t>
            </a:r>
            <a:fld id="{3EA6A558-C4CA-4506-B5EC-E793D5AE9532}" type="slidenum">
              <a:rPr lang="en-GB" smtClean="0"/>
              <a:pPr/>
              <a:t>‹#›</a:t>
            </a:fld>
            <a:endParaRPr lang="en-GB" dirty="0"/>
          </a:p>
        </p:txBody>
      </p:sp>
    </p:spTree>
    <p:extLst>
      <p:ext uri="{BB962C8B-B14F-4D97-AF65-F5344CB8AC3E}">
        <p14:creationId xmlns:p14="http://schemas.microsoft.com/office/powerpoint/2010/main" val="1249612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6DA2E863-6C47-4EEA-B329-C4B63E77DB5B}"/>
              </a:ext>
            </a:extLst>
          </p:cNvPr>
          <p:cNvSpPr>
            <a:spLocks noGrp="1"/>
          </p:cNvSpPr>
          <p:nvPr>
            <p:ph type="pic" sz="quarter" idx="11"/>
          </p:nvPr>
        </p:nvSpPr>
        <p:spPr>
          <a:xfrm>
            <a:off x="0" y="0"/>
            <a:ext cx="6924675" cy="6858000"/>
          </a:xfrm>
          <a:solidFill>
            <a:schemeClr val="bg2"/>
          </a:solidFill>
        </p:spPr>
        <p:txBody>
          <a:bodyPr/>
          <a:lstStyle/>
          <a:p>
            <a:endParaRPr lang="fr-FR" dirty="0"/>
          </a:p>
        </p:txBody>
      </p:sp>
      <p:sp>
        <p:nvSpPr>
          <p:cNvPr id="2" name="Titre 1">
            <a:extLst>
              <a:ext uri="{FF2B5EF4-FFF2-40B4-BE49-F238E27FC236}">
                <a16:creationId xmlns:a16="http://schemas.microsoft.com/office/drawing/2014/main" id="{EA6F4497-1FE5-49E0-82F8-0BFDD1240CB1}"/>
              </a:ext>
            </a:extLst>
          </p:cNvPr>
          <p:cNvSpPr>
            <a:spLocks noGrp="1"/>
          </p:cNvSpPr>
          <p:nvPr>
            <p:ph type="title"/>
          </p:nvPr>
        </p:nvSpPr>
        <p:spPr>
          <a:xfrm>
            <a:off x="7356000" y="2529000"/>
            <a:ext cx="4487300" cy="886397"/>
          </a:xfrm>
          <a:noFill/>
        </p:spPr>
        <p:txBody>
          <a:bodyPr anchor="b"/>
          <a:lstStyle>
            <a:lvl1pPr>
              <a:defRPr sz="3200"/>
            </a:lvl1pPr>
          </a:lstStyle>
          <a:p>
            <a:r>
              <a:rPr lang="en-GB"/>
              <a:t>Modifiez le style du titre</a:t>
            </a:r>
            <a:endParaRPr lang="en-GB" dirty="0"/>
          </a:p>
        </p:txBody>
      </p:sp>
      <p:sp>
        <p:nvSpPr>
          <p:cNvPr id="3" name="Espace réservé du texte 2">
            <a:extLst>
              <a:ext uri="{FF2B5EF4-FFF2-40B4-BE49-F238E27FC236}">
                <a16:creationId xmlns:a16="http://schemas.microsoft.com/office/drawing/2014/main" id="{C33288B6-AD76-4094-B4FF-1660C4CF1FAC}"/>
              </a:ext>
            </a:extLst>
          </p:cNvPr>
          <p:cNvSpPr>
            <a:spLocks noGrp="1"/>
          </p:cNvSpPr>
          <p:nvPr>
            <p:ph type="body" idx="1"/>
          </p:nvPr>
        </p:nvSpPr>
        <p:spPr>
          <a:xfrm>
            <a:off x="7356000" y="3509738"/>
            <a:ext cx="4487300" cy="999262"/>
          </a:xfrm>
        </p:spPr>
        <p:txBody>
          <a:bodyPr>
            <a:normAutofit/>
          </a:bodyPr>
          <a:lstStyle>
            <a:lvl1pPr marL="0" indent="0">
              <a:buNone/>
              <a:defRPr sz="12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Modifier les styles du texte du masque</a:t>
            </a:r>
            <a:endParaRPr lang="en-GB" dirty="0"/>
          </a:p>
        </p:txBody>
      </p:sp>
      <p:sp>
        <p:nvSpPr>
          <p:cNvPr id="7" name="Espace réservé du numéro de diapositive 6">
            <a:extLst>
              <a:ext uri="{FF2B5EF4-FFF2-40B4-BE49-F238E27FC236}">
                <a16:creationId xmlns:a16="http://schemas.microsoft.com/office/drawing/2014/main" id="{F1EFD05A-EB04-4E51-B6F2-07BDE14CCCF9}"/>
              </a:ext>
            </a:extLst>
          </p:cNvPr>
          <p:cNvSpPr>
            <a:spLocks noGrp="1"/>
          </p:cNvSpPr>
          <p:nvPr>
            <p:ph type="sldNum" sz="quarter" idx="10"/>
          </p:nvPr>
        </p:nvSpPr>
        <p:spPr/>
        <p:txBody>
          <a:bodyPr/>
          <a:lstStyle/>
          <a:p>
            <a:r>
              <a:rPr lang="en-GB" dirty="0"/>
              <a:t>Slide / </a:t>
            </a:r>
            <a:fld id="{3EA6A558-C4CA-4506-B5EC-E793D5AE9532}" type="slidenum">
              <a:rPr lang="en-GB" smtClean="0"/>
              <a:pPr/>
              <a:t>‹#›</a:t>
            </a:fld>
            <a:endParaRPr lang="en-GB" dirty="0"/>
          </a:p>
        </p:txBody>
      </p:sp>
      <p:sp>
        <p:nvSpPr>
          <p:cNvPr id="10" name="Rectangle 9">
            <a:extLst>
              <a:ext uri="{FF2B5EF4-FFF2-40B4-BE49-F238E27FC236}">
                <a16:creationId xmlns:a16="http://schemas.microsoft.com/office/drawing/2014/main" id="{22FBF328-7074-4AD0-990A-27C6D5ED03BE}"/>
              </a:ext>
            </a:extLst>
          </p:cNvPr>
          <p:cNvSpPr/>
          <p:nvPr userDrawn="1"/>
        </p:nvSpPr>
        <p:spPr>
          <a:xfrm>
            <a:off x="6924675" y="1686150"/>
            <a:ext cx="119063" cy="3462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 name="Espace réservé du texte 4">
            <a:extLst>
              <a:ext uri="{FF2B5EF4-FFF2-40B4-BE49-F238E27FC236}">
                <a16:creationId xmlns:a16="http://schemas.microsoft.com/office/drawing/2014/main" id="{BBBB1B66-339E-4087-8235-743E7EA7C16F}"/>
              </a:ext>
            </a:extLst>
          </p:cNvPr>
          <p:cNvSpPr>
            <a:spLocks noGrp="1"/>
          </p:cNvSpPr>
          <p:nvPr>
            <p:ph type="body" sz="quarter" idx="12" hasCustomPrompt="1"/>
          </p:nvPr>
        </p:nvSpPr>
        <p:spPr>
          <a:xfrm>
            <a:off x="7356001" y="1686150"/>
            <a:ext cx="900000" cy="482850"/>
          </a:xfrm>
        </p:spPr>
        <p:txBody>
          <a:bodyPr>
            <a:normAutofit/>
          </a:bodyPr>
          <a:lstStyle>
            <a:lvl1pPr marL="0" indent="0">
              <a:buNone/>
              <a:defRPr sz="2400">
                <a:solidFill>
                  <a:schemeClr val="accent1"/>
                </a:solidFill>
              </a:defRPr>
            </a:lvl1pPr>
            <a:lvl2pPr marL="0" indent="0">
              <a:buNone/>
              <a:defRPr/>
            </a:lvl2pPr>
            <a:lvl3pPr marL="88900" indent="0">
              <a:buNone/>
              <a:defRPr/>
            </a:lvl3pPr>
            <a:lvl4pPr marL="0" indent="0">
              <a:buNone/>
              <a:defRPr/>
            </a:lvl4pPr>
            <a:lvl5pPr marL="88900" indent="0">
              <a:buNone/>
              <a:defRPr/>
            </a:lvl5pPr>
          </a:lstStyle>
          <a:p>
            <a:pPr lvl="0"/>
            <a:r>
              <a:rPr lang="en-GB"/>
              <a:t>01</a:t>
            </a:r>
            <a:endParaRPr lang="en-GB" dirty="0"/>
          </a:p>
        </p:txBody>
      </p:sp>
    </p:spTree>
    <p:extLst>
      <p:ext uri="{BB962C8B-B14F-4D97-AF65-F5344CB8AC3E}">
        <p14:creationId xmlns:p14="http://schemas.microsoft.com/office/powerpoint/2010/main" val="4118297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E6DBE5D-5AE7-4F10-A534-5327C294089D}"/>
              </a:ext>
            </a:extLst>
          </p:cNvPr>
          <p:cNvSpPr>
            <a:spLocks noGrp="1"/>
          </p:cNvSpPr>
          <p:nvPr>
            <p:ph type="body" idx="1"/>
          </p:nvPr>
        </p:nvSpPr>
        <p:spPr>
          <a:xfrm>
            <a:off x="336000" y="1703388"/>
            <a:ext cx="11520000" cy="4169413"/>
          </a:xfrm>
          <a:prstGeom prst="rect">
            <a:avLst/>
          </a:prstGeom>
        </p:spPr>
        <p:txBody>
          <a:bodyPr vert="horz" lIns="0" tIns="45720" rIns="91440" bIns="45720" rtlCol="0">
            <a:noAutofit/>
          </a:bodyPr>
          <a:lstStyle/>
          <a:p>
            <a:pPr lvl="0"/>
            <a:r>
              <a:rPr lang="en-GB" dirty="0"/>
              <a:t>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E75F1B8-6778-4142-A61E-1617F3A45E58}"/>
              </a:ext>
            </a:extLst>
          </p:cNvPr>
          <p:cNvSpPr>
            <a:spLocks noGrp="1"/>
          </p:cNvSpPr>
          <p:nvPr>
            <p:ph type="sldNum" sz="quarter" idx="4"/>
          </p:nvPr>
        </p:nvSpPr>
        <p:spPr>
          <a:xfrm>
            <a:off x="11273133" y="6549922"/>
            <a:ext cx="744114" cy="138499"/>
          </a:xfrm>
          <a:prstGeom prst="rect">
            <a:avLst/>
          </a:prstGeom>
        </p:spPr>
        <p:txBody>
          <a:bodyPr vert="horz" wrap="none" lIns="91440" tIns="0" rIns="91440" bIns="0" rtlCol="0" anchor="ctr">
            <a:spAutoFit/>
          </a:bodyPr>
          <a:lstStyle>
            <a:lvl1pPr algn="ctr">
              <a:defRPr sz="900">
                <a:solidFill>
                  <a:schemeClr val="tx1">
                    <a:tint val="75000"/>
                  </a:schemeClr>
                </a:solidFill>
              </a:defRPr>
            </a:lvl1pPr>
          </a:lstStyle>
          <a:p>
            <a:r>
              <a:rPr lang="en-GB" dirty="0"/>
              <a:t>Slide / </a:t>
            </a:r>
            <a:fld id="{3EA6A558-C4CA-4506-B5EC-E793D5AE9532}" type="slidenum">
              <a:rPr lang="en-GB" smtClean="0"/>
              <a:pPr/>
              <a:t>‹#›</a:t>
            </a:fld>
            <a:endParaRPr lang="en-GB" dirty="0"/>
          </a:p>
        </p:txBody>
      </p:sp>
      <p:sp>
        <p:nvSpPr>
          <p:cNvPr id="9" name="Rectangle 8">
            <a:extLst>
              <a:ext uri="{FF2B5EF4-FFF2-40B4-BE49-F238E27FC236}">
                <a16:creationId xmlns:a16="http://schemas.microsoft.com/office/drawing/2014/main" id="{4D5C24DB-CDBF-424D-B02B-62056BB6B0B7}"/>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Image 11">
            <a:extLst>
              <a:ext uri="{FF2B5EF4-FFF2-40B4-BE49-F238E27FC236}">
                <a16:creationId xmlns:a16="http://schemas.microsoft.com/office/drawing/2014/main" id="{0B45E010-BE3E-41C4-87DF-1A1C0692AEF5}"/>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88362" y="6079331"/>
            <a:ext cx="506185" cy="623888"/>
          </a:xfrm>
          <a:prstGeom prst="rect">
            <a:avLst/>
          </a:prstGeom>
        </p:spPr>
      </p:pic>
      <p:sp>
        <p:nvSpPr>
          <p:cNvPr id="13" name="Espace réservé de la date 12">
            <a:extLst>
              <a:ext uri="{FF2B5EF4-FFF2-40B4-BE49-F238E27FC236}">
                <a16:creationId xmlns:a16="http://schemas.microsoft.com/office/drawing/2014/main" id="{FAF8FFE8-7ADC-49F4-811F-CF9BADBBC24B}"/>
              </a:ext>
            </a:extLst>
          </p:cNvPr>
          <p:cNvSpPr>
            <a:spLocks noGrp="1"/>
          </p:cNvSpPr>
          <p:nvPr>
            <p:ph type="dt" sz="half" idx="2"/>
          </p:nvPr>
        </p:nvSpPr>
        <p:spPr>
          <a:xfrm>
            <a:off x="3360" y="6888346"/>
            <a:ext cx="2743200" cy="76201"/>
          </a:xfrm>
          <a:prstGeom prst="rect">
            <a:avLst/>
          </a:prstGeom>
        </p:spPr>
        <p:txBody>
          <a:bodyPr vert="horz" lIns="91440" tIns="45720" rIns="91440" bIns="45720" rtlCol="0" anchor="ctr"/>
          <a:lstStyle>
            <a:lvl1pPr algn="l">
              <a:defRPr sz="300" cap="all" baseline="0">
                <a:solidFill>
                  <a:schemeClr val="tx1">
                    <a:tint val="75000"/>
                  </a:schemeClr>
                </a:solidFill>
              </a:defRPr>
            </a:lvl1pPr>
          </a:lstStyle>
          <a:p>
            <a:fld id="{317E9F93-8240-4A70-B44D-1855F6CF5D19}" type="datetime6">
              <a:rPr lang="en-GB" smtClean="0"/>
              <a:t>January 24</a:t>
            </a:fld>
            <a:endParaRPr lang="en-GB" dirty="0"/>
          </a:p>
        </p:txBody>
      </p:sp>
      <p:sp>
        <p:nvSpPr>
          <p:cNvPr id="4" name="Espace réservé du pied de page 3">
            <a:extLst>
              <a:ext uri="{FF2B5EF4-FFF2-40B4-BE49-F238E27FC236}">
                <a16:creationId xmlns:a16="http://schemas.microsoft.com/office/drawing/2014/main" id="{4F457AE8-B5EE-43CB-AC05-923B74820487}"/>
              </a:ext>
            </a:extLst>
          </p:cNvPr>
          <p:cNvSpPr>
            <a:spLocks noGrp="1"/>
          </p:cNvSpPr>
          <p:nvPr>
            <p:ph type="ftr" sz="quarter" idx="3"/>
          </p:nvPr>
        </p:nvSpPr>
        <p:spPr>
          <a:xfrm>
            <a:off x="876000" y="6356350"/>
            <a:ext cx="9583200" cy="365125"/>
          </a:xfrm>
          <a:prstGeom prst="rect">
            <a:avLst/>
          </a:prstGeom>
        </p:spPr>
        <p:txBody>
          <a:bodyPr vert="horz" lIns="91440" tIns="45720" rIns="91440" bIns="45720" rtlCol="0" anchor="ctr"/>
          <a:lstStyle>
            <a:lvl1pPr algn="l">
              <a:defRPr sz="900" cap="all" baseline="0">
                <a:solidFill>
                  <a:schemeClr val="tx1">
                    <a:tint val="75000"/>
                  </a:schemeClr>
                </a:solidFill>
              </a:defRPr>
            </a:lvl1pPr>
          </a:lstStyle>
          <a:p>
            <a:r>
              <a:rPr lang="en-GB" dirty="0"/>
              <a:t>CPSTW INTRODUCTION – 2019</a:t>
            </a:r>
          </a:p>
        </p:txBody>
      </p:sp>
      <p:grpSp>
        <p:nvGrpSpPr>
          <p:cNvPr id="8" name="Groupe 7">
            <a:extLst>
              <a:ext uri="{FF2B5EF4-FFF2-40B4-BE49-F238E27FC236}">
                <a16:creationId xmlns:a16="http://schemas.microsoft.com/office/drawing/2014/main" id="{E1F40748-E99B-47B4-AA1D-603EBA2EC47B}"/>
              </a:ext>
            </a:extLst>
          </p:cNvPr>
          <p:cNvGrpSpPr/>
          <p:nvPr userDrawn="1"/>
        </p:nvGrpSpPr>
        <p:grpSpPr>
          <a:xfrm>
            <a:off x="-287382" y="78287"/>
            <a:ext cx="1198347" cy="906912"/>
            <a:chOff x="-287382" y="78287"/>
            <a:chExt cx="1198347" cy="906912"/>
          </a:xfrm>
        </p:grpSpPr>
        <p:grpSp>
          <p:nvGrpSpPr>
            <p:cNvPr id="11" name="Group 72">
              <a:extLst>
                <a:ext uri="{FF2B5EF4-FFF2-40B4-BE49-F238E27FC236}">
                  <a16:creationId xmlns:a16="http://schemas.microsoft.com/office/drawing/2014/main" id="{442D3687-DCC0-4B1E-B782-741BB62E81A9}"/>
                </a:ext>
              </a:extLst>
            </p:cNvPr>
            <p:cNvGrpSpPr>
              <a:grpSpLocks noChangeAspect="1"/>
            </p:cNvGrpSpPr>
            <p:nvPr userDrawn="1"/>
          </p:nvGrpSpPr>
          <p:grpSpPr bwMode="auto">
            <a:xfrm>
              <a:off x="-152876" y="78287"/>
              <a:ext cx="1063841" cy="906912"/>
              <a:chOff x="3842" y="3679"/>
              <a:chExt cx="522" cy="445"/>
            </a:xfrm>
          </p:grpSpPr>
          <p:sp>
            <p:nvSpPr>
              <p:cNvPr id="14" name="Line 73">
                <a:extLst>
                  <a:ext uri="{FF2B5EF4-FFF2-40B4-BE49-F238E27FC236}">
                    <a16:creationId xmlns:a16="http://schemas.microsoft.com/office/drawing/2014/main" id="{39B82F31-EBFB-449D-AF89-9B12278F2507}"/>
                  </a:ext>
                </a:extLst>
              </p:cNvPr>
              <p:cNvSpPr>
                <a:spLocks noChangeShapeType="1"/>
              </p:cNvSpPr>
              <p:nvPr/>
            </p:nvSpPr>
            <p:spPr bwMode="auto">
              <a:xfrm flipV="1">
                <a:off x="3885" y="3822"/>
                <a:ext cx="388" cy="302"/>
              </a:xfrm>
              <a:prstGeom prst="line">
                <a:avLst/>
              </a:prstGeom>
              <a:noFill/>
              <a:ln w="11113" cap="flat">
                <a:solidFill>
                  <a:schemeClr val="bg2">
                    <a:lumMod val="9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5" name="Line 74">
                <a:extLst>
                  <a:ext uri="{FF2B5EF4-FFF2-40B4-BE49-F238E27FC236}">
                    <a16:creationId xmlns:a16="http://schemas.microsoft.com/office/drawing/2014/main" id="{F1F0C5D9-5085-4905-A1D8-DCCDF019012D}"/>
                  </a:ext>
                </a:extLst>
              </p:cNvPr>
              <p:cNvSpPr>
                <a:spLocks noChangeShapeType="1"/>
              </p:cNvSpPr>
              <p:nvPr/>
            </p:nvSpPr>
            <p:spPr bwMode="auto">
              <a:xfrm flipV="1">
                <a:off x="3914" y="3679"/>
                <a:ext cx="450" cy="352"/>
              </a:xfrm>
              <a:prstGeom prst="line">
                <a:avLst/>
              </a:prstGeom>
              <a:noFill/>
              <a:ln w="11113" cap="flat">
                <a:solidFill>
                  <a:schemeClr val="bg2">
                    <a:lumMod val="9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6" name="Line 75">
                <a:extLst>
                  <a:ext uri="{FF2B5EF4-FFF2-40B4-BE49-F238E27FC236}">
                    <a16:creationId xmlns:a16="http://schemas.microsoft.com/office/drawing/2014/main" id="{D1D0047B-D98C-490D-98E3-9972FAE168B9}"/>
                  </a:ext>
                </a:extLst>
              </p:cNvPr>
              <p:cNvSpPr>
                <a:spLocks noChangeShapeType="1"/>
              </p:cNvSpPr>
              <p:nvPr/>
            </p:nvSpPr>
            <p:spPr bwMode="auto">
              <a:xfrm flipV="1">
                <a:off x="3842" y="3739"/>
                <a:ext cx="357" cy="275"/>
              </a:xfrm>
              <a:prstGeom prst="line">
                <a:avLst/>
              </a:prstGeom>
              <a:noFill/>
              <a:ln w="11113" cap="flat">
                <a:solidFill>
                  <a:schemeClr val="bg2">
                    <a:lumMod val="9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dirty="0"/>
              </a:p>
            </p:txBody>
          </p:sp>
        </p:grpSp>
        <p:sp>
          <p:nvSpPr>
            <p:cNvPr id="18" name="Line 76">
              <a:extLst>
                <a:ext uri="{FF2B5EF4-FFF2-40B4-BE49-F238E27FC236}">
                  <a16:creationId xmlns:a16="http://schemas.microsoft.com/office/drawing/2014/main" id="{B53C2526-9C98-4B32-9E3B-DB306359A9FA}"/>
                </a:ext>
              </a:extLst>
            </p:cNvPr>
            <p:cNvSpPr>
              <a:spLocks noChangeShapeType="1"/>
            </p:cNvSpPr>
            <p:nvPr userDrawn="1"/>
          </p:nvSpPr>
          <p:spPr bwMode="auto">
            <a:xfrm flipV="1">
              <a:off x="-287382" y="225023"/>
              <a:ext cx="652163" cy="507463"/>
            </a:xfrm>
            <a:prstGeom prst="line">
              <a:avLst/>
            </a:prstGeom>
            <a:noFill/>
            <a:ln w="11113" cap="flat">
              <a:solidFill>
                <a:schemeClr val="bg2">
                  <a:lumMod val="9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dirty="0"/>
            </a:p>
          </p:txBody>
        </p:sp>
      </p:grpSp>
      <p:sp>
        <p:nvSpPr>
          <p:cNvPr id="2" name="Espace réservé du titre 1">
            <a:extLst>
              <a:ext uri="{FF2B5EF4-FFF2-40B4-BE49-F238E27FC236}">
                <a16:creationId xmlns:a16="http://schemas.microsoft.com/office/drawing/2014/main" id="{EA110E0B-E4B3-4F3F-826C-894D0ADF6721}"/>
              </a:ext>
            </a:extLst>
          </p:cNvPr>
          <p:cNvSpPr>
            <a:spLocks noGrp="1"/>
          </p:cNvSpPr>
          <p:nvPr>
            <p:ph type="title"/>
          </p:nvPr>
        </p:nvSpPr>
        <p:spPr>
          <a:xfrm>
            <a:off x="336000" y="169580"/>
            <a:ext cx="11520000" cy="1125820"/>
          </a:xfrm>
          <a:prstGeom prst="rect">
            <a:avLst/>
          </a:prstGeom>
          <a:blipFill>
            <a:blip r:embed="rId24" cstate="screen">
              <a:extLst>
                <a:ext uri="{28A0092B-C50C-407E-A947-70E740481C1C}">
                  <a14:useLocalDpi xmlns:a14="http://schemas.microsoft.com/office/drawing/2010/main"/>
                </a:ext>
              </a:extLst>
            </a:blip>
            <a:stretch>
              <a:fillRect l="938" r="-938"/>
            </a:stretch>
          </a:blipFill>
        </p:spPr>
        <p:txBody>
          <a:bodyPr vert="horz" wrap="square" lIns="90000" tIns="108000" rIns="0" bIns="0" rtlCol="0" anchor="t">
            <a:noAutofit/>
          </a:bodyPr>
          <a:lstStyle/>
          <a:p>
            <a:r>
              <a:rPr lang="en-GB" dirty="0" err="1"/>
              <a:t>Modifiez</a:t>
            </a:r>
            <a:r>
              <a:rPr lang="en-GB" dirty="0"/>
              <a:t> le style du titre</a:t>
            </a:r>
          </a:p>
        </p:txBody>
      </p:sp>
      <p:sp>
        <p:nvSpPr>
          <p:cNvPr id="20" name="Rectangle 19">
            <a:extLst>
              <a:ext uri="{FF2B5EF4-FFF2-40B4-BE49-F238E27FC236}">
                <a16:creationId xmlns:a16="http://schemas.microsoft.com/office/drawing/2014/main" id="{4FBDECC3-C962-44F4-B90E-C11B6EF0D16C}"/>
              </a:ext>
            </a:extLst>
          </p:cNvPr>
          <p:cNvSpPr/>
          <p:nvPr userDrawn="1"/>
        </p:nvSpPr>
        <p:spPr>
          <a:xfrm>
            <a:off x="-334524" y="1"/>
            <a:ext cx="332196" cy="108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Espace réservé du numéro de diapositive 5">
            <a:extLst>
              <a:ext uri="{FF2B5EF4-FFF2-40B4-BE49-F238E27FC236}">
                <a16:creationId xmlns:a16="http://schemas.microsoft.com/office/drawing/2014/main" id="{8E75F1B8-6778-4142-A61E-1617F3A45E58}"/>
              </a:ext>
            </a:extLst>
          </p:cNvPr>
          <p:cNvSpPr txBox="1">
            <a:spLocks/>
          </p:cNvSpPr>
          <p:nvPr userDrawn="1"/>
        </p:nvSpPr>
        <p:spPr>
          <a:xfrm>
            <a:off x="9497556" y="6546644"/>
            <a:ext cx="1661032" cy="138499"/>
          </a:xfrm>
          <a:prstGeom prst="rect">
            <a:avLst/>
          </a:prstGeom>
        </p:spPr>
        <p:txBody>
          <a:bodyPr vert="horz" wrap="none" lIns="91440" tIns="0" rIns="91440" bIns="0" rtlCol="0" anchor="ctr">
            <a:spAutoFit/>
          </a:bodyPr>
          <a:lstStyle>
            <a:defPPr>
              <a:defRPr lang="fr-FR"/>
            </a:defPPr>
            <a:lvl1pPr marL="0" algn="ct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 Copyright Bureau Veritas</a:t>
            </a:r>
          </a:p>
        </p:txBody>
      </p:sp>
    </p:spTree>
    <p:extLst>
      <p:ext uri="{BB962C8B-B14F-4D97-AF65-F5344CB8AC3E}">
        <p14:creationId xmlns:p14="http://schemas.microsoft.com/office/powerpoint/2010/main" val="297609539"/>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69" r:id="rId3"/>
    <p:sldLayoutId id="2147483670" r:id="rId4"/>
    <p:sldLayoutId id="2147483668" r:id="rId5"/>
    <p:sldLayoutId id="2147483666" r:id="rId6"/>
    <p:sldLayoutId id="2147483667" r:id="rId7"/>
    <p:sldLayoutId id="2147483650" r:id="rId8"/>
    <p:sldLayoutId id="2147483651" r:id="rId9"/>
    <p:sldLayoutId id="2147483654" r:id="rId10"/>
    <p:sldLayoutId id="2147483657" r:id="rId11"/>
    <p:sldLayoutId id="2147483691" r:id="rId12"/>
    <p:sldLayoutId id="2147483664" r:id="rId13"/>
    <p:sldLayoutId id="2147483692" r:id="rId14"/>
    <p:sldLayoutId id="2147483708" r:id="rId15"/>
    <p:sldLayoutId id="2147483693" r:id="rId16"/>
    <p:sldLayoutId id="2147483658" r:id="rId17"/>
    <p:sldLayoutId id="2147483661" r:id="rId18"/>
    <p:sldLayoutId id="2147483655" r:id="rId19"/>
    <p:sldLayoutId id="2147483656" r:id="rId20"/>
    <p:sldLayoutId id="2147483732" r:id="rId21"/>
  </p:sldLayoutIdLst>
  <p:hf hdr="0"/>
  <p:txStyles>
    <p:titleStyle>
      <a:lvl1pPr algn="l" defTabSz="914400" rtl="0" eaLnBrk="1" latinLnBrk="0" hangingPunct="1">
        <a:lnSpc>
          <a:spcPct val="90000"/>
        </a:lnSpc>
        <a:spcBef>
          <a:spcPct val="0"/>
        </a:spcBef>
        <a:buNone/>
        <a:defRPr sz="2800" b="1" kern="1200" cap="all" baseline="0">
          <a:solidFill>
            <a:schemeClr val="accent2"/>
          </a:solidFill>
          <a:latin typeface="+mj-lt"/>
          <a:ea typeface="+mj-ea"/>
          <a:cs typeface="+mj-cs"/>
        </a:defRPr>
      </a:lvl1pPr>
    </p:titleStyle>
    <p:bodyStyle>
      <a:lvl1pPr marL="92075" indent="-92075" algn="l" defTabSz="914400" rtl="0" eaLnBrk="1" latinLnBrk="0" hangingPunct="1">
        <a:lnSpc>
          <a:spcPct val="90000"/>
        </a:lnSpc>
        <a:spcBef>
          <a:spcPts val="1500"/>
        </a:spcBef>
        <a:buFont typeface="Arial" panose="020B0604020202020204" pitchFamily="34" charset="0"/>
        <a:buChar char=" "/>
        <a:defRPr sz="1600" b="1" kern="1200">
          <a:solidFill>
            <a:schemeClr val="tx1"/>
          </a:solidFill>
          <a:latin typeface="+mn-lt"/>
          <a:ea typeface="+mn-ea"/>
          <a:cs typeface="+mn-cs"/>
        </a:defRPr>
      </a:lvl1pPr>
      <a:lvl2pPr marL="92075" indent="-92075" algn="l" defTabSz="914400" rtl="0" eaLnBrk="1" latinLnBrk="0" hangingPunct="1">
        <a:lnSpc>
          <a:spcPct val="90000"/>
        </a:lnSpc>
        <a:spcBef>
          <a:spcPts val="600"/>
        </a:spcBef>
        <a:buFont typeface="Arial" panose="020B0604020202020204" pitchFamily="34" charset="0"/>
        <a:buChar char=" "/>
        <a:defRPr sz="1200" b="1" i="1" kern="1200">
          <a:solidFill>
            <a:schemeClr val="accent1"/>
          </a:solidFill>
          <a:latin typeface="+mn-lt"/>
          <a:ea typeface="+mn-ea"/>
          <a:cs typeface="+mn-cs"/>
        </a:defRPr>
      </a:lvl2pPr>
      <a:lvl3pPr marL="266700" indent="-177800" algn="l" defTabSz="914400"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358775" indent="-92075" algn="l" defTabSz="914400" rtl="0" eaLnBrk="1" latinLnBrk="0" hangingPunct="1">
        <a:lnSpc>
          <a:spcPct val="90000"/>
        </a:lnSpc>
        <a:spcBef>
          <a:spcPts val="600"/>
        </a:spcBef>
        <a:buFont typeface="Arial" panose="020B0604020202020204" pitchFamily="34" charset="0"/>
        <a:buChar char=" "/>
        <a:defRPr sz="1200" b="0" i="0" kern="1200">
          <a:solidFill>
            <a:schemeClr val="tx2">
              <a:lumMod val="60000"/>
              <a:lumOff val="40000"/>
            </a:schemeClr>
          </a:solidFill>
          <a:latin typeface="+mn-lt"/>
          <a:ea typeface="+mn-ea"/>
          <a:cs typeface="+mn-cs"/>
        </a:defRPr>
      </a:lvl4pPr>
      <a:lvl5pPr marL="266700" indent="-177800" algn="l" defTabSz="914400" rtl="0" eaLnBrk="1" latinLnBrk="0" hangingPunct="1">
        <a:lnSpc>
          <a:spcPct val="90000"/>
        </a:lnSpc>
        <a:spcBef>
          <a:spcPts val="500"/>
        </a:spcBef>
        <a:buFont typeface="Arial" panose="020B0604020202020204" pitchFamily="34" charset="0"/>
        <a:buChar char=" "/>
        <a:defRPr sz="1050" i="1"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1" userDrawn="1">
          <p15:clr>
            <a:srgbClr val="F26B43"/>
          </p15:clr>
        </p15:guide>
        <p15:guide id="3" pos="7469" userDrawn="1">
          <p15:clr>
            <a:srgbClr val="F26B43"/>
          </p15:clr>
        </p15:guide>
        <p15:guide id="4" orient="horz" pos="4000" userDrawn="1">
          <p15:clr>
            <a:srgbClr val="F26B43"/>
          </p15:clr>
        </p15:guide>
        <p15:guide id="5" orient="horz" pos="4243" userDrawn="1">
          <p15:clr>
            <a:srgbClr val="F26B43"/>
          </p15:clr>
        </p15:guide>
        <p15:guide id="6" orient="horz" pos="102" userDrawn="1">
          <p15:clr>
            <a:srgbClr val="F26B43"/>
          </p15:clr>
        </p15:guide>
        <p15:guide id="7" orient="horz" pos="821" userDrawn="1">
          <p15:clr>
            <a:srgbClr val="F26B43"/>
          </p15:clr>
        </p15:guide>
        <p15:guide id="8" orient="horz" pos="1073" userDrawn="1">
          <p15:clr>
            <a:srgbClr val="F26B43"/>
          </p15:clr>
        </p15:guide>
        <p15:guide id="9" orient="horz" pos="37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A110E0B-E4B3-4F3F-826C-894D0ADF6721}"/>
              </a:ext>
            </a:extLst>
          </p:cNvPr>
          <p:cNvSpPr>
            <a:spLocks noGrp="1"/>
          </p:cNvSpPr>
          <p:nvPr>
            <p:ph type="title"/>
          </p:nvPr>
        </p:nvSpPr>
        <p:spPr>
          <a:xfrm>
            <a:off x="336000" y="365125"/>
            <a:ext cx="11520000" cy="387798"/>
          </a:xfrm>
          <a:prstGeom prst="rect">
            <a:avLst/>
          </a:prstGeom>
        </p:spPr>
        <p:txBody>
          <a:bodyPr vert="horz" lIns="0" tIns="0" rIns="0" bIns="0" rtlCol="0" anchor="t">
            <a:spAutoFit/>
          </a:bodyPr>
          <a:lstStyle/>
          <a:p>
            <a:r>
              <a:rPr lang="fr-FR" dirty="0"/>
              <a:t>Modifiez le style du titre</a:t>
            </a:r>
          </a:p>
        </p:txBody>
      </p:sp>
      <p:sp>
        <p:nvSpPr>
          <p:cNvPr id="3" name="Espace réservé du texte 2">
            <a:extLst>
              <a:ext uri="{FF2B5EF4-FFF2-40B4-BE49-F238E27FC236}">
                <a16:creationId xmlns:a16="http://schemas.microsoft.com/office/drawing/2014/main" id="{2E6DBE5D-5AE7-4F10-A534-5327C294089D}"/>
              </a:ext>
            </a:extLst>
          </p:cNvPr>
          <p:cNvSpPr>
            <a:spLocks noGrp="1"/>
          </p:cNvSpPr>
          <p:nvPr>
            <p:ph type="body" idx="1"/>
          </p:nvPr>
        </p:nvSpPr>
        <p:spPr>
          <a:xfrm>
            <a:off x="336000" y="1089000"/>
            <a:ext cx="11520000" cy="4783801"/>
          </a:xfrm>
          <a:prstGeom prst="rect">
            <a:avLst/>
          </a:prstGeom>
        </p:spPr>
        <p:txBody>
          <a:bodyPr vert="horz" lIns="91440" tIns="45720" rIns="91440" bIns="45720" rtlCol="0">
            <a:norm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a:extLst>
              <a:ext uri="{FF2B5EF4-FFF2-40B4-BE49-F238E27FC236}">
                <a16:creationId xmlns:a16="http://schemas.microsoft.com/office/drawing/2014/main" id="{8E75F1B8-6778-4142-A61E-1617F3A45E58}"/>
              </a:ext>
            </a:extLst>
          </p:cNvPr>
          <p:cNvSpPr>
            <a:spLocks noGrp="1"/>
          </p:cNvSpPr>
          <p:nvPr>
            <p:ph type="sldNum" sz="quarter" idx="4"/>
          </p:nvPr>
        </p:nvSpPr>
        <p:spPr>
          <a:xfrm>
            <a:off x="11273133" y="6549922"/>
            <a:ext cx="744114" cy="138499"/>
          </a:xfrm>
          <a:prstGeom prst="rect">
            <a:avLst/>
          </a:prstGeom>
        </p:spPr>
        <p:txBody>
          <a:bodyPr vert="horz" wrap="none" lIns="91440" tIns="0" rIns="91440" bIns="0" rtlCol="0" anchor="ctr">
            <a:spAutoFit/>
          </a:bodyPr>
          <a:lstStyle>
            <a:lvl1pPr algn="ctr">
              <a:defRPr sz="900">
                <a:solidFill>
                  <a:schemeClr val="tx1">
                    <a:tint val="75000"/>
                  </a:schemeClr>
                </a:solidFill>
              </a:defRPr>
            </a:lvl1pPr>
          </a:lstStyle>
          <a:p>
            <a:r>
              <a:rPr lang="fr-FR">
                <a:solidFill>
                  <a:srgbClr val="333333">
                    <a:tint val="75000"/>
                  </a:srgbClr>
                </a:solidFill>
              </a:rPr>
              <a:t>Slide / </a:t>
            </a:r>
            <a:fld id="{3EA6A558-C4CA-4506-B5EC-E793D5AE9532}" type="slidenum">
              <a:rPr lang="fr-FR" smtClean="0">
                <a:solidFill>
                  <a:srgbClr val="333333">
                    <a:tint val="75000"/>
                  </a:srgbClr>
                </a:solidFill>
              </a:rPr>
              <a:pPr/>
              <a:t>‹#›</a:t>
            </a:fld>
            <a:endParaRPr lang="fr-FR" dirty="0">
              <a:solidFill>
                <a:srgbClr val="333333">
                  <a:tint val="75000"/>
                </a:srgbClr>
              </a:solidFill>
            </a:endParaRPr>
          </a:p>
        </p:txBody>
      </p:sp>
      <p:sp>
        <p:nvSpPr>
          <p:cNvPr id="9" name="Rectangle 8">
            <a:extLst>
              <a:ext uri="{FF2B5EF4-FFF2-40B4-BE49-F238E27FC236}">
                <a16:creationId xmlns:a16="http://schemas.microsoft.com/office/drawing/2014/main" id="{4D5C24DB-CDBF-424D-B02B-62056BB6B0B7}"/>
              </a:ext>
            </a:extLst>
          </p:cNvPr>
          <p:cNvSpPr/>
          <p:nvPr userDrawn="1"/>
        </p:nvSpPr>
        <p:spPr>
          <a:xfrm>
            <a:off x="11101388" y="6781801"/>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12" name="Image 11">
            <a:extLst>
              <a:ext uri="{FF2B5EF4-FFF2-40B4-BE49-F238E27FC236}">
                <a16:creationId xmlns:a16="http://schemas.microsoft.com/office/drawing/2014/main" id="{0B45E010-BE3E-41C4-87DF-1A1C0692AEF5}"/>
              </a:ext>
            </a:extLst>
          </p:cNvPr>
          <p:cNvPicPr>
            <a:picLocks noChangeAspect="1"/>
          </p:cNvPicPr>
          <p:nvPr userDrawn="1"/>
        </p:nvPicPr>
        <p:blipFill>
          <a:blip r:embed="rId4"/>
          <a:stretch>
            <a:fillRect/>
          </a:stretch>
        </p:blipFill>
        <p:spPr>
          <a:xfrm>
            <a:off x="188362" y="6079331"/>
            <a:ext cx="506185" cy="623888"/>
          </a:xfrm>
          <a:prstGeom prst="rect">
            <a:avLst/>
          </a:prstGeom>
        </p:spPr>
      </p:pic>
      <p:sp>
        <p:nvSpPr>
          <p:cNvPr id="13" name="Espace réservé de la date 12">
            <a:extLst>
              <a:ext uri="{FF2B5EF4-FFF2-40B4-BE49-F238E27FC236}">
                <a16:creationId xmlns:a16="http://schemas.microsoft.com/office/drawing/2014/main" id="{FAF8FFE8-7ADC-49F4-811F-CF9BADBBC24B}"/>
              </a:ext>
            </a:extLst>
          </p:cNvPr>
          <p:cNvSpPr>
            <a:spLocks noGrp="1"/>
          </p:cNvSpPr>
          <p:nvPr>
            <p:ph type="dt" sz="half" idx="2"/>
          </p:nvPr>
        </p:nvSpPr>
        <p:spPr>
          <a:xfrm>
            <a:off x="7716000" y="6356350"/>
            <a:ext cx="2743200" cy="365125"/>
          </a:xfrm>
          <a:prstGeom prst="rect">
            <a:avLst/>
          </a:prstGeom>
        </p:spPr>
        <p:txBody>
          <a:bodyPr vert="horz" lIns="91440" tIns="45720" rIns="91440" bIns="45720" rtlCol="0" anchor="ctr"/>
          <a:lstStyle>
            <a:lvl1pPr algn="l">
              <a:defRPr sz="900" cap="all" baseline="0">
                <a:solidFill>
                  <a:schemeClr val="tx1">
                    <a:tint val="75000"/>
                  </a:schemeClr>
                </a:solidFill>
              </a:defRPr>
            </a:lvl1pPr>
          </a:lstStyle>
          <a:p>
            <a:endParaRPr lang="fr-FR" dirty="0">
              <a:solidFill>
                <a:srgbClr val="333333">
                  <a:tint val="75000"/>
                </a:srgbClr>
              </a:solidFill>
            </a:endParaRPr>
          </a:p>
        </p:txBody>
      </p:sp>
      <p:sp>
        <p:nvSpPr>
          <p:cNvPr id="4" name="Espace réservé du pied de page 3">
            <a:extLst>
              <a:ext uri="{FF2B5EF4-FFF2-40B4-BE49-F238E27FC236}">
                <a16:creationId xmlns:a16="http://schemas.microsoft.com/office/drawing/2014/main" id="{4F457AE8-B5EE-43CB-AC05-923B74820487}"/>
              </a:ext>
            </a:extLst>
          </p:cNvPr>
          <p:cNvSpPr>
            <a:spLocks noGrp="1"/>
          </p:cNvSpPr>
          <p:nvPr>
            <p:ph type="ftr" sz="quarter" idx="3"/>
          </p:nvPr>
        </p:nvSpPr>
        <p:spPr>
          <a:xfrm>
            <a:off x="876000" y="6356350"/>
            <a:ext cx="4114800" cy="365125"/>
          </a:xfrm>
          <a:prstGeom prst="rect">
            <a:avLst/>
          </a:prstGeom>
        </p:spPr>
        <p:txBody>
          <a:bodyPr vert="horz" lIns="91440" tIns="45720" rIns="91440" bIns="45720" rtlCol="0" anchor="ctr"/>
          <a:lstStyle>
            <a:lvl1pPr algn="l">
              <a:defRPr sz="900" cap="all" baseline="0">
                <a:solidFill>
                  <a:schemeClr val="tx1">
                    <a:tint val="75000"/>
                  </a:schemeClr>
                </a:solidFill>
              </a:defRPr>
            </a:lvl1pPr>
          </a:lstStyle>
          <a:p>
            <a:r>
              <a:rPr lang="fr-FR">
                <a:solidFill>
                  <a:srgbClr val="333333">
                    <a:tint val="75000"/>
                  </a:srgbClr>
                </a:solidFill>
              </a:rPr>
              <a:t>GROUP PRESENTATION</a:t>
            </a:r>
            <a:endParaRPr lang="fr-FR" dirty="0">
              <a:solidFill>
                <a:srgbClr val="333333">
                  <a:tint val="75000"/>
                </a:srgbClr>
              </a:solidFill>
            </a:endParaRPr>
          </a:p>
        </p:txBody>
      </p:sp>
    </p:spTree>
    <p:extLst>
      <p:ext uri="{BB962C8B-B14F-4D97-AF65-F5344CB8AC3E}">
        <p14:creationId xmlns:p14="http://schemas.microsoft.com/office/powerpoint/2010/main" val="1423014067"/>
      </p:ext>
    </p:extLst>
  </p:cSld>
  <p:clrMap bg1="lt1" tx1="dk1" bg2="lt2" tx2="dk2" accent1="accent1" accent2="accent2" accent3="accent3" accent4="accent4" accent5="accent5" accent6="accent6" hlink="hlink" folHlink="folHlink"/>
  <p:sldLayoutIdLst>
    <p:sldLayoutId id="2147483746" r:id="rId1"/>
    <p:sldLayoutId id="2147483747" r:id="rId2"/>
  </p:sldLayoutIdLst>
  <p:hf hdr="0" dt="0"/>
  <p:txStyles>
    <p:titleStyle>
      <a:lvl1pPr algn="l" defTabSz="914400" rtl="0" eaLnBrk="1" latinLnBrk="0" hangingPunct="1">
        <a:lnSpc>
          <a:spcPct val="90000"/>
        </a:lnSpc>
        <a:spcBef>
          <a:spcPct val="0"/>
        </a:spcBef>
        <a:buNone/>
        <a:defRPr sz="2800" b="1" kern="1200" cap="all" baseline="0">
          <a:solidFill>
            <a:schemeClr val="tx1"/>
          </a:solidFill>
          <a:latin typeface="+mj-lt"/>
          <a:ea typeface="+mj-ea"/>
          <a:cs typeface="+mj-cs"/>
        </a:defRPr>
      </a:lvl1pPr>
    </p:titleStyle>
    <p:bodyStyle>
      <a:lvl1pPr marL="92075" indent="-92075" algn="l" defTabSz="914400" rtl="0" eaLnBrk="1" latinLnBrk="0" hangingPunct="1">
        <a:lnSpc>
          <a:spcPct val="90000"/>
        </a:lnSpc>
        <a:spcBef>
          <a:spcPts val="1000"/>
        </a:spcBef>
        <a:buFont typeface="Arial" panose="020B0604020202020204" pitchFamily="34" charset="0"/>
        <a:buChar char=" "/>
        <a:defRPr sz="1600" b="1" kern="1200">
          <a:solidFill>
            <a:schemeClr val="tx1"/>
          </a:solidFill>
          <a:latin typeface="+mn-lt"/>
          <a:ea typeface="+mn-ea"/>
          <a:cs typeface="+mn-cs"/>
        </a:defRPr>
      </a:lvl1pPr>
      <a:lvl2pPr marL="92075" indent="-92075" algn="l" defTabSz="914400" rtl="0" eaLnBrk="1" latinLnBrk="0" hangingPunct="1">
        <a:lnSpc>
          <a:spcPct val="90000"/>
        </a:lnSpc>
        <a:spcBef>
          <a:spcPts val="500"/>
        </a:spcBef>
        <a:buFont typeface="Arial" panose="020B0604020202020204" pitchFamily="34" charset="0"/>
        <a:buChar char=" "/>
        <a:defRPr sz="1200" kern="1200">
          <a:solidFill>
            <a:schemeClr val="tx1"/>
          </a:solidFill>
          <a:latin typeface="+mn-lt"/>
          <a:ea typeface="+mn-ea"/>
          <a:cs typeface="+mn-cs"/>
        </a:defRPr>
      </a:lvl2pPr>
      <a:lvl3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92075" indent="-92075" algn="l" defTabSz="914400" rtl="0" eaLnBrk="1" latinLnBrk="0" hangingPunct="1">
        <a:lnSpc>
          <a:spcPct val="90000"/>
        </a:lnSpc>
        <a:spcBef>
          <a:spcPts val="500"/>
        </a:spcBef>
        <a:buFont typeface="Arial" panose="020B0604020202020204" pitchFamily="34" charset="0"/>
        <a:buChar char=" "/>
        <a:defRPr sz="1200" b="1" i="1" kern="1200">
          <a:solidFill>
            <a:schemeClr val="accent1"/>
          </a:solidFill>
          <a:latin typeface="+mn-lt"/>
          <a:ea typeface="+mn-ea"/>
          <a:cs typeface="+mn-cs"/>
        </a:defRPr>
      </a:lvl4pPr>
      <a:lvl5pPr marL="266700" indent="-177800" algn="l" defTabSz="914400" rtl="0" eaLnBrk="1" latinLnBrk="0" hangingPunct="1">
        <a:lnSpc>
          <a:spcPct val="90000"/>
        </a:lnSpc>
        <a:spcBef>
          <a:spcPts val="500"/>
        </a:spcBef>
        <a:buFont typeface="Arial" panose="020B0604020202020204" pitchFamily="34" charset="0"/>
        <a:buChar char=" "/>
        <a:defRPr sz="1050" i="1"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5">
          <p15:clr>
            <a:srgbClr val="F26B43"/>
          </p15:clr>
        </p15:guide>
        <p15:guide id="2" pos="7475">
          <p15:clr>
            <a:srgbClr val="F26B43"/>
          </p15:clr>
        </p15:guide>
        <p15:guide id="3" orient="horz" pos="682">
          <p15:clr>
            <a:srgbClr val="F26B43"/>
          </p15:clr>
        </p15:guide>
        <p15:guide id="4" orient="horz" pos="37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10.emf"/><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png"/><Relationship Id="rId26" Type="http://schemas.openxmlformats.org/officeDocument/2006/relationships/image" Target="../media/image53.jpeg"/><Relationship Id="rId3" Type="http://schemas.openxmlformats.org/officeDocument/2006/relationships/image" Target="../media/image31.png"/><Relationship Id="rId21" Type="http://schemas.openxmlformats.org/officeDocument/2006/relationships/image" Target="../media/image49.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oleObject" Target="../embeddings/oleObject2.bin"/><Relationship Id="rId33" Type="http://schemas.openxmlformats.org/officeDocument/2006/relationships/image" Target="../media/image57.png"/><Relationship Id="rId2" Type="http://schemas.openxmlformats.org/officeDocument/2006/relationships/image" Target="../media/image30.png"/><Relationship Id="rId16" Type="http://schemas.openxmlformats.org/officeDocument/2006/relationships/image" Target="../media/image44.png"/><Relationship Id="rId20" Type="http://schemas.openxmlformats.org/officeDocument/2006/relationships/image" Target="../media/image48.png"/><Relationship Id="rId29" Type="http://schemas.openxmlformats.org/officeDocument/2006/relationships/image" Target="../media/image55.jpeg"/><Relationship Id="rId1" Type="http://schemas.openxmlformats.org/officeDocument/2006/relationships/slideLayout" Target="../slideLayouts/slideLayout10.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2.png"/><Relationship Id="rId32" Type="http://schemas.openxmlformats.org/officeDocument/2006/relationships/oleObject" Target="../embeddings/oleObject5.bin"/><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oleObject" Target="../embeddings/oleObject3.bin"/><Relationship Id="rId10" Type="http://schemas.openxmlformats.org/officeDocument/2006/relationships/image" Target="../media/image38.png"/><Relationship Id="rId19" Type="http://schemas.openxmlformats.org/officeDocument/2006/relationships/image" Target="../media/image47.png"/><Relationship Id="rId31" Type="http://schemas.openxmlformats.org/officeDocument/2006/relationships/image" Target="../media/image56.jpe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54.png"/><Relationship Id="rId30" Type="http://schemas.openxmlformats.org/officeDocument/2006/relationships/oleObject" Target="../embeddings/oleObject4.bin"/><Relationship Id="rId8"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58.jpeg"/></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0.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65.jpg"/></Relationships>
</file>

<file path=ppt/slides/_rels/slide19.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Layout" Target="../slideLayouts/slideLayout10.xml"/><Relationship Id="rId5" Type="http://schemas.openxmlformats.org/officeDocument/2006/relationships/image" Target="../media/image68.jpg"/><Relationship Id="rId4" Type="http://schemas.openxmlformats.org/officeDocument/2006/relationships/image" Target="../media/image65.jp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jp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jpg"/><Relationship Id="rId7" Type="http://schemas.openxmlformats.org/officeDocument/2006/relationships/image" Target="../media/image20.jp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19.jpg"/><Relationship Id="rId5" Type="http://schemas.openxmlformats.org/officeDocument/2006/relationships/image" Target="../media/image18.jpg"/><Relationship Id="rId4" Type="http://schemas.openxmlformats.org/officeDocument/2006/relationships/image" Target="../media/image17.jpg"/><Relationship Id="rId9"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2.jpg"/></Relationships>
</file>

<file path=ppt/slides/_rels/slide8.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slideLayout" Target="../slideLayouts/slideLayout10.xml"/><Relationship Id="rId7" Type="http://schemas.openxmlformats.org/officeDocument/2006/relationships/image" Target="../media/image2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5.xml"/><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18"/>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2362200"/>
            <a:ext cx="8724900" cy="242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620" y="-26954"/>
            <a:ext cx="9245416" cy="2305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0"/>
          <p:cNvSpPr>
            <a:spLocks noChangeAspect="1"/>
          </p:cNvSpPr>
          <p:nvPr/>
        </p:nvSpPr>
        <p:spPr bwMode="auto">
          <a:xfrm>
            <a:off x="0" y="4724400"/>
            <a:ext cx="8851900" cy="316227"/>
          </a:xfrm>
          <a:prstGeom prst="rect">
            <a:avLst/>
          </a:prstGeom>
          <a:solidFill>
            <a:srgbClr val="BD1839"/>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70000"/>
              </a:spcBef>
              <a:spcAft>
                <a:spcPct val="0"/>
              </a:spcAft>
              <a:buClrTx/>
              <a:buSzTx/>
              <a:tabLst/>
            </a:pPr>
            <a:endParaRPr kumimoji="0" lang="en-US" sz="1600" b="0" i="0" u="none" strike="noStrike" cap="none" normalizeH="0" baseline="0" dirty="0">
              <a:ln>
                <a:noFill/>
              </a:ln>
              <a:solidFill>
                <a:schemeClr val="tx1"/>
              </a:solidFill>
              <a:effectLst/>
              <a:latin typeface="Arial" pitchFamily="34" charset="0"/>
            </a:endParaRPr>
          </a:p>
        </p:txBody>
      </p:sp>
      <p:sp>
        <p:nvSpPr>
          <p:cNvPr id="6" name="Freeform 1"/>
          <p:cNvSpPr>
            <a:spLocks noChangeAspect="1" noChangeArrowheads="1"/>
          </p:cNvSpPr>
          <p:nvPr/>
        </p:nvSpPr>
        <p:spPr bwMode="auto">
          <a:xfrm>
            <a:off x="-19990" y="-26954"/>
            <a:ext cx="9257786" cy="6869600"/>
          </a:xfrm>
          <a:custGeom>
            <a:avLst/>
            <a:gdLst>
              <a:gd name="connsiteX0" fmla="*/ 11772 w 12798"/>
              <a:gd name="connsiteY0" fmla="*/ 4556 h 7198"/>
              <a:gd name="connsiteX1" fmla="*/ 12798 w 12798"/>
              <a:gd name="connsiteY1" fmla="*/ 0 h 7198"/>
              <a:gd name="connsiteX2" fmla="*/ 12798 w 12798"/>
              <a:gd name="connsiteY2" fmla="*/ 7198 h 7198"/>
              <a:gd name="connsiteX3" fmla="*/ 1307 w 12798"/>
              <a:gd name="connsiteY3" fmla="*/ 7181 h 7198"/>
              <a:gd name="connsiteX4" fmla="*/ 0 w 12798"/>
              <a:gd name="connsiteY4" fmla="*/ 5038 h 7198"/>
              <a:gd name="connsiteX5" fmla="*/ 11270 w 12798"/>
              <a:gd name="connsiteY5" fmla="*/ 5038 h 7198"/>
              <a:gd name="connsiteX6" fmla="*/ 11772 w 12798"/>
              <a:gd name="connsiteY6" fmla="*/ 4556 h 7198"/>
              <a:gd name="connsiteX0" fmla="*/ 11772 w 12798"/>
              <a:gd name="connsiteY0" fmla="*/ 4556 h 7198"/>
              <a:gd name="connsiteX1" fmla="*/ 12798 w 12798"/>
              <a:gd name="connsiteY1" fmla="*/ 0 h 7198"/>
              <a:gd name="connsiteX2" fmla="*/ 12798 w 12798"/>
              <a:gd name="connsiteY2" fmla="*/ 7198 h 7198"/>
              <a:gd name="connsiteX3" fmla="*/ 3440 w 12798"/>
              <a:gd name="connsiteY3" fmla="*/ 6975 h 7198"/>
              <a:gd name="connsiteX4" fmla="*/ 0 w 12798"/>
              <a:gd name="connsiteY4" fmla="*/ 5038 h 7198"/>
              <a:gd name="connsiteX5" fmla="*/ 11270 w 12798"/>
              <a:gd name="connsiteY5" fmla="*/ 5038 h 7198"/>
              <a:gd name="connsiteX6" fmla="*/ 11772 w 12798"/>
              <a:gd name="connsiteY6" fmla="*/ 4556 h 7198"/>
              <a:gd name="connsiteX0" fmla="*/ 11772 w 12798"/>
              <a:gd name="connsiteY0" fmla="*/ 4556 h 7198"/>
              <a:gd name="connsiteX1" fmla="*/ 12798 w 12798"/>
              <a:gd name="connsiteY1" fmla="*/ 0 h 7198"/>
              <a:gd name="connsiteX2" fmla="*/ 12798 w 12798"/>
              <a:gd name="connsiteY2" fmla="*/ 7198 h 7198"/>
              <a:gd name="connsiteX3" fmla="*/ 3440 w 12798"/>
              <a:gd name="connsiteY3" fmla="*/ 6975 h 7198"/>
              <a:gd name="connsiteX4" fmla="*/ 0 w 12798"/>
              <a:gd name="connsiteY4" fmla="*/ 5038 h 7198"/>
              <a:gd name="connsiteX5" fmla="*/ 11270 w 12798"/>
              <a:gd name="connsiteY5" fmla="*/ 5038 h 7198"/>
              <a:gd name="connsiteX6" fmla="*/ 11772 w 12798"/>
              <a:gd name="connsiteY6" fmla="*/ 4556 h 7198"/>
              <a:gd name="connsiteX0" fmla="*/ 11772 w 12798"/>
              <a:gd name="connsiteY0" fmla="*/ 4556 h 6975"/>
              <a:gd name="connsiteX1" fmla="*/ 12798 w 12798"/>
              <a:gd name="connsiteY1" fmla="*/ 0 h 6975"/>
              <a:gd name="connsiteX2" fmla="*/ 12798 w 12798"/>
              <a:gd name="connsiteY2" fmla="*/ 6974 h 6975"/>
              <a:gd name="connsiteX3" fmla="*/ 3440 w 12798"/>
              <a:gd name="connsiteY3" fmla="*/ 6975 h 6975"/>
              <a:gd name="connsiteX4" fmla="*/ 0 w 12798"/>
              <a:gd name="connsiteY4" fmla="*/ 5038 h 6975"/>
              <a:gd name="connsiteX5" fmla="*/ 11270 w 12798"/>
              <a:gd name="connsiteY5" fmla="*/ 5038 h 6975"/>
              <a:gd name="connsiteX6" fmla="*/ 11772 w 12798"/>
              <a:gd name="connsiteY6" fmla="*/ 4556 h 6975"/>
              <a:gd name="connsiteX0" fmla="*/ 11772 w 12798"/>
              <a:gd name="connsiteY0" fmla="*/ 4556 h 6975"/>
              <a:gd name="connsiteX1" fmla="*/ 12798 w 12798"/>
              <a:gd name="connsiteY1" fmla="*/ 0 h 6975"/>
              <a:gd name="connsiteX2" fmla="*/ 12798 w 12798"/>
              <a:gd name="connsiteY2" fmla="*/ 6974 h 6975"/>
              <a:gd name="connsiteX3" fmla="*/ 3440 w 12798"/>
              <a:gd name="connsiteY3" fmla="*/ 6975 h 6975"/>
              <a:gd name="connsiteX4" fmla="*/ 0 w 12798"/>
              <a:gd name="connsiteY4" fmla="*/ 5038 h 6975"/>
              <a:gd name="connsiteX5" fmla="*/ 3394 w 12798"/>
              <a:gd name="connsiteY5" fmla="*/ 5042 h 6975"/>
              <a:gd name="connsiteX6" fmla="*/ 11270 w 12798"/>
              <a:gd name="connsiteY6" fmla="*/ 5038 h 6975"/>
              <a:gd name="connsiteX7" fmla="*/ 11772 w 12798"/>
              <a:gd name="connsiteY7" fmla="*/ 4556 h 6975"/>
              <a:gd name="connsiteX0" fmla="*/ 11772 w 12798"/>
              <a:gd name="connsiteY0" fmla="*/ 4556 h 6975"/>
              <a:gd name="connsiteX1" fmla="*/ 12798 w 12798"/>
              <a:gd name="connsiteY1" fmla="*/ 0 h 6975"/>
              <a:gd name="connsiteX2" fmla="*/ 12798 w 12798"/>
              <a:gd name="connsiteY2" fmla="*/ 6974 h 6975"/>
              <a:gd name="connsiteX3" fmla="*/ 3440 w 12798"/>
              <a:gd name="connsiteY3" fmla="*/ 6975 h 6975"/>
              <a:gd name="connsiteX4" fmla="*/ 0 w 12798"/>
              <a:gd name="connsiteY4" fmla="*/ 5038 h 6975"/>
              <a:gd name="connsiteX5" fmla="*/ 3394 w 12798"/>
              <a:gd name="connsiteY5" fmla="*/ 5042 h 6975"/>
              <a:gd name="connsiteX6" fmla="*/ 11270 w 12798"/>
              <a:gd name="connsiteY6" fmla="*/ 5038 h 6975"/>
              <a:gd name="connsiteX7" fmla="*/ 11772 w 12798"/>
              <a:gd name="connsiteY7" fmla="*/ 4556 h 6975"/>
              <a:gd name="connsiteX0" fmla="*/ 11772 w 12798"/>
              <a:gd name="connsiteY0" fmla="*/ 4556 h 6975"/>
              <a:gd name="connsiteX1" fmla="*/ 12798 w 12798"/>
              <a:gd name="connsiteY1" fmla="*/ 0 h 6975"/>
              <a:gd name="connsiteX2" fmla="*/ 12798 w 12798"/>
              <a:gd name="connsiteY2" fmla="*/ 6974 h 6975"/>
              <a:gd name="connsiteX3" fmla="*/ 3440 w 12798"/>
              <a:gd name="connsiteY3" fmla="*/ 6975 h 6975"/>
              <a:gd name="connsiteX4" fmla="*/ 0 w 12798"/>
              <a:gd name="connsiteY4" fmla="*/ 5038 h 6975"/>
              <a:gd name="connsiteX5" fmla="*/ 3394 w 12798"/>
              <a:gd name="connsiteY5" fmla="*/ 5042 h 6975"/>
              <a:gd name="connsiteX6" fmla="*/ 11270 w 12798"/>
              <a:gd name="connsiteY6" fmla="*/ 5038 h 6975"/>
              <a:gd name="connsiteX7" fmla="*/ 11772 w 12798"/>
              <a:gd name="connsiteY7" fmla="*/ 4556 h 6975"/>
              <a:gd name="connsiteX0" fmla="*/ 8378 w 9404"/>
              <a:gd name="connsiteY0" fmla="*/ 4556 h 6975"/>
              <a:gd name="connsiteX1" fmla="*/ 9404 w 9404"/>
              <a:gd name="connsiteY1" fmla="*/ 0 h 6975"/>
              <a:gd name="connsiteX2" fmla="*/ 9404 w 9404"/>
              <a:gd name="connsiteY2" fmla="*/ 6974 h 6975"/>
              <a:gd name="connsiteX3" fmla="*/ 46 w 9404"/>
              <a:gd name="connsiteY3" fmla="*/ 6975 h 6975"/>
              <a:gd name="connsiteX4" fmla="*/ 0 w 9404"/>
              <a:gd name="connsiteY4" fmla="*/ 5042 h 6975"/>
              <a:gd name="connsiteX5" fmla="*/ 7876 w 9404"/>
              <a:gd name="connsiteY5" fmla="*/ 5038 h 6975"/>
              <a:gd name="connsiteX6" fmla="*/ 8378 w 9404"/>
              <a:gd name="connsiteY6" fmla="*/ 4556 h 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4" h="6975">
                <a:moveTo>
                  <a:pt x="8378" y="4556"/>
                </a:moveTo>
                <a:cubicBezTo>
                  <a:pt x="8496" y="3932"/>
                  <a:pt x="9404" y="0"/>
                  <a:pt x="9404" y="0"/>
                </a:cubicBezTo>
                <a:lnTo>
                  <a:pt x="9404" y="6974"/>
                </a:lnTo>
                <a:lnTo>
                  <a:pt x="46" y="6975"/>
                </a:lnTo>
                <a:cubicBezTo>
                  <a:pt x="31" y="6331"/>
                  <a:pt x="15" y="5686"/>
                  <a:pt x="0" y="5042"/>
                </a:cubicBezTo>
                <a:cubicBezTo>
                  <a:pt x="9" y="5043"/>
                  <a:pt x="5251" y="5039"/>
                  <a:pt x="7876" y="5038"/>
                </a:cubicBezTo>
                <a:cubicBezTo>
                  <a:pt x="7876" y="5038"/>
                  <a:pt x="8239" y="5077"/>
                  <a:pt x="8378" y="4556"/>
                </a:cubicBezTo>
              </a:path>
            </a:pathLst>
          </a:custGeom>
          <a:solidFill>
            <a:schemeClr val="bg1"/>
          </a:solidFill>
          <a:ln w="9525" cap="flat">
            <a:noFill/>
            <a:bevel/>
            <a:headEnd/>
            <a:tailEnd/>
          </a:ln>
          <a:effectLst/>
        </p:spPr>
        <p:txBody>
          <a:bodyPr wrap="none" anchor="ctr">
            <a:prstTxWarp prst="textNoShape">
              <a:avLst/>
            </a:prstTxWarp>
          </a:bodyPr>
          <a:lstStyle/>
          <a:p>
            <a:endParaRPr lang="en-US"/>
          </a:p>
        </p:txBody>
      </p:sp>
      <p:sp>
        <p:nvSpPr>
          <p:cNvPr id="7" name="Espace réservé du texte 2"/>
          <p:cNvSpPr txBox="1">
            <a:spLocks/>
          </p:cNvSpPr>
          <p:nvPr/>
        </p:nvSpPr>
        <p:spPr>
          <a:xfrm>
            <a:off x="437906" y="6106997"/>
            <a:ext cx="3498850" cy="574675"/>
          </a:xfrm>
          <a:prstGeom prst="rect">
            <a:avLst/>
          </a:prstGeom>
        </p:spPr>
        <p:txBody>
          <a:bodyPr lIns="121858" tIns="60928" rIns="121858" bIns="60928"/>
          <a:lstStyle>
            <a:lvl1pPr marL="0" indent="0" algn="l" defTabSz="1219080" rtl="0" eaLnBrk="1" latinLnBrk="0" hangingPunct="1">
              <a:spcBef>
                <a:spcPts val="0"/>
              </a:spcBef>
              <a:spcAft>
                <a:spcPts val="800"/>
              </a:spcAft>
              <a:buFont typeface="Arial" panose="020B0604020202020204" pitchFamily="34" charset="0"/>
              <a:buNone/>
              <a:defRPr sz="2400" kern="1200">
                <a:solidFill>
                  <a:srgbClr val="247E7C"/>
                </a:solidFill>
                <a:latin typeface="+mj-lt"/>
                <a:ea typeface="+mn-ea"/>
                <a:cs typeface="Arial" pitchFamily="34" charset="0"/>
              </a:defRPr>
            </a:lvl1pPr>
            <a:lvl2pPr marL="355566" indent="-355566" algn="l" defTabSz="1219080" rtl="0" eaLnBrk="1" latinLnBrk="0" hangingPunct="1">
              <a:spcBef>
                <a:spcPct val="20000"/>
              </a:spcBef>
              <a:buClr>
                <a:schemeClr val="accent3"/>
              </a:buClr>
              <a:buSzPct val="80000"/>
              <a:buFont typeface="Arial" panose="020B0604020202020204" pitchFamily="34" charset="0"/>
              <a:buChar char="•"/>
              <a:defRPr sz="2100" kern="1200">
                <a:solidFill>
                  <a:schemeClr val="tx1"/>
                </a:solidFill>
                <a:latin typeface="+mj-lt"/>
                <a:ea typeface="+mn-ea"/>
                <a:cs typeface="Arial" pitchFamily="34" charset="0"/>
              </a:defRPr>
            </a:lvl2pPr>
            <a:lvl3pPr marL="721713" indent="-366150" algn="l" defTabSz="1219080" rtl="0" eaLnBrk="1" latinLnBrk="0" hangingPunct="1">
              <a:spcBef>
                <a:spcPct val="20000"/>
              </a:spcBef>
              <a:buClr>
                <a:schemeClr val="accent2"/>
              </a:buClr>
              <a:buFont typeface="Calibri" pitchFamily="34" charset="0"/>
              <a:buChar char="&gt;"/>
              <a:defRPr sz="1900" kern="1200">
                <a:solidFill>
                  <a:schemeClr val="tx1"/>
                </a:solidFill>
                <a:latin typeface="+mj-lt"/>
                <a:ea typeface="+mn-ea"/>
                <a:cs typeface="Arial" pitchFamily="34" charset="0"/>
              </a:defRPr>
            </a:lvl3pPr>
            <a:lvl4pPr marL="1193681" indent="-469852" algn="l" defTabSz="1219080" rtl="0" eaLnBrk="1" latinLnBrk="0" hangingPunct="1">
              <a:spcBef>
                <a:spcPct val="20000"/>
              </a:spcBef>
              <a:buFont typeface="Arial" panose="020B0604020202020204" pitchFamily="34" charset="0"/>
              <a:buChar char="–"/>
              <a:defRPr sz="1600" kern="1200">
                <a:solidFill>
                  <a:schemeClr val="tx1"/>
                </a:solidFill>
                <a:latin typeface="+mj-lt"/>
                <a:ea typeface="+mn-ea"/>
                <a:cs typeface="Arial" pitchFamily="34" charset="0"/>
              </a:defRPr>
            </a:lvl4pPr>
            <a:lvl5pPr marL="1193681" indent="-469852" algn="l" defTabSz="1219080" rtl="0" eaLnBrk="1" latinLnBrk="0" hangingPunct="1">
              <a:spcBef>
                <a:spcPct val="20000"/>
              </a:spcBef>
              <a:buFont typeface="Arial" panose="020B0604020202020204" pitchFamily="34" charset="0"/>
              <a:buChar char="»"/>
              <a:defRPr sz="1600" kern="1200">
                <a:solidFill>
                  <a:schemeClr val="tx1"/>
                </a:solidFill>
                <a:latin typeface="+mj-lt"/>
                <a:ea typeface="+mn-ea"/>
                <a:cs typeface="Arial" pitchFamily="34" charset="0"/>
              </a:defRPr>
            </a:lvl5pPr>
            <a:lvl6pPr marL="3352464" indent="-304768" algn="l" defTabSz="121908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05" indent="-304768" algn="l" defTabSz="121908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4" indent="-304768" algn="l" defTabSz="121908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68" algn="l" defTabSz="121908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fontAlgn="auto">
              <a:defRPr/>
            </a:pPr>
            <a:r>
              <a:rPr lang="fr-FR" b="1" dirty="0">
                <a:solidFill>
                  <a:schemeClr val="bg2">
                    <a:lumMod val="25000"/>
                  </a:schemeClr>
                </a:solidFill>
                <a:latin typeface="Calibri" panose="020F0502020204030204" pitchFamily="34" charset="0"/>
              </a:rPr>
              <a:t>Introduction &amp; </a:t>
            </a:r>
            <a:r>
              <a:rPr lang="fr-FR" b="1" dirty="0" err="1">
                <a:solidFill>
                  <a:schemeClr val="bg2">
                    <a:lumMod val="25000"/>
                  </a:schemeClr>
                </a:solidFill>
                <a:latin typeface="Calibri" panose="020F0502020204030204" pitchFamily="34" charset="0"/>
              </a:rPr>
              <a:t>Overview</a:t>
            </a:r>
            <a:endParaRPr lang="fr-FR" b="1" dirty="0">
              <a:solidFill>
                <a:schemeClr val="bg2">
                  <a:lumMod val="25000"/>
                </a:schemeClr>
              </a:solidFill>
              <a:latin typeface="Calibri" panose="020F0502020204030204" pitchFamily="34" charset="0"/>
            </a:endParaRPr>
          </a:p>
        </p:txBody>
      </p:sp>
      <p:sp>
        <p:nvSpPr>
          <p:cNvPr id="8" name="Rectangle 27"/>
          <p:cNvSpPr/>
          <p:nvPr/>
        </p:nvSpPr>
        <p:spPr>
          <a:xfrm>
            <a:off x="437906" y="5273694"/>
            <a:ext cx="6785832" cy="830997"/>
          </a:xfrm>
          <a:prstGeom prst="rect">
            <a:avLst/>
          </a:prstGeom>
        </p:spPr>
        <p:txBody>
          <a:bodyPr wrap="none">
            <a:spAutoFit/>
          </a:bodyPr>
          <a:lstStyle/>
          <a:p>
            <a:r>
              <a:rPr lang="fr-FR" sz="2400" b="1" dirty="0">
                <a:solidFill>
                  <a:srgbClr val="B0002D"/>
                </a:solidFill>
                <a:latin typeface="Calibri" panose="020F0502020204030204" pitchFamily="34" charset="0"/>
              </a:rPr>
              <a:t>Bureau Veritas Consumer </a:t>
            </a:r>
            <a:r>
              <a:rPr lang="fr-FR" sz="2400" b="1" dirty="0" err="1">
                <a:solidFill>
                  <a:srgbClr val="B0002D"/>
                </a:solidFill>
                <a:latin typeface="Calibri" panose="020F0502020204030204" pitchFamily="34" charset="0"/>
              </a:rPr>
              <a:t>Products</a:t>
            </a:r>
            <a:r>
              <a:rPr lang="fr-FR" sz="2400" b="1" dirty="0">
                <a:solidFill>
                  <a:srgbClr val="B0002D"/>
                </a:solidFill>
                <a:latin typeface="Calibri" panose="020F0502020204030204" pitchFamily="34" charset="0"/>
              </a:rPr>
              <a:t> Services, Taiwan</a:t>
            </a:r>
            <a:br>
              <a:rPr lang="fr-FR" sz="2400" b="1" dirty="0">
                <a:solidFill>
                  <a:srgbClr val="B0002D"/>
                </a:solidFill>
                <a:latin typeface="Calibri" panose="020F0502020204030204" pitchFamily="34" charset="0"/>
              </a:rPr>
            </a:br>
            <a:r>
              <a:rPr lang="zh-TW" altLang="en-US" sz="2400" b="1" dirty="0">
                <a:solidFill>
                  <a:srgbClr val="B0002D"/>
                </a:solidFill>
                <a:latin typeface="Calibri" panose="020F0502020204030204" pitchFamily="34" charset="0"/>
              </a:rPr>
              <a:t>必維集團 消費性產品檢驗事業部 台灣分公司</a:t>
            </a:r>
            <a:endParaRPr lang="fr-FR" sz="2400" b="1" dirty="0">
              <a:solidFill>
                <a:srgbClr val="B0002D"/>
              </a:solidFill>
              <a:latin typeface="Calibri" panose="020F0502020204030204" pitchFamily="34" charset="0"/>
            </a:endParaRPr>
          </a:p>
        </p:txBody>
      </p:sp>
      <p:pic>
        <p:nvPicPr>
          <p:cNvPr id="9"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788527" y="2531136"/>
            <a:ext cx="1440000" cy="1795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39"/>
          <p:cNvSpPr/>
          <p:nvPr/>
        </p:nvSpPr>
        <p:spPr bwMode="auto">
          <a:xfrm>
            <a:off x="0" y="0"/>
            <a:ext cx="12192000" cy="6858000"/>
          </a:xfrm>
          <a:prstGeom prst="rect">
            <a:avLst/>
          </a:prstGeom>
          <a:noFill/>
          <a:ln w="31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70000"/>
              </a:spcBef>
              <a:spcAft>
                <a:spcPct val="0"/>
              </a:spcAft>
              <a:buClrTx/>
              <a:buSzTx/>
              <a:buFontTx/>
              <a:buChar char="•"/>
              <a:tabLst/>
            </a:pPr>
            <a:endParaRPr kumimoji="0" lang="en-US" sz="16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25519155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0</a:t>
            </a:fld>
            <a:endParaRPr lang="en-GB" dirty="0"/>
          </a:p>
        </p:txBody>
      </p:sp>
      <p:sp>
        <p:nvSpPr>
          <p:cNvPr id="4" name="標題 3"/>
          <p:cNvSpPr>
            <a:spLocks noGrp="1"/>
          </p:cNvSpPr>
          <p:nvPr>
            <p:ph type="title"/>
          </p:nvPr>
        </p:nvSpPr>
        <p:spPr/>
        <p:txBody>
          <a:bodyPr/>
          <a:lstStyle/>
          <a:p>
            <a:r>
              <a:rPr lang="en-US" altLang="zh-TW" dirty="0"/>
              <a:t>Broad Range of Segments –</a:t>
            </a:r>
            <a:r>
              <a:rPr lang="zh-TW" altLang="en-US" dirty="0">
                <a:solidFill>
                  <a:schemeClr val="hlink"/>
                </a:solidFill>
                <a:latin typeface="微軟正黑體" panose="020B0604030504040204" pitchFamily="34" charset="-120"/>
              </a:rPr>
              <a:t> </a:t>
            </a:r>
            <a:r>
              <a:rPr lang="zh-TW" altLang="en-US" dirty="0">
                <a:solidFill>
                  <a:schemeClr val="tx1">
                    <a:lumMod val="75000"/>
                  </a:schemeClr>
                </a:solidFill>
                <a:latin typeface="微軟正黑體" panose="020B0604030504040204" pitchFamily="34" charset="-120"/>
              </a:rPr>
              <a:t>我們的服務範疇</a:t>
            </a:r>
            <a:br>
              <a:rPr lang="zh-TW" altLang="en-US" dirty="0">
                <a:solidFill>
                  <a:schemeClr val="tx1">
                    <a:lumMod val="75000"/>
                  </a:schemeClr>
                </a:solidFill>
                <a:latin typeface="微軟正黑體" panose="020B0604030504040204" pitchFamily="34" charset="-120"/>
              </a:rPr>
            </a:br>
            <a:endParaRPr lang="zh-TW" altLang="en-US" dirty="0"/>
          </a:p>
        </p:txBody>
      </p:sp>
      <p:grpSp>
        <p:nvGrpSpPr>
          <p:cNvPr id="5" name="Group 2"/>
          <p:cNvGrpSpPr/>
          <p:nvPr/>
        </p:nvGrpSpPr>
        <p:grpSpPr>
          <a:xfrm>
            <a:off x="1996393" y="1299490"/>
            <a:ext cx="8172450" cy="4957763"/>
            <a:chOff x="485775" y="1219200"/>
            <a:chExt cx="8172450" cy="4957763"/>
          </a:xfrm>
        </p:grpSpPr>
        <p:sp>
          <p:nvSpPr>
            <p:cNvPr id="6" name="Freeform 3"/>
            <p:cNvSpPr>
              <a:spLocks noChangeArrowheads="1"/>
            </p:cNvSpPr>
            <p:nvPr/>
          </p:nvSpPr>
          <p:spPr bwMode="auto">
            <a:xfrm>
              <a:off x="4572729" y="1219200"/>
              <a:ext cx="4085496" cy="4957763"/>
            </a:xfrm>
            <a:custGeom>
              <a:avLst/>
              <a:gdLst>
                <a:gd name="T0" fmla="*/ 1745749 w 12349"/>
                <a:gd name="T1" fmla="*/ 0 h 14986"/>
                <a:gd name="T2" fmla="*/ 4444640 w 12349"/>
                <a:gd name="T3" fmla="*/ 2696803 h 14986"/>
                <a:gd name="T4" fmla="*/ 1745749 w 12349"/>
                <a:gd name="T5" fmla="*/ 5393965 h 14986"/>
                <a:gd name="T6" fmla="*/ 0 w 12349"/>
                <a:gd name="T7" fmla="*/ 4752881 h 14986"/>
                <a:gd name="T8" fmla="*/ 951703 w 12349"/>
                <a:gd name="T9" fmla="*/ 2696803 h 14986"/>
                <a:gd name="T10" fmla="*/ 0 w 12349"/>
                <a:gd name="T11" fmla="*/ 641085 h 14986"/>
                <a:gd name="T12" fmla="*/ 1745749 w 12349"/>
                <a:gd name="T13" fmla="*/ 0 h 14986"/>
                <a:gd name="T14" fmla="*/ 0 60000 65536"/>
                <a:gd name="T15" fmla="*/ 0 60000 65536"/>
                <a:gd name="T16" fmla="*/ 0 60000 65536"/>
                <a:gd name="T17" fmla="*/ 0 60000 65536"/>
                <a:gd name="T18" fmla="*/ 0 60000 65536"/>
                <a:gd name="T19" fmla="*/ 0 60000 65536"/>
                <a:gd name="T20" fmla="*/ 0 60000 65536"/>
                <a:gd name="T21" fmla="*/ 0 w 12349"/>
                <a:gd name="T22" fmla="*/ 0 h 14986"/>
                <a:gd name="T23" fmla="*/ 12349 w 12349"/>
                <a:gd name="T24" fmla="*/ 14986 h 149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349" h="14986">
                  <a:moveTo>
                    <a:pt x="4850" y="0"/>
                  </a:moveTo>
                  <a:cubicBezTo>
                    <a:pt x="8991" y="0"/>
                    <a:pt x="12348" y="3355"/>
                    <a:pt x="12348" y="7492"/>
                  </a:cubicBezTo>
                  <a:cubicBezTo>
                    <a:pt x="12348" y="11630"/>
                    <a:pt x="8991" y="14985"/>
                    <a:pt x="4850" y="14985"/>
                  </a:cubicBezTo>
                  <a:cubicBezTo>
                    <a:pt x="3000" y="14985"/>
                    <a:pt x="1306" y="14314"/>
                    <a:pt x="0" y="13204"/>
                  </a:cubicBezTo>
                  <a:cubicBezTo>
                    <a:pt x="1617" y="11830"/>
                    <a:pt x="2644" y="9781"/>
                    <a:pt x="2644" y="7492"/>
                  </a:cubicBezTo>
                  <a:cubicBezTo>
                    <a:pt x="2644" y="5204"/>
                    <a:pt x="1617" y="3155"/>
                    <a:pt x="0" y="1781"/>
                  </a:cubicBezTo>
                  <a:cubicBezTo>
                    <a:pt x="1306" y="671"/>
                    <a:pt x="3000" y="0"/>
                    <a:pt x="4850" y="0"/>
                  </a:cubicBezTo>
                </a:path>
              </a:pathLst>
            </a:custGeom>
            <a:solidFill>
              <a:srgbClr val="E0DCD7"/>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latin typeface="Arial"/>
                <a:ea typeface="SimSun" charset="-122"/>
                <a:cs typeface="Arial"/>
              </a:endParaRPr>
            </a:p>
          </p:txBody>
        </p:sp>
        <p:sp>
          <p:nvSpPr>
            <p:cNvPr id="7" name="Freeform 4"/>
            <p:cNvSpPr>
              <a:spLocks noChangeArrowheads="1"/>
            </p:cNvSpPr>
            <p:nvPr/>
          </p:nvSpPr>
          <p:spPr bwMode="auto">
            <a:xfrm>
              <a:off x="485775" y="1219200"/>
              <a:ext cx="4086954" cy="4957763"/>
            </a:xfrm>
            <a:custGeom>
              <a:avLst/>
              <a:gdLst>
                <a:gd name="T0" fmla="*/ 3493901 w 12350"/>
                <a:gd name="T1" fmla="*/ 2696803 h 14986"/>
                <a:gd name="T2" fmla="*/ 4446227 w 12350"/>
                <a:gd name="T3" fmla="*/ 4752881 h 14986"/>
                <a:gd name="T4" fmla="*/ 2699636 w 12350"/>
                <a:gd name="T5" fmla="*/ 5393965 h 14986"/>
                <a:gd name="T6" fmla="*/ 0 w 12350"/>
                <a:gd name="T7" fmla="*/ 2696803 h 14986"/>
                <a:gd name="T8" fmla="*/ 2699636 w 12350"/>
                <a:gd name="T9" fmla="*/ 0 h 14986"/>
                <a:gd name="T10" fmla="*/ 4446227 w 12350"/>
                <a:gd name="T11" fmla="*/ 641085 h 14986"/>
                <a:gd name="T12" fmla="*/ 3493901 w 12350"/>
                <a:gd name="T13" fmla="*/ 2696803 h 14986"/>
                <a:gd name="T14" fmla="*/ 0 60000 65536"/>
                <a:gd name="T15" fmla="*/ 0 60000 65536"/>
                <a:gd name="T16" fmla="*/ 0 60000 65536"/>
                <a:gd name="T17" fmla="*/ 0 60000 65536"/>
                <a:gd name="T18" fmla="*/ 0 60000 65536"/>
                <a:gd name="T19" fmla="*/ 0 60000 65536"/>
                <a:gd name="T20" fmla="*/ 0 60000 65536"/>
                <a:gd name="T21" fmla="*/ 0 w 12350"/>
                <a:gd name="T22" fmla="*/ 0 h 14986"/>
                <a:gd name="T23" fmla="*/ 12350 w 12350"/>
                <a:gd name="T24" fmla="*/ 14986 h 149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350" h="14986">
                  <a:moveTo>
                    <a:pt x="9704" y="7492"/>
                  </a:moveTo>
                  <a:cubicBezTo>
                    <a:pt x="9704" y="9781"/>
                    <a:pt x="10731" y="11830"/>
                    <a:pt x="12349" y="13204"/>
                  </a:cubicBezTo>
                  <a:cubicBezTo>
                    <a:pt x="11042" y="14315"/>
                    <a:pt x="9348" y="14985"/>
                    <a:pt x="7498" y="14985"/>
                  </a:cubicBezTo>
                  <a:cubicBezTo>
                    <a:pt x="3357" y="14985"/>
                    <a:pt x="0" y="11630"/>
                    <a:pt x="0" y="7492"/>
                  </a:cubicBezTo>
                  <a:cubicBezTo>
                    <a:pt x="0" y="3355"/>
                    <a:pt x="3357" y="0"/>
                    <a:pt x="7498" y="0"/>
                  </a:cubicBezTo>
                  <a:cubicBezTo>
                    <a:pt x="9348" y="0"/>
                    <a:pt x="11042" y="671"/>
                    <a:pt x="12349" y="1781"/>
                  </a:cubicBezTo>
                  <a:cubicBezTo>
                    <a:pt x="10731" y="3155"/>
                    <a:pt x="9704" y="5204"/>
                    <a:pt x="9704" y="7492"/>
                  </a:cubicBezTo>
                </a:path>
              </a:pathLst>
            </a:custGeom>
            <a:solidFill>
              <a:srgbClr val="E0DCD7"/>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latin typeface="Arial"/>
                <a:ea typeface="SimSun" charset="-122"/>
                <a:cs typeface="Arial"/>
              </a:endParaRPr>
            </a:p>
          </p:txBody>
        </p:sp>
        <p:sp>
          <p:nvSpPr>
            <p:cNvPr id="8" name="Freeform 5"/>
            <p:cNvSpPr>
              <a:spLocks noChangeArrowheads="1"/>
            </p:cNvSpPr>
            <p:nvPr/>
          </p:nvSpPr>
          <p:spPr bwMode="auto">
            <a:xfrm>
              <a:off x="3697266" y="1808646"/>
              <a:ext cx="1750927" cy="3780331"/>
            </a:xfrm>
            <a:custGeom>
              <a:avLst/>
              <a:gdLst>
                <a:gd name="T0" fmla="*/ 1904640 w 5291"/>
                <a:gd name="T1" fmla="*/ 2056246 h 11424"/>
                <a:gd name="T2" fmla="*/ 952680 w 5291"/>
                <a:gd name="T3" fmla="*/ 4112853 h 11424"/>
                <a:gd name="T4" fmla="*/ 0 w 5291"/>
                <a:gd name="T5" fmla="*/ 2056246 h 11424"/>
                <a:gd name="T6" fmla="*/ 952680 w 5291"/>
                <a:gd name="T7" fmla="*/ 0 h 11424"/>
                <a:gd name="T8" fmla="*/ 1904640 w 5291"/>
                <a:gd name="T9" fmla="*/ 2056246 h 11424"/>
                <a:gd name="T10" fmla="*/ 0 60000 65536"/>
                <a:gd name="T11" fmla="*/ 0 60000 65536"/>
                <a:gd name="T12" fmla="*/ 0 60000 65536"/>
                <a:gd name="T13" fmla="*/ 0 60000 65536"/>
                <a:gd name="T14" fmla="*/ 0 60000 65536"/>
                <a:gd name="T15" fmla="*/ 0 w 5291"/>
                <a:gd name="T16" fmla="*/ 0 h 11424"/>
                <a:gd name="T17" fmla="*/ 5291 w 5291"/>
                <a:gd name="T18" fmla="*/ 11424 h 11424"/>
              </a:gdLst>
              <a:ahLst/>
              <a:cxnLst>
                <a:cxn ang="T10">
                  <a:pos x="T0" y="T1"/>
                </a:cxn>
                <a:cxn ang="T11">
                  <a:pos x="T2" y="T3"/>
                </a:cxn>
                <a:cxn ang="T12">
                  <a:pos x="T4" y="T5"/>
                </a:cxn>
                <a:cxn ang="T13">
                  <a:pos x="T6" y="T7"/>
                </a:cxn>
                <a:cxn ang="T14">
                  <a:pos x="T8" y="T9"/>
                </a:cxn>
              </a:cxnLst>
              <a:rect l="T15" t="T16" r="T17" b="T18"/>
              <a:pathLst>
                <a:path w="5291" h="11424">
                  <a:moveTo>
                    <a:pt x="5290" y="5711"/>
                  </a:moveTo>
                  <a:cubicBezTo>
                    <a:pt x="5290" y="8000"/>
                    <a:pt x="4263" y="10049"/>
                    <a:pt x="2646" y="11423"/>
                  </a:cubicBezTo>
                  <a:cubicBezTo>
                    <a:pt x="1027" y="10049"/>
                    <a:pt x="0" y="8000"/>
                    <a:pt x="0" y="5711"/>
                  </a:cubicBezTo>
                  <a:cubicBezTo>
                    <a:pt x="0" y="3423"/>
                    <a:pt x="1027" y="1374"/>
                    <a:pt x="2646" y="0"/>
                  </a:cubicBezTo>
                  <a:cubicBezTo>
                    <a:pt x="4263" y="1374"/>
                    <a:pt x="5290" y="3423"/>
                    <a:pt x="5290" y="5711"/>
                  </a:cubicBezTo>
                </a:path>
              </a:pathLst>
            </a:custGeom>
            <a:solidFill>
              <a:srgbClr val="C8C1B7"/>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latin typeface="Arial"/>
                <a:ea typeface="SimSun" charset="-122"/>
                <a:cs typeface="Arial"/>
              </a:endParaRPr>
            </a:p>
          </p:txBody>
        </p:sp>
        <p:sp>
          <p:nvSpPr>
            <p:cNvPr id="9" name="Freeform 8"/>
            <p:cNvSpPr>
              <a:spLocks noChangeArrowheads="1"/>
            </p:cNvSpPr>
            <p:nvPr/>
          </p:nvSpPr>
          <p:spPr bwMode="auto">
            <a:xfrm>
              <a:off x="3697266" y="1219200"/>
              <a:ext cx="4960959" cy="4957763"/>
            </a:xfrm>
            <a:custGeom>
              <a:avLst/>
              <a:gdLst>
                <a:gd name="T0" fmla="*/ 5397140 w 14995"/>
                <a:gd name="T1" fmla="*/ 2696803 h 14986"/>
                <a:gd name="T2" fmla="*/ 5035387 w 14995"/>
                <a:gd name="T3" fmla="*/ 4045204 h 14986"/>
                <a:gd name="T4" fmla="*/ 4047675 w 14995"/>
                <a:gd name="T5" fmla="*/ 5032568 h 14986"/>
                <a:gd name="T6" fmla="*/ 2698210 w 14995"/>
                <a:gd name="T7" fmla="*/ 5393965 h 14986"/>
                <a:gd name="T8" fmla="*/ 1348745 w 14995"/>
                <a:gd name="T9" fmla="*/ 5032568 h 14986"/>
                <a:gd name="T10" fmla="*/ 361393 w 14995"/>
                <a:gd name="T11" fmla="*/ 4045204 h 14986"/>
                <a:gd name="T12" fmla="*/ 0 w 14995"/>
                <a:gd name="T13" fmla="*/ 2696803 h 14986"/>
                <a:gd name="T14" fmla="*/ 361393 w 14995"/>
                <a:gd name="T15" fmla="*/ 1348761 h 14986"/>
                <a:gd name="T16" fmla="*/ 1348745 w 14995"/>
                <a:gd name="T17" fmla="*/ 361397 h 14986"/>
                <a:gd name="T18" fmla="*/ 2698210 w 14995"/>
                <a:gd name="T19" fmla="*/ 0 h 14986"/>
                <a:gd name="T20" fmla="*/ 4047675 w 14995"/>
                <a:gd name="T21" fmla="*/ 361397 h 14986"/>
                <a:gd name="T22" fmla="*/ 5035387 w 14995"/>
                <a:gd name="T23" fmla="*/ 1348761 h 14986"/>
                <a:gd name="T24" fmla="*/ 5397140 w 14995"/>
                <a:gd name="T25" fmla="*/ 2696803 h 149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995"/>
                <a:gd name="T40" fmla="*/ 0 h 14986"/>
                <a:gd name="T41" fmla="*/ 14995 w 14995"/>
                <a:gd name="T42" fmla="*/ 14986 h 149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995" h="14986">
                  <a:moveTo>
                    <a:pt x="14994" y="7492"/>
                  </a:moveTo>
                  <a:cubicBezTo>
                    <a:pt x="14994" y="8871"/>
                    <a:pt x="14680" y="10044"/>
                    <a:pt x="13989" y="11238"/>
                  </a:cubicBezTo>
                  <a:cubicBezTo>
                    <a:pt x="13299" y="12433"/>
                    <a:pt x="12440" y="13291"/>
                    <a:pt x="11245" y="13981"/>
                  </a:cubicBezTo>
                  <a:cubicBezTo>
                    <a:pt x="10050" y="14671"/>
                    <a:pt x="8877" y="14985"/>
                    <a:pt x="7496" y="14985"/>
                  </a:cubicBezTo>
                  <a:cubicBezTo>
                    <a:pt x="6116" y="14985"/>
                    <a:pt x="4943" y="14671"/>
                    <a:pt x="3747" y="13981"/>
                  </a:cubicBezTo>
                  <a:cubicBezTo>
                    <a:pt x="2552" y="13291"/>
                    <a:pt x="1694" y="12433"/>
                    <a:pt x="1004" y="11238"/>
                  </a:cubicBezTo>
                  <a:cubicBezTo>
                    <a:pt x="314" y="10044"/>
                    <a:pt x="0" y="8871"/>
                    <a:pt x="0" y="7492"/>
                  </a:cubicBezTo>
                  <a:cubicBezTo>
                    <a:pt x="0" y="6114"/>
                    <a:pt x="314" y="4941"/>
                    <a:pt x="1004" y="3747"/>
                  </a:cubicBezTo>
                  <a:cubicBezTo>
                    <a:pt x="1694" y="2552"/>
                    <a:pt x="2552" y="1694"/>
                    <a:pt x="3747" y="1004"/>
                  </a:cubicBezTo>
                  <a:cubicBezTo>
                    <a:pt x="4943" y="314"/>
                    <a:pt x="6116" y="0"/>
                    <a:pt x="7496" y="0"/>
                  </a:cubicBezTo>
                  <a:cubicBezTo>
                    <a:pt x="8877" y="0"/>
                    <a:pt x="10050" y="314"/>
                    <a:pt x="11245" y="1004"/>
                  </a:cubicBezTo>
                  <a:cubicBezTo>
                    <a:pt x="12440" y="1694"/>
                    <a:pt x="13299" y="2552"/>
                    <a:pt x="13989" y="3747"/>
                  </a:cubicBezTo>
                  <a:cubicBezTo>
                    <a:pt x="14680" y="4941"/>
                    <a:pt x="14994" y="6114"/>
                    <a:pt x="14994" y="7492"/>
                  </a:cubicBezTo>
                </a:path>
              </a:pathLst>
            </a:custGeom>
            <a:noFill/>
            <a:ln w="25400">
              <a:solidFill>
                <a:srgbClr val="FFFFFF"/>
              </a:solidFill>
              <a:miter lim="800000"/>
              <a:headEnd/>
              <a:tailEnd/>
            </a:ln>
          </p:spPr>
          <p:txBody>
            <a:bodyPr wrap="none" anchor="ctr">
              <a:prstTxWarp prst="textNoShape">
                <a:avLst/>
              </a:prstTxWarp>
            </a:bodyPr>
            <a:lstStyle/>
            <a:p>
              <a:pPr algn="ctr" hangingPunct="0">
                <a:lnSpc>
                  <a:spcPct val="93000"/>
                </a:lnSpc>
                <a:buClr>
                  <a:srgbClr val="000000"/>
                </a:buClr>
                <a:buSzPct val="100000"/>
                <a:buNone/>
              </a:pPr>
              <a:endParaRPr lang="en-US">
                <a:latin typeface="Arial"/>
                <a:ea typeface="SimSun" charset="-122"/>
                <a:cs typeface="Arial"/>
              </a:endParaRPr>
            </a:p>
          </p:txBody>
        </p:sp>
        <p:sp>
          <p:nvSpPr>
            <p:cNvPr id="10" name="Freeform 9"/>
            <p:cNvSpPr>
              <a:spLocks noChangeArrowheads="1"/>
            </p:cNvSpPr>
            <p:nvPr/>
          </p:nvSpPr>
          <p:spPr bwMode="auto">
            <a:xfrm>
              <a:off x="485775" y="1219200"/>
              <a:ext cx="4960959" cy="4957763"/>
            </a:xfrm>
            <a:custGeom>
              <a:avLst/>
              <a:gdLst>
                <a:gd name="T0" fmla="*/ 5397140 w 14995"/>
                <a:gd name="T1" fmla="*/ 2696803 h 14986"/>
                <a:gd name="T2" fmla="*/ 5035747 w 14995"/>
                <a:gd name="T3" fmla="*/ 4045204 h 14986"/>
                <a:gd name="T4" fmla="*/ 4048395 w 14995"/>
                <a:gd name="T5" fmla="*/ 5032568 h 14986"/>
                <a:gd name="T6" fmla="*/ 2698930 w 14995"/>
                <a:gd name="T7" fmla="*/ 5393965 h 14986"/>
                <a:gd name="T8" fmla="*/ 1349465 w 14995"/>
                <a:gd name="T9" fmla="*/ 5032568 h 14986"/>
                <a:gd name="T10" fmla="*/ 361753 w 14995"/>
                <a:gd name="T11" fmla="*/ 4045204 h 14986"/>
                <a:gd name="T12" fmla="*/ 0 w 14995"/>
                <a:gd name="T13" fmla="*/ 2696803 h 14986"/>
                <a:gd name="T14" fmla="*/ 361753 w 14995"/>
                <a:gd name="T15" fmla="*/ 1348761 h 14986"/>
                <a:gd name="T16" fmla="*/ 1349465 w 14995"/>
                <a:gd name="T17" fmla="*/ 361397 h 14986"/>
                <a:gd name="T18" fmla="*/ 2698930 w 14995"/>
                <a:gd name="T19" fmla="*/ 0 h 14986"/>
                <a:gd name="T20" fmla="*/ 4048395 w 14995"/>
                <a:gd name="T21" fmla="*/ 361397 h 14986"/>
                <a:gd name="T22" fmla="*/ 5035747 w 14995"/>
                <a:gd name="T23" fmla="*/ 1348761 h 14986"/>
                <a:gd name="T24" fmla="*/ 5397140 w 14995"/>
                <a:gd name="T25" fmla="*/ 2696803 h 149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995"/>
                <a:gd name="T40" fmla="*/ 0 h 14986"/>
                <a:gd name="T41" fmla="*/ 14995 w 14995"/>
                <a:gd name="T42" fmla="*/ 14986 h 149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995" h="14986">
                  <a:moveTo>
                    <a:pt x="14994" y="7492"/>
                  </a:moveTo>
                  <a:cubicBezTo>
                    <a:pt x="14994" y="8871"/>
                    <a:pt x="14680" y="10044"/>
                    <a:pt x="13990" y="11238"/>
                  </a:cubicBezTo>
                  <a:cubicBezTo>
                    <a:pt x="13300" y="12433"/>
                    <a:pt x="12442" y="13291"/>
                    <a:pt x="11247" y="13981"/>
                  </a:cubicBezTo>
                  <a:cubicBezTo>
                    <a:pt x="10051" y="14671"/>
                    <a:pt x="8878" y="14985"/>
                    <a:pt x="7498" y="14985"/>
                  </a:cubicBezTo>
                  <a:cubicBezTo>
                    <a:pt x="6117" y="14985"/>
                    <a:pt x="4944" y="14671"/>
                    <a:pt x="3749" y="13981"/>
                  </a:cubicBezTo>
                  <a:cubicBezTo>
                    <a:pt x="2554" y="13291"/>
                    <a:pt x="1695" y="12433"/>
                    <a:pt x="1005" y="11238"/>
                  </a:cubicBezTo>
                  <a:cubicBezTo>
                    <a:pt x="314" y="10044"/>
                    <a:pt x="0" y="8871"/>
                    <a:pt x="0" y="7492"/>
                  </a:cubicBezTo>
                  <a:cubicBezTo>
                    <a:pt x="0" y="6114"/>
                    <a:pt x="314" y="4941"/>
                    <a:pt x="1005" y="3747"/>
                  </a:cubicBezTo>
                  <a:cubicBezTo>
                    <a:pt x="1695" y="2552"/>
                    <a:pt x="2554" y="1694"/>
                    <a:pt x="3749" y="1004"/>
                  </a:cubicBezTo>
                  <a:cubicBezTo>
                    <a:pt x="4944" y="314"/>
                    <a:pt x="6117" y="0"/>
                    <a:pt x="7498" y="0"/>
                  </a:cubicBezTo>
                  <a:cubicBezTo>
                    <a:pt x="8878" y="0"/>
                    <a:pt x="10051" y="314"/>
                    <a:pt x="11247" y="1004"/>
                  </a:cubicBezTo>
                  <a:cubicBezTo>
                    <a:pt x="12442" y="1694"/>
                    <a:pt x="13300" y="2552"/>
                    <a:pt x="13990" y="3747"/>
                  </a:cubicBezTo>
                  <a:cubicBezTo>
                    <a:pt x="14680" y="4941"/>
                    <a:pt x="14994" y="6114"/>
                    <a:pt x="14994" y="7492"/>
                  </a:cubicBezTo>
                </a:path>
              </a:pathLst>
            </a:custGeom>
            <a:noFill/>
            <a:ln w="25400">
              <a:solidFill>
                <a:srgbClr val="FFFFFF"/>
              </a:solidFill>
              <a:miter lim="800000"/>
              <a:headEnd/>
              <a:tailEnd/>
            </a:ln>
          </p:spPr>
          <p:txBody>
            <a:bodyPr wrap="none" anchor="ctr">
              <a:prstTxWarp prst="textNoShape">
                <a:avLst/>
              </a:prstTxWarp>
            </a:bodyPr>
            <a:lstStyle/>
            <a:p>
              <a:pPr algn="ctr" hangingPunct="0">
                <a:lnSpc>
                  <a:spcPct val="93000"/>
                </a:lnSpc>
                <a:buClr>
                  <a:srgbClr val="000000"/>
                </a:buClr>
                <a:buSzPct val="100000"/>
                <a:buNone/>
              </a:pPr>
              <a:endParaRPr lang="en-US">
                <a:latin typeface="Arial"/>
                <a:ea typeface="SimSun" charset="-122"/>
                <a:cs typeface="Arial"/>
              </a:endParaRPr>
            </a:p>
          </p:txBody>
        </p:sp>
      </p:grpSp>
      <p:sp>
        <p:nvSpPr>
          <p:cNvPr id="11" name="Text Box 6"/>
          <p:cNvSpPr txBox="1">
            <a:spLocks noChangeArrowheads="1"/>
          </p:cNvSpPr>
          <p:nvPr/>
        </p:nvSpPr>
        <p:spPr bwMode="auto">
          <a:xfrm>
            <a:off x="4009376" y="1635873"/>
            <a:ext cx="859414" cy="233444"/>
          </a:xfrm>
          <a:prstGeom prst="rect">
            <a:avLst/>
          </a:prstGeom>
          <a:noFill/>
          <a:ln w="9525">
            <a:noFill/>
            <a:round/>
            <a:headEnd/>
            <a:tailEnd/>
          </a:ln>
        </p:spPr>
        <p:txBody>
          <a:bodyPr wrap="none" lIns="0" tIns="15876" rIns="0" bIns="0">
            <a:prstTxWarp prst="textNoShape">
              <a:avLst/>
            </a:prstTxWarp>
          </a:bodyPr>
          <a:lstStyle/>
          <a:p>
            <a:pPr algn="ctr" hangingPunct="0">
              <a:lnSpc>
                <a:spcPct val="93000"/>
              </a:lnSpc>
              <a:buClr>
                <a:srgbClr val="000000"/>
              </a:buClr>
              <a:buSzPct val="100000"/>
              <a:tabLst>
                <a:tab pos="723900" algn="l"/>
              </a:tabLst>
            </a:pPr>
            <a:r>
              <a:rPr lang="en-US" b="1" dirty="0">
                <a:solidFill>
                  <a:srgbClr val="C9314B"/>
                </a:solidFill>
                <a:latin typeface="Arial"/>
                <a:ea typeface="SimSun" charset="-122"/>
                <a:cs typeface="Arial"/>
              </a:rPr>
              <a:t>RETAIL</a:t>
            </a:r>
          </a:p>
        </p:txBody>
      </p:sp>
      <p:sp>
        <p:nvSpPr>
          <p:cNvPr id="12" name="Text Box 7"/>
          <p:cNvSpPr txBox="1">
            <a:spLocks noChangeArrowheads="1"/>
          </p:cNvSpPr>
          <p:nvPr/>
        </p:nvSpPr>
        <p:spPr bwMode="auto">
          <a:xfrm>
            <a:off x="6966356" y="1671556"/>
            <a:ext cx="1470778" cy="233444"/>
          </a:xfrm>
          <a:prstGeom prst="rect">
            <a:avLst/>
          </a:prstGeom>
          <a:noFill/>
          <a:ln w="9525">
            <a:noFill/>
            <a:round/>
            <a:headEnd/>
            <a:tailEnd/>
          </a:ln>
        </p:spPr>
        <p:txBody>
          <a:bodyPr wrap="none" lIns="0" tIns="15876" rIns="0" bIns="0">
            <a:prstTxWarp prst="textNoShape">
              <a:avLst/>
            </a:prstTxWarp>
          </a:bodyPr>
          <a:lstStyle/>
          <a:p>
            <a:pPr algn="ctr" hangingPunct="0">
              <a:lnSpc>
                <a:spcPct val="93000"/>
              </a:lnSpc>
              <a:buClr>
                <a:srgbClr val="000000"/>
              </a:buClr>
              <a:buSzPct val="100000"/>
              <a:tabLst>
                <a:tab pos="723900" algn="l"/>
                <a:tab pos="1447800" algn="l"/>
              </a:tabLst>
            </a:pPr>
            <a:r>
              <a:rPr lang="en-US" sz="1600" b="1" dirty="0">
                <a:solidFill>
                  <a:srgbClr val="5C8B76"/>
                </a:solidFill>
                <a:latin typeface="Arial"/>
                <a:ea typeface="SimSun" charset="-122"/>
                <a:cs typeface="Arial"/>
              </a:rPr>
              <a:t>TECHNOLOGY</a:t>
            </a:r>
          </a:p>
        </p:txBody>
      </p:sp>
      <p:grpSp>
        <p:nvGrpSpPr>
          <p:cNvPr id="13" name="Group 10"/>
          <p:cNvGrpSpPr/>
          <p:nvPr/>
        </p:nvGrpSpPr>
        <p:grpSpPr>
          <a:xfrm>
            <a:off x="2747590" y="2362959"/>
            <a:ext cx="725176" cy="544215"/>
            <a:chOff x="1283905" y="2930635"/>
            <a:chExt cx="725176" cy="544215"/>
          </a:xfrm>
        </p:grpSpPr>
        <p:sp>
          <p:nvSpPr>
            <p:cNvPr id="14" name="Freeform 10"/>
            <p:cNvSpPr>
              <a:spLocks noChangeArrowheads="1"/>
            </p:cNvSpPr>
            <p:nvPr/>
          </p:nvSpPr>
          <p:spPr bwMode="auto">
            <a:xfrm>
              <a:off x="1352483" y="2930635"/>
              <a:ext cx="592397" cy="325362"/>
            </a:xfrm>
            <a:custGeom>
              <a:avLst/>
              <a:gdLst>
                <a:gd name="T0" fmla="*/ 65136 w 1791"/>
                <a:gd name="T1" fmla="*/ 249573 h 983"/>
                <a:gd name="T2" fmla="*/ 25551 w 1791"/>
                <a:gd name="T3" fmla="*/ 209958 h 983"/>
                <a:gd name="T4" fmla="*/ 0 w 1791"/>
                <a:gd name="T5" fmla="*/ 209958 h 983"/>
                <a:gd name="T6" fmla="*/ 0 w 1791"/>
                <a:gd name="T7" fmla="*/ 135771 h 983"/>
                <a:gd name="T8" fmla="*/ 135671 w 1791"/>
                <a:gd name="T9" fmla="*/ 0 h 983"/>
                <a:gd name="T10" fmla="*/ 508854 w 1791"/>
                <a:gd name="T11" fmla="*/ 0 h 983"/>
                <a:gd name="T12" fmla="*/ 644165 w 1791"/>
                <a:gd name="T13" fmla="*/ 135771 h 983"/>
                <a:gd name="T14" fmla="*/ 644165 w 1791"/>
                <a:gd name="T15" fmla="*/ 209958 h 983"/>
                <a:gd name="T16" fmla="*/ 614656 w 1791"/>
                <a:gd name="T17" fmla="*/ 209958 h 983"/>
                <a:gd name="T18" fmla="*/ 575070 w 1791"/>
                <a:gd name="T19" fmla="*/ 249573 h 983"/>
                <a:gd name="T20" fmla="*/ 575070 w 1791"/>
                <a:gd name="T21" fmla="*/ 348610 h 983"/>
                <a:gd name="T22" fmla="*/ 534045 w 1791"/>
                <a:gd name="T23" fmla="*/ 332404 h 983"/>
                <a:gd name="T24" fmla="*/ 115878 w 1791"/>
                <a:gd name="T25" fmla="*/ 332404 h 983"/>
                <a:gd name="T26" fmla="*/ 65136 w 1791"/>
                <a:gd name="T27" fmla="*/ 353652 h 983"/>
                <a:gd name="T28" fmla="*/ 65136 w 1791"/>
                <a:gd name="T29" fmla="*/ 249573 h 9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91"/>
                <a:gd name="T46" fmla="*/ 0 h 983"/>
                <a:gd name="T47" fmla="*/ 1791 w 1791"/>
                <a:gd name="T48" fmla="*/ 983 h 9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91" h="983">
                  <a:moveTo>
                    <a:pt x="181" y="693"/>
                  </a:moveTo>
                  <a:cubicBezTo>
                    <a:pt x="181" y="633"/>
                    <a:pt x="132" y="583"/>
                    <a:pt x="71" y="583"/>
                  </a:cubicBezTo>
                  <a:lnTo>
                    <a:pt x="0" y="583"/>
                  </a:lnTo>
                  <a:lnTo>
                    <a:pt x="0" y="377"/>
                  </a:lnTo>
                  <a:cubicBezTo>
                    <a:pt x="0" y="169"/>
                    <a:pt x="169" y="0"/>
                    <a:pt x="377" y="0"/>
                  </a:cubicBezTo>
                  <a:lnTo>
                    <a:pt x="1414" y="0"/>
                  </a:lnTo>
                  <a:cubicBezTo>
                    <a:pt x="1621" y="0"/>
                    <a:pt x="1790" y="169"/>
                    <a:pt x="1790" y="377"/>
                  </a:cubicBezTo>
                  <a:lnTo>
                    <a:pt x="1790" y="583"/>
                  </a:lnTo>
                  <a:lnTo>
                    <a:pt x="1708" y="583"/>
                  </a:lnTo>
                  <a:cubicBezTo>
                    <a:pt x="1648" y="583"/>
                    <a:pt x="1598" y="633"/>
                    <a:pt x="1598" y="693"/>
                  </a:cubicBezTo>
                  <a:lnTo>
                    <a:pt x="1598" y="968"/>
                  </a:lnTo>
                  <a:cubicBezTo>
                    <a:pt x="1567" y="942"/>
                    <a:pt x="1526" y="923"/>
                    <a:pt x="1484" y="923"/>
                  </a:cubicBezTo>
                  <a:lnTo>
                    <a:pt x="322" y="923"/>
                  </a:lnTo>
                  <a:cubicBezTo>
                    <a:pt x="271" y="923"/>
                    <a:pt x="219" y="948"/>
                    <a:pt x="181" y="982"/>
                  </a:cubicBezTo>
                  <a:lnTo>
                    <a:pt x="181" y="693"/>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15" name="Freeform 11"/>
            <p:cNvSpPr>
              <a:spLocks noChangeArrowheads="1"/>
            </p:cNvSpPr>
            <p:nvPr/>
          </p:nvSpPr>
          <p:spPr bwMode="auto">
            <a:xfrm>
              <a:off x="1412306" y="3385850"/>
              <a:ext cx="469832" cy="89000"/>
            </a:xfrm>
            <a:custGeom>
              <a:avLst/>
              <a:gdLst>
                <a:gd name="T0" fmla="*/ 489185 w 1418"/>
                <a:gd name="T1" fmla="*/ 1451 h 267"/>
                <a:gd name="T2" fmla="*/ 510815 w 1418"/>
                <a:gd name="T3" fmla="*/ 363 h 267"/>
                <a:gd name="T4" fmla="*/ 510815 w 1418"/>
                <a:gd name="T5" fmla="*/ 95386 h 267"/>
                <a:gd name="T6" fmla="*/ 360 w 1418"/>
                <a:gd name="T7" fmla="*/ 96474 h 267"/>
                <a:gd name="T8" fmla="*/ 0 w 1418"/>
                <a:gd name="T9" fmla="*/ 76889 h 267"/>
                <a:gd name="T10" fmla="*/ 0 w 1418"/>
                <a:gd name="T11" fmla="*/ 0 h 267"/>
                <a:gd name="T12" fmla="*/ 25234 w 1418"/>
                <a:gd name="T13" fmla="*/ 1451 h 267"/>
                <a:gd name="T14" fmla="*/ 489185 w 1418"/>
                <a:gd name="T15" fmla="*/ 1451 h 267"/>
                <a:gd name="T16" fmla="*/ 0 60000 65536"/>
                <a:gd name="T17" fmla="*/ 0 60000 65536"/>
                <a:gd name="T18" fmla="*/ 0 60000 65536"/>
                <a:gd name="T19" fmla="*/ 0 60000 65536"/>
                <a:gd name="T20" fmla="*/ 0 60000 65536"/>
                <a:gd name="T21" fmla="*/ 0 60000 65536"/>
                <a:gd name="T22" fmla="*/ 0 60000 65536"/>
                <a:gd name="T23" fmla="*/ 0 60000 65536"/>
                <a:gd name="T24" fmla="*/ 0 w 1418"/>
                <a:gd name="T25" fmla="*/ 0 h 267"/>
                <a:gd name="T26" fmla="*/ 1418 w 1418"/>
                <a:gd name="T27" fmla="*/ 267 h 2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18" h="267">
                  <a:moveTo>
                    <a:pt x="1357" y="4"/>
                  </a:moveTo>
                  <a:cubicBezTo>
                    <a:pt x="1381" y="4"/>
                    <a:pt x="1401" y="3"/>
                    <a:pt x="1417" y="1"/>
                  </a:cubicBezTo>
                  <a:lnTo>
                    <a:pt x="1417" y="263"/>
                  </a:lnTo>
                  <a:lnTo>
                    <a:pt x="1" y="266"/>
                  </a:lnTo>
                  <a:lnTo>
                    <a:pt x="0" y="212"/>
                  </a:lnTo>
                  <a:lnTo>
                    <a:pt x="0" y="0"/>
                  </a:lnTo>
                  <a:cubicBezTo>
                    <a:pt x="18" y="3"/>
                    <a:pt x="41" y="4"/>
                    <a:pt x="70" y="4"/>
                  </a:cubicBezTo>
                  <a:lnTo>
                    <a:pt x="1357" y="4"/>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16" name="Freeform 12"/>
            <p:cNvSpPr>
              <a:spLocks noChangeArrowheads="1"/>
            </p:cNvSpPr>
            <p:nvPr/>
          </p:nvSpPr>
          <p:spPr bwMode="auto">
            <a:xfrm>
              <a:off x="1412306" y="3328948"/>
              <a:ext cx="468373" cy="27722"/>
            </a:xfrm>
            <a:custGeom>
              <a:avLst/>
              <a:gdLst>
                <a:gd name="T0" fmla="*/ 69506 w 1415"/>
                <a:gd name="T1" fmla="*/ 16353 h 83"/>
                <a:gd name="T2" fmla="*/ 442963 w 1415"/>
                <a:gd name="T3" fmla="*/ 16353 h 83"/>
                <a:gd name="T4" fmla="*/ 509228 w 1415"/>
                <a:gd name="T5" fmla="*/ 1454 h 83"/>
                <a:gd name="T6" fmla="*/ 509228 w 1415"/>
                <a:gd name="T7" fmla="*/ 29800 h 83"/>
                <a:gd name="T8" fmla="*/ 720 w 1415"/>
                <a:gd name="T9" fmla="*/ 29800 h 83"/>
                <a:gd name="T10" fmla="*/ 0 w 1415"/>
                <a:gd name="T11" fmla="*/ 0 h 83"/>
                <a:gd name="T12" fmla="*/ 69506 w 1415"/>
                <a:gd name="T13" fmla="*/ 16353 h 83"/>
                <a:gd name="T14" fmla="*/ 0 60000 65536"/>
                <a:gd name="T15" fmla="*/ 0 60000 65536"/>
                <a:gd name="T16" fmla="*/ 0 60000 65536"/>
                <a:gd name="T17" fmla="*/ 0 60000 65536"/>
                <a:gd name="T18" fmla="*/ 0 60000 65536"/>
                <a:gd name="T19" fmla="*/ 0 60000 65536"/>
                <a:gd name="T20" fmla="*/ 0 60000 65536"/>
                <a:gd name="T21" fmla="*/ 0 w 1415"/>
                <a:gd name="T22" fmla="*/ 0 h 83"/>
                <a:gd name="T23" fmla="*/ 1415 w 1415"/>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5" h="83">
                  <a:moveTo>
                    <a:pt x="193" y="45"/>
                  </a:moveTo>
                  <a:lnTo>
                    <a:pt x="1230" y="45"/>
                  </a:lnTo>
                  <a:cubicBezTo>
                    <a:pt x="1296" y="45"/>
                    <a:pt x="1358" y="30"/>
                    <a:pt x="1414" y="4"/>
                  </a:cubicBezTo>
                  <a:lnTo>
                    <a:pt x="1414" y="82"/>
                  </a:lnTo>
                  <a:lnTo>
                    <a:pt x="2" y="82"/>
                  </a:lnTo>
                  <a:cubicBezTo>
                    <a:pt x="2" y="61"/>
                    <a:pt x="1" y="31"/>
                    <a:pt x="0" y="0"/>
                  </a:cubicBezTo>
                  <a:cubicBezTo>
                    <a:pt x="58" y="29"/>
                    <a:pt x="124" y="45"/>
                    <a:pt x="193" y="45"/>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17" name="Freeform 13"/>
            <p:cNvSpPr>
              <a:spLocks noChangeArrowheads="1"/>
            </p:cNvSpPr>
            <p:nvPr/>
          </p:nvSpPr>
          <p:spPr bwMode="auto">
            <a:xfrm>
              <a:off x="1412306" y="3255997"/>
              <a:ext cx="469832" cy="68575"/>
            </a:xfrm>
            <a:custGeom>
              <a:avLst/>
              <a:gdLst>
                <a:gd name="T0" fmla="*/ 444484 w 1418"/>
                <a:gd name="T1" fmla="*/ 73896 h 208"/>
                <a:gd name="T2" fmla="*/ 444484 w 1418"/>
                <a:gd name="T3" fmla="*/ 74254 h 208"/>
                <a:gd name="T4" fmla="*/ 70656 w 1418"/>
                <a:gd name="T5" fmla="*/ 74254 h 208"/>
                <a:gd name="T6" fmla="*/ 360 w 1418"/>
                <a:gd name="T7" fmla="*/ 54525 h 208"/>
                <a:gd name="T8" fmla="*/ 0 w 1418"/>
                <a:gd name="T9" fmla="*/ 35513 h 208"/>
                <a:gd name="T10" fmla="*/ 50829 w 1418"/>
                <a:gd name="T11" fmla="*/ 0 h 208"/>
                <a:gd name="T12" fmla="*/ 469719 w 1418"/>
                <a:gd name="T13" fmla="*/ 0 h 208"/>
                <a:gd name="T14" fmla="*/ 510815 w 1418"/>
                <a:gd name="T15" fmla="*/ 26904 h 208"/>
                <a:gd name="T16" fmla="*/ 510815 w 1418"/>
                <a:gd name="T17" fmla="*/ 56677 h 208"/>
                <a:gd name="T18" fmla="*/ 444484 w 1418"/>
                <a:gd name="T19" fmla="*/ 73896 h 2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18"/>
                <a:gd name="T31" fmla="*/ 0 h 208"/>
                <a:gd name="T32" fmla="*/ 1418 w 1418"/>
                <a:gd name="T33" fmla="*/ 208 h 2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18" h="208">
                  <a:moveTo>
                    <a:pt x="1233" y="206"/>
                  </a:moveTo>
                  <a:lnTo>
                    <a:pt x="1233" y="207"/>
                  </a:lnTo>
                  <a:lnTo>
                    <a:pt x="196" y="207"/>
                  </a:lnTo>
                  <a:cubicBezTo>
                    <a:pt x="124" y="207"/>
                    <a:pt x="58" y="186"/>
                    <a:pt x="1" y="152"/>
                  </a:cubicBezTo>
                  <a:cubicBezTo>
                    <a:pt x="1" y="130"/>
                    <a:pt x="0" y="111"/>
                    <a:pt x="0" y="99"/>
                  </a:cubicBezTo>
                  <a:cubicBezTo>
                    <a:pt x="0" y="72"/>
                    <a:pt x="70" y="0"/>
                    <a:pt x="141" y="0"/>
                  </a:cubicBezTo>
                  <a:lnTo>
                    <a:pt x="1303" y="0"/>
                  </a:lnTo>
                  <a:cubicBezTo>
                    <a:pt x="1352" y="0"/>
                    <a:pt x="1399" y="43"/>
                    <a:pt x="1417" y="75"/>
                  </a:cubicBezTo>
                  <a:lnTo>
                    <a:pt x="1417" y="158"/>
                  </a:lnTo>
                  <a:cubicBezTo>
                    <a:pt x="1363" y="189"/>
                    <a:pt x="1300" y="206"/>
                    <a:pt x="1233" y="206"/>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18" name="Freeform 14"/>
            <p:cNvSpPr>
              <a:spLocks noChangeArrowheads="1"/>
            </p:cNvSpPr>
            <p:nvPr/>
          </p:nvSpPr>
          <p:spPr bwMode="auto">
            <a:xfrm>
              <a:off x="1412306" y="3318735"/>
              <a:ext cx="468373" cy="26262"/>
            </a:xfrm>
            <a:custGeom>
              <a:avLst/>
              <a:gdLst>
                <a:gd name="T0" fmla="*/ 443010 w 1416"/>
                <a:gd name="T1" fmla="*/ 17502 h 80"/>
                <a:gd name="T2" fmla="*/ 509228 w 1416"/>
                <a:gd name="T3" fmla="*/ 1429 h 80"/>
                <a:gd name="T4" fmla="*/ 509228 w 1416"/>
                <a:gd name="T5" fmla="*/ 13573 h 80"/>
                <a:gd name="T6" fmla="*/ 443010 w 1416"/>
                <a:gd name="T7" fmla="*/ 28218 h 80"/>
                <a:gd name="T8" fmla="*/ 69816 w 1416"/>
                <a:gd name="T9" fmla="*/ 28218 h 80"/>
                <a:gd name="T10" fmla="*/ 360 w 1416"/>
                <a:gd name="T11" fmla="*/ 12144 h 80"/>
                <a:gd name="T12" fmla="*/ 360 w 1416"/>
                <a:gd name="T13" fmla="*/ 4286 h 80"/>
                <a:gd name="T14" fmla="*/ 0 w 1416"/>
                <a:gd name="T15" fmla="*/ 0 h 80"/>
                <a:gd name="T16" fmla="*/ 69816 w 1416"/>
                <a:gd name="T17" fmla="*/ 17502 h 80"/>
                <a:gd name="T18" fmla="*/ 443010 w 1416"/>
                <a:gd name="T19" fmla="*/ 17502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16"/>
                <a:gd name="T31" fmla="*/ 0 h 80"/>
                <a:gd name="T32" fmla="*/ 1416 w 1416"/>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16" h="80">
                  <a:moveTo>
                    <a:pt x="1231" y="49"/>
                  </a:moveTo>
                  <a:cubicBezTo>
                    <a:pt x="1297" y="49"/>
                    <a:pt x="1360" y="33"/>
                    <a:pt x="1415" y="4"/>
                  </a:cubicBezTo>
                  <a:lnTo>
                    <a:pt x="1415" y="38"/>
                  </a:lnTo>
                  <a:cubicBezTo>
                    <a:pt x="1359" y="64"/>
                    <a:pt x="1297" y="79"/>
                    <a:pt x="1231" y="79"/>
                  </a:cubicBezTo>
                  <a:lnTo>
                    <a:pt x="194" y="79"/>
                  </a:lnTo>
                  <a:cubicBezTo>
                    <a:pt x="125" y="79"/>
                    <a:pt x="59" y="63"/>
                    <a:pt x="1" y="34"/>
                  </a:cubicBezTo>
                  <a:cubicBezTo>
                    <a:pt x="1" y="27"/>
                    <a:pt x="1" y="19"/>
                    <a:pt x="1" y="12"/>
                  </a:cubicBezTo>
                  <a:cubicBezTo>
                    <a:pt x="0" y="8"/>
                    <a:pt x="0" y="4"/>
                    <a:pt x="0" y="0"/>
                  </a:cubicBezTo>
                  <a:cubicBezTo>
                    <a:pt x="58" y="31"/>
                    <a:pt x="124" y="49"/>
                    <a:pt x="194" y="49"/>
                  </a:cubicBezTo>
                  <a:lnTo>
                    <a:pt x="1231" y="49"/>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19" name="Freeform 15"/>
            <p:cNvSpPr>
              <a:spLocks noChangeArrowheads="1"/>
            </p:cNvSpPr>
            <p:nvPr/>
          </p:nvSpPr>
          <p:spPr bwMode="auto">
            <a:xfrm>
              <a:off x="1412306" y="3305603"/>
              <a:ext cx="468373" cy="29180"/>
            </a:xfrm>
            <a:custGeom>
              <a:avLst/>
              <a:gdLst>
                <a:gd name="T0" fmla="*/ 70127 w 1417"/>
                <a:gd name="T1" fmla="*/ 31381 h 86"/>
                <a:gd name="T2" fmla="*/ 360 w 1417"/>
                <a:gd name="T3" fmla="*/ 13291 h 86"/>
                <a:gd name="T4" fmla="*/ 0 w 1417"/>
                <a:gd name="T5" fmla="*/ 0 h 86"/>
                <a:gd name="T6" fmla="*/ 70127 w 1417"/>
                <a:gd name="T7" fmla="*/ 19936 h 86"/>
                <a:gd name="T8" fmla="*/ 443057 w 1417"/>
                <a:gd name="T9" fmla="*/ 19936 h 86"/>
                <a:gd name="T10" fmla="*/ 509228 w 1417"/>
                <a:gd name="T11" fmla="*/ 2215 h 86"/>
                <a:gd name="T12" fmla="*/ 509228 w 1417"/>
                <a:gd name="T13" fmla="*/ 14767 h 86"/>
                <a:gd name="T14" fmla="*/ 443057 w 1417"/>
                <a:gd name="T15" fmla="*/ 31381 h 86"/>
                <a:gd name="T16" fmla="*/ 70127 w 1417"/>
                <a:gd name="T17" fmla="*/ 31381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17"/>
                <a:gd name="T28" fmla="*/ 0 h 86"/>
                <a:gd name="T29" fmla="*/ 1417 w 1417"/>
                <a:gd name="T30" fmla="*/ 86 h 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17" h="86">
                  <a:moveTo>
                    <a:pt x="195" y="85"/>
                  </a:moveTo>
                  <a:cubicBezTo>
                    <a:pt x="125" y="85"/>
                    <a:pt x="59" y="67"/>
                    <a:pt x="1" y="36"/>
                  </a:cubicBezTo>
                  <a:cubicBezTo>
                    <a:pt x="1" y="23"/>
                    <a:pt x="1" y="11"/>
                    <a:pt x="0" y="0"/>
                  </a:cubicBezTo>
                  <a:cubicBezTo>
                    <a:pt x="57" y="34"/>
                    <a:pt x="124" y="54"/>
                    <a:pt x="195" y="54"/>
                  </a:cubicBezTo>
                  <a:lnTo>
                    <a:pt x="1232" y="54"/>
                  </a:lnTo>
                  <a:cubicBezTo>
                    <a:pt x="1299" y="54"/>
                    <a:pt x="1362" y="37"/>
                    <a:pt x="1416" y="6"/>
                  </a:cubicBezTo>
                  <a:lnTo>
                    <a:pt x="1416" y="40"/>
                  </a:lnTo>
                  <a:cubicBezTo>
                    <a:pt x="1361" y="69"/>
                    <a:pt x="1298" y="85"/>
                    <a:pt x="1232" y="85"/>
                  </a:cubicBezTo>
                  <a:lnTo>
                    <a:pt x="195" y="85"/>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0" name="Freeform 16"/>
            <p:cNvSpPr>
              <a:spLocks noChangeArrowheads="1"/>
            </p:cNvSpPr>
            <p:nvPr/>
          </p:nvSpPr>
          <p:spPr bwMode="auto">
            <a:xfrm>
              <a:off x="1413766" y="3356670"/>
              <a:ext cx="466914" cy="10213"/>
            </a:xfrm>
            <a:custGeom>
              <a:avLst/>
              <a:gdLst>
                <a:gd name="T0" fmla="*/ 0 w 1413"/>
                <a:gd name="T1" fmla="*/ 4445 h 30"/>
                <a:gd name="T2" fmla="*/ 0 w 1413"/>
                <a:gd name="T3" fmla="*/ 0 h 30"/>
                <a:gd name="T4" fmla="*/ 507640 w 1413"/>
                <a:gd name="T5" fmla="*/ 0 h 30"/>
                <a:gd name="T6" fmla="*/ 507640 w 1413"/>
                <a:gd name="T7" fmla="*/ 10742 h 30"/>
                <a:gd name="T8" fmla="*/ 502967 w 1413"/>
                <a:gd name="T9" fmla="*/ 10742 h 30"/>
                <a:gd name="T10" fmla="*/ 7190 w 1413"/>
                <a:gd name="T11" fmla="*/ 10742 h 30"/>
                <a:gd name="T12" fmla="*/ 360 w 1413"/>
                <a:gd name="T13" fmla="*/ 10742 h 30"/>
                <a:gd name="T14" fmla="*/ 0 w 1413"/>
                <a:gd name="T15" fmla="*/ 4445 h 30"/>
                <a:gd name="T16" fmla="*/ 0 60000 65536"/>
                <a:gd name="T17" fmla="*/ 0 60000 65536"/>
                <a:gd name="T18" fmla="*/ 0 60000 65536"/>
                <a:gd name="T19" fmla="*/ 0 60000 65536"/>
                <a:gd name="T20" fmla="*/ 0 60000 65536"/>
                <a:gd name="T21" fmla="*/ 0 60000 65536"/>
                <a:gd name="T22" fmla="*/ 0 60000 65536"/>
                <a:gd name="T23" fmla="*/ 0 60000 65536"/>
                <a:gd name="T24" fmla="*/ 0 w 1413"/>
                <a:gd name="T25" fmla="*/ 0 h 30"/>
                <a:gd name="T26" fmla="*/ 1413 w 1413"/>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13" h="30">
                  <a:moveTo>
                    <a:pt x="0" y="12"/>
                  </a:moveTo>
                  <a:cubicBezTo>
                    <a:pt x="0" y="8"/>
                    <a:pt x="0" y="4"/>
                    <a:pt x="0" y="0"/>
                  </a:cubicBezTo>
                  <a:lnTo>
                    <a:pt x="1412" y="0"/>
                  </a:lnTo>
                  <a:lnTo>
                    <a:pt x="1412" y="29"/>
                  </a:lnTo>
                  <a:lnTo>
                    <a:pt x="1399" y="29"/>
                  </a:lnTo>
                  <a:lnTo>
                    <a:pt x="20" y="29"/>
                  </a:lnTo>
                  <a:lnTo>
                    <a:pt x="1" y="29"/>
                  </a:lnTo>
                  <a:cubicBezTo>
                    <a:pt x="0" y="25"/>
                    <a:pt x="0" y="20"/>
                    <a:pt x="0" y="12"/>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1" name="Freeform 17"/>
            <p:cNvSpPr>
              <a:spLocks noChangeArrowheads="1"/>
            </p:cNvSpPr>
            <p:nvPr/>
          </p:nvSpPr>
          <p:spPr bwMode="auto">
            <a:xfrm>
              <a:off x="1876302" y="3365424"/>
              <a:ext cx="4378" cy="1459"/>
            </a:xfrm>
            <a:custGeom>
              <a:avLst/>
              <a:gdLst>
                <a:gd name="T0" fmla="*/ 0 w 14"/>
                <a:gd name="T1" fmla="*/ 0 h 5"/>
                <a:gd name="T2" fmla="*/ 4423 w 14"/>
                <a:gd name="T3" fmla="*/ 0 h 5"/>
                <a:gd name="T4" fmla="*/ 4423 w 14"/>
                <a:gd name="T5" fmla="*/ 1270 h 5"/>
                <a:gd name="T6" fmla="*/ 4423 w 14"/>
                <a:gd name="T7" fmla="*/ 1270 h 5"/>
                <a:gd name="T8" fmla="*/ 0 w 14"/>
                <a:gd name="T9" fmla="*/ 0 h 5"/>
                <a:gd name="T10" fmla="*/ 0 60000 65536"/>
                <a:gd name="T11" fmla="*/ 0 60000 65536"/>
                <a:gd name="T12" fmla="*/ 0 60000 65536"/>
                <a:gd name="T13" fmla="*/ 0 60000 65536"/>
                <a:gd name="T14" fmla="*/ 0 60000 65536"/>
                <a:gd name="T15" fmla="*/ 0 w 14"/>
                <a:gd name="T16" fmla="*/ 0 h 5"/>
                <a:gd name="T17" fmla="*/ 14 w 14"/>
                <a:gd name="T18" fmla="*/ 5 h 5"/>
              </a:gdLst>
              <a:ahLst/>
              <a:cxnLst>
                <a:cxn ang="T10">
                  <a:pos x="T0" y="T1"/>
                </a:cxn>
                <a:cxn ang="T11">
                  <a:pos x="T2" y="T3"/>
                </a:cxn>
                <a:cxn ang="T12">
                  <a:pos x="T4" y="T5"/>
                </a:cxn>
                <a:cxn ang="T13">
                  <a:pos x="T6" y="T7"/>
                </a:cxn>
                <a:cxn ang="T14">
                  <a:pos x="T8" y="T9"/>
                </a:cxn>
              </a:cxnLst>
              <a:rect l="T15" t="T16" r="T17" b="T18"/>
              <a:pathLst>
                <a:path w="14" h="5">
                  <a:moveTo>
                    <a:pt x="0" y="0"/>
                  </a:moveTo>
                  <a:lnTo>
                    <a:pt x="13" y="0"/>
                  </a:lnTo>
                  <a:lnTo>
                    <a:pt x="13" y="4"/>
                  </a:lnTo>
                  <a:cubicBezTo>
                    <a:pt x="9" y="2"/>
                    <a:pt x="5" y="0"/>
                    <a:pt x="0" y="0"/>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2" name="Freeform 18"/>
            <p:cNvSpPr>
              <a:spLocks noChangeArrowheads="1"/>
            </p:cNvSpPr>
            <p:nvPr/>
          </p:nvSpPr>
          <p:spPr bwMode="auto">
            <a:xfrm>
              <a:off x="1413766" y="3365424"/>
              <a:ext cx="7295" cy="2918"/>
            </a:xfrm>
            <a:custGeom>
              <a:avLst/>
              <a:gdLst>
                <a:gd name="T0" fmla="*/ 0 w 20"/>
                <a:gd name="T1" fmla="*/ 2268 h 7"/>
                <a:gd name="T2" fmla="*/ 0 w 20"/>
                <a:gd name="T3" fmla="*/ 0 h 7"/>
                <a:gd name="T4" fmla="*/ 7540 w 20"/>
                <a:gd name="T5" fmla="*/ 0 h 7"/>
                <a:gd name="T6" fmla="*/ 1191 w 20"/>
                <a:gd name="T7" fmla="*/ 2721 h 7"/>
                <a:gd name="T8" fmla="*/ 0 w 20"/>
                <a:gd name="T9" fmla="*/ 2268 h 7"/>
                <a:gd name="T10" fmla="*/ 0 60000 65536"/>
                <a:gd name="T11" fmla="*/ 0 60000 65536"/>
                <a:gd name="T12" fmla="*/ 0 60000 65536"/>
                <a:gd name="T13" fmla="*/ 0 60000 65536"/>
                <a:gd name="T14" fmla="*/ 0 60000 65536"/>
                <a:gd name="T15" fmla="*/ 0 w 20"/>
                <a:gd name="T16" fmla="*/ 0 h 7"/>
                <a:gd name="T17" fmla="*/ 20 w 20"/>
                <a:gd name="T18" fmla="*/ 7 h 7"/>
              </a:gdLst>
              <a:ahLst/>
              <a:cxnLst>
                <a:cxn ang="T10">
                  <a:pos x="T0" y="T1"/>
                </a:cxn>
                <a:cxn ang="T11">
                  <a:pos x="T2" y="T3"/>
                </a:cxn>
                <a:cxn ang="T12">
                  <a:pos x="T4" y="T5"/>
                </a:cxn>
                <a:cxn ang="T13">
                  <a:pos x="T6" y="T7"/>
                </a:cxn>
                <a:cxn ang="T14">
                  <a:pos x="T8" y="T9"/>
                </a:cxn>
              </a:cxnLst>
              <a:rect l="T15" t="T16" r="T17" b="T18"/>
              <a:pathLst>
                <a:path w="20" h="7">
                  <a:moveTo>
                    <a:pt x="0" y="5"/>
                  </a:moveTo>
                  <a:cubicBezTo>
                    <a:pt x="0" y="4"/>
                    <a:pt x="0" y="2"/>
                    <a:pt x="0" y="0"/>
                  </a:cubicBezTo>
                  <a:lnTo>
                    <a:pt x="19" y="0"/>
                  </a:lnTo>
                  <a:cubicBezTo>
                    <a:pt x="13" y="0"/>
                    <a:pt x="8" y="3"/>
                    <a:pt x="3" y="6"/>
                  </a:cubicBezTo>
                  <a:cubicBezTo>
                    <a:pt x="2" y="6"/>
                    <a:pt x="1" y="6"/>
                    <a:pt x="0" y="5"/>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3" name="Freeform 19"/>
            <p:cNvSpPr>
              <a:spLocks noChangeArrowheads="1"/>
            </p:cNvSpPr>
            <p:nvPr/>
          </p:nvSpPr>
          <p:spPr bwMode="auto">
            <a:xfrm>
              <a:off x="1415225" y="3365424"/>
              <a:ext cx="466914" cy="2918"/>
            </a:xfrm>
            <a:custGeom>
              <a:avLst/>
              <a:gdLst>
                <a:gd name="T0" fmla="*/ 5769 w 1409"/>
                <a:gd name="T1" fmla="*/ 0 h 8"/>
                <a:gd name="T2" fmla="*/ 502952 w 1409"/>
                <a:gd name="T3" fmla="*/ 0 h 8"/>
                <a:gd name="T4" fmla="*/ 507639 w 1409"/>
                <a:gd name="T5" fmla="*/ 1588 h 8"/>
                <a:gd name="T6" fmla="*/ 486007 w 1409"/>
                <a:gd name="T7" fmla="*/ 2778 h 8"/>
                <a:gd name="T8" fmla="*/ 21993 w 1409"/>
                <a:gd name="T9" fmla="*/ 2778 h 8"/>
                <a:gd name="T10" fmla="*/ 0 w 1409"/>
                <a:gd name="T11" fmla="*/ 2381 h 8"/>
                <a:gd name="T12" fmla="*/ 5769 w 1409"/>
                <a:gd name="T13" fmla="*/ 0 h 8"/>
                <a:gd name="T14" fmla="*/ 0 60000 65536"/>
                <a:gd name="T15" fmla="*/ 0 60000 65536"/>
                <a:gd name="T16" fmla="*/ 0 60000 65536"/>
                <a:gd name="T17" fmla="*/ 0 60000 65536"/>
                <a:gd name="T18" fmla="*/ 0 60000 65536"/>
                <a:gd name="T19" fmla="*/ 0 60000 65536"/>
                <a:gd name="T20" fmla="*/ 0 60000 65536"/>
                <a:gd name="T21" fmla="*/ 0 w 1409"/>
                <a:gd name="T22" fmla="*/ 0 h 8"/>
                <a:gd name="T23" fmla="*/ 1409 w 1409"/>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9" h="8">
                  <a:moveTo>
                    <a:pt x="16" y="0"/>
                  </a:moveTo>
                  <a:lnTo>
                    <a:pt x="1395" y="0"/>
                  </a:lnTo>
                  <a:cubicBezTo>
                    <a:pt x="1400" y="0"/>
                    <a:pt x="1404" y="2"/>
                    <a:pt x="1408" y="4"/>
                  </a:cubicBezTo>
                  <a:cubicBezTo>
                    <a:pt x="1395" y="7"/>
                    <a:pt x="1366" y="7"/>
                    <a:pt x="1348" y="7"/>
                  </a:cubicBezTo>
                  <a:lnTo>
                    <a:pt x="61" y="7"/>
                  </a:lnTo>
                  <a:cubicBezTo>
                    <a:pt x="41" y="7"/>
                    <a:pt x="11" y="7"/>
                    <a:pt x="0" y="6"/>
                  </a:cubicBezTo>
                  <a:cubicBezTo>
                    <a:pt x="5" y="3"/>
                    <a:pt x="10" y="0"/>
                    <a:pt x="16" y="0"/>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4" name="Freeform 20"/>
            <p:cNvSpPr>
              <a:spLocks noChangeArrowheads="1"/>
            </p:cNvSpPr>
            <p:nvPr/>
          </p:nvSpPr>
          <p:spPr bwMode="auto">
            <a:xfrm>
              <a:off x="1283905" y="3143652"/>
              <a:ext cx="109433" cy="331198"/>
            </a:xfrm>
            <a:custGeom>
              <a:avLst/>
              <a:gdLst>
                <a:gd name="T0" fmla="*/ 118703 w 331"/>
                <a:gd name="T1" fmla="*/ 18758 h 999"/>
                <a:gd name="T2" fmla="*/ 118703 w 331"/>
                <a:gd name="T3" fmla="*/ 157636 h 999"/>
                <a:gd name="T4" fmla="*/ 118703 w 331"/>
                <a:gd name="T5" fmla="*/ 158357 h 999"/>
                <a:gd name="T6" fmla="*/ 118703 w 331"/>
                <a:gd name="T7" fmla="*/ 161604 h 999"/>
                <a:gd name="T8" fmla="*/ 118703 w 331"/>
                <a:gd name="T9" fmla="*/ 164850 h 999"/>
                <a:gd name="T10" fmla="*/ 118703 w 331"/>
                <a:gd name="T11" fmla="*/ 176033 h 999"/>
                <a:gd name="T12" fmla="*/ 118703 w 331"/>
                <a:gd name="T13" fmla="*/ 189740 h 999"/>
                <a:gd name="T14" fmla="*/ 118703 w 331"/>
                <a:gd name="T15" fmla="*/ 251063 h 999"/>
                <a:gd name="T16" fmla="*/ 118703 w 331"/>
                <a:gd name="T17" fmla="*/ 252506 h 999"/>
                <a:gd name="T18" fmla="*/ 118703 w 331"/>
                <a:gd name="T19" fmla="*/ 360001 h 999"/>
                <a:gd name="T20" fmla="*/ 0 w 331"/>
                <a:gd name="T21" fmla="*/ 360001 h 999"/>
                <a:gd name="T22" fmla="*/ 0 w 331"/>
                <a:gd name="T23" fmla="*/ 18758 h 999"/>
                <a:gd name="T24" fmla="*/ 19064 w 331"/>
                <a:gd name="T25" fmla="*/ 0 h 999"/>
                <a:gd name="T26" fmla="*/ 52517 w 331"/>
                <a:gd name="T27" fmla="*/ 0 h 999"/>
                <a:gd name="T28" fmla="*/ 63308 w 331"/>
                <a:gd name="T29" fmla="*/ 0 h 999"/>
                <a:gd name="T30" fmla="*/ 74100 w 331"/>
                <a:gd name="T31" fmla="*/ 0 h 999"/>
                <a:gd name="T32" fmla="*/ 99639 w 331"/>
                <a:gd name="T33" fmla="*/ 0 h 999"/>
                <a:gd name="T34" fmla="*/ 118703 w 331"/>
                <a:gd name="T35" fmla="*/ 18758 h 9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1"/>
                <a:gd name="T55" fmla="*/ 0 h 999"/>
                <a:gd name="T56" fmla="*/ 331 w 331"/>
                <a:gd name="T57" fmla="*/ 999 h 9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1" h="999">
                  <a:moveTo>
                    <a:pt x="330" y="52"/>
                  </a:moveTo>
                  <a:lnTo>
                    <a:pt x="330" y="437"/>
                  </a:lnTo>
                  <a:cubicBezTo>
                    <a:pt x="330" y="437"/>
                    <a:pt x="330" y="438"/>
                    <a:pt x="330" y="439"/>
                  </a:cubicBezTo>
                  <a:cubicBezTo>
                    <a:pt x="330" y="441"/>
                    <a:pt x="330" y="445"/>
                    <a:pt x="330" y="448"/>
                  </a:cubicBezTo>
                  <a:cubicBezTo>
                    <a:pt x="330" y="451"/>
                    <a:pt x="330" y="454"/>
                    <a:pt x="330" y="457"/>
                  </a:cubicBezTo>
                  <a:lnTo>
                    <a:pt x="330" y="488"/>
                  </a:lnTo>
                  <a:lnTo>
                    <a:pt x="330" y="526"/>
                  </a:lnTo>
                  <a:lnTo>
                    <a:pt x="330" y="696"/>
                  </a:lnTo>
                  <a:cubicBezTo>
                    <a:pt x="330" y="698"/>
                    <a:pt x="330" y="699"/>
                    <a:pt x="330" y="700"/>
                  </a:cubicBezTo>
                  <a:lnTo>
                    <a:pt x="330" y="998"/>
                  </a:lnTo>
                  <a:lnTo>
                    <a:pt x="0" y="998"/>
                  </a:lnTo>
                  <a:lnTo>
                    <a:pt x="0" y="52"/>
                  </a:lnTo>
                  <a:cubicBezTo>
                    <a:pt x="0" y="23"/>
                    <a:pt x="24" y="0"/>
                    <a:pt x="53" y="0"/>
                  </a:cubicBezTo>
                  <a:lnTo>
                    <a:pt x="146" y="0"/>
                  </a:lnTo>
                  <a:lnTo>
                    <a:pt x="176" y="0"/>
                  </a:lnTo>
                  <a:lnTo>
                    <a:pt x="206" y="0"/>
                  </a:lnTo>
                  <a:lnTo>
                    <a:pt x="277" y="0"/>
                  </a:lnTo>
                  <a:cubicBezTo>
                    <a:pt x="306" y="0"/>
                    <a:pt x="330" y="23"/>
                    <a:pt x="330" y="52"/>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5" name="Freeform 21"/>
            <p:cNvSpPr>
              <a:spLocks noChangeArrowheads="1"/>
            </p:cNvSpPr>
            <p:nvPr/>
          </p:nvSpPr>
          <p:spPr bwMode="auto">
            <a:xfrm>
              <a:off x="1899648" y="3143652"/>
              <a:ext cx="109433" cy="331198"/>
            </a:xfrm>
            <a:custGeom>
              <a:avLst/>
              <a:gdLst>
                <a:gd name="T0" fmla="*/ 99639 w 331"/>
                <a:gd name="T1" fmla="*/ 0 h 999"/>
                <a:gd name="T2" fmla="*/ 118703 w 331"/>
                <a:gd name="T3" fmla="*/ 18758 h 999"/>
                <a:gd name="T4" fmla="*/ 118703 w 331"/>
                <a:gd name="T5" fmla="*/ 360001 h 999"/>
                <a:gd name="T6" fmla="*/ 7194 w 331"/>
                <a:gd name="T7" fmla="*/ 360001 h 999"/>
                <a:gd name="T8" fmla="*/ 7194 w 331"/>
                <a:gd name="T9" fmla="*/ 252506 h 999"/>
                <a:gd name="T10" fmla="*/ 1439 w 331"/>
                <a:gd name="T11" fmla="*/ 238798 h 999"/>
                <a:gd name="T12" fmla="*/ 1799 w 331"/>
                <a:gd name="T13" fmla="*/ 236273 h 999"/>
                <a:gd name="T14" fmla="*/ 2518 w 331"/>
                <a:gd name="T15" fmla="*/ 195512 h 999"/>
                <a:gd name="T16" fmla="*/ 2518 w 331"/>
                <a:gd name="T17" fmla="*/ 190822 h 999"/>
                <a:gd name="T18" fmla="*/ 2878 w 331"/>
                <a:gd name="T19" fmla="*/ 176754 h 999"/>
                <a:gd name="T20" fmla="*/ 3237 w 331"/>
                <a:gd name="T21" fmla="*/ 162325 h 999"/>
                <a:gd name="T22" fmla="*/ 3237 w 331"/>
                <a:gd name="T23" fmla="*/ 158357 h 999"/>
                <a:gd name="T24" fmla="*/ 0 w 331"/>
                <a:gd name="T25" fmla="*/ 144650 h 999"/>
                <a:gd name="T26" fmla="*/ 0 w 331"/>
                <a:gd name="T27" fmla="*/ 18758 h 999"/>
                <a:gd name="T28" fmla="*/ 18705 w 331"/>
                <a:gd name="T29" fmla="*/ 0 h 999"/>
                <a:gd name="T30" fmla="*/ 48201 w 331"/>
                <a:gd name="T31" fmla="*/ 0 h 999"/>
                <a:gd name="T32" fmla="*/ 59352 w 331"/>
                <a:gd name="T33" fmla="*/ 0 h 999"/>
                <a:gd name="T34" fmla="*/ 70143 w 331"/>
                <a:gd name="T35" fmla="*/ 0 h 999"/>
                <a:gd name="T36" fmla="*/ 99639 w 331"/>
                <a:gd name="T37" fmla="*/ 0 h 9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31"/>
                <a:gd name="T58" fmla="*/ 0 h 999"/>
                <a:gd name="T59" fmla="*/ 331 w 331"/>
                <a:gd name="T60" fmla="*/ 999 h 9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31" h="999">
                  <a:moveTo>
                    <a:pt x="277" y="0"/>
                  </a:moveTo>
                  <a:cubicBezTo>
                    <a:pt x="306" y="0"/>
                    <a:pt x="330" y="23"/>
                    <a:pt x="330" y="52"/>
                  </a:cubicBezTo>
                  <a:lnTo>
                    <a:pt x="330" y="998"/>
                  </a:lnTo>
                  <a:lnTo>
                    <a:pt x="20" y="998"/>
                  </a:lnTo>
                  <a:lnTo>
                    <a:pt x="20" y="700"/>
                  </a:lnTo>
                  <a:cubicBezTo>
                    <a:pt x="20" y="685"/>
                    <a:pt x="14" y="672"/>
                    <a:pt x="4" y="662"/>
                  </a:cubicBezTo>
                  <a:cubicBezTo>
                    <a:pt x="4" y="659"/>
                    <a:pt x="5" y="658"/>
                    <a:pt x="5" y="655"/>
                  </a:cubicBezTo>
                  <a:cubicBezTo>
                    <a:pt x="5" y="630"/>
                    <a:pt x="6" y="585"/>
                    <a:pt x="7" y="542"/>
                  </a:cubicBezTo>
                  <a:cubicBezTo>
                    <a:pt x="7" y="537"/>
                    <a:pt x="7" y="533"/>
                    <a:pt x="7" y="529"/>
                  </a:cubicBezTo>
                  <a:cubicBezTo>
                    <a:pt x="7" y="515"/>
                    <a:pt x="8" y="502"/>
                    <a:pt x="8" y="490"/>
                  </a:cubicBezTo>
                  <a:cubicBezTo>
                    <a:pt x="8" y="475"/>
                    <a:pt x="9" y="461"/>
                    <a:pt x="9" y="450"/>
                  </a:cubicBezTo>
                  <a:cubicBezTo>
                    <a:pt x="9" y="446"/>
                    <a:pt x="9" y="442"/>
                    <a:pt x="9" y="439"/>
                  </a:cubicBezTo>
                  <a:cubicBezTo>
                    <a:pt x="9" y="427"/>
                    <a:pt x="6" y="414"/>
                    <a:pt x="0" y="401"/>
                  </a:cubicBezTo>
                  <a:lnTo>
                    <a:pt x="0" y="52"/>
                  </a:lnTo>
                  <a:cubicBezTo>
                    <a:pt x="0" y="23"/>
                    <a:pt x="23" y="0"/>
                    <a:pt x="52" y="0"/>
                  </a:cubicBezTo>
                  <a:lnTo>
                    <a:pt x="134" y="0"/>
                  </a:lnTo>
                  <a:lnTo>
                    <a:pt x="165" y="0"/>
                  </a:lnTo>
                  <a:lnTo>
                    <a:pt x="195" y="0"/>
                  </a:lnTo>
                  <a:lnTo>
                    <a:pt x="277" y="0"/>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6" name="Freeform 22"/>
            <p:cNvSpPr>
              <a:spLocks noChangeArrowheads="1"/>
            </p:cNvSpPr>
            <p:nvPr/>
          </p:nvSpPr>
          <p:spPr bwMode="auto">
            <a:xfrm>
              <a:off x="1899648" y="3362506"/>
              <a:ext cx="7296" cy="110886"/>
            </a:xfrm>
            <a:custGeom>
              <a:avLst/>
              <a:gdLst>
                <a:gd name="T0" fmla="*/ 1512 w 21"/>
                <a:gd name="T1" fmla="*/ 0 h 337"/>
                <a:gd name="T2" fmla="*/ 7560 w 21"/>
                <a:gd name="T3" fmla="*/ 13604 h 337"/>
                <a:gd name="T4" fmla="*/ 7560 w 21"/>
                <a:gd name="T5" fmla="*/ 120292 h 337"/>
                <a:gd name="T6" fmla="*/ 0 w 21"/>
                <a:gd name="T7" fmla="*/ 120292 h 337"/>
                <a:gd name="T8" fmla="*/ 0 w 21"/>
                <a:gd name="T9" fmla="*/ 11098 h 337"/>
                <a:gd name="T10" fmla="*/ 1512 w 21"/>
                <a:gd name="T11" fmla="*/ 0 h 337"/>
                <a:gd name="T12" fmla="*/ 0 60000 65536"/>
                <a:gd name="T13" fmla="*/ 0 60000 65536"/>
                <a:gd name="T14" fmla="*/ 0 60000 65536"/>
                <a:gd name="T15" fmla="*/ 0 60000 65536"/>
                <a:gd name="T16" fmla="*/ 0 60000 65536"/>
                <a:gd name="T17" fmla="*/ 0 60000 65536"/>
                <a:gd name="T18" fmla="*/ 0 w 21"/>
                <a:gd name="T19" fmla="*/ 0 h 337"/>
                <a:gd name="T20" fmla="*/ 21 w 21"/>
                <a:gd name="T21" fmla="*/ 337 h 337"/>
              </a:gdLst>
              <a:ahLst/>
              <a:cxnLst>
                <a:cxn ang="T12">
                  <a:pos x="T0" y="T1"/>
                </a:cxn>
                <a:cxn ang="T13">
                  <a:pos x="T2" y="T3"/>
                </a:cxn>
                <a:cxn ang="T14">
                  <a:pos x="T4" y="T5"/>
                </a:cxn>
                <a:cxn ang="T15">
                  <a:pos x="T6" y="T7"/>
                </a:cxn>
                <a:cxn ang="T16">
                  <a:pos x="T8" y="T9"/>
                </a:cxn>
                <a:cxn ang="T17">
                  <a:pos x="T10" y="T11"/>
                </a:cxn>
              </a:cxnLst>
              <a:rect l="T18" t="T19" r="T20" b="T21"/>
              <a:pathLst>
                <a:path w="21" h="337">
                  <a:moveTo>
                    <a:pt x="4" y="0"/>
                  </a:moveTo>
                  <a:cubicBezTo>
                    <a:pt x="14" y="10"/>
                    <a:pt x="19" y="23"/>
                    <a:pt x="20" y="38"/>
                  </a:cubicBezTo>
                  <a:lnTo>
                    <a:pt x="20" y="336"/>
                  </a:lnTo>
                  <a:lnTo>
                    <a:pt x="0" y="336"/>
                  </a:lnTo>
                  <a:lnTo>
                    <a:pt x="0" y="31"/>
                  </a:lnTo>
                  <a:cubicBezTo>
                    <a:pt x="2" y="23"/>
                    <a:pt x="4" y="12"/>
                    <a:pt x="4" y="0"/>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7" name="Freeform 23"/>
            <p:cNvSpPr>
              <a:spLocks noChangeArrowheads="1"/>
            </p:cNvSpPr>
            <p:nvPr/>
          </p:nvSpPr>
          <p:spPr bwMode="auto">
            <a:xfrm>
              <a:off x="1899648" y="3318735"/>
              <a:ext cx="2918" cy="43771"/>
            </a:xfrm>
            <a:custGeom>
              <a:avLst/>
              <a:gdLst>
                <a:gd name="T0" fmla="*/ 0 w 8"/>
                <a:gd name="T1" fmla="*/ 45848 h 134"/>
                <a:gd name="T2" fmla="*/ 0 w 8"/>
                <a:gd name="T3" fmla="*/ 1777 h 134"/>
                <a:gd name="T4" fmla="*/ 2778 w 8"/>
                <a:gd name="T5" fmla="*/ 0 h 134"/>
                <a:gd name="T6" fmla="*/ 2778 w 8"/>
                <a:gd name="T7" fmla="*/ 4620 h 134"/>
                <a:gd name="T8" fmla="*/ 1588 w 8"/>
                <a:gd name="T9" fmla="*/ 45137 h 134"/>
                <a:gd name="T10" fmla="*/ 1588 w 8"/>
                <a:gd name="T11" fmla="*/ 47270 h 134"/>
                <a:gd name="T12" fmla="*/ 0 w 8"/>
                <a:gd name="T13" fmla="*/ 45848 h 134"/>
                <a:gd name="T14" fmla="*/ 0 60000 65536"/>
                <a:gd name="T15" fmla="*/ 0 60000 65536"/>
                <a:gd name="T16" fmla="*/ 0 60000 65536"/>
                <a:gd name="T17" fmla="*/ 0 60000 65536"/>
                <a:gd name="T18" fmla="*/ 0 60000 65536"/>
                <a:gd name="T19" fmla="*/ 0 60000 65536"/>
                <a:gd name="T20" fmla="*/ 0 60000 65536"/>
                <a:gd name="T21" fmla="*/ 0 w 8"/>
                <a:gd name="T22" fmla="*/ 0 h 134"/>
                <a:gd name="T23" fmla="*/ 8 w 8"/>
                <a:gd name="T24" fmla="*/ 134 h 1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34">
                  <a:moveTo>
                    <a:pt x="0" y="129"/>
                  </a:moveTo>
                  <a:lnTo>
                    <a:pt x="0" y="5"/>
                  </a:lnTo>
                  <a:cubicBezTo>
                    <a:pt x="2" y="3"/>
                    <a:pt x="5" y="1"/>
                    <a:pt x="7" y="0"/>
                  </a:cubicBezTo>
                  <a:cubicBezTo>
                    <a:pt x="7" y="4"/>
                    <a:pt x="7" y="8"/>
                    <a:pt x="7" y="13"/>
                  </a:cubicBezTo>
                  <a:cubicBezTo>
                    <a:pt x="6" y="56"/>
                    <a:pt x="4" y="101"/>
                    <a:pt x="4" y="127"/>
                  </a:cubicBezTo>
                  <a:cubicBezTo>
                    <a:pt x="4" y="129"/>
                    <a:pt x="4" y="131"/>
                    <a:pt x="4" y="133"/>
                  </a:cubicBezTo>
                  <a:cubicBezTo>
                    <a:pt x="3" y="131"/>
                    <a:pt x="1" y="130"/>
                    <a:pt x="0" y="129"/>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8" name="Freeform 24"/>
            <p:cNvSpPr>
              <a:spLocks noChangeArrowheads="1"/>
            </p:cNvSpPr>
            <p:nvPr/>
          </p:nvSpPr>
          <p:spPr bwMode="auto">
            <a:xfrm>
              <a:off x="1899648" y="3276423"/>
              <a:ext cx="2918" cy="18968"/>
            </a:xfrm>
            <a:custGeom>
              <a:avLst/>
              <a:gdLst>
                <a:gd name="T0" fmla="*/ 0 w 10"/>
                <a:gd name="T1" fmla="*/ 0 h 58"/>
                <a:gd name="T2" fmla="*/ 2858 w 10"/>
                <a:gd name="T3" fmla="*/ 13521 h 58"/>
                <a:gd name="T4" fmla="*/ 2858 w 10"/>
                <a:gd name="T5" fmla="*/ 17436 h 58"/>
                <a:gd name="T6" fmla="*/ 0 w 10"/>
                <a:gd name="T7" fmla="*/ 20282 h 58"/>
                <a:gd name="T8" fmla="*/ 0 w 10"/>
                <a:gd name="T9" fmla="*/ 0 h 58"/>
                <a:gd name="T10" fmla="*/ 0 60000 65536"/>
                <a:gd name="T11" fmla="*/ 0 60000 65536"/>
                <a:gd name="T12" fmla="*/ 0 60000 65536"/>
                <a:gd name="T13" fmla="*/ 0 60000 65536"/>
                <a:gd name="T14" fmla="*/ 0 60000 65536"/>
                <a:gd name="T15" fmla="*/ 0 w 10"/>
                <a:gd name="T16" fmla="*/ 0 h 58"/>
                <a:gd name="T17" fmla="*/ 10 w 10"/>
                <a:gd name="T18" fmla="*/ 58 h 58"/>
              </a:gdLst>
              <a:ahLst/>
              <a:cxnLst>
                <a:cxn ang="T10">
                  <a:pos x="T0" y="T1"/>
                </a:cxn>
                <a:cxn ang="T11">
                  <a:pos x="T2" y="T3"/>
                </a:cxn>
                <a:cxn ang="T12">
                  <a:pos x="T4" y="T5"/>
                </a:cxn>
                <a:cxn ang="T13">
                  <a:pos x="T6" y="T7"/>
                </a:cxn>
                <a:cxn ang="T14">
                  <a:pos x="T8" y="T9"/>
                </a:cxn>
              </a:cxnLst>
              <a:rect l="T15" t="T16" r="T17" b="T18"/>
              <a:pathLst>
                <a:path w="10" h="58">
                  <a:moveTo>
                    <a:pt x="0" y="0"/>
                  </a:moveTo>
                  <a:cubicBezTo>
                    <a:pt x="6" y="13"/>
                    <a:pt x="9" y="26"/>
                    <a:pt x="9" y="38"/>
                  </a:cubicBezTo>
                  <a:cubicBezTo>
                    <a:pt x="9" y="41"/>
                    <a:pt x="9" y="45"/>
                    <a:pt x="9" y="49"/>
                  </a:cubicBezTo>
                  <a:cubicBezTo>
                    <a:pt x="6" y="52"/>
                    <a:pt x="3" y="54"/>
                    <a:pt x="0" y="57"/>
                  </a:cubicBezTo>
                  <a:lnTo>
                    <a:pt x="0" y="0"/>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29" name="Freeform 25"/>
            <p:cNvSpPr>
              <a:spLocks noChangeArrowheads="1"/>
            </p:cNvSpPr>
            <p:nvPr/>
          </p:nvSpPr>
          <p:spPr bwMode="auto">
            <a:xfrm>
              <a:off x="1899648" y="3305603"/>
              <a:ext cx="2918" cy="14590"/>
            </a:xfrm>
            <a:custGeom>
              <a:avLst/>
              <a:gdLst>
                <a:gd name="T0" fmla="*/ 0 w 9"/>
                <a:gd name="T1" fmla="*/ 15522 h 45"/>
                <a:gd name="T2" fmla="*/ 0 w 9"/>
                <a:gd name="T3" fmla="*/ 2469 h 45"/>
                <a:gd name="T4" fmla="*/ 2822 w 9"/>
                <a:gd name="T5" fmla="*/ 0 h 45"/>
                <a:gd name="T6" fmla="*/ 2469 w 9"/>
                <a:gd name="T7" fmla="*/ 13758 h 45"/>
                <a:gd name="T8" fmla="*/ 0 w 9"/>
                <a:gd name="T9" fmla="*/ 15522 h 45"/>
                <a:gd name="T10" fmla="*/ 0 60000 65536"/>
                <a:gd name="T11" fmla="*/ 0 60000 65536"/>
                <a:gd name="T12" fmla="*/ 0 60000 65536"/>
                <a:gd name="T13" fmla="*/ 0 60000 65536"/>
                <a:gd name="T14" fmla="*/ 0 60000 65536"/>
                <a:gd name="T15" fmla="*/ 0 w 9"/>
                <a:gd name="T16" fmla="*/ 0 h 45"/>
                <a:gd name="T17" fmla="*/ 9 w 9"/>
                <a:gd name="T18" fmla="*/ 45 h 45"/>
              </a:gdLst>
              <a:ahLst/>
              <a:cxnLst>
                <a:cxn ang="T10">
                  <a:pos x="T0" y="T1"/>
                </a:cxn>
                <a:cxn ang="T11">
                  <a:pos x="T2" y="T3"/>
                </a:cxn>
                <a:cxn ang="T12">
                  <a:pos x="T4" y="T5"/>
                </a:cxn>
                <a:cxn ang="T13">
                  <a:pos x="T6" y="T7"/>
                </a:cxn>
                <a:cxn ang="T14">
                  <a:pos x="T8" y="T9"/>
                </a:cxn>
              </a:cxnLst>
              <a:rect l="T15" t="T16" r="T17" b="T18"/>
              <a:pathLst>
                <a:path w="9" h="45">
                  <a:moveTo>
                    <a:pt x="0" y="44"/>
                  </a:moveTo>
                  <a:lnTo>
                    <a:pt x="0" y="7"/>
                  </a:lnTo>
                  <a:cubicBezTo>
                    <a:pt x="2" y="4"/>
                    <a:pt x="5" y="2"/>
                    <a:pt x="8" y="0"/>
                  </a:cubicBezTo>
                  <a:cubicBezTo>
                    <a:pt x="8" y="12"/>
                    <a:pt x="7" y="25"/>
                    <a:pt x="7" y="39"/>
                  </a:cubicBezTo>
                  <a:cubicBezTo>
                    <a:pt x="5" y="40"/>
                    <a:pt x="2" y="42"/>
                    <a:pt x="0" y="44"/>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30" name="Freeform 26"/>
            <p:cNvSpPr>
              <a:spLocks noChangeArrowheads="1"/>
            </p:cNvSpPr>
            <p:nvPr/>
          </p:nvSpPr>
          <p:spPr bwMode="auto">
            <a:xfrm>
              <a:off x="1899648" y="3292473"/>
              <a:ext cx="2918" cy="16049"/>
            </a:xfrm>
            <a:custGeom>
              <a:avLst/>
              <a:gdLst>
                <a:gd name="T0" fmla="*/ 0 w 10"/>
                <a:gd name="T1" fmla="*/ 17098 h 48"/>
                <a:gd name="T2" fmla="*/ 0 w 10"/>
                <a:gd name="T3" fmla="*/ 2910 h 48"/>
                <a:gd name="T4" fmla="*/ 2858 w 10"/>
                <a:gd name="T5" fmla="*/ 0 h 48"/>
                <a:gd name="T6" fmla="*/ 2540 w 10"/>
                <a:gd name="T7" fmla="*/ 14552 h 48"/>
                <a:gd name="T8" fmla="*/ 0 w 10"/>
                <a:gd name="T9" fmla="*/ 17098 h 48"/>
                <a:gd name="T10" fmla="*/ 0 60000 65536"/>
                <a:gd name="T11" fmla="*/ 0 60000 65536"/>
                <a:gd name="T12" fmla="*/ 0 60000 65536"/>
                <a:gd name="T13" fmla="*/ 0 60000 65536"/>
                <a:gd name="T14" fmla="*/ 0 60000 65536"/>
                <a:gd name="T15" fmla="*/ 0 w 10"/>
                <a:gd name="T16" fmla="*/ 0 h 48"/>
                <a:gd name="T17" fmla="*/ 10 w 10"/>
                <a:gd name="T18" fmla="*/ 48 h 48"/>
              </a:gdLst>
              <a:ahLst/>
              <a:cxnLst>
                <a:cxn ang="T10">
                  <a:pos x="T0" y="T1"/>
                </a:cxn>
                <a:cxn ang="T11">
                  <a:pos x="T2" y="T3"/>
                </a:cxn>
                <a:cxn ang="T12">
                  <a:pos x="T4" y="T5"/>
                </a:cxn>
                <a:cxn ang="T13">
                  <a:pos x="T6" y="T7"/>
                </a:cxn>
                <a:cxn ang="T14">
                  <a:pos x="T8" y="T9"/>
                </a:cxn>
              </a:cxnLst>
              <a:rect l="T15" t="T16" r="T17" b="T18"/>
              <a:pathLst>
                <a:path w="10" h="48">
                  <a:moveTo>
                    <a:pt x="0" y="47"/>
                  </a:moveTo>
                  <a:lnTo>
                    <a:pt x="0" y="8"/>
                  </a:lnTo>
                  <a:cubicBezTo>
                    <a:pt x="3" y="5"/>
                    <a:pt x="6" y="3"/>
                    <a:pt x="9" y="0"/>
                  </a:cubicBezTo>
                  <a:cubicBezTo>
                    <a:pt x="9" y="11"/>
                    <a:pt x="8" y="25"/>
                    <a:pt x="8" y="40"/>
                  </a:cubicBezTo>
                  <a:cubicBezTo>
                    <a:pt x="5" y="42"/>
                    <a:pt x="2" y="44"/>
                    <a:pt x="0" y="47"/>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sp>
          <p:nvSpPr>
            <p:cNvPr id="31" name="Freeform 27"/>
            <p:cNvSpPr>
              <a:spLocks noChangeArrowheads="1"/>
            </p:cNvSpPr>
            <p:nvPr/>
          </p:nvSpPr>
          <p:spPr bwMode="auto">
            <a:xfrm>
              <a:off x="1899648" y="3361046"/>
              <a:ext cx="1460" cy="11672"/>
            </a:xfrm>
            <a:custGeom>
              <a:avLst/>
              <a:gdLst>
                <a:gd name="T0" fmla="*/ 0 w 5"/>
                <a:gd name="T1" fmla="*/ 0 h 36"/>
                <a:gd name="T2" fmla="*/ 1270 w 5"/>
                <a:gd name="T3" fmla="*/ 1411 h 36"/>
                <a:gd name="T4" fmla="*/ 0 w 5"/>
                <a:gd name="T5" fmla="*/ 12347 h 36"/>
                <a:gd name="T6" fmla="*/ 0 w 5"/>
                <a:gd name="T7" fmla="*/ 0 h 36"/>
                <a:gd name="T8" fmla="*/ 0 60000 65536"/>
                <a:gd name="T9" fmla="*/ 0 60000 65536"/>
                <a:gd name="T10" fmla="*/ 0 60000 65536"/>
                <a:gd name="T11" fmla="*/ 0 60000 65536"/>
                <a:gd name="T12" fmla="*/ 0 w 5"/>
                <a:gd name="T13" fmla="*/ 0 h 36"/>
                <a:gd name="T14" fmla="*/ 5 w 5"/>
                <a:gd name="T15" fmla="*/ 36 h 36"/>
              </a:gdLst>
              <a:ahLst/>
              <a:cxnLst>
                <a:cxn ang="T8">
                  <a:pos x="T0" y="T1"/>
                </a:cxn>
                <a:cxn ang="T9">
                  <a:pos x="T2" y="T3"/>
                </a:cxn>
                <a:cxn ang="T10">
                  <a:pos x="T4" y="T5"/>
                </a:cxn>
                <a:cxn ang="T11">
                  <a:pos x="T6" y="T7"/>
                </a:cxn>
              </a:cxnLst>
              <a:rect l="T12" t="T13" r="T14" b="T15"/>
              <a:pathLst>
                <a:path w="5" h="36">
                  <a:moveTo>
                    <a:pt x="0" y="0"/>
                  </a:moveTo>
                  <a:cubicBezTo>
                    <a:pt x="1" y="1"/>
                    <a:pt x="3" y="2"/>
                    <a:pt x="4" y="4"/>
                  </a:cubicBezTo>
                  <a:cubicBezTo>
                    <a:pt x="4" y="16"/>
                    <a:pt x="2" y="27"/>
                    <a:pt x="0" y="35"/>
                  </a:cubicBezTo>
                  <a:lnTo>
                    <a:pt x="0" y="0"/>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a:ea typeface="SimSun" charset="-122"/>
                <a:cs typeface="Arial"/>
              </a:endParaRPr>
            </a:p>
          </p:txBody>
        </p:sp>
      </p:grpSp>
      <p:sp>
        <p:nvSpPr>
          <p:cNvPr id="32" name="Text Box 28"/>
          <p:cNvSpPr txBox="1">
            <a:spLocks noChangeArrowheads="1"/>
          </p:cNvSpPr>
          <p:nvPr/>
        </p:nvSpPr>
        <p:spPr bwMode="auto">
          <a:xfrm>
            <a:off x="2814709" y="2123680"/>
            <a:ext cx="590938"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en-US" sz="1100" b="1" dirty="0">
                <a:solidFill>
                  <a:srgbClr val="C9314B"/>
                </a:solidFill>
                <a:latin typeface="Arial"/>
                <a:ea typeface="SimSun" charset="-122"/>
                <a:cs typeface="Arial"/>
              </a:rPr>
              <a:t>Hardlines</a:t>
            </a:r>
          </a:p>
        </p:txBody>
      </p:sp>
      <p:sp>
        <p:nvSpPr>
          <p:cNvPr id="33" name="Text Box 29"/>
          <p:cNvSpPr txBox="1">
            <a:spLocks noChangeArrowheads="1"/>
          </p:cNvSpPr>
          <p:nvPr/>
        </p:nvSpPr>
        <p:spPr bwMode="auto">
          <a:xfrm>
            <a:off x="4154170" y="2123680"/>
            <a:ext cx="535491"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en-US" sz="1100" b="1" dirty="0">
                <a:solidFill>
                  <a:srgbClr val="C9314B"/>
                </a:solidFill>
                <a:latin typeface="Arial"/>
                <a:ea typeface="SimSun" charset="-122"/>
                <a:cs typeface="Arial"/>
              </a:rPr>
              <a:t>Softlines</a:t>
            </a:r>
          </a:p>
        </p:txBody>
      </p:sp>
      <p:grpSp>
        <p:nvGrpSpPr>
          <p:cNvPr id="34" name="Group 128"/>
          <p:cNvGrpSpPr>
            <a:grpSpLocks/>
          </p:cNvGrpSpPr>
          <p:nvPr/>
        </p:nvGrpSpPr>
        <p:grpSpPr bwMode="auto">
          <a:xfrm>
            <a:off x="4062974" y="2367336"/>
            <a:ext cx="717880" cy="528167"/>
            <a:chOff x="2901950" y="3286125"/>
            <a:chExt cx="781050" cy="574675"/>
          </a:xfrm>
        </p:grpSpPr>
        <p:sp>
          <p:nvSpPr>
            <p:cNvPr id="35" name="Freeform 30"/>
            <p:cNvSpPr>
              <a:spLocks noChangeArrowheads="1"/>
            </p:cNvSpPr>
            <p:nvPr/>
          </p:nvSpPr>
          <p:spPr bwMode="auto">
            <a:xfrm>
              <a:off x="2901950" y="3286125"/>
              <a:ext cx="781050" cy="574675"/>
            </a:xfrm>
            <a:custGeom>
              <a:avLst/>
              <a:gdLst>
                <a:gd name="T0" fmla="*/ 776013 w 2171"/>
                <a:gd name="T1" fmla="*/ 107167 h 1598"/>
                <a:gd name="T2" fmla="*/ 780690 w 2171"/>
                <a:gd name="T3" fmla="*/ 122631 h 1598"/>
                <a:gd name="T4" fmla="*/ 728884 w 2171"/>
                <a:gd name="T5" fmla="*/ 242744 h 1598"/>
                <a:gd name="T6" fmla="*/ 715573 w 2171"/>
                <a:gd name="T7" fmla="*/ 248858 h 1598"/>
                <a:gd name="T8" fmla="*/ 599369 w 2171"/>
                <a:gd name="T9" fmla="*/ 191319 h 1598"/>
                <a:gd name="T10" fmla="*/ 600448 w 2171"/>
                <a:gd name="T11" fmla="*/ 561009 h 1598"/>
                <a:gd name="T12" fmla="*/ 589295 w 2171"/>
                <a:gd name="T13" fmla="*/ 572877 h 1598"/>
                <a:gd name="T14" fmla="*/ 193913 w 2171"/>
                <a:gd name="T15" fmla="*/ 574315 h 1598"/>
                <a:gd name="T16" fmla="*/ 182761 w 2171"/>
                <a:gd name="T17" fmla="*/ 562448 h 1598"/>
                <a:gd name="T18" fmla="*/ 181681 w 2171"/>
                <a:gd name="T19" fmla="*/ 192757 h 1598"/>
                <a:gd name="T20" fmla="*/ 65837 w 2171"/>
                <a:gd name="T21" fmla="*/ 251016 h 1598"/>
                <a:gd name="T22" fmla="*/ 52166 w 2171"/>
                <a:gd name="T23" fmla="*/ 244543 h 1598"/>
                <a:gd name="T24" fmla="*/ 0 w 2171"/>
                <a:gd name="T25" fmla="*/ 125148 h 1598"/>
                <a:gd name="T26" fmla="*/ 4317 w 2171"/>
                <a:gd name="T27" fmla="*/ 109685 h 1598"/>
                <a:gd name="T28" fmla="*/ 148223 w 2171"/>
                <a:gd name="T29" fmla="*/ 18341 h 1598"/>
                <a:gd name="T30" fmla="*/ 206505 w 2171"/>
                <a:gd name="T31" fmla="*/ 1079 h 1598"/>
                <a:gd name="T32" fmla="*/ 283495 w 2171"/>
                <a:gd name="T33" fmla="*/ 1079 h 1598"/>
                <a:gd name="T34" fmla="*/ 391424 w 2171"/>
                <a:gd name="T35" fmla="*/ 70486 h 1598"/>
                <a:gd name="T36" fmla="*/ 497195 w 2171"/>
                <a:gd name="T37" fmla="*/ 360 h 1598"/>
                <a:gd name="T38" fmla="*/ 573466 w 2171"/>
                <a:gd name="T39" fmla="*/ 0 h 1598"/>
                <a:gd name="T40" fmla="*/ 631747 w 2171"/>
                <a:gd name="T41" fmla="*/ 16902 h 1598"/>
                <a:gd name="T42" fmla="*/ 776013 w 2171"/>
                <a:gd name="T43" fmla="*/ 107167 h 15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71"/>
                <a:gd name="T67" fmla="*/ 0 h 1598"/>
                <a:gd name="T68" fmla="*/ 2171 w 2171"/>
                <a:gd name="T69" fmla="*/ 1598 h 15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71" h="1598">
                  <a:moveTo>
                    <a:pt x="2157" y="298"/>
                  </a:moveTo>
                  <a:lnTo>
                    <a:pt x="2170" y="341"/>
                  </a:lnTo>
                  <a:lnTo>
                    <a:pt x="2026" y="675"/>
                  </a:lnTo>
                  <a:lnTo>
                    <a:pt x="1989" y="692"/>
                  </a:lnTo>
                  <a:lnTo>
                    <a:pt x="1666" y="532"/>
                  </a:lnTo>
                  <a:lnTo>
                    <a:pt x="1669" y="1560"/>
                  </a:lnTo>
                  <a:cubicBezTo>
                    <a:pt x="1669" y="1578"/>
                    <a:pt x="1655" y="1593"/>
                    <a:pt x="1638" y="1593"/>
                  </a:cubicBezTo>
                  <a:lnTo>
                    <a:pt x="539" y="1597"/>
                  </a:lnTo>
                  <a:cubicBezTo>
                    <a:pt x="522" y="1597"/>
                    <a:pt x="509" y="1583"/>
                    <a:pt x="508" y="1564"/>
                  </a:cubicBezTo>
                  <a:lnTo>
                    <a:pt x="505" y="536"/>
                  </a:lnTo>
                  <a:lnTo>
                    <a:pt x="183" y="698"/>
                  </a:lnTo>
                  <a:lnTo>
                    <a:pt x="145" y="680"/>
                  </a:lnTo>
                  <a:lnTo>
                    <a:pt x="0" y="348"/>
                  </a:lnTo>
                  <a:lnTo>
                    <a:pt x="12" y="305"/>
                  </a:lnTo>
                  <a:lnTo>
                    <a:pt x="412" y="51"/>
                  </a:lnTo>
                  <a:cubicBezTo>
                    <a:pt x="461" y="20"/>
                    <a:pt x="517" y="3"/>
                    <a:pt x="574" y="3"/>
                  </a:cubicBezTo>
                  <a:lnTo>
                    <a:pt x="788" y="3"/>
                  </a:lnTo>
                  <a:cubicBezTo>
                    <a:pt x="846" y="99"/>
                    <a:pt x="943" y="192"/>
                    <a:pt x="1088" y="196"/>
                  </a:cubicBezTo>
                  <a:cubicBezTo>
                    <a:pt x="1236" y="199"/>
                    <a:pt x="1328" y="97"/>
                    <a:pt x="1382" y="1"/>
                  </a:cubicBezTo>
                  <a:lnTo>
                    <a:pt x="1594" y="0"/>
                  </a:lnTo>
                  <a:cubicBezTo>
                    <a:pt x="1651" y="0"/>
                    <a:pt x="1707" y="16"/>
                    <a:pt x="1756" y="47"/>
                  </a:cubicBezTo>
                  <a:lnTo>
                    <a:pt x="2157" y="298"/>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36" name="Freeform 31"/>
            <p:cNvSpPr>
              <a:spLocks noChangeArrowheads="1"/>
            </p:cNvSpPr>
            <p:nvPr/>
          </p:nvSpPr>
          <p:spPr bwMode="auto">
            <a:xfrm>
              <a:off x="3143250" y="3286125"/>
              <a:ext cx="296863" cy="112713"/>
            </a:xfrm>
            <a:custGeom>
              <a:avLst/>
              <a:gdLst>
                <a:gd name="T0" fmla="*/ 41431 w 824"/>
                <a:gd name="T1" fmla="*/ 720 h 313"/>
                <a:gd name="T2" fmla="*/ 149152 w 824"/>
                <a:gd name="T3" fmla="*/ 70221 h 313"/>
                <a:gd name="T4" fmla="*/ 255432 w 824"/>
                <a:gd name="T5" fmla="*/ 0 h 313"/>
                <a:gd name="T6" fmla="*/ 296503 w 824"/>
                <a:gd name="T7" fmla="*/ 0 h 313"/>
                <a:gd name="T8" fmla="*/ 152755 w 824"/>
                <a:gd name="T9" fmla="*/ 112353 h 313"/>
                <a:gd name="T10" fmla="*/ 149512 w 824"/>
                <a:gd name="T11" fmla="*/ 112353 h 313"/>
                <a:gd name="T12" fmla="*/ 0 w 824"/>
                <a:gd name="T13" fmla="*/ 720 h 313"/>
                <a:gd name="T14" fmla="*/ 41431 w 824"/>
                <a:gd name="T15" fmla="*/ 720 h 313"/>
                <a:gd name="T16" fmla="*/ 0 60000 65536"/>
                <a:gd name="T17" fmla="*/ 0 60000 65536"/>
                <a:gd name="T18" fmla="*/ 0 60000 65536"/>
                <a:gd name="T19" fmla="*/ 0 60000 65536"/>
                <a:gd name="T20" fmla="*/ 0 60000 65536"/>
                <a:gd name="T21" fmla="*/ 0 60000 65536"/>
                <a:gd name="T22" fmla="*/ 0 60000 65536"/>
                <a:gd name="T23" fmla="*/ 0 60000 65536"/>
                <a:gd name="T24" fmla="*/ 0 w 824"/>
                <a:gd name="T25" fmla="*/ 0 h 313"/>
                <a:gd name="T26" fmla="*/ 824 w 824"/>
                <a:gd name="T27" fmla="*/ 313 h 3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4" h="313">
                  <a:moveTo>
                    <a:pt x="115" y="2"/>
                  </a:moveTo>
                  <a:cubicBezTo>
                    <a:pt x="173" y="98"/>
                    <a:pt x="269" y="192"/>
                    <a:pt x="414" y="195"/>
                  </a:cubicBezTo>
                  <a:cubicBezTo>
                    <a:pt x="562" y="199"/>
                    <a:pt x="654" y="96"/>
                    <a:pt x="709" y="0"/>
                  </a:cubicBezTo>
                  <a:lnTo>
                    <a:pt x="823" y="0"/>
                  </a:lnTo>
                  <a:cubicBezTo>
                    <a:pt x="726" y="205"/>
                    <a:pt x="588" y="312"/>
                    <a:pt x="424" y="312"/>
                  </a:cubicBezTo>
                  <a:lnTo>
                    <a:pt x="415" y="312"/>
                  </a:lnTo>
                  <a:cubicBezTo>
                    <a:pt x="191" y="306"/>
                    <a:pt x="63" y="127"/>
                    <a:pt x="0" y="2"/>
                  </a:cubicBezTo>
                  <a:lnTo>
                    <a:pt x="115" y="2"/>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grpSp>
      <p:grpSp>
        <p:nvGrpSpPr>
          <p:cNvPr id="37" name="Group 34"/>
          <p:cNvGrpSpPr/>
          <p:nvPr/>
        </p:nvGrpSpPr>
        <p:grpSpPr>
          <a:xfrm>
            <a:off x="2639616" y="3060818"/>
            <a:ext cx="941124" cy="973170"/>
            <a:chOff x="1175931" y="3702459"/>
            <a:chExt cx="941124" cy="973170"/>
          </a:xfrm>
        </p:grpSpPr>
        <p:sp>
          <p:nvSpPr>
            <p:cNvPr id="38" name="Text Box 32"/>
            <p:cNvSpPr txBox="1">
              <a:spLocks noChangeArrowheads="1"/>
            </p:cNvSpPr>
            <p:nvPr/>
          </p:nvSpPr>
          <p:spPr bwMode="auto">
            <a:xfrm>
              <a:off x="1175931" y="4367773"/>
              <a:ext cx="941124" cy="307856"/>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tabLst>
                  <a:tab pos="723900" algn="l"/>
                </a:tabLst>
              </a:pPr>
              <a:r>
                <a:rPr lang="en-US" sz="1100" b="1" dirty="0">
                  <a:solidFill>
                    <a:srgbClr val="C9314B"/>
                  </a:solidFill>
                  <a:latin typeface="Arial"/>
                  <a:ea typeface="SimSun" charset="-122"/>
                  <a:cs typeface="Arial"/>
                </a:rPr>
                <a:t>Toys &amp; Juvenile</a:t>
              </a:r>
            </a:p>
            <a:p>
              <a:pPr algn="ctr" hangingPunct="0">
                <a:lnSpc>
                  <a:spcPct val="93000"/>
                </a:lnSpc>
                <a:buClr>
                  <a:srgbClr val="000000"/>
                </a:buClr>
                <a:buSzPct val="100000"/>
                <a:tabLst>
                  <a:tab pos="723900" algn="l"/>
                </a:tabLst>
              </a:pPr>
              <a:r>
                <a:rPr lang="en-US" sz="1100" b="1" dirty="0">
                  <a:solidFill>
                    <a:srgbClr val="C9314B"/>
                  </a:solidFill>
                  <a:latin typeface="Arial"/>
                  <a:ea typeface="SimSun" charset="-122"/>
                  <a:cs typeface="Arial"/>
                </a:rPr>
                <a:t>Products </a:t>
              </a:r>
            </a:p>
          </p:txBody>
        </p:sp>
        <p:grpSp>
          <p:nvGrpSpPr>
            <p:cNvPr id="39" name="Group 129"/>
            <p:cNvGrpSpPr>
              <a:grpSpLocks/>
            </p:cNvGrpSpPr>
            <p:nvPr/>
          </p:nvGrpSpPr>
          <p:grpSpPr bwMode="auto">
            <a:xfrm>
              <a:off x="1211680" y="3702459"/>
              <a:ext cx="869627" cy="551511"/>
              <a:chOff x="1419225" y="4121150"/>
              <a:chExt cx="946150" cy="600075"/>
            </a:xfrm>
          </p:grpSpPr>
          <p:sp>
            <p:nvSpPr>
              <p:cNvPr id="40" name="Freeform 35"/>
              <p:cNvSpPr>
                <a:spLocks noChangeArrowheads="1"/>
              </p:cNvSpPr>
              <p:nvPr/>
            </p:nvSpPr>
            <p:spPr bwMode="auto">
              <a:xfrm>
                <a:off x="1765300" y="4121150"/>
                <a:ext cx="273050" cy="271463"/>
              </a:xfrm>
              <a:custGeom>
                <a:avLst/>
                <a:gdLst>
                  <a:gd name="T0" fmla="*/ 192975 w 757"/>
                  <a:gd name="T1" fmla="*/ 213292 h 756"/>
                  <a:gd name="T2" fmla="*/ 211731 w 757"/>
                  <a:gd name="T3" fmla="*/ 234478 h 756"/>
                  <a:gd name="T4" fmla="*/ 48695 w 757"/>
                  <a:gd name="T5" fmla="*/ 223347 h 756"/>
                  <a:gd name="T6" fmla="*/ 48695 w 757"/>
                  <a:gd name="T7" fmla="*/ 48476 h 756"/>
                  <a:gd name="T8" fmla="*/ 224716 w 757"/>
                  <a:gd name="T9" fmla="*/ 48476 h 756"/>
                  <a:gd name="T10" fmla="*/ 235537 w 757"/>
                  <a:gd name="T11" fmla="*/ 210420 h 756"/>
                  <a:gd name="T12" fmla="*/ 214617 w 757"/>
                  <a:gd name="T13" fmla="*/ 192107 h 756"/>
                  <a:gd name="T14" fmla="*/ 204878 w 757"/>
                  <a:gd name="T15" fmla="*/ 68225 h 756"/>
                  <a:gd name="T16" fmla="*/ 68533 w 757"/>
                  <a:gd name="T17" fmla="*/ 67866 h 756"/>
                  <a:gd name="T18" fmla="*/ 68533 w 757"/>
                  <a:gd name="T19" fmla="*/ 203597 h 756"/>
                  <a:gd name="T20" fmla="*/ 192975 w 757"/>
                  <a:gd name="T21" fmla="*/ 213292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535" y="594"/>
                    </a:moveTo>
                    <a:cubicBezTo>
                      <a:pt x="554" y="613"/>
                      <a:pt x="571" y="633"/>
                      <a:pt x="587" y="653"/>
                    </a:cubicBezTo>
                    <a:cubicBezTo>
                      <a:pt x="452" y="755"/>
                      <a:pt x="258" y="745"/>
                      <a:pt x="135" y="622"/>
                    </a:cubicBezTo>
                    <a:cubicBezTo>
                      <a:pt x="0" y="488"/>
                      <a:pt x="0" y="269"/>
                      <a:pt x="135" y="135"/>
                    </a:cubicBezTo>
                    <a:cubicBezTo>
                      <a:pt x="269" y="0"/>
                      <a:pt x="488" y="0"/>
                      <a:pt x="623" y="135"/>
                    </a:cubicBezTo>
                    <a:cubicBezTo>
                      <a:pt x="746" y="258"/>
                      <a:pt x="756" y="451"/>
                      <a:pt x="653" y="586"/>
                    </a:cubicBezTo>
                    <a:cubicBezTo>
                      <a:pt x="633" y="571"/>
                      <a:pt x="613" y="554"/>
                      <a:pt x="595" y="535"/>
                    </a:cubicBezTo>
                    <a:cubicBezTo>
                      <a:pt x="671" y="431"/>
                      <a:pt x="662" y="284"/>
                      <a:pt x="568" y="190"/>
                    </a:cubicBezTo>
                    <a:cubicBezTo>
                      <a:pt x="463" y="85"/>
                      <a:pt x="294" y="85"/>
                      <a:pt x="190" y="189"/>
                    </a:cubicBezTo>
                    <a:cubicBezTo>
                      <a:pt x="86" y="294"/>
                      <a:pt x="85" y="463"/>
                      <a:pt x="190" y="567"/>
                    </a:cubicBezTo>
                    <a:cubicBezTo>
                      <a:pt x="284" y="661"/>
                      <a:pt x="431" y="670"/>
                      <a:pt x="535" y="594"/>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1" name="Freeform 39"/>
              <p:cNvSpPr>
                <a:spLocks noChangeArrowheads="1"/>
              </p:cNvSpPr>
              <p:nvPr/>
            </p:nvSpPr>
            <p:spPr bwMode="auto">
              <a:xfrm>
                <a:off x="2092325" y="4121150"/>
                <a:ext cx="273050" cy="271463"/>
              </a:xfrm>
              <a:custGeom>
                <a:avLst/>
                <a:gdLst>
                  <a:gd name="T0" fmla="*/ 58073 w 757"/>
                  <a:gd name="T1" fmla="*/ 192107 h 756"/>
                  <a:gd name="T2" fmla="*/ 37152 w 757"/>
                  <a:gd name="T3" fmla="*/ 210420 h 756"/>
                  <a:gd name="T4" fmla="*/ 48334 w 757"/>
                  <a:gd name="T5" fmla="*/ 48476 h 756"/>
                  <a:gd name="T6" fmla="*/ 223995 w 757"/>
                  <a:gd name="T7" fmla="*/ 48476 h 756"/>
                  <a:gd name="T8" fmla="*/ 223995 w 757"/>
                  <a:gd name="T9" fmla="*/ 223347 h 756"/>
                  <a:gd name="T10" fmla="*/ 60958 w 757"/>
                  <a:gd name="T11" fmla="*/ 234478 h 756"/>
                  <a:gd name="T12" fmla="*/ 79715 w 757"/>
                  <a:gd name="T13" fmla="*/ 213292 h 756"/>
                  <a:gd name="T14" fmla="*/ 204517 w 757"/>
                  <a:gd name="T15" fmla="*/ 203597 h 756"/>
                  <a:gd name="T16" fmla="*/ 204156 w 757"/>
                  <a:gd name="T17" fmla="*/ 68225 h 756"/>
                  <a:gd name="T18" fmla="*/ 68172 w 757"/>
                  <a:gd name="T19" fmla="*/ 67866 h 756"/>
                  <a:gd name="T20" fmla="*/ 58073 w 757"/>
                  <a:gd name="T21" fmla="*/ 192107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161" y="535"/>
                    </a:moveTo>
                    <a:cubicBezTo>
                      <a:pt x="143" y="554"/>
                      <a:pt x="123" y="571"/>
                      <a:pt x="103" y="586"/>
                    </a:cubicBezTo>
                    <a:cubicBezTo>
                      <a:pt x="0" y="451"/>
                      <a:pt x="10" y="258"/>
                      <a:pt x="134" y="135"/>
                    </a:cubicBezTo>
                    <a:cubicBezTo>
                      <a:pt x="268" y="0"/>
                      <a:pt x="487" y="0"/>
                      <a:pt x="621" y="135"/>
                    </a:cubicBezTo>
                    <a:cubicBezTo>
                      <a:pt x="756" y="269"/>
                      <a:pt x="756" y="488"/>
                      <a:pt x="621" y="622"/>
                    </a:cubicBezTo>
                    <a:cubicBezTo>
                      <a:pt x="498" y="745"/>
                      <a:pt x="305" y="755"/>
                      <a:pt x="169" y="653"/>
                    </a:cubicBezTo>
                    <a:cubicBezTo>
                      <a:pt x="185" y="633"/>
                      <a:pt x="202" y="613"/>
                      <a:pt x="221" y="594"/>
                    </a:cubicBezTo>
                    <a:cubicBezTo>
                      <a:pt x="325" y="670"/>
                      <a:pt x="472" y="661"/>
                      <a:pt x="567" y="567"/>
                    </a:cubicBezTo>
                    <a:cubicBezTo>
                      <a:pt x="671" y="463"/>
                      <a:pt x="671" y="294"/>
                      <a:pt x="566" y="190"/>
                    </a:cubicBezTo>
                    <a:cubicBezTo>
                      <a:pt x="462" y="85"/>
                      <a:pt x="293" y="85"/>
                      <a:pt x="189" y="189"/>
                    </a:cubicBezTo>
                    <a:cubicBezTo>
                      <a:pt x="94" y="284"/>
                      <a:pt x="86" y="431"/>
                      <a:pt x="161" y="535"/>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2" name="Freeform 34"/>
              <p:cNvSpPr>
                <a:spLocks noChangeArrowheads="1"/>
              </p:cNvSpPr>
              <p:nvPr/>
            </p:nvSpPr>
            <p:spPr bwMode="auto">
              <a:xfrm>
                <a:off x="1976438" y="4332288"/>
                <a:ext cx="177800" cy="177800"/>
              </a:xfrm>
              <a:custGeom>
                <a:avLst/>
                <a:gdLst>
                  <a:gd name="T0" fmla="*/ 177440 w 494"/>
                  <a:gd name="T1" fmla="*/ 153375 h 495"/>
                  <a:gd name="T2" fmla="*/ 164843 w 494"/>
                  <a:gd name="T3" fmla="*/ 164510 h 495"/>
                  <a:gd name="T4" fmla="*/ 153685 w 494"/>
                  <a:gd name="T5" fmla="*/ 177441 h 495"/>
                  <a:gd name="T6" fmla="*/ 88900 w 494"/>
                  <a:gd name="T7" fmla="*/ 152657 h 495"/>
                  <a:gd name="T8" fmla="*/ 23755 w 494"/>
                  <a:gd name="T9" fmla="*/ 177441 h 495"/>
                  <a:gd name="T10" fmla="*/ 12957 w 494"/>
                  <a:gd name="T11" fmla="*/ 164510 h 495"/>
                  <a:gd name="T12" fmla="*/ 0 w 494"/>
                  <a:gd name="T13" fmla="*/ 153375 h 495"/>
                  <a:gd name="T14" fmla="*/ 24474 w 494"/>
                  <a:gd name="T15" fmla="*/ 88720 h 495"/>
                  <a:gd name="T16" fmla="*/ 0 w 494"/>
                  <a:gd name="T17" fmla="*/ 24066 h 495"/>
                  <a:gd name="T18" fmla="*/ 12957 w 494"/>
                  <a:gd name="T19" fmla="*/ 12931 h 495"/>
                  <a:gd name="T20" fmla="*/ 23755 w 494"/>
                  <a:gd name="T21" fmla="*/ 0 h 495"/>
                  <a:gd name="T22" fmla="*/ 88900 w 494"/>
                  <a:gd name="T23" fmla="*/ 24784 h 495"/>
                  <a:gd name="T24" fmla="*/ 153685 w 494"/>
                  <a:gd name="T25" fmla="*/ 0 h 495"/>
                  <a:gd name="T26" fmla="*/ 164843 w 494"/>
                  <a:gd name="T27" fmla="*/ 12931 h 495"/>
                  <a:gd name="T28" fmla="*/ 177440 w 494"/>
                  <a:gd name="T29" fmla="*/ 24066 h 495"/>
                  <a:gd name="T30" fmla="*/ 152966 w 494"/>
                  <a:gd name="T31" fmla="*/ 88720 h 495"/>
                  <a:gd name="T32" fmla="*/ 177440 w 494"/>
                  <a:gd name="T33" fmla="*/ 153375 h 495"/>
                  <a:gd name="T34" fmla="*/ 88900 w 494"/>
                  <a:gd name="T35" fmla="*/ 119611 h 495"/>
                  <a:gd name="T36" fmla="*/ 122372 w 494"/>
                  <a:gd name="T37" fmla="*/ 86206 h 495"/>
                  <a:gd name="T38" fmla="*/ 88900 w 494"/>
                  <a:gd name="T39" fmla="*/ 52801 h 495"/>
                  <a:gd name="T40" fmla="*/ 55068 w 494"/>
                  <a:gd name="T41" fmla="*/ 86206 h 495"/>
                  <a:gd name="T42" fmla="*/ 88900 w 494"/>
                  <a:gd name="T43" fmla="*/ 119611 h 4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4"/>
                  <a:gd name="T67" fmla="*/ 0 h 495"/>
                  <a:gd name="T68" fmla="*/ 494 w 494"/>
                  <a:gd name="T69" fmla="*/ 495 h 49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4" h="495">
                    <a:moveTo>
                      <a:pt x="493" y="427"/>
                    </a:moveTo>
                    <a:cubicBezTo>
                      <a:pt x="481" y="436"/>
                      <a:pt x="469" y="447"/>
                      <a:pt x="458" y="458"/>
                    </a:cubicBezTo>
                    <a:cubicBezTo>
                      <a:pt x="446" y="469"/>
                      <a:pt x="436" y="481"/>
                      <a:pt x="427" y="494"/>
                    </a:cubicBezTo>
                    <a:cubicBezTo>
                      <a:pt x="372" y="452"/>
                      <a:pt x="311" y="425"/>
                      <a:pt x="247" y="425"/>
                    </a:cubicBezTo>
                    <a:cubicBezTo>
                      <a:pt x="183" y="425"/>
                      <a:pt x="122" y="452"/>
                      <a:pt x="66" y="494"/>
                    </a:cubicBezTo>
                    <a:cubicBezTo>
                      <a:pt x="57" y="481"/>
                      <a:pt x="47" y="469"/>
                      <a:pt x="36" y="458"/>
                    </a:cubicBezTo>
                    <a:cubicBezTo>
                      <a:pt x="24" y="447"/>
                      <a:pt x="12" y="437"/>
                      <a:pt x="0" y="427"/>
                    </a:cubicBezTo>
                    <a:cubicBezTo>
                      <a:pt x="41" y="372"/>
                      <a:pt x="68" y="311"/>
                      <a:pt x="68" y="247"/>
                    </a:cubicBezTo>
                    <a:cubicBezTo>
                      <a:pt x="68" y="183"/>
                      <a:pt x="41" y="122"/>
                      <a:pt x="0" y="67"/>
                    </a:cubicBezTo>
                    <a:cubicBezTo>
                      <a:pt x="12" y="58"/>
                      <a:pt x="24" y="48"/>
                      <a:pt x="36" y="36"/>
                    </a:cubicBezTo>
                    <a:cubicBezTo>
                      <a:pt x="47" y="25"/>
                      <a:pt x="57" y="13"/>
                      <a:pt x="66" y="0"/>
                    </a:cubicBezTo>
                    <a:cubicBezTo>
                      <a:pt x="122" y="42"/>
                      <a:pt x="183" y="69"/>
                      <a:pt x="247" y="69"/>
                    </a:cubicBezTo>
                    <a:cubicBezTo>
                      <a:pt x="311" y="69"/>
                      <a:pt x="371" y="42"/>
                      <a:pt x="427" y="0"/>
                    </a:cubicBezTo>
                    <a:cubicBezTo>
                      <a:pt x="436" y="13"/>
                      <a:pt x="446" y="25"/>
                      <a:pt x="458" y="36"/>
                    </a:cubicBezTo>
                    <a:cubicBezTo>
                      <a:pt x="469" y="48"/>
                      <a:pt x="481" y="58"/>
                      <a:pt x="493" y="67"/>
                    </a:cubicBezTo>
                    <a:cubicBezTo>
                      <a:pt x="452" y="122"/>
                      <a:pt x="425" y="183"/>
                      <a:pt x="425" y="247"/>
                    </a:cubicBezTo>
                    <a:cubicBezTo>
                      <a:pt x="425" y="311"/>
                      <a:pt x="452" y="372"/>
                      <a:pt x="493" y="427"/>
                    </a:cubicBezTo>
                    <a:close/>
                    <a:moveTo>
                      <a:pt x="247" y="333"/>
                    </a:moveTo>
                    <a:cubicBezTo>
                      <a:pt x="298" y="333"/>
                      <a:pt x="340" y="292"/>
                      <a:pt x="340" y="240"/>
                    </a:cubicBezTo>
                    <a:cubicBezTo>
                      <a:pt x="340" y="189"/>
                      <a:pt x="298" y="147"/>
                      <a:pt x="247" y="147"/>
                    </a:cubicBezTo>
                    <a:cubicBezTo>
                      <a:pt x="195" y="147"/>
                      <a:pt x="153" y="189"/>
                      <a:pt x="153" y="240"/>
                    </a:cubicBezTo>
                    <a:cubicBezTo>
                      <a:pt x="153" y="292"/>
                      <a:pt x="195" y="333"/>
                      <a:pt x="247" y="333"/>
                    </a:cubicBezTo>
                    <a:close/>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3" name="Freeform 36"/>
              <p:cNvSpPr>
                <a:spLocks noChangeArrowheads="1"/>
              </p:cNvSpPr>
              <p:nvPr/>
            </p:nvSpPr>
            <p:spPr bwMode="auto">
              <a:xfrm>
                <a:off x="1957388" y="4314825"/>
                <a:ext cx="42862" cy="42863"/>
              </a:xfrm>
              <a:custGeom>
                <a:avLst/>
                <a:gdLst>
                  <a:gd name="T0" fmla="*/ 42502 w 119"/>
                  <a:gd name="T1" fmla="*/ 18370 h 119"/>
                  <a:gd name="T2" fmla="*/ 31696 w 119"/>
                  <a:gd name="T3" fmla="*/ 31337 h 119"/>
                  <a:gd name="T4" fmla="*/ 18730 w 119"/>
                  <a:gd name="T5" fmla="*/ 42503 h 119"/>
                  <a:gd name="T6" fmla="*/ 0 w 119"/>
                  <a:gd name="T7" fmla="*/ 21251 h 119"/>
                  <a:gd name="T8" fmla="*/ 11886 w 119"/>
                  <a:gd name="T9" fmla="*/ 11526 h 119"/>
                  <a:gd name="T10" fmla="*/ 21611 w 119"/>
                  <a:gd name="T11" fmla="*/ 0 h 119"/>
                  <a:gd name="T12" fmla="*/ 42502 w 119"/>
                  <a:gd name="T13" fmla="*/ 18370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118" y="51"/>
                    </a:moveTo>
                    <a:cubicBezTo>
                      <a:pt x="109" y="64"/>
                      <a:pt x="99" y="76"/>
                      <a:pt x="88" y="87"/>
                    </a:cubicBezTo>
                    <a:cubicBezTo>
                      <a:pt x="76" y="99"/>
                      <a:pt x="64" y="109"/>
                      <a:pt x="52" y="118"/>
                    </a:cubicBezTo>
                    <a:cubicBezTo>
                      <a:pt x="36" y="98"/>
                      <a:pt x="19" y="78"/>
                      <a:pt x="0" y="59"/>
                    </a:cubicBezTo>
                    <a:cubicBezTo>
                      <a:pt x="12" y="51"/>
                      <a:pt x="23" y="42"/>
                      <a:pt x="33" y="32"/>
                    </a:cubicBezTo>
                    <a:cubicBezTo>
                      <a:pt x="43" y="22"/>
                      <a:pt x="52" y="11"/>
                      <a:pt x="60" y="0"/>
                    </a:cubicBezTo>
                    <a:cubicBezTo>
                      <a:pt x="78" y="19"/>
                      <a:pt x="98" y="36"/>
                      <a:pt x="118" y="51"/>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4" name="Freeform 37"/>
              <p:cNvSpPr>
                <a:spLocks noChangeArrowheads="1"/>
              </p:cNvSpPr>
              <p:nvPr/>
            </p:nvSpPr>
            <p:spPr bwMode="auto">
              <a:xfrm>
                <a:off x="2092325" y="4449763"/>
                <a:ext cx="273050" cy="271462"/>
              </a:xfrm>
              <a:custGeom>
                <a:avLst/>
                <a:gdLst>
                  <a:gd name="T0" fmla="*/ 223995 w 757"/>
                  <a:gd name="T1" fmla="*/ 47757 h 756"/>
                  <a:gd name="T2" fmla="*/ 223995 w 757"/>
                  <a:gd name="T3" fmla="*/ 222628 h 756"/>
                  <a:gd name="T4" fmla="*/ 48334 w 757"/>
                  <a:gd name="T5" fmla="*/ 222628 h 756"/>
                  <a:gd name="T6" fmla="*/ 37152 w 757"/>
                  <a:gd name="T7" fmla="*/ 60684 h 756"/>
                  <a:gd name="T8" fmla="*/ 58073 w 757"/>
                  <a:gd name="T9" fmla="*/ 78997 h 756"/>
                  <a:gd name="T10" fmla="*/ 68172 w 757"/>
                  <a:gd name="T11" fmla="*/ 202878 h 756"/>
                  <a:gd name="T12" fmla="*/ 204156 w 757"/>
                  <a:gd name="T13" fmla="*/ 203237 h 756"/>
                  <a:gd name="T14" fmla="*/ 204156 w 757"/>
                  <a:gd name="T15" fmla="*/ 67506 h 756"/>
                  <a:gd name="T16" fmla="*/ 79715 w 757"/>
                  <a:gd name="T17" fmla="*/ 57811 h 756"/>
                  <a:gd name="T18" fmla="*/ 60958 w 757"/>
                  <a:gd name="T19" fmla="*/ 36626 h 756"/>
                  <a:gd name="T20" fmla="*/ 223995 w 757"/>
                  <a:gd name="T21" fmla="*/ 47757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621" y="133"/>
                    </a:moveTo>
                    <a:cubicBezTo>
                      <a:pt x="756" y="267"/>
                      <a:pt x="756" y="486"/>
                      <a:pt x="621" y="620"/>
                    </a:cubicBezTo>
                    <a:cubicBezTo>
                      <a:pt x="487" y="755"/>
                      <a:pt x="268" y="755"/>
                      <a:pt x="134" y="620"/>
                    </a:cubicBezTo>
                    <a:cubicBezTo>
                      <a:pt x="10" y="497"/>
                      <a:pt x="0" y="304"/>
                      <a:pt x="103" y="169"/>
                    </a:cubicBezTo>
                    <a:cubicBezTo>
                      <a:pt x="123" y="184"/>
                      <a:pt x="143" y="201"/>
                      <a:pt x="161" y="220"/>
                    </a:cubicBezTo>
                    <a:cubicBezTo>
                      <a:pt x="86" y="324"/>
                      <a:pt x="94" y="472"/>
                      <a:pt x="189" y="565"/>
                    </a:cubicBezTo>
                    <a:cubicBezTo>
                      <a:pt x="293" y="670"/>
                      <a:pt x="462" y="670"/>
                      <a:pt x="566" y="566"/>
                    </a:cubicBezTo>
                    <a:cubicBezTo>
                      <a:pt x="671" y="461"/>
                      <a:pt x="671" y="292"/>
                      <a:pt x="566" y="188"/>
                    </a:cubicBezTo>
                    <a:cubicBezTo>
                      <a:pt x="472" y="94"/>
                      <a:pt x="325" y="85"/>
                      <a:pt x="221" y="161"/>
                    </a:cubicBezTo>
                    <a:cubicBezTo>
                      <a:pt x="202" y="142"/>
                      <a:pt x="185" y="122"/>
                      <a:pt x="169" y="102"/>
                    </a:cubicBezTo>
                    <a:cubicBezTo>
                      <a:pt x="305" y="0"/>
                      <a:pt x="498" y="10"/>
                      <a:pt x="621" y="133"/>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5" name="Freeform 38"/>
              <p:cNvSpPr>
                <a:spLocks noChangeArrowheads="1"/>
              </p:cNvSpPr>
              <p:nvPr/>
            </p:nvSpPr>
            <p:spPr bwMode="auto">
              <a:xfrm>
                <a:off x="2130425" y="4486275"/>
                <a:ext cx="42863" cy="42863"/>
              </a:xfrm>
              <a:custGeom>
                <a:avLst/>
                <a:gdLst>
                  <a:gd name="T0" fmla="*/ 20891 w 119"/>
                  <a:gd name="T1" fmla="*/ 42503 h 119"/>
                  <a:gd name="T2" fmla="*/ 0 w 119"/>
                  <a:gd name="T3" fmla="*/ 24133 h 119"/>
                  <a:gd name="T4" fmla="*/ 11166 w 119"/>
                  <a:gd name="T5" fmla="*/ 11166 h 119"/>
                  <a:gd name="T6" fmla="*/ 23773 w 119"/>
                  <a:gd name="T7" fmla="*/ 0 h 119"/>
                  <a:gd name="T8" fmla="*/ 42503 w 119"/>
                  <a:gd name="T9" fmla="*/ 21251 h 119"/>
                  <a:gd name="T10" fmla="*/ 30977 w 119"/>
                  <a:gd name="T11" fmla="*/ 30977 h 119"/>
                  <a:gd name="T12" fmla="*/ 20891 w 119"/>
                  <a:gd name="T13" fmla="*/ 42503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58" y="118"/>
                    </a:moveTo>
                    <a:cubicBezTo>
                      <a:pt x="40" y="99"/>
                      <a:pt x="20" y="82"/>
                      <a:pt x="0" y="67"/>
                    </a:cubicBezTo>
                    <a:cubicBezTo>
                      <a:pt x="9" y="54"/>
                      <a:pt x="19" y="42"/>
                      <a:pt x="31" y="31"/>
                    </a:cubicBezTo>
                    <a:cubicBezTo>
                      <a:pt x="42" y="20"/>
                      <a:pt x="54" y="9"/>
                      <a:pt x="66" y="0"/>
                    </a:cubicBezTo>
                    <a:cubicBezTo>
                      <a:pt x="82" y="20"/>
                      <a:pt x="99" y="40"/>
                      <a:pt x="118" y="59"/>
                    </a:cubicBezTo>
                    <a:cubicBezTo>
                      <a:pt x="107" y="67"/>
                      <a:pt x="96" y="76"/>
                      <a:pt x="86" y="86"/>
                    </a:cubicBezTo>
                    <a:cubicBezTo>
                      <a:pt x="75" y="96"/>
                      <a:pt x="67" y="107"/>
                      <a:pt x="58" y="11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6" name="Freeform 40"/>
              <p:cNvSpPr>
                <a:spLocks noChangeArrowheads="1"/>
              </p:cNvSpPr>
              <p:nvPr/>
            </p:nvSpPr>
            <p:spPr bwMode="auto">
              <a:xfrm>
                <a:off x="2130425" y="4314825"/>
                <a:ext cx="42863" cy="42863"/>
              </a:xfrm>
              <a:custGeom>
                <a:avLst/>
                <a:gdLst>
                  <a:gd name="T0" fmla="*/ 23773 w 119"/>
                  <a:gd name="T1" fmla="*/ 42503 h 119"/>
                  <a:gd name="T2" fmla="*/ 11166 w 119"/>
                  <a:gd name="T3" fmla="*/ 31337 h 119"/>
                  <a:gd name="T4" fmla="*/ 0 w 119"/>
                  <a:gd name="T5" fmla="*/ 18370 h 119"/>
                  <a:gd name="T6" fmla="*/ 20891 w 119"/>
                  <a:gd name="T7" fmla="*/ 0 h 119"/>
                  <a:gd name="T8" fmla="*/ 30977 w 119"/>
                  <a:gd name="T9" fmla="*/ 11526 h 119"/>
                  <a:gd name="T10" fmla="*/ 42503 w 119"/>
                  <a:gd name="T11" fmla="*/ 21251 h 119"/>
                  <a:gd name="T12" fmla="*/ 23773 w 119"/>
                  <a:gd name="T13" fmla="*/ 42503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66" y="118"/>
                    </a:moveTo>
                    <a:cubicBezTo>
                      <a:pt x="54" y="109"/>
                      <a:pt x="42" y="99"/>
                      <a:pt x="31" y="87"/>
                    </a:cubicBezTo>
                    <a:cubicBezTo>
                      <a:pt x="19" y="76"/>
                      <a:pt x="9" y="64"/>
                      <a:pt x="0" y="51"/>
                    </a:cubicBezTo>
                    <a:cubicBezTo>
                      <a:pt x="20" y="36"/>
                      <a:pt x="40" y="19"/>
                      <a:pt x="58" y="0"/>
                    </a:cubicBezTo>
                    <a:cubicBezTo>
                      <a:pt x="67" y="11"/>
                      <a:pt x="75" y="22"/>
                      <a:pt x="86" y="32"/>
                    </a:cubicBezTo>
                    <a:cubicBezTo>
                      <a:pt x="96" y="42"/>
                      <a:pt x="106" y="51"/>
                      <a:pt x="118" y="59"/>
                    </a:cubicBezTo>
                    <a:cubicBezTo>
                      <a:pt x="99" y="78"/>
                      <a:pt x="82" y="98"/>
                      <a:pt x="66" y="11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7" name="Freeform 41"/>
              <p:cNvSpPr>
                <a:spLocks noChangeArrowheads="1"/>
              </p:cNvSpPr>
              <p:nvPr/>
            </p:nvSpPr>
            <p:spPr bwMode="auto">
              <a:xfrm>
                <a:off x="1765300" y="4449763"/>
                <a:ext cx="273050" cy="271462"/>
              </a:xfrm>
              <a:custGeom>
                <a:avLst/>
                <a:gdLst>
                  <a:gd name="T0" fmla="*/ 214617 w 757"/>
                  <a:gd name="T1" fmla="*/ 78997 h 756"/>
                  <a:gd name="T2" fmla="*/ 235537 w 757"/>
                  <a:gd name="T3" fmla="*/ 60684 h 756"/>
                  <a:gd name="T4" fmla="*/ 224716 w 757"/>
                  <a:gd name="T5" fmla="*/ 222628 h 756"/>
                  <a:gd name="T6" fmla="*/ 48695 w 757"/>
                  <a:gd name="T7" fmla="*/ 222628 h 756"/>
                  <a:gd name="T8" fmla="*/ 48695 w 757"/>
                  <a:gd name="T9" fmla="*/ 47757 h 756"/>
                  <a:gd name="T10" fmla="*/ 211731 w 757"/>
                  <a:gd name="T11" fmla="*/ 36626 h 756"/>
                  <a:gd name="T12" fmla="*/ 192975 w 757"/>
                  <a:gd name="T13" fmla="*/ 57811 h 756"/>
                  <a:gd name="T14" fmla="*/ 68533 w 757"/>
                  <a:gd name="T15" fmla="*/ 67506 h 756"/>
                  <a:gd name="T16" fmla="*/ 68533 w 757"/>
                  <a:gd name="T17" fmla="*/ 202878 h 756"/>
                  <a:gd name="T18" fmla="*/ 204878 w 757"/>
                  <a:gd name="T19" fmla="*/ 202878 h 756"/>
                  <a:gd name="T20" fmla="*/ 214617 w 757"/>
                  <a:gd name="T21" fmla="*/ 78997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595" y="220"/>
                    </a:moveTo>
                    <a:cubicBezTo>
                      <a:pt x="613" y="201"/>
                      <a:pt x="633" y="184"/>
                      <a:pt x="653" y="169"/>
                    </a:cubicBezTo>
                    <a:cubicBezTo>
                      <a:pt x="756" y="304"/>
                      <a:pt x="746" y="497"/>
                      <a:pt x="623" y="620"/>
                    </a:cubicBezTo>
                    <a:cubicBezTo>
                      <a:pt x="488" y="755"/>
                      <a:pt x="269" y="755"/>
                      <a:pt x="135" y="620"/>
                    </a:cubicBezTo>
                    <a:cubicBezTo>
                      <a:pt x="0" y="486"/>
                      <a:pt x="0" y="267"/>
                      <a:pt x="135" y="133"/>
                    </a:cubicBezTo>
                    <a:cubicBezTo>
                      <a:pt x="258" y="10"/>
                      <a:pt x="452" y="0"/>
                      <a:pt x="587" y="102"/>
                    </a:cubicBezTo>
                    <a:cubicBezTo>
                      <a:pt x="571" y="122"/>
                      <a:pt x="554" y="142"/>
                      <a:pt x="535" y="161"/>
                    </a:cubicBezTo>
                    <a:cubicBezTo>
                      <a:pt x="431" y="85"/>
                      <a:pt x="284" y="94"/>
                      <a:pt x="190" y="188"/>
                    </a:cubicBezTo>
                    <a:cubicBezTo>
                      <a:pt x="85" y="292"/>
                      <a:pt x="85" y="461"/>
                      <a:pt x="190" y="565"/>
                    </a:cubicBezTo>
                    <a:cubicBezTo>
                      <a:pt x="294" y="670"/>
                      <a:pt x="463" y="670"/>
                      <a:pt x="568" y="565"/>
                    </a:cubicBezTo>
                    <a:cubicBezTo>
                      <a:pt x="662" y="471"/>
                      <a:pt x="671" y="324"/>
                      <a:pt x="595" y="220"/>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8" name="Freeform 42"/>
              <p:cNvSpPr>
                <a:spLocks noChangeArrowheads="1"/>
              </p:cNvSpPr>
              <p:nvPr/>
            </p:nvSpPr>
            <p:spPr bwMode="auto">
              <a:xfrm>
                <a:off x="1957388" y="4486275"/>
                <a:ext cx="42862" cy="42863"/>
              </a:xfrm>
              <a:custGeom>
                <a:avLst/>
                <a:gdLst>
                  <a:gd name="T0" fmla="*/ 18730 w 119"/>
                  <a:gd name="T1" fmla="*/ 0 h 119"/>
                  <a:gd name="T2" fmla="*/ 31696 w 119"/>
                  <a:gd name="T3" fmla="*/ 11166 h 119"/>
                  <a:gd name="T4" fmla="*/ 42502 w 119"/>
                  <a:gd name="T5" fmla="*/ 24133 h 119"/>
                  <a:gd name="T6" fmla="*/ 21611 w 119"/>
                  <a:gd name="T7" fmla="*/ 42503 h 119"/>
                  <a:gd name="T8" fmla="*/ 11886 w 119"/>
                  <a:gd name="T9" fmla="*/ 30977 h 119"/>
                  <a:gd name="T10" fmla="*/ 0 w 119"/>
                  <a:gd name="T11" fmla="*/ 21251 h 119"/>
                  <a:gd name="T12" fmla="*/ 18730 w 119"/>
                  <a:gd name="T13" fmla="*/ 0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52" y="0"/>
                    </a:moveTo>
                    <a:cubicBezTo>
                      <a:pt x="64" y="9"/>
                      <a:pt x="76" y="20"/>
                      <a:pt x="88" y="31"/>
                    </a:cubicBezTo>
                    <a:cubicBezTo>
                      <a:pt x="99" y="43"/>
                      <a:pt x="109" y="54"/>
                      <a:pt x="118" y="67"/>
                    </a:cubicBezTo>
                    <a:cubicBezTo>
                      <a:pt x="98" y="82"/>
                      <a:pt x="78" y="99"/>
                      <a:pt x="60" y="118"/>
                    </a:cubicBezTo>
                    <a:cubicBezTo>
                      <a:pt x="52" y="107"/>
                      <a:pt x="43" y="96"/>
                      <a:pt x="33" y="86"/>
                    </a:cubicBezTo>
                    <a:cubicBezTo>
                      <a:pt x="23" y="76"/>
                      <a:pt x="12" y="67"/>
                      <a:pt x="0" y="59"/>
                    </a:cubicBezTo>
                    <a:cubicBezTo>
                      <a:pt x="19" y="40"/>
                      <a:pt x="36" y="20"/>
                      <a:pt x="52" y="0"/>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49" name="Freeform 43"/>
              <p:cNvSpPr>
                <a:spLocks noChangeArrowheads="1"/>
              </p:cNvSpPr>
              <p:nvPr/>
            </p:nvSpPr>
            <p:spPr bwMode="auto">
              <a:xfrm>
                <a:off x="2032000" y="4386263"/>
                <a:ext cx="68263" cy="66675"/>
              </a:xfrm>
              <a:custGeom>
                <a:avLst/>
                <a:gdLst>
                  <a:gd name="T0" fmla="*/ 67900 w 188"/>
                  <a:gd name="T1" fmla="*/ 33159 h 187"/>
                  <a:gd name="T2" fmla="*/ 63180 w 188"/>
                  <a:gd name="T3" fmla="*/ 49917 h 187"/>
                  <a:gd name="T4" fmla="*/ 50834 w 188"/>
                  <a:gd name="T5" fmla="*/ 62040 h 187"/>
                  <a:gd name="T6" fmla="*/ 34132 w 188"/>
                  <a:gd name="T7" fmla="*/ 66318 h 187"/>
                  <a:gd name="T8" fmla="*/ 17066 w 188"/>
                  <a:gd name="T9" fmla="*/ 62040 h 187"/>
                  <a:gd name="T10" fmla="*/ 4720 w 188"/>
                  <a:gd name="T11" fmla="*/ 49917 h 187"/>
                  <a:gd name="T12" fmla="*/ 0 w 188"/>
                  <a:gd name="T13" fmla="*/ 33159 h 187"/>
                  <a:gd name="T14" fmla="*/ 4720 w 188"/>
                  <a:gd name="T15" fmla="*/ 16758 h 187"/>
                  <a:gd name="T16" fmla="*/ 17066 w 188"/>
                  <a:gd name="T17" fmla="*/ 4279 h 187"/>
                  <a:gd name="T18" fmla="*/ 34132 w 188"/>
                  <a:gd name="T19" fmla="*/ 0 h 187"/>
                  <a:gd name="T20" fmla="*/ 50834 w 188"/>
                  <a:gd name="T21" fmla="*/ 4279 h 187"/>
                  <a:gd name="T22" fmla="*/ 63180 w 188"/>
                  <a:gd name="T23" fmla="*/ 16758 h 187"/>
                  <a:gd name="T24" fmla="*/ 67900 w 188"/>
                  <a:gd name="T25" fmla="*/ 33159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8"/>
                  <a:gd name="T40" fmla="*/ 0 h 187"/>
                  <a:gd name="T41" fmla="*/ 188 w 188"/>
                  <a:gd name="T42" fmla="*/ 187 h 1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8" h="187">
                    <a:moveTo>
                      <a:pt x="187" y="93"/>
                    </a:moveTo>
                    <a:cubicBezTo>
                      <a:pt x="187" y="110"/>
                      <a:pt x="182" y="125"/>
                      <a:pt x="174" y="140"/>
                    </a:cubicBezTo>
                    <a:cubicBezTo>
                      <a:pt x="165" y="155"/>
                      <a:pt x="155" y="165"/>
                      <a:pt x="140" y="174"/>
                    </a:cubicBezTo>
                    <a:cubicBezTo>
                      <a:pt x="125" y="183"/>
                      <a:pt x="111" y="186"/>
                      <a:pt x="94" y="186"/>
                    </a:cubicBezTo>
                    <a:cubicBezTo>
                      <a:pt x="76" y="186"/>
                      <a:pt x="62" y="183"/>
                      <a:pt x="47" y="174"/>
                    </a:cubicBezTo>
                    <a:cubicBezTo>
                      <a:pt x="32" y="165"/>
                      <a:pt x="21" y="155"/>
                      <a:pt x="13" y="140"/>
                    </a:cubicBezTo>
                    <a:cubicBezTo>
                      <a:pt x="4" y="125"/>
                      <a:pt x="0" y="110"/>
                      <a:pt x="0" y="93"/>
                    </a:cubicBezTo>
                    <a:cubicBezTo>
                      <a:pt x="0" y="76"/>
                      <a:pt x="4" y="62"/>
                      <a:pt x="13" y="47"/>
                    </a:cubicBezTo>
                    <a:cubicBezTo>
                      <a:pt x="21" y="33"/>
                      <a:pt x="32" y="21"/>
                      <a:pt x="47" y="12"/>
                    </a:cubicBezTo>
                    <a:cubicBezTo>
                      <a:pt x="62" y="4"/>
                      <a:pt x="76" y="0"/>
                      <a:pt x="94" y="0"/>
                    </a:cubicBezTo>
                    <a:cubicBezTo>
                      <a:pt x="111" y="0"/>
                      <a:pt x="125" y="4"/>
                      <a:pt x="140" y="12"/>
                    </a:cubicBezTo>
                    <a:cubicBezTo>
                      <a:pt x="155" y="21"/>
                      <a:pt x="165" y="33"/>
                      <a:pt x="174" y="47"/>
                    </a:cubicBezTo>
                    <a:cubicBezTo>
                      <a:pt x="182" y="62"/>
                      <a:pt x="187" y="76"/>
                      <a:pt x="187" y="93"/>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0" name="Freeform 44"/>
              <p:cNvSpPr>
                <a:spLocks noChangeArrowheads="1"/>
              </p:cNvSpPr>
              <p:nvPr/>
            </p:nvSpPr>
            <p:spPr bwMode="auto">
              <a:xfrm>
                <a:off x="2032000" y="4386263"/>
                <a:ext cx="68263" cy="66675"/>
              </a:xfrm>
              <a:custGeom>
                <a:avLst/>
                <a:gdLst>
                  <a:gd name="T0" fmla="*/ 67900 w 188"/>
                  <a:gd name="T1" fmla="*/ 33159 h 187"/>
                  <a:gd name="T2" fmla="*/ 63180 w 188"/>
                  <a:gd name="T3" fmla="*/ 49917 h 187"/>
                  <a:gd name="T4" fmla="*/ 50834 w 188"/>
                  <a:gd name="T5" fmla="*/ 62040 h 187"/>
                  <a:gd name="T6" fmla="*/ 34132 w 188"/>
                  <a:gd name="T7" fmla="*/ 66318 h 187"/>
                  <a:gd name="T8" fmla="*/ 17066 w 188"/>
                  <a:gd name="T9" fmla="*/ 62040 h 187"/>
                  <a:gd name="T10" fmla="*/ 4720 w 188"/>
                  <a:gd name="T11" fmla="*/ 49917 h 187"/>
                  <a:gd name="T12" fmla="*/ 0 w 188"/>
                  <a:gd name="T13" fmla="*/ 33159 h 187"/>
                  <a:gd name="T14" fmla="*/ 4720 w 188"/>
                  <a:gd name="T15" fmla="*/ 16758 h 187"/>
                  <a:gd name="T16" fmla="*/ 17066 w 188"/>
                  <a:gd name="T17" fmla="*/ 4279 h 187"/>
                  <a:gd name="T18" fmla="*/ 34132 w 188"/>
                  <a:gd name="T19" fmla="*/ 0 h 187"/>
                  <a:gd name="T20" fmla="*/ 50834 w 188"/>
                  <a:gd name="T21" fmla="*/ 4279 h 187"/>
                  <a:gd name="T22" fmla="*/ 63180 w 188"/>
                  <a:gd name="T23" fmla="*/ 16758 h 187"/>
                  <a:gd name="T24" fmla="*/ 67900 w 188"/>
                  <a:gd name="T25" fmla="*/ 33159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8"/>
                  <a:gd name="T40" fmla="*/ 0 h 187"/>
                  <a:gd name="T41" fmla="*/ 188 w 188"/>
                  <a:gd name="T42" fmla="*/ 187 h 1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8" h="187">
                    <a:moveTo>
                      <a:pt x="187" y="93"/>
                    </a:moveTo>
                    <a:cubicBezTo>
                      <a:pt x="187" y="110"/>
                      <a:pt x="182" y="125"/>
                      <a:pt x="174" y="140"/>
                    </a:cubicBezTo>
                    <a:cubicBezTo>
                      <a:pt x="165" y="155"/>
                      <a:pt x="155" y="165"/>
                      <a:pt x="140" y="174"/>
                    </a:cubicBezTo>
                    <a:cubicBezTo>
                      <a:pt x="125" y="183"/>
                      <a:pt x="111" y="186"/>
                      <a:pt x="94" y="186"/>
                    </a:cubicBezTo>
                    <a:cubicBezTo>
                      <a:pt x="76" y="186"/>
                      <a:pt x="62" y="183"/>
                      <a:pt x="47" y="174"/>
                    </a:cubicBezTo>
                    <a:cubicBezTo>
                      <a:pt x="32" y="165"/>
                      <a:pt x="21" y="155"/>
                      <a:pt x="13" y="140"/>
                    </a:cubicBezTo>
                    <a:cubicBezTo>
                      <a:pt x="4" y="125"/>
                      <a:pt x="0" y="110"/>
                      <a:pt x="0" y="93"/>
                    </a:cubicBezTo>
                    <a:cubicBezTo>
                      <a:pt x="0" y="76"/>
                      <a:pt x="4" y="62"/>
                      <a:pt x="13" y="47"/>
                    </a:cubicBezTo>
                    <a:cubicBezTo>
                      <a:pt x="21" y="33"/>
                      <a:pt x="32" y="21"/>
                      <a:pt x="47" y="12"/>
                    </a:cubicBezTo>
                    <a:cubicBezTo>
                      <a:pt x="62" y="4"/>
                      <a:pt x="76" y="0"/>
                      <a:pt x="94" y="0"/>
                    </a:cubicBezTo>
                    <a:cubicBezTo>
                      <a:pt x="111" y="0"/>
                      <a:pt x="125" y="4"/>
                      <a:pt x="140" y="12"/>
                    </a:cubicBezTo>
                    <a:cubicBezTo>
                      <a:pt x="155" y="21"/>
                      <a:pt x="165" y="33"/>
                      <a:pt x="174" y="47"/>
                    </a:cubicBezTo>
                    <a:cubicBezTo>
                      <a:pt x="182" y="62"/>
                      <a:pt x="187" y="76"/>
                      <a:pt x="187" y="93"/>
                    </a:cubicBezTo>
                  </a:path>
                </a:pathLst>
              </a:custGeom>
              <a:noFill/>
              <a:ln w="12600">
                <a:solidFill>
                  <a:srgbClr val="FFFFFF"/>
                </a:solidFill>
                <a:miter lim="800000"/>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1" name="Freeform 45"/>
              <p:cNvSpPr>
                <a:spLocks noChangeArrowheads="1"/>
              </p:cNvSpPr>
              <p:nvPr/>
            </p:nvSpPr>
            <p:spPr bwMode="auto">
              <a:xfrm>
                <a:off x="2141538" y="4170363"/>
                <a:ext cx="176212" cy="176212"/>
              </a:xfrm>
              <a:custGeom>
                <a:avLst/>
                <a:gdLst>
                  <a:gd name="T0" fmla="*/ 143420 w 489"/>
                  <a:gd name="T1" fmla="*/ 71496 h 488"/>
                  <a:gd name="T2" fmla="*/ 175852 w 489"/>
                  <a:gd name="T3" fmla="*/ 100022 h 488"/>
                  <a:gd name="T4" fmla="*/ 175852 w 489"/>
                  <a:gd name="T5" fmla="*/ 104716 h 488"/>
                  <a:gd name="T6" fmla="*/ 115673 w 489"/>
                  <a:gd name="T7" fmla="*/ 98939 h 488"/>
                  <a:gd name="T8" fmla="*/ 102340 w 489"/>
                  <a:gd name="T9" fmla="*/ 114104 h 488"/>
                  <a:gd name="T10" fmla="*/ 104502 w 489"/>
                  <a:gd name="T11" fmla="*/ 143714 h 488"/>
                  <a:gd name="T12" fmla="*/ 75674 w 489"/>
                  <a:gd name="T13" fmla="*/ 175851 h 488"/>
                  <a:gd name="T14" fmla="*/ 71350 w 489"/>
                  <a:gd name="T15" fmla="*/ 175851 h 488"/>
                  <a:gd name="T16" fmla="*/ 76755 w 489"/>
                  <a:gd name="T17" fmla="*/ 115549 h 488"/>
                  <a:gd name="T18" fmla="*/ 61620 w 489"/>
                  <a:gd name="T19" fmla="*/ 102189 h 488"/>
                  <a:gd name="T20" fmla="*/ 32432 w 489"/>
                  <a:gd name="T21" fmla="*/ 104355 h 488"/>
                  <a:gd name="T22" fmla="*/ 4324 w 489"/>
                  <a:gd name="T23" fmla="*/ 89911 h 488"/>
                  <a:gd name="T24" fmla="*/ 0 w 489"/>
                  <a:gd name="T25" fmla="*/ 75468 h 488"/>
                  <a:gd name="T26" fmla="*/ 0 w 489"/>
                  <a:gd name="T27" fmla="*/ 71135 h 488"/>
                  <a:gd name="T28" fmla="*/ 60179 w 489"/>
                  <a:gd name="T29" fmla="*/ 76912 h 488"/>
                  <a:gd name="T30" fmla="*/ 73512 w 489"/>
                  <a:gd name="T31" fmla="*/ 61746 h 488"/>
                  <a:gd name="T32" fmla="*/ 71710 w 489"/>
                  <a:gd name="T33" fmla="*/ 32137 h 488"/>
                  <a:gd name="T34" fmla="*/ 100178 w 489"/>
                  <a:gd name="T35" fmla="*/ 0 h 488"/>
                  <a:gd name="T36" fmla="*/ 104862 w 489"/>
                  <a:gd name="T37" fmla="*/ 0 h 488"/>
                  <a:gd name="T38" fmla="*/ 99097 w 489"/>
                  <a:gd name="T39" fmla="*/ 59941 h 488"/>
                  <a:gd name="T40" fmla="*/ 114232 w 489"/>
                  <a:gd name="T41" fmla="*/ 73662 h 488"/>
                  <a:gd name="T42" fmla="*/ 143420 w 489"/>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9"/>
                  <a:gd name="T67" fmla="*/ 0 h 488"/>
                  <a:gd name="T68" fmla="*/ 489 w 489"/>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9" h="488">
                    <a:moveTo>
                      <a:pt x="398" y="198"/>
                    </a:moveTo>
                    <a:cubicBezTo>
                      <a:pt x="487" y="198"/>
                      <a:pt x="488" y="277"/>
                      <a:pt x="488" y="277"/>
                    </a:cubicBezTo>
                    <a:lnTo>
                      <a:pt x="488" y="290"/>
                    </a:lnTo>
                    <a:lnTo>
                      <a:pt x="321" y="274"/>
                    </a:lnTo>
                    <a:cubicBezTo>
                      <a:pt x="314" y="292"/>
                      <a:pt x="301" y="307"/>
                      <a:pt x="284" y="316"/>
                    </a:cubicBezTo>
                    <a:cubicBezTo>
                      <a:pt x="287" y="335"/>
                      <a:pt x="290" y="363"/>
                      <a:pt x="290" y="398"/>
                    </a:cubicBezTo>
                    <a:cubicBezTo>
                      <a:pt x="290" y="486"/>
                      <a:pt x="211" y="487"/>
                      <a:pt x="210" y="487"/>
                    </a:cubicBezTo>
                    <a:lnTo>
                      <a:pt x="198" y="487"/>
                    </a:lnTo>
                    <a:lnTo>
                      <a:pt x="213" y="320"/>
                    </a:lnTo>
                    <a:cubicBezTo>
                      <a:pt x="196" y="313"/>
                      <a:pt x="181" y="300"/>
                      <a:pt x="171" y="283"/>
                    </a:cubicBezTo>
                    <a:cubicBezTo>
                      <a:pt x="146" y="287"/>
                      <a:pt x="118" y="289"/>
                      <a:pt x="90" y="289"/>
                    </a:cubicBezTo>
                    <a:cubicBezTo>
                      <a:pt x="44" y="289"/>
                      <a:pt x="22" y="267"/>
                      <a:pt x="12" y="249"/>
                    </a:cubicBezTo>
                    <a:cubicBezTo>
                      <a:pt x="1" y="230"/>
                      <a:pt x="0" y="210"/>
                      <a:pt x="0" y="209"/>
                    </a:cubicBezTo>
                    <a:lnTo>
                      <a:pt x="0" y="197"/>
                    </a:lnTo>
                    <a:lnTo>
                      <a:pt x="167" y="213"/>
                    </a:lnTo>
                    <a:cubicBezTo>
                      <a:pt x="174" y="195"/>
                      <a:pt x="188" y="180"/>
                      <a:pt x="204" y="171"/>
                    </a:cubicBezTo>
                    <a:cubicBezTo>
                      <a:pt x="201" y="145"/>
                      <a:pt x="199" y="117"/>
                      <a:pt x="199" y="89"/>
                    </a:cubicBezTo>
                    <a:cubicBezTo>
                      <a:pt x="199" y="1"/>
                      <a:pt x="277" y="0"/>
                      <a:pt x="278" y="0"/>
                    </a:cubicBezTo>
                    <a:lnTo>
                      <a:pt x="291" y="0"/>
                    </a:lnTo>
                    <a:lnTo>
                      <a:pt x="275" y="166"/>
                    </a:lnTo>
                    <a:cubicBezTo>
                      <a:pt x="293" y="174"/>
                      <a:pt x="308" y="187"/>
                      <a:pt x="317"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2" name="Freeform 46"/>
              <p:cNvSpPr>
                <a:spLocks noChangeArrowheads="1"/>
              </p:cNvSpPr>
              <p:nvPr/>
            </p:nvSpPr>
            <p:spPr bwMode="auto">
              <a:xfrm>
                <a:off x="1812925" y="4170363"/>
                <a:ext cx="176213" cy="176212"/>
              </a:xfrm>
              <a:custGeom>
                <a:avLst/>
                <a:gdLst>
                  <a:gd name="T0" fmla="*/ 143715 w 488"/>
                  <a:gd name="T1" fmla="*/ 71496 h 488"/>
                  <a:gd name="T2" fmla="*/ 175852 w 488"/>
                  <a:gd name="T3" fmla="*/ 100022 h 488"/>
                  <a:gd name="T4" fmla="*/ 175852 w 488"/>
                  <a:gd name="T5" fmla="*/ 104716 h 488"/>
                  <a:gd name="T6" fmla="*/ 115911 w 488"/>
                  <a:gd name="T7" fmla="*/ 98939 h 488"/>
                  <a:gd name="T8" fmla="*/ 102550 w 488"/>
                  <a:gd name="T9" fmla="*/ 114104 h 488"/>
                  <a:gd name="T10" fmla="*/ 104356 w 488"/>
                  <a:gd name="T11" fmla="*/ 143714 h 488"/>
                  <a:gd name="T12" fmla="*/ 75829 w 488"/>
                  <a:gd name="T13" fmla="*/ 175851 h 488"/>
                  <a:gd name="T14" fmla="*/ 71135 w 488"/>
                  <a:gd name="T15" fmla="*/ 175851 h 488"/>
                  <a:gd name="T16" fmla="*/ 76913 w 488"/>
                  <a:gd name="T17" fmla="*/ 115549 h 488"/>
                  <a:gd name="T18" fmla="*/ 61747 w 488"/>
                  <a:gd name="T19" fmla="*/ 102189 h 488"/>
                  <a:gd name="T20" fmla="*/ 32137 w 488"/>
                  <a:gd name="T21" fmla="*/ 104355 h 488"/>
                  <a:gd name="T22" fmla="*/ 3972 w 488"/>
                  <a:gd name="T23" fmla="*/ 89911 h 488"/>
                  <a:gd name="T24" fmla="*/ 0 w 488"/>
                  <a:gd name="T25" fmla="*/ 75468 h 488"/>
                  <a:gd name="T26" fmla="*/ 0 w 488"/>
                  <a:gd name="T27" fmla="*/ 71135 h 488"/>
                  <a:gd name="T28" fmla="*/ 60302 w 488"/>
                  <a:gd name="T29" fmla="*/ 76912 h 488"/>
                  <a:gd name="T30" fmla="*/ 73663 w 488"/>
                  <a:gd name="T31" fmla="*/ 61746 h 488"/>
                  <a:gd name="T32" fmla="*/ 71496 w 488"/>
                  <a:gd name="T33" fmla="*/ 32137 h 488"/>
                  <a:gd name="T34" fmla="*/ 100384 w 488"/>
                  <a:gd name="T35" fmla="*/ 0 h 488"/>
                  <a:gd name="T36" fmla="*/ 104717 w 488"/>
                  <a:gd name="T37" fmla="*/ 0 h 488"/>
                  <a:gd name="T38" fmla="*/ 98939 w 488"/>
                  <a:gd name="T39" fmla="*/ 59941 h 488"/>
                  <a:gd name="T40" fmla="*/ 114105 w 488"/>
                  <a:gd name="T41" fmla="*/ 73662 h 488"/>
                  <a:gd name="T42" fmla="*/ 143715 w 488"/>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488"/>
                  <a:gd name="T68" fmla="*/ 488 w 488"/>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488">
                    <a:moveTo>
                      <a:pt x="398" y="198"/>
                    </a:moveTo>
                    <a:cubicBezTo>
                      <a:pt x="486" y="198"/>
                      <a:pt x="487" y="277"/>
                      <a:pt x="487" y="277"/>
                    </a:cubicBezTo>
                    <a:lnTo>
                      <a:pt x="487" y="290"/>
                    </a:lnTo>
                    <a:lnTo>
                      <a:pt x="321" y="274"/>
                    </a:lnTo>
                    <a:cubicBezTo>
                      <a:pt x="314" y="292"/>
                      <a:pt x="300" y="307"/>
                      <a:pt x="284" y="316"/>
                    </a:cubicBezTo>
                    <a:cubicBezTo>
                      <a:pt x="286" y="335"/>
                      <a:pt x="289" y="363"/>
                      <a:pt x="289" y="398"/>
                    </a:cubicBezTo>
                    <a:cubicBezTo>
                      <a:pt x="289" y="486"/>
                      <a:pt x="210" y="487"/>
                      <a:pt x="210" y="487"/>
                    </a:cubicBezTo>
                    <a:lnTo>
                      <a:pt x="197" y="487"/>
                    </a:lnTo>
                    <a:lnTo>
                      <a:pt x="213" y="320"/>
                    </a:lnTo>
                    <a:cubicBezTo>
                      <a:pt x="195" y="313"/>
                      <a:pt x="180" y="300"/>
                      <a:pt x="171" y="283"/>
                    </a:cubicBezTo>
                    <a:cubicBezTo>
                      <a:pt x="145" y="287"/>
                      <a:pt x="118" y="289"/>
                      <a:pt x="89" y="289"/>
                    </a:cubicBezTo>
                    <a:cubicBezTo>
                      <a:pt x="44" y="289"/>
                      <a:pt x="22" y="267"/>
                      <a:pt x="11" y="249"/>
                    </a:cubicBezTo>
                    <a:cubicBezTo>
                      <a:pt x="0" y="230"/>
                      <a:pt x="0" y="210"/>
                      <a:pt x="0" y="209"/>
                    </a:cubicBezTo>
                    <a:lnTo>
                      <a:pt x="0" y="197"/>
                    </a:lnTo>
                    <a:lnTo>
                      <a:pt x="167" y="213"/>
                    </a:lnTo>
                    <a:cubicBezTo>
                      <a:pt x="174" y="195"/>
                      <a:pt x="187" y="180"/>
                      <a:pt x="204" y="171"/>
                    </a:cubicBezTo>
                    <a:cubicBezTo>
                      <a:pt x="200" y="145"/>
                      <a:pt x="198" y="117"/>
                      <a:pt x="198" y="89"/>
                    </a:cubicBezTo>
                    <a:cubicBezTo>
                      <a:pt x="198" y="1"/>
                      <a:pt x="277" y="0"/>
                      <a:pt x="278" y="0"/>
                    </a:cubicBezTo>
                    <a:lnTo>
                      <a:pt x="290" y="0"/>
                    </a:lnTo>
                    <a:lnTo>
                      <a:pt x="274" y="166"/>
                    </a:lnTo>
                    <a:cubicBezTo>
                      <a:pt x="292" y="174"/>
                      <a:pt x="307" y="187"/>
                      <a:pt x="316"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3" name="Freeform 47"/>
              <p:cNvSpPr>
                <a:spLocks noChangeArrowheads="1"/>
              </p:cNvSpPr>
              <p:nvPr/>
            </p:nvSpPr>
            <p:spPr bwMode="auto">
              <a:xfrm>
                <a:off x="2141538" y="4497388"/>
                <a:ext cx="176212" cy="176212"/>
              </a:xfrm>
              <a:custGeom>
                <a:avLst/>
                <a:gdLst>
                  <a:gd name="T0" fmla="*/ 143420 w 489"/>
                  <a:gd name="T1" fmla="*/ 71496 h 488"/>
                  <a:gd name="T2" fmla="*/ 175852 w 489"/>
                  <a:gd name="T3" fmla="*/ 100383 h 488"/>
                  <a:gd name="T4" fmla="*/ 175852 w 489"/>
                  <a:gd name="T5" fmla="*/ 104716 h 488"/>
                  <a:gd name="T6" fmla="*/ 115673 w 489"/>
                  <a:gd name="T7" fmla="*/ 98939 h 488"/>
                  <a:gd name="T8" fmla="*/ 102340 w 489"/>
                  <a:gd name="T9" fmla="*/ 114104 h 488"/>
                  <a:gd name="T10" fmla="*/ 104502 w 489"/>
                  <a:gd name="T11" fmla="*/ 143714 h 488"/>
                  <a:gd name="T12" fmla="*/ 75674 w 489"/>
                  <a:gd name="T13" fmla="*/ 175851 h 488"/>
                  <a:gd name="T14" fmla="*/ 71350 w 489"/>
                  <a:gd name="T15" fmla="*/ 175851 h 488"/>
                  <a:gd name="T16" fmla="*/ 76755 w 489"/>
                  <a:gd name="T17" fmla="*/ 115910 h 488"/>
                  <a:gd name="T18" fmla="*/ 61620 w 489"/>
                  <a:gd name="T19" fmla="*/ 102189 h 488"/>
                  <a:gd name="T20" fmla="*/ 32432 w 489"/>
                  <a:gd name="T21" fmla="*/ 104355 h 488"/>
                  <a:gd name="T22" fmla="*/ 4324 w 489"/>
                  <a:gd name="T23" fmla="*/ 89911 h 488"/>
                  <a:gd name="T24" fmla="*/ 0 w 489"/>
                  <a:gd name="T25" fmla="*/ 75829 h 488"/>
                  <a:gd name="T26" fmla="*/ 0 w 489"/>
                  <a:gd name="T27" fmla="*/ 71135 h 488"/>
                  <a:gd name="T28" fmla="*/ 60179 w 489"/>
                  <a:gd name="T29" fmla="*/ 76912 h 488"/>
                  <a:gd name="T30" fmla="*/ 73512 w 489"/>
                  <a:gd name="T31" fmla="*/ 61746 h 488"/>
                  <a:gd name="T32" fmla="*/ 71710 w 489"/>
                  <a:gd name="T33" fmla="*/ 32137 h 488"/>
                  <a:gd name="T34" fmla="*/ 100178 w 489"/>
                  <a:gd name="T35" fmla="*/ 0 h 488"/>
                  <a:gd name="T36" fmla="*/ 104862 w 489"/>
                  <a:gd name="T37" fmla="*/ 0 h 488"/>
                  <a:gd name="T38" fmla="*/ 99097 w 489"/>
                  <a:gd name="T39" fmla="*/ 60302 h 488"/>
                  <a:gd name="T40" fmla="*/ 114232 w 489"/>
                  <a:gd name="T41" fmla="*/ 73662 h 488"/>
                  <a:gd name="T42" fmla="*/ 143420 w 489"/>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9"/>
                  <a:gd name="T67" fmla="*/ 0 h 488"/>
                  <a:gd name="T68" fmla="*/ 489 w 489"/>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9" h="488">
                    <a:moveTo>
                      <a:pt x="398" y="198"/>
                    </a:moveTo>
                    <a:cubicBezTo>
                      <a:pt x="487" y="198"/>
                      <a:pt x="488" y="277"/>
                      <a:pt x="488" y="278"/>
                    </a:cubicBezTo>
                    <a:lnTo>
                      <a:pt x="488" y="290"/>
                    </a:lnTo>
                    <a:lnTo>
                      <a:pt x="321" y="274"/>
                    </a:lnTo>
                    <a:cubicBezTo>
                      <a:pt x="314" y="292"/>
                      <a:pt x="301" y="307"/>
                      <a:pt x="284" y="316"/>
                    </a:cubicBezTo>
                    <a:cubicBezTo>
                      <a:pt x="287" y="336"/>
                      <a:pt x="290" y="364"/>
                      <a:pt x="290" y="398"/>
                    </a:cubicBezTo>
                    <a:cubicBezTo>
                      <a:pt x="290" y="486"/>
                      <a:pt x="211" y="487"/>
                      <a:pt x="210" y="487"/>
                    </a:cubicBezTo>
                    <a:lnTo>
                      <a:pt x="198" y="487"/>
                    </a:lnTo>
                    <a:lnTo>
                      <a:pt x="213" y="321"/>
                    </a:lnTo>
                    <a:cubicBezTo>
                      <a:pt x="196" y="313"/>
                      <a:pt x="181" y="300"/>
                      <a:pt x="171" y="283"/>
                    </a:cubicBezTo>
                    <a:cubicBezTo>
                      <a:pt x="146" y="287"/>
                      <a:pt x="118" y="289"/>
                      <a:pt x="90" y="289"/>
                    </a:cubicBezTo>
                    <a:cubicBezTo>
                      <a:pt x="44" y="289"/>
                      <a:pt x="22" y="267"/>
                      <a:pt x="12" y="249"/>
                    </a:cubicBezTo>
                    <a:cubicBezTo>
                      <a:pt x="1" y="230"/>
                      <a:pt x="0" y="210"/>
                      <a:pt x="0" y="210"/>
                    </a:cubicBezTo>
                    <a:lnTo>
                      <a:pt x="0" y="197"/>
                    </a:lnTo>
                    <a:lnTo>
                      <a:pt x="167" y="213"/>
                    </a:lnTo>
                    <a:cubicBezTo>
                      <a:pt x="174" y="195"/>
                      <a:pt x="188" y="180"/>
                      <a:pt x="204" y="171"/>
                    </a:cubicBezTo>
                    <a:cubicBezTo>
                      <a:pt x="201" y="145"/>
                      <a:pt x="199" y="118"/>
                      <a:pt x="199" y="89"/>
                    </a:cubicBezTo>
                    <a:cubicBezTo>
                      <a:pt x="199" y="1"/>
                      <a:pt x="277" y="0"/>
                      <a:pt x="278" y="0"/>
                    </a:cubicBezTo>
                    <a:lnTo>
                      <a:pt x="291" y="0"/>
                    </a:lnTo>
                    <a:lnTo>
                      <a:pt x="275" y="167"/>
                    </a:lnTo>
                    <a:cubicBezTo>
                      <a:pt x="293" y="174"/>
                      <a:pt x="308" y="187"/>
                      <a:pt x="317"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4" name="Freeform 48"/>
              <p:cNvSpPr>
                <a:spLocks noChangeArrowheads="1"/>
              </p:cNvSpPr>
              <p:nvPr/>
            </p:nvSpPr>
            <p:spPr bwMode="auto">
              <a:xfrm>
                <a:off x="1812925" y="4497388"/>
                <a:ext cx="176213" cy="176212"/>
              </a:xfrm>
              <a:custGeom>
                <a:avLst/>
                <a:gdLst>
                  <a:gd name="T0" fmla="*/ 143715 w 488"/>
                  <a:gd name="T1" fmla="*/ 71496 h 488"/>
                  <a:gd name="T2" fmla="*/ 175852 w 488"/>
                  <a:gd name="T3" fmla="*/ 100383 h 488"/>
                  <a:gd name="T4" fmla="*/ 175852 w 488"/>
                  <a:gd name="T5" fmla="*/ 104716 h 488"/>
                  <a:gd name="T6" fmla="*/ 115911 w 488"/>
                  <a:gd name="T7" fmla="*/ 98939 h 488"/>
                  <a:gd name="T8" fmla="*/ 102550 w 488"/>
                  <a:gd name="T9" fmla="*/ 114104 h 488"/>
                  <a:gd name="T10" fmla="*/ 104356 w 488"/>
                  <a:gd name="T11" fmla="*/ 143714 h 488"/>
                  <a:gd name="T12" fmla="*/ 75829 w 488"/>
                  <a:gd name="T13" fmla="*/ 175851 h 488"/>
                  <a:gd name="T14" fmla="*/ 71135 w 488"/>
                  <a:gd name="T15" fmla="*/ 175851 h 488"/>
                  <a:gd name="T16" fmla="*/ 76913 w 488"/>
                  <a:gd name="T17" fmla="*/ 115910 h 488"/>
                  <a:gd name="T18" fmla="*/ 61747 w 488"/>
                  <a:gd name="T19" fmla="*/ 102189 h 488"/>
                  <a:gd name="T20" fmla="*/ 32137 w 488"/>
                  <a:gd name="T21" fmla="*/ 104355 h 488"/>
                  <a:gd name="T22" fmla="*/ 3972 w 488"/>
                  <a:gd name="T23" fmla="*/ 89911 h 488"/>
                  <a:gd name="T24" fmla="*/ 0 w 488"/>
                  <a:gd name="T25" fmla="*/ 75829 h 488"/>
                  <a:gd name="T26" fmla="*/ 0 w 488"/>
                  <a:gd name="T27" fmla="*/ 71135 h 488"/>
                  <a:gd name="T28" fmla="*/ 60302 w 488"/>
                  <a:gd name="T29" fmla="*/ 76912 h 488"/>
                  <a:gd name="T30" fmla="*/ 73663 w 488"/>
                  <a:gd name="T31" fmla="*/ 61746 h 488"/>
                  <a:gd name="T32" fmla="*/ 71496 w 488"/>
                  <a:gd name="T33" fmla="*/ 32137 h 488"/>
                  <a:gd name="T34" fmla="*/ 100384 w 488"/>
                  <a:gd name="T35" fmla="*/ 0 h 488"/>
                  <a:gd name="T36" fmla="*/ 104717 w 488"/>
                  <a:gd name="T37" fmla="*/ 0 h 488"/>
                  <a:gd name="T38" fmla="*/ 98939 w 488"/>
                  <a:gd name="T39" fmla="*/ 60302 h 488"/>
                  <a:gd name="T40" fmla="*/ 114105 w 488"/>
                  <a:gd name="T41" fmla="*/ 73662 h 488"/>
                  <a:gd name="T42" fmla="*/ 143715 w 488"/>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488"/>
                  <a:gd name="T68" fmla="*/ 488 w 488"/>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488">
                    <a:moveTo>
                      <a:pt x="398" y="198"/>
                    </a:moveTo>
                    <a:cubicBezTo>
                      <a:pt x="486" y="198"/>
                      <a:pt x="487" y="277"/>
                      <a:pt x="487" y="278"/>
                    </a:cubicBezTo>
                    <a:lnTo>
                      <a:pt x="487" y="290"/>
                    </a:lnTo>
                    <a:lnTo>
                      <a:pt x="321" y="274"/>
                    </a:lnTo>
                    <a:cubicBezTo>
                      <a:pt x="314" y="292"/>
                      <a:pt x="300" y="307"/>
                      <a:pt x="284" y="316"/>
                    </a:cubicBezTo>
                    <a:cubicBezTo>
                      <a:pt x="286" y="336"/>
                      <a:pt x="289" y="364"/>
                      <a:pt x="289" y="398"/>
                    </a:cubicBezTo>
                    <a:cubicBezTo>
                      <a:pt x="289" y="486"/>
                      <a:pt x="210" y="487"/>
                      <a:pt x="210" y="487"/>
                    </a:cubicBezTo>
                    <a:lnTo>
                      <a:pt x="197" y="487"/>
                    </a:lnTo>
                    <a:lnTo>
                      <a:pt x="213" y="321"/>
                    </a:lnTo>
                    <a:cubicBezTo>
                      <a:pt x="195" y="313"/>
                      <a:pt x="180" y="300"/>
                      <a:pt x="171" y="283"/>
                    </a:cubicBezTo>
                    <a:cubicBezTo>
                      <a:pt x="145" y="287"/>
                      <a:pt x="118" y="289"/>
                      <a:pt x="89" y="289"/>
                    </a:cubicBezTo>
                    <a:cubicBezTo>
                      <a:pt x="44" y="289"/>
                      <a:pt x="22" y="267"/>
                      <a:pt x="11" y="249"/>
                    </a:cubicBezTo>
                    <a:cubicBezTo>
                      <a:pt x="0" y="230"/>
                      <a:pt x="0" y="210"/>
                      <a:pt x="0" y="210"/>
                    </a:cubicBezTo>
                    <a:lnTo>
                      <a:pt x="0" y="197"/>
                    </a:lnTo>
                    <a:lnTo>
                      <a:pt x="167" y="213"/>
                    </a:lnTo>
                    <a:cubicBezTo>
                      <a:pt x="174" y="195"/>
                      <a:pt x="187" y="180"/>
                      <a:pt x="204" y="171"/>
                    </a:cubicBezTo>
                    <a:cubicBezTo>
                      <a:pt x="200" y="145"/>
                      <a:pt x="198" y="118"/>
                      <a:pt x="198" y="89"/>
                    </a:cubicBezTo>
                    <a:cubicBezTo>
                      <a:pt x="198" y="1"/>
                      <a:pt x="277" y="0"/>
                      <a:pt x="278" y="0"/>
                    </a:cubicBezTo>
                    <a:lnTo>
                      <a:pt x="290" y="0"/>
                    </a:lnTo>
                    <a:lnTo>
                      <a:pt x="274" y="167"/>
                    </a:lnTo>
                    <a:cubicBezTo>
                      <a:pt x="292" y="174"/>
                      <a:pt x="307" y="187"/>
                      <a:pt x="316"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5" name="Freeform 49"/>
              <p:cNvSpPr>
                <a:spLocks noChangeArrowheads="1"/>
              </p:cNvSpPr>
              <p:nvPr/>
            </p:nvSpPr>
            <p:spPr bwMode="auto">
              <a:xfrm>
                <a:off x="1489075" y="4576763"/>
                <a:ext cx="53975" cy="53975"/>
              </a:xfrm>
              <a:custGeom>
                <a:avLst/>
                <a:gdLst>
                  <a:gd name="T0" fmla="*/ 35865 w 152"/>
                  <a:gd name="T1" fmla="*/ 0 h 152"/>
                  <a:gd name="T2" fmla="*/ 35865 w 152"/>
                  <a:gd name="T3" fmla="*/ 17755 h 152"/>
                  <a:gd name="T4" fmla="*/ 53620 w 152"/>
                  <a:gd name="T5" fmla="*/ 17755 h 152"/>
                  <a:gd name="T6" fmla="*/ 53620 w 152"/>
                  <a:gd name="T7" fmla="*/ 35865 h 152"/>
                  <a:gd name="T8" fmla="*/ 35865 w 152"/>
                  <a:gd name="T9" fmla="*/ 35865 h 152"/>
                  <a:gd name="T10" fmla="*/ 35865 w 152"/>
                  <a:gd name="T11" fmla="*/ 53620 h 152"/>
                  <a:gd name="T12" fmla="*/ 18110 w 152"/>
                  <a:gd name="T13" fmla="*/ 53620 h 152"/>
                  <a:gd name="T14" fmla="*/ 18110 w 152"/>
                  <a:gd name="T15" fmla="*/ 35865 h 152"/>
                  <a:gd name="T16" fmla="*/ 0 w 152"/>
                  <a:gd name="T17" fmla="*/ 35865 h 152"/>
                  <a:gd name="T18" fmla="*/ 0 w 152"/>
                  <a:gd name="T19" fmla="*/ 17755 h 152"/>
                  <a:gd name="T20" fmla="*/ 18110 w 152"/>
                  <a:gd name="T21" fmla="*/ 17755 h 152"/>
                  <a:gd name="T22" fmla="*/ 18110 w 152"/>
                  <a:gd name="T23" fmla="*/ 0 h 152"/>
                  <a:gd name="T24" fmla="*/ 35865 w 152"/>
                  <a:gd name="T25" fmla="*/ 0 h 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2"/>
                  <a:gd name="T40" fmla="*/ 0 h 152"/>
                  <a:gd name="T41" fmla="*/ 152 w 152"/>
                  <a:gd name="T42" fmla="*/ 152 h 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2" h="152">
                    <a:moveTo>
                      <a:pt x="101" y="0"/>
                    </a:moveTo>
                    <a:lnTo>
                      <a:pt x="101" y="50"/>
                    </a:lnTo>
                    <a:lnTo>
                      <a:pt x="151" y="50"/>
                    </a:lnTo>
                    <a:lnTo>
                      <a:pt x="151" y="101"/>
                    </a:lnTo>
                    <a:lnTo>
                      <a:pt x="101" y="101"/>
                    </a:lnTo>
                    <a:lnTo>
                      <a:pt x="101" y="151"/>
                    </a:lnTo>
                    <a:lnTo>
                      <a:pt x="51" y="151"/>
                    </a:lnTo>
                    <a:lnTo>
                      <a:pt x="51" y="101"/>
                    </a:lnTo>
                    <a:lnTo>
                      <a:pt x="0" y="101"/>
                    </a:lnTo>
                    <a:lnTo>
                      <a:pt x="0" y="50"/>
                    </a:lnTo>
                    <a:lnTo>
                      <a:pt x="51" y="50"/>
                    </a:lnTo>
                    <a:lnTo>
                      <a:pt x="51" y="0"/>
                    </a:lnTo>
                    <a:lnTo>
                      <a:pt x="101" y="0"/>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6" name="Freeform 50"/>
              <p:cNvSpPr>
                <a:spLocks noChangeArrowheads="1"/>
              </p:cNvSpPr>
              <p:nvPr/>
            </p:nvSpPr>
            <p:spPr bwMode="auto">
              <a:xfrm>
                <a:off x="1501775" y="4341813"/>
                <a:ext cx="182563" cy="158750"/>
              </a:xfrm>
              <a:custGeom>
                <a:avLst/>
                <a:gdLst>
                  <a:gd name="T0" fmla="*/ 38682 w 505"/>
                  <a:gd name="T1" fmla="*/ 155166 h 443"/>
                  <a:gd name="T2" fmla="*/ 25306 w 505"/>
                  <a:gd name="T3" fmla="*/ 154808 h 443"/>
                  <a:gd name="T4" fmla="*/ 0 w 505"/>
                  <a:gd name="T5" fmla="*/ 94247 h 443"/>
                  <a:gd name="T6" fmla="*/ 25306 w 505"/>
                  <a:gd name="T7" fmla="*/ 33327 h 443"/>
                  <a:gd name="T8" fmla="*/ 148219 w 505"/>
                  <a:gd name="T9" fmla="*/ 33327 h 443"/>
                  <a:gd name="T10" fmla="*/ 148219 w 505"/>
                  <a:gd name="T11" fmla="*/ 155166 h 443"/>
                  <a:gd name="T12" fmla="*/ 141712 w 505"/>
                  <a:gd name="T13" fmla="*/ 157675 h 443"/>
                  <a:gd name="T14" fmla="*/ 135205 w 505"/>
                  <a:gd name="T15" fmla="*/ 155166 h 443"/>
                  <a:gd name="T16" fmla="*/ 135205 w 505"/>
                  <a:gd name="T17" fmla="*/ 141907 h 443"/>
                  <a:gd name="T18" fmla="*/ 135205 w 505"/>
                  <a:gd name="T19" fmla="*/ 46227 h 443"/>
                  <a:gd name="T20" fmla="*/ 38682 w 505"/>
                  <a:gd name="T21" fmla="*/ 46227 h 443"/>
                  <a:gd name="T22" fmla="*/ 18437 w 505"/>
                  <a:gd name="T23" fmla="*/ 94247 h 443"/>
                  <a:gd name="T24" fmla="*/ 38682 w 505"/>
                  <a:gd name="T25" fmla="*/ 141907 h 443"/>
                  <a:gd name="T26" fmla="*/ 38682 w 505"/>
                  <a:gd name="T27" fmla="*/ 155166 h 4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5"/>
                  <a:gd name="T43" fmla="*/ 0 h 443"/>
                  <a:gd name="T44" fmla="*/ 505 w 505"/>
                  <a:gd name="T45" fmla="*/ 443 h 4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5" h="443">
                    <a:moveTo>
                      <a:pt x="107" y="433"/>
                    </a:moveTo>
                    <a:cubicBezTo>
                      <a:pt x="97" y="442"/>
                      <a:pt x="80" y="442"/>
                      <a:pt x="70" y="432"/>
                    </a:cubicBezTo>
                    <a:cubicBezTo>
                      <a:pt x="25" y="387"/>
                      <a:pt x="0" y="327"/>
                      <a:pt x="0" y="263"/>
                    </a:cubicBezTo>
                    <a:cubicBezTo>
                      <a:pt x="0" y="199"/>
                      <a:pt x="25" y="138"/>
                      <a:pt x="70" y="93"/>
                    </a:cubicBezTo>
                    <a:cubicBezTo>
                      <a:pt x="164" y="0"/>
                      <a:pt x="317" y="0"/>
                      <a:pt x="410" y="93"/>
                    </a:cubicBezTo>
                    <a:cubicBezTo>
                      <a:pt x="504" y="187"/>
                      <a:pt x="504" y="339"/>
                      <a:pt x="410" y="433"/>
                    </a:cubicBezTo>
                    <a:cubicBezTo>
                      <a:pt x="405" y="438"/>
                      <a:pt x="398" y="440"/>
                      <a:pt x="392" y="440"/>
                    </a:cubicBezTo>
                    <a:cubicBezTo>
                      <a:pt x="385" y="440"/>
                      <a:pt x="379" y="438"/>
                      <a:pt x="374" y="433"/>
                    </a:cubicBezTo>
                    <a:cubicBezTo>
                      <a:pt x="364" y="423"/>
                      <a:pt x="364" y="406"/>
                      <a:pt x="374" y="396"/>
                    </a:cubicBezTo>
                    <a:cubicBezTo>
                      <a:pt x="448" y="323"/>
                      <a:pt x="448" y="203"/>
                      <a:pt x="374" y="129"/>
                    </a:cubicBezTo>
                    <a:cubicBezTo>
                      <a:pt x="300" y="56"/>
                      <a:pt x="180" y="56"/>
                      <a:pt x="107" y="129"/>
                    </a:cubicBezTo>
                    <a:cubicBezTo>
                      <a:pt x="71" y="165"/>
                      <a:pt x="51" y="213"/>
                      <a:pt x="51" y="263"/>
                    </a:cubicBezTo>
                    <a:cubicBezTo>
                      <a:pt x="51" y="314"/>
                      <a:pt x="71" y="361"/>
                      <a:pt x="107" y="396"/>
                    </a:cubicBezTo>
                    <a:cubicBezTo>
                      <a:pt x="117" y="406"/>
                      <a:pt x="117" y="423"/>
                      <a:pt x="107" y="433"/>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57" name="Freeform 51"/>
              <p:cNvSpPr>
                <a:spLocks noChangeArrowheads="1"/>
              </p:cNvSpPr>
              <p:nvPr/>
            </p:nvSpPr>
            <p:spPr bwMode="auto">
              <a:xfrm>
                <a:off x="1419225" y="4405313"/>
                <a:ext cx="339725" cy="306387"/>
              </a:xfrm>
              <a:custGeom>
                <a:avLst/>
                <a:gdLst>
                  <a:gd name="T0" fmla="*/ 325299 w 942"/>
                  <a:gd name="T1" fmla="*/ 117952 h 852"/>
                  <a:gd name="T2" fmla="*/ 339004 w 942"/>
                  <a:gd name="T3" fmla="*/ 298116 h 852"/>
                  <a:gd name="T4" fmla="*/ 336840 w 942"/>
                  <a:gd name="T5" fmla="*/ 303870 h 852"/>
                  <a:gd name="T6" fmla="*/ 332152 w 942"/>
                  <a:gd name="T7" fmla="*/ 305668 h 852"/>
                  <a:gd name="T8" fmla="*/ 330709 w 942"/>
                  <a:gd name="T9" fmla="*/ 305308 h 852"/>
                  <a:gd name="T10" fmla="*/ 169502 w 942"/>
                  <a:gd name="T11" fmla="*/ 286249 h 852"/>
                  <a:gd name="T12" fmla="*/ 8655 w 942"/>
                  <a:gd name="T13" fmla="*/ 305308 h 852"/>
                  <a:gd name="T14" fmla="*/ 2524 w 942"/>
                  <a:gd name="T15" fmla="*/ 303870 h 852"/>
                  <a:gd name="T16" fmla="*/ 361 w 942"/>
                  <a:gd name="T17" fmla="*/ 298116 h 852"/>
                  <a:gd name="T18" fmla="*/ 14065 w 942"/>
                  <a:gd name="T19" fmla="*/ 117952 h 852"/>
                  <a:gd name="T20" fmla="*/ 20917 w 942"/>
                  <a:gd name="T21" fmla="*/ 111479 h 852"/>
                  <a:gd name="T22" fmla="*/ 160486 w 942"/>
                  <a:gd name="T23" fmla="*/ 111479 h 852"/>
                  <a:gd name="T24" fmla="*/ 160486 w 942"/>
                  <a:gd name="T25" fmla="*/ 61134 h 852"/>
                  <a:gd name="T26" fmla="*/ 147503 w 942"/>
                  <a:gd name="T27" fmla="*/ 53222 h 852"/>
                  <a:gd name="T28" fmla="*/ 147503 w 942"/>
                  <a:gd name="T29" fmla="*/ 9350 h 852"/>
                  <a:gd name="T30" fmla="*/ 169502 w 942"/>
                  <a:gd name="T31" fmla="*/ 0 h 852"/>
                  <a:gd name="T32" fmla="*/ 191862 w 942"/>
                  <a:gd name="T33" fmla="*/ 9350 h 852"/>
                  <a:gd name="T34" fmla="*/ 200878 w 942"/>
                  <a:gd name="T35" fmla="*/ 31286 h 852"/>
                  <a:gd name="T36" fmla="*/ 191862 w 942"/>
                  <a:gd name="T37" fmla="*/ 53222 h 852"/>
                  <a:gd name="T38" fmla="*/ 178879 w 942"/>
                  <a:gd name="T39" fmla="*/ 61134 h 852"/>
                  <a:gd name="T40" fmla="*/ 178879 w 942"/>
                  <a:gd name="T41" fmla="*/ 111479 h 852"/>
                  <a:gd name="T42" fmla="*/ 318447 w 942"/>
                  <a:gd name="T43" fmla="*/ 111479 h 852"/>
                  <a:gd name="T44" fmla="*/ 325299 w 942"/>
                  <a:gd name="T45" fmla="*/ 117952 h 852"/>
                  <a:gd name="T46" fmla="*/ 97373 w 942"/>
                  <a:gd name="T47" fmla="*/ 250648 h 852"/>
                  <a:gd name="T48" fmla="*/ 148585 w 942"/>
                  <a:gd name="T49" fmla="*/ 199223 h 852"/>
                  <a:gd name="T50" fmla="*/ 97373 w 942"/>
                  <a:gd name="T51" fmla="*/ 148159 h 852"/>
                  <a:gd name="T52" fmla="*/ 46162 w 942"/>
                  <a:gd name="T53" fmla="*/ 199223 h 852"/>
                  <a:gd name="T54" fmla="*/ 97373 w 942"/>
                  <a:gd name="T55" fmla="*/ 250648 h 852"/>
                  <a:gd name="T56" fmla="*/ 169502 w 942"/>
                  <a:gd name="T57" fmla="*/ 44232 h 852"/>
                  <a:gd name="T58" fmla="*/ 178879 w 942"/>
                  <a:gd name="T59" fmla="*/ 40276 h 852"/>
                  <a:gd name="T60" fmla="*/ 182485 w 942"/>
                  <a:gd name="T61" fmla="*/ 31286 h 852"/>
                  <a:gd name="T62" fmla="*/ 178879 w 942"/>
                  <a:gd name="T63" fmla="*/ 22296 h 852"/>
                  <a:gd name="T64" fmla="*/ 169502 w 942"/>
                  <a:gd name="T65" fmla="*/ 18340 h 852"/>
                  <a:gd name="T66" fmla="*/ 160486 w 942"/>
                  <a:gd name="T67" fmla="*/ 22296 h 852"/>
                  <a:gd name="T68" fmla="*/ 160486 w 942"/>
                  <a:gd name="T69" fmla="*/ 40276 h 852"/>
                  <a:gd name="T70" fmla="*/ 169502 w 942"/>
                  <a:gd name="T71" fmla="*/ 44232 h 852"/>
                  <a:gd name="T72" fmla="*/ 248843 w 942"/>
                  <a:gd name="T73" fmla="*/ 150317 h 852"/>
                  <a:gd name="T74" fmla="*/ 230811 w 942"/>
                  <a:gd name="T75" fmla="*/ 168297 h 852"/>
                  <a:gd name="T76" fmla="*/ 248843 w 942"/>
                  <a:gd name="T77" fmla="*/ 186278 h 852"/>
                  <a:gd name="T78" fmla="*/ 266875 w 942"/>
                  <a:gd name="T79" fmla="*/ 168297 h 852"/>
                  <a:gd name="T80" fmla="*/ 248843 w 942"/>
                  <a:gd name="T81" fmla="*/ 150317 h 852"/>
                  <a:gd name="T82" fmla="*/ 217467 w 942"/>
                  <a:gd name="T83" fmla="*/ 217204 h 852"/>
                  <a:gd name="T84" fmla="*/ 235499 w 942"/>
                  <a:gd name="T85" fmla="*/ 199223 h 852"/>
                  <a:gd name="T86" fmla="*/ 217467 w 942"/>
                  <a:gd name="T87" fmla="*/ 181603 h 852"/>
                  <a:gd name="T88" fmla="*/ 199435 w 942"/>
                  <a:gd name="T89" fmla="*/ 199223 h 852"/>
                  <a:gd name="T90" fmla="*/ 217467 w 942"/>
                  <a:gd name="T91" fmla="*/ 217204 h 852"/>
                  <a:gd name="T92" fmla="*/ 248843 w 942"/>
                  <a:gd name="T93" fmla="*/ 248490 h 852"/>
                  <a:gd name="T94" fmla="*/ 266875 w 942"/>
                  <a:gd name="T95" fmla="*/ 230509 h 852"/>
                  <a:gd name="T96" fmla="*/ 248843 w 942"/>
                  <a:gd name="T97" fmla="*/ 212529 h 852"/>
                  <a:gd name="T98" fmla="*/ 230811 w 942"/>
                  <a:gd name="T99" fmla="*/ 230509 h 852"/>
                  <a:gd name="T100" fmla="*/ 248843 w 942"/>
                  <a:gd name="T101" fmla="*/ 248490 h 852"/>
                  <a:gd name="T102" fmla="*/ 279858 w 942"/>
                  <a:gd name="T103" fmla="*/ 217204 h 852"/>
                  <a:gd name="T104" fmla="*/ 297890 w 942"/>
                  <a:gd name="T105" fmla="*/ 199223 h 852"/>
                  <a:gd name="T106" fmla="*/ 279858 w 942"/>
                  <a:gd name="T107" fmla="*/ 181603 h 852"/>
                  <a:gd name="T108" fmla="*/ 261826 w 942"/>
                  <a:gd name="T109" fmla="*/ 199223 h 852"/>
                  <a:gd name="T110" fmla="*/ 279858 w 942"/>
                  <a:gd name="T111" fmla="*/ 217204 h 8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42"/>
                  <a:gd name="T169" fmla="*/ 0 h 852"/>
                  <a:gd name="T170" fmla="*/ 942 w 942"/>
                  <a:gd name="T171" fmla="*/ 852 h 85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42" h="852">
                    <a:moveTo>
                      <a:pt x="902" y="328"/>
                    </a:moveTo>
                    <a:lnTo>
                      <a:pt x="940" y="829"/>
                    </a:lnTo>
                    <a:cubicBezTo>
                      <a:pt x="941" y="835"/>
                      <a:pt x="938" y="841"/>
                      <a:pt x="934" y="845"/>
                    </a:cubicBezTo>
                    <a:cubicBezTo>
                      <a:pt x="930" y="848"/>
                      <a:pt x="926" y="850"/>
                      <a:pt x="921" y="850"/>
                    </a:cubicBezTo>
                    <a:cubicBezTo>
                      <a:pt x="920" y="850"/>
                      <a:pt x="918" y="850"/>
                      <a:pt x="917" y="849"/>
                    </a:cubicBezTo>
                    <a:cubicBezTo>
                      <a:pt x="914" y="849"/>
                      <a:pt x="668" y="796"/>
                      <a:pt x="470" y="796"/>
                    </a:cubicBezTo>
                    <a:cubicBezTo>
                      <a:pt x="273" y="796"/>
                      <a:pt x="26" y="849"/>
                      <a:pt x="24" y="849"/>
                    </a:cubicBezTo>
                    <a:cubicBezTo>
                      <a:pt x="18" y="851"/>
                      <a:pt x="11" y="849"/>
                      <a:pt x="7" y="845"/>
                    </a:cubicBezTo>
                    <a:cubicBezTo>
                      <a:pt x="2" y="841"/>
                      <a:pt x="0" y="835"/>
                      <a:pt x="1" y="829"/>
                    </a:cubicBezTo>
                    <a:lnTo>
                      <a:pt x="39" y="328"/>
                    </a:lnTo>
                    <a:cubicBezTo>
                      <a:pt x="40" y="318"/>
                      <a:pt x="48" y="310"/>
                      <a:pt x="58" y="310"/>
                    </a:cubicBezTo>
                    <a:lnTo>
                      <a:pt x="445" y="310"/>
                    </a:lnTo>
                    <a:lnTo>
                      <a:pt x="445" y="170"/>
                    </a:lnTo>
                    <a:cubicBezTo>
                      <a:pt x="431" y="166"/>
                      <a:pt x="419" y="158"/>
                      <a:pt x="409" y="148"/>
                    </a:cubicBezTo>
                    <a:cubicBezTo>
                      <a:pt x="375" y="114"/>
                      <a:pt x="375" y="59"/>
                      <a:pt x="409" y="26"/>
                    </a:cubicBezTo>
                    <a:cubicBezTo>
                      <a:pt x="425" y="9"/>
                      <a:pt x="446" y="0"/>
                      <a:pt x="470" y="0"/>
                    </a:cubicBezTo>
                    <a:cubicBezTo>
                      <a:pt x="493" y="0"/>
                      <a:pt x="515" y="9"/>
                      <a:pt x="532" y="26"/>
                    </a:cubicBezTo>
                    <a:cubicBezTo>
                      <a:pt x="548" y="42"/>
                      <a:pt x="557" y="64"/>
                      <a:pt x="557" y="87"/>
                    </a:cubicBezTo>
                    <a:cubicBezTo>
                      <a:pt x="557" y="110"/>
                      <a:pt x="548" y="132"/>
                      <a:pt x="532" y="148"/>
                    </a:cubicBezTo>
                    <a:cubicBezTo>
                      <a:pt x="522" y="158"/>
                      <a:pt x="509" y="166"/>
                      <a:pt x="496" y="170"/>
                    </a:cubicBezTo>
                    <a:lnTo>
                      <a:pt x="496" y="310"/>
                    </a:lnTo>
                    <a:lnTo>
                      <a:pt x="883" y="310"/>
                    </a:lnTo>
                    <a:cubicBezTo>
                      <a:pt x="893" y="310"/>
                      <a:pt x="901" y="318"/>
                      <a:pt x="902" y="328"/>
                    </a:cubicBezTo>
                    <a:close/>
                    <a:moveTo>
                      <a:pt x="270" y="697"/>
                    </a:moveTo>
                    <a:cubicBezTo>
                      <a:pt x="348" y="697"/>
                      <a:pt x="412" y="633"/>
                      <a:pt x="412" y="554"/>
                    </a:cubicBezTo>
                    <a:cubicBezTo>
                      <a:pt x="412" y="476"/>
                      <a:pt x="348" y="412"/>
                      <a:pt x="270" y="412"/>
                    </a:cubicBezTo>
                    <a:cubicBezTo>
                      <a:pt x="191" y="412"/>
                      <a:pt x="128" y="476"/>
                      <a:pt x="128" y="554"/>
                    </a:cubicBezTo>
                    <a:cubicBezTo>
                      <a:pt x="128" y="633"/>
                      <a:pt x="191" y="697"/>
                      <a:pt x="270" y="697"/>
                    </a:cubicBezTo>
                    <a:close/>
                    <a:moveTo>
                      <a:pt x="470" y="123"/>
                    </a:moveTo>
                    <a:cubicBezTo>
                      <a:pt x="479" y="123"/>
                      <a:pt x="489" y="119"/>
                      <a:pt x="496" y="112"/>
                    </a:cubicBezTo>
                    <a:cubicBezTo>
                      <a:pt x="502" y="105"/>
                      <a:pt x="506" y="97"/>
                      <a:pt x="506" y="87"/>
                    </a:cubicBezTo>
                    <a:cubicBezTo>
                      <a:pt x="506" y="78"/>
                      <a:pt x="502" y="68"/>
                      <a:pt x="496" y="62"/>
                    </a:cubicBezTo>
                    <a:cubicBezTo>
                      <a:pt x="489" y="55"/>
                      <a:pt x="479" y="51"/>
                      <a:pt x="470" y="51"/>
                    </a:cubicBezTo>
                    <a:cubicBezTo>
                      <a:pt x="460" y="51"/>
                      <a:pt x="452" y="55"/>
                      <a:pt x="445" y="62"/>
                    </a:cubicBezTo>
                    <a:cubicBezTo>
                      <a:pt x="431" y="75"/>
                      <a:pt x="431" y="98"/>
                      <a:pt x="445" y="112"/>
                    </a:cubicBezTo>
                    <a:cubicBezTo>
                      <a:pt x="452" y="119"/>
                      <a:pt x="460" y="123"/>
                      <a:pt x="470" y="123"/>
                    </a:cubicBezTo>
                    <a:close/>
                    <a:moveTo>
                      <a:pt x="690" y="418"/>
                    </a:moveTo>
                    <a:cubicBezTo>
                      <a:pt x="662" y="418"/>
                      <a:pt x="640" y="440"/>
                      <a:pt x="640" y="468"/>
                    </a:cubicBezTo>
                    <a:cubicBezTo>
                      <a:pt x="640" y="496"/>
                      <a:pt x="662" y="518"/>
                      <a:pt x="690" y="518"/>
                    </a:cubicBezTo>
                    <a:cubicBezTo>
                      <a:pt x="717" y="518"/>
                      <a:pt x="740" y="496"/>
                      <a:pt x="740" y="468"/>
                    </a:cubicBezTo>
                    <a:cubicBezTo>
                      <a:pt x="740" y="440"/>
                      <a:pt x="717" y="418"/>
                      <a:pt x="690" y="418"/>
                    </a:cubicBezTo>
                    <a:close/>
                    <a:moveTo>
                      <a:pt x="603" y="604"/>
                    </a:moveTo>
                    <a:cubicBezTo>
                      <a:pt x="631" y="604"/>
                      <a:pt x="653" y="582"/>
                      <a:pt x="653" y="554"/>
                    </a:cubicBezTo>
                    <a:cubicBezTo>
                      <a:pt x="653" y="527"/>
                      <a:pt x="631" y="505"/>
                      <a:pt x="603" y="505"/>
                    </a:cubicBezTo>
                    <a:cubicBezTo>
                      <a:pt x="575" y="505"/>
                      <a:pt x="553" y="527"/>
                      <a:pt x="553" y="554"/>
                    </a:cubicBezTo>
                    <a:cubicBezTo>
                      <a:pt x="553" y="582"/>
                      <a:pt x="575" y="604"/>
                      <a:pt x="603" y="604"/>
                    </a:cubicBezTo>
                    <a:close/>
                    <a:moveTo>
                      <a:pt x="690" y="691"/>
                    </a:moveTo>
                    <a:cubicBezTo>
                      <a:pt x="717" y="691"/>
                      <a:pt x="740" y="669"/>
                      <a:pt x="740" y="641"/>
                    </a:cubicBezTo>
                    <a:cubicBezTo>
                      <a:pt x="740" y="613"/>
                      <a:pt x="717" y="591"/>
                      <a:pt x="690" y="591"/>
                    </a:cubicBezTo>
                    <a:cubicBezTo>
                      <a:pt x="662" y="591"/>
                      <a:pt x="640" y="613"/>
                      <a:pt x="640" y="641"/>
                    </a:cubicBezTo>
                    <a:cubicBezTo>
                      <a:pt x="640" y="669"/>
                      <a:pt x="662" y="691"/>
                      <a:pt x="690" y="691"/>
                    </a:cubicBezTo>
                    <a:close/>
                    <a:moveTo>
                      <a:pt x="776" y="604"/>
                    </a:moveTo>
                    <a:cubicBezTo>
                      <a:pt x="804" y="604"/>
                      <a:pt x="826" y="582"/>
                      <a:pt x="826" y="554"/>
                    </a:cubicBezTo>
                    <a:cubicBezTo>
                      <a:pt x="826" y="527"/>
                      <a:pt x="804" y="505"/>
                      <a:pt x="776" y="505"/>
                    </a:cubicBezTo>
                    <a:cubicBezTo>
                      <a:pt x="749" y="505"/>
                      <a:pt x="726" y="527"/>
                      <a:pt x="726" y="554"/>
                    </a:cubicBezTo>
                    <a:cubicBezTo>
                      <a:pt x="726" y="582"/>
                      <a:pt x="749" y="604"/>
                      <a:pt x="776" y="604"/>
                    </a:cubicBezTo>
                    <a:close/>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grpSp>
      </p:grpSp>
      <p:sp>
        <p:nvSpPr>
          <p:cNvPr id="58" name="Text Box 52"/>
          <p:cNvSpPr txBox="1">
            <a:spLocks noChangeArrowheads="1"/>
          </p:cNvSpPr>
          <p:nvPr/>
        </p:nvSpPr>
        <p:spPr bwMode="auto">
          <a:xfrm>
            <a:off x="3738429" y="3726132"/>
            <a:ext cx="1366972" cy="307856"/>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tabLst>
                <a:tab pos="723900" algn="l"/>
              </a:tabLst>
            </a:pPr>
            <a:r>
              <a:rPr lang="en-US" sz="1100" b="1" dirty="0">
                <a:solidFill>
                  <a:srgbClr val="C9314B"/>
                </a:solidFill>
                <a:latin typeface="Arial"/>
                <a:ea typeface="SimSun" charset="-122"/>
                <a:cs typeface="Arial"/>
              </a:rPr>
              <a:t>Health, Beauty </a:t>
            </a:r>
          </a:p>
          <a:p>
            <a:pPr algn="ctr" hangingPunct="0">
              <a:lnSpc>
                <a:spcPct val="93000"/>
              </a:lnSpc>
              <a:buClr>
                <a:srgbClr val="000000"/>
              </a:buClr>
              <a:buSzPct val="100000"/>
              <a:tabLst>
                <a:tab pos="723900" algn="l"/>
              </a:tabLst>
            </a:pPr>
            <a:r>
              <a:rPr lang="en-US" sz="1100" b="1" dirty="0">
                <a:solidFill>
                  <a:srgbClr val="C9314B"/>
                </a:solidFill>
                <a:latin typeface="Arial"/>
                <a:ea typeface="SimSun" charset="-122"/>
                <a:cs typeface="Arial"/>
              </a:rPr>
              <a:t>Household &amp; Food </a:t>
            </a:r>
          </a:p>
        </p:txBody>
      </p:sp>
      <p:grpSp>
        <p:nvGrpSpPr>
          <p:cNvPr id="59" name="Group 130"/>
          <p:cNvGrpSpPr>
            <a:grpSpLocks/>
          </p:cNvGrpSpPr>
          <p:nvPr/>
        </p:nvGrpSpPr>
        <p:grpSpPr bwMode="auto">
          <a:xfrm>
            <a:off x="4157816" y="3057900"/>
            <a:ext cx="528196" cy="595282"/>
            <a:chOff x="3014663" y="4117975"/>
            <a:chExt cx="574675" cy="647700"/>
          </a:xfrm>
        </p:grpSpPr>
        <p:sp>
          <p:nvSpPr>
            <p:cNvPr id="60" name="Freeform 54"/>
            <p:cNvSpPr>
              <a:spLocks noChangeArrowheads="1"/>
            </p:cNvSpPr>
            <p:nvPr/>
          </p:nvSpPr>
          <p:spPr bwMode="auto">
            <a:xfrm>
              <a:off x="3236913" y="4470400"/>
              <a:ext cx="38100" cy="93663"/>
            </a:xfrm>
            <a:custGeom>
              <a:avLst/>
              <a:gdLst>
                <a:gd name="T0" fmla="*/ 37381 w 106"/>
                <a:gd name="T1" fmla="*/ 26298 h 260"/>
                <a:gd name="T2" fmla="*/ 36662 w 106"/>
                <a:gd name="T3" fmla="*/ 93303 h 260"/>
                <a:gd name="T4" fmla="*/ 0 w 106"/>
                <a:gd name="T5" fmla="*/ 93303 h 260"/>
                <a:gd name="T6" fmla="*/ 0 w 106"/>
                <a:gd name="T7" fmla="*/ 0 h 260"/>
                <a:gd name="T8" fmla="*/ 20488 w 106"/>
                <a:gd name="T9" fmla="*/ 21975 h 260"/>
                <a:gd name="T10" fmla="*/ 37381 w 106"/>
                <a:gd name="T11" fmla="*/ 26298 h 260"/>
                <a:gd name="T12" fmla="*/ 37381 w 106"/>
                <a:gd name="T13" fmla="*/ 26298 h 260"/>
                <a:gd name="T14" fmla="*/ 0 60000 65536"/>
                <a:gd name="T15" fmla="*/ 0 60000 65536"/>
                <a:gd name="T16" fmla="*/ 0 60000 65536"/>
                <a:gd name="T17" fmla="*/ 0 60000 65536"/>
                <a:gd name="T18" fmla="*/ 0 60000 65536"/>
                <a:gd name="T19" fmla="*/ 0 60000 65536"/>
                <a:gd name="T20" fmla="*/ 0 60000 65536"/>
                <a:gd name="T21" fmla="*/ 0 w 106"/>
                <a:gd name="T22" fmla="*/ 0 h 260"/>
                <a:gd name="T23" fmla="*/ 106 w 106"/>
                <a:gd name="T24" fmla="*/ 260 h 2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260">
                  <a:moveTo>
                    <a:pt x="104" y="73"/>
                  </a:moveTo>
                  <a:cubicBezTo>
                    <a:pt x="105" y="82"/>
                    <a:pt x="104" y="230"/>
                    <a:pt x="102" y="259"/>
                  </a:cubicBezTo>
                  <a:lnTo>
                    <a:pt x="0" y="259"/>
                  </a:lnTo>
                  <a:cubicBezTo>
                    <a:pt x="0" y="219"/>
                    <a:pt x="0" y="24"/>
                    <a:pt x="0" y="0"/>
                  </a:cubicBezTo>
                  <a:cubicBezTo>
                    <a:pt x="3" y="14"/>
                    <a:pt x="18" y="37"/>
                    <a:pt x="57" y="61"/>
                  </a:cubicBezTo>
                  <a:cubicBezTo>
                    <a:pt x="87" y="80"/>
                    <a:pt x="100" y="80"/>
                    <a:pt x="104" y="73"/>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1" name="Freeform 55"/>
            <p:cNvSpPr>
              <a:spLocks noChangeArrowheads="1"/>
            </p:cNvSpPr>
            <p:nvPr/>
          </p:nvSpPr>
          <p:spPr bwMode="auto">
            <a:xfrm>
              <a:off x="3232150" y="4570413"/>
              <a:ext cx="46038" cy="19050"/>
            </a:xfrm>
            <a:custGeom>
              <a:avLst/>
              <a:gdLst>
                <a:gd name="T0" fmla="*/ 45673 w 126"/>
                <a:gd name="T1" fmla="*/ 0 h 51"/>
                <a:gd name="T2" fmla="*/ 45673 w 126"/>
                <a:gd name="T3" fmla="*/ 18676 h 51"/>
                <a:gd name="T4" fmla="*/ 0 w 126"/>
                <a:gd name="T5" fmla="*/ 18676 h 51"/>
                <a:gd name="T6" fmla="*/ 0 w 126"/>
                <a:gd name="T7" fmla="*/ 0 h 51"/>
                <a:gd name="T8" fmla="*/ 4385 w 126"/>
                <a:gd name="T9" fmla="*/ 0 h 51"/>
                <a:gd name="T10" fmla="*/ 41653 w 126"/>
                <a:gd name="T11" fmla="*/ 0 h 51"/>
                <a:gd name="T12" fmla="*/ 45673 w 126"/>
                <a:gd name="T13" fmla="*/ 0 h 51"/>
                <a:gd name="T14" fmla="*/ 0 60000 65536"/>
                <a:gd name="T15" fmla="*/ 0 60000 65536"/>
                <a:gd name="T16" fmla="*/ 0 60000 65536"/>
                <a:gd name="T17" fmla="*/ 0 60000 65536"/>
                <a:gd name="T18" fmla="*/ 0 60000 65536"/>
                <a:gd name="T19" fmla="*/ 0 60000 65536"/>
                <a:gd name="T20" fmla="*/ 0 60000 65536"/>
                <a:gd name="T21" fmla="*/ 0 w 126"/>
                <a:gd name="T22" fmla="*/ 0 h 51"/>
                <a:gd name="T23" fmla="*/ 126 w 1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51">
                  <a:moveTo>
                    <a:pt x="125" y="0"/>
                  </a:moveTo>
                  <a:lnTo>
                    <a:pt x="125" y="50"/>
                  </a:lnTo>
                  <a:lnTo>
                    <a:pt x="0" y="50"/>
                  </a:lnTo>
                  <a:lnTo>
                    <a:pt x="0" y="0"/>
                  </a:lnTo>
                  <a:lnTo>
                    <a:pt x="12" y="0"/>
                  </a:lnTo>
                  <a:lnTo>
                    <a:pt x="114" y="0"/>
                  </a:lnTo>
                  <a:lnTo>
                    <a:pt x="125" y="0"/>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2" name="Freeform 56"/>
            <p:cNvSpPr>
              <a:spLocks noChangeArrowheads="1"/>
            </p:cNvSpPr>
            <p:nvPr/>
          </p:nvSpPr>
          <p:spPr bwMode="auto">
            <a:xfrm>
              <a:off x="3228975" y="4595813"/>
              <a:ext cx="52388" cy="22225"/>
            </a:xfrm>
            <a:custGeom>
              <a:avLst/>
              <a:gdLst>
                <a:gd name="T0" fmla="*/ 3947 w 146"/>
                <a:gd name="T1" fmla="*/ 20791 h 62"/>
                <a:gd name="T2" fmla="*/ 0 w 146"/>
                <a:gd name="T3" fmla="*/ 21867 h 62"/>
                <a:gd name="T4" fmla="*/ 0 w 146"/>
                <a:gd name="T5" fmla="*/ 0 h 62"/>
                <a:gd name="T6" fmla="*/ 3588 w 146"/>
                <a:gd name="T7" fmla="*/ 0 h 62"/>
                <a:gd name="T8" fmla="*/ 48441 w 146"/>
                <a:gd name="T9" fmla="*/ 0 h 62"/>
                <a:gd name="T10" fmla="*/ 52029 w 146"/>
                <a:gd name="T11" fmla="*/ 0 h 62"/>
                <a:gd name="T12" fmla="*/ 52029 w 146"/>
                <a:gd name="T13" fmla="*/ 21867 h 62"/>
                <a:gd name="T14" fmla="*/ 48082 w 146"/>
                <a:gd name="T15" fmla="*/ 20791 h 62"/>
                <a:gd name="T16" fmla="*/ 3947 w 146"/>
                <a:gd name="T17" fmla="*/ 20791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62"/>
                <a:gd name="T29" fmla="*/ 146 w 146"/>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62">
                  <a:moveTo>
                    <a:pt x="11" y="58"/>
                  </a:moveTo>
                  <a:cubicBezTo>
                    <a:pt x="7" y="58"/>
                    <a:pt x="3" y="59"/>
                    <a:pt x="0" y="61"/>
                  </a:cubicBezTo>
                  <a:lnTo>
                    <a:pt x="0" y="0"/>
                  </a:lnTo>
                  <a:lnTo>
                    <a:pt x="10" y="0"/>
                  </a:lnTo>
                  <a:lnTo>
                    <a:pt x="135" y="0"/>
                  </a:lnTo>
                  <a:lnTo>
                    <a:pt x="145" y="0"/>
                  </a:lnTo>
                  <a:lnTo>
                    <a:pt x="145" y="61"/>
                  </a:lnTo>
                  <a:cubicBezTo>
                    <a:pt x="142" y="59"/>
                    <a:pt x="138" y="58"/>
                    <a:pt x="134" y="58"/>
                  </a:cubicBezTo>
                  <a:lnTo>
                    <a:pt x="11" y="58"/>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3" name="Freeform 57"/>
            <p:cNvSpPr>
              <a:spLocks noChangeArrowheads="1"/>
            </p:cNvSpPr>
            <p:nvPr/>
          </p:nvSpPr>
          <p:spPr bwMode="auto">
            <a:xfrm>
              <a:off x="3225800" y="4610100"/>
              <a:ext cx="58738" cy="155575"/>
            </a:xfrm>
            <a:custGeom>
              <a:avLst/>
              <a:gdLst>
                <a:gd name="T0" fmla="*/ 7163 w 164"/>
                <a:gd name="T1" fmla="*/ 155215 h 432"/>
                <a:gd name="T2" fmla="*/ 0 w 164"/>
                <a:gd name="T3" fmla="*/ 148012 h 432"/>
                <a:gd name="T4" fmla="*/ 0 w 164"/>
                <a:gd name="T5" fmla="*/ 7203 h 432"/>
                <a:gd name="T6" fmla="*/ 3223 w 164"/>
                <a:gd name="T7" fmla="*/ 1441 h 432"/>
                <a:gd name="T8" fmla="*/ 7163 w 164"/>
                <a:gd name="T9" fmla="*/ 0 h 432"/>
                <a:gd name="T10" fmla="*/ 51217 w 164"/>
                <a:gd name="T11" fmla="*/ 0 h 432"/>
                <a:gd name="T12" fmla="*/ 55156 w 164"/>
                <a:gd name="T13" fmla="*/ 1441 h 432"/>
                <a:gd name="T14" fmla="*/ 58380 w 164"/>
                <a:gd name="T15" fmla="*/ 7203 h 432"/>
                <a:gd name="T16" fmla="*/ 58380 w 164"/>
                <a:gd name="T17" fmla="*/ 148012 h 432"/>
                <a:gd name="T18" fmla="*/ 51217 w 164"/>
                <a:gd name="T19" fmla="*/ 155215 h 432"/>
                <a:gd name="T20" fmla="*/ 7163 w 164"/>
                <a:gd name="T21" fmla="*/ 155215 h 4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4"/>
                <a:gd name="T34" fmla="*/ 0 h 432"/>
                <a:gd name="T35" fmla="*/ 164 w 164"/>
                <a:gd name="T36" fmla="*/ 432 h 4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4" h="432">
                  <a:moveTo>
                    <a:pt x="20" y="431"/>
                  </a:moveTo>
                  <a:cubicBezTo>
                    <a:pt x="9" y="431"/>
                    <a:pt x="0" y="422"/>
                    <a:pt x="0" y="411"/>
                  </a:cubicBezTo>
                  <a:lnTo>
                    <a:pt x="0" y="20"/>
                  </a:lnTo>
                  <a:cubicBezTo>
                    <a:pt x="0" y="13"/>
                    <a:pt x="3" y="7"/>
                    <a:pt x="9" y="4"/>
                  </a:cubicBezTo>
                  <a:cubicBezTo>
                    <a:pt x="12" y="2"/>
                    <a:pt x="16" y="0"/>
                    <a:pt x="20" y="0"/>
                  </a:cubicBezTo>
                  <a:lnTo>
                    <a:pt x="143" y="0"/>
                  </a:lnTo>
                  <a:cubicBezTo>
                    <a:pt x="147" y="0"/>
                    <a:pt x="151" y="2"/>
                    <a:pt x="154" y="4"/>
                  </a:cubicBezTo>
                  <a:cubicBezTo>
                    <a:pt x="159" y="7"/>
                    <a:pt x="163" y="13"/>
                    <a:pt x="163" y="20"/>
                  </a:cubicBezTo>
                  <a:lnTo>
                    <a:pt x="163" y="411"/>
                  </a:lnTo>
                  <a:cubicBezTo>
                    <a:pt x="163" y="422"/>
                    <a:pt x="154" y="431"/>
                    <a:pt x="143" y="431"/>
                  </a:cubicBezTo>
                  <a:lnTo>
                    <a:pt x="20" y="431"/>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4" name="Freeform 58"/>
            <p:cNvSpPr>
              <a:spLocks noChangeArrowheads="1"/>
            </p:cNvSpPr>
            <p:nvPr/>
          </p:nvSpPr>
          <p:spPr bwMode="auto">
            <a:xfrm>
              <a:off x="3236913" y="4462463"/>
              <a:ext cx="39687" cy="38100"/>
            </a:xfrm>
            <a:custGeom>
              <a:avLst/>
              <a:gdLst>
                <a:gd name="T0" fmla="*/ 21118 w 109"/>
                <a:gd name="T1" fmla="*/ 30843 h 105"/>
                <a:gd name="T2" fmla="*/ 364 w 109"/>
                <a:gd name="T3" fmla="*/ 8709 h 105"/>
                <a:gd name="T4" fmla="*/ 1456 w 109"/>
                <a:gd name="T5" fmla="*/ 4354 h 105"/>
                <a:gd name="T6" fmla="*/ 36046 w 109"/>
                <a:gd name="T7" fmla="*/ 24674 h 105"/>
                <a:gd name="T8" fmla="*/ 38231 w 109"/>
                <a:gd name="T9" fmla="*/ 35197 h 105"/>
                <a:gd name="T10" fmla="*/ 21118 w 109"/>
                <a:gd name="T11" fmla="*/ 30843 h 105"/>
                <a:gd name="T12" fmla="*/ 0 60000 65536"/>
                <a:gd name="T13" fmla="*/ 0 60000 65536"/>
                <a:gd name="T14" fmla="*/ 0 60000 65536"/>
                <a:gd name="T15" fmla="*/ 0 60000 65536"/>
                <a:gd name="T16" fmla="*/ 0 60000 65536"/>
                <a:gd name="T17" fmla="*/ 0 60000 65536"/>
                <a:gd name="T18" fmla="*/ 0 w 109"/>
                <a:gd name="T19" fmla="*/ 0 h 105"/>
                <a:gd name="T20" fmla="*/ 109 w 109"/>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9" h="105">
                  <a:moveTo>
                    <a:pt x="58" y="85"/>
                  </a:moveTo>
                  <a:cubicBezTo>
                    <a:pt x="19" y="61"/>
                    <a:pt x="4" y="38"/>
                    <a:pt x="1" y="24"/>
                  </a:cubicBezTo>
                  <a:cubicBezTo>
                    <a:pt x="0" y="18"/>
                    <a:pt x="1" y="14"/>
                    <a:pt x="4" y="12"/>
                  </a:cubicBezTo>
                  <a:cubicBezTo>
                    <a:pt x="16" y="0"/>
                    <a:pt x="82" y="39"/>
                    <a:pt x="99" y="68"/>
                  </a:cubicBezTo>
                  <a:cubicBezTo>
                    <a:pt x="105" y="79"/>
                    <a:pt x="108" y="90"/>
                    <a:pt x="105" y="97"/>
                  </a:cubicBezTo>
                  <a:cubicBezTo>
                    <a:pt x="102" y="104"/>
                    <a:pt x="88" y="104"/>
                    <a:pt x="58" y="85"/>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5" name="Freeform 59"/>
            <p:cNvSpPr>
              <a:spLocks noChangeArrowheads="1"/>
            </p:cNvSpPr>
            <p:nvPr/>
          </p:nvSpPr>
          <p:spPr bwMode="auto">
            <a:xfrm>
              <a:off x="3403600" y="4219575"/>
              <a:ext cx="65088" cy="33338"/>
            </a:xfrm>
            <a:custGeom>
              <a:avLst/>
              <a:gdLst>
                <a:gd name="T0" fmla="*/ 32544 w 182"/>
                <a:gd name="T1" fmla="*/ 32972 h 91"/>
                <a:gd name="T2" fmla="*/ 0 w 182"/>
                <a:gd name="T3" fmla="*/ 32972 h 91"/>
                <a:gd name="T4" fmla="*/ 0 w 182"/>
                <a:gd name="T5" fmla="*/ 0 h 91"/>
                <a:gd name="T6" fmla="*/ 64730 w 182"/>
                <a:gd name="T7" fmla="*/ 0 h 91"/>
                <a:gd name="T8" fmla="*/ 64730 w 182"/>
                <a:gd name="T9" fmla="*/ 32972 h 91"/>
                <a:gd name="T10" fmla="*/ 32544 w 182"/>
                <a:gd name="T11" fmla="*/ 32972 h 91"/>
                <a:gd name="T12" fmla="*/ 0 60000 65536"/>
                <a:gd name="T13" fmla="*/ 0 60000 65536"/>
                <a:gd name="T14" fmla="*/ 0 60000 65536"/>
                <a:gd name="T15" fmla="*/ 0 60000 65536"/>
                <a:gd name="T16" fmla="*/ 0 60000 65536"/>
                <a:gd name="T17" fmla="*/ 0 60000 65536"/>
                <a:gd name="T18" fmla="*/ 0 w 182"/>
                <a:gd name="T19" fmla="*/ 0 h 91"/>
                <a:gd name="T20" fmla="*/ 182 w 182"/>
                <a:gd name="T21" fmla="*/ 91 h 91"/>
              </a:gdLst>
              <a:ahLst/>
              <a:cxnLst>
                <a:cxn ang="T12">
                  <a:pos x="T0" y="T1"/>
                </a:cxn>
                <a:cxn ang="T13">
                  <a:pos x="T2" y="T3"/>
                </a:cxn>
                <a:cxn ang="T14">
                  <a:pos x="T4" y="T5"/>
                </a:cxn>
                <a:cxn ang="T15">
                  <a:pos x="T6" y="T7"/>
                </a:cxn>
                <a:cxn ang="T16">
                  <a:pos x="T8" y="T9"/>
                </a:cxn>
                <a:cxn ang="T17">
                  <a:pos x="T10" y="T11"/>
                </a:cxn>
              </a:cxnLst>
              <a:rect l="T18" t="T19" r="T20" b="T21"/>
              <a:pathLst>
                <a:path w="182" h="91">
                  <a:moveTo>
                    <a:pt x="91" y="90"/>
                  </a:moveTo>
                  <a:lnTo>
                    <a:pt x="0" y="90"/>
                  </a:lnTo>
                  <a:lnTo>
                    <a:pt x="0" y="0"/>
                  </a:lnTo>
                  <a:lnTo>
                    <a:pt x="181" y="0"/>
                  </a:lnTo>
                  <a:lnTo>
                    <a:pt x="181" y="90"/>
                  </a:lnTo>
                  <a:lnTo>
                    <a:pt x="91" y="90"/>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6" name="Freeform 60"/>
            <p:cNvSpPr>
              <a:spLocks noChangeArrowheads="1"/>
            </p:cNvSpPr>
            <p:nvPr/>
          </p:nvSpPr>
          <p:spPr bwMode="auto">
            <a:xfrm>
              <a:off x="3292475" y="4259263"/>
              <a:ext cx="296863" cy="501650"/>
            </a:xfrm>
            <a:custGeom>
              <a:avLst/>
              <a:gdLst>
                <a:gd name="T0" fmla="*/ 142322 w 826"/>
                <a:gd name="T1" fmla="*/ 0 h 1392"/>
                <a:gd name="T2" fmla="*/ 185090 w 826"/>
                <a:gd name="T3" fmla="*/ 0 h 1392"/>
                <a:gd name="T4" fmla="*/ 273862 w 826"/>
                <a:gd name="T5" fmla="*/ 460206 h 1392"/>
                <a:gd name="T6" fmla="*/ 238640 w 826"/>
                <a:gd name="T7" fmla="*/ 501290 h 1392"/>
                <a:gd name="T8" fmla="*/ 52472 w 826"/>
                <a:gd name="T9" fmla="*/ 501290 h 1392"/>
                <a:gd name="T10" fmla="*/ 20126 w 826"/>
                <a:gd name="T11" fmla="*/ 459125 h 1392"/>
                <a:gd name="T12" fmla="*/ 98116 w 826"/>
                <a:gd name="T13" fmla="*/ 180551 h 1392"/>
                <a:gd name="T14" fmla="*/ 98116 w 826"/>
                <a:gd name="T15" fmla="*/ 0 h 1392"/>
                <a:gd name="T16" fmla="*/ 142322 w 826"/>
                <a:gd name="T17" fmla="*/ 0 h 13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6"/>
                <a:gd name="T28" fmla="*/ 0 h 1392"/>
                <a:gd name="T29" fmla="*/ 826 w 826"/>
                <a:gd name="T30" fmla="*/ 1392 h 13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6" h="1392">
                  <a:moveTo>
                    <a:pt x="396" y="0"/>
                  </a:moveTo>
                  <a:lnTo>
                    <a:pt x="515" y="0"/>
                  </a:lnTo>
                  <a:cubicBezTo>
                    <a:pt x="825" y="841"/>
                    <a:pt x="762" y="1277"/>
                    <a:pt x="762" y="1277"/>
                  </a:cubicBezTo>
                  <a:cubicBezTo>
                    <a:pt x="743" y="1391"/>
                    <a:pt x="664" y="1391"/>
                    <a:pt x="664" y="1391"/>
                  </a:cubicBezTo>
                  <a:lnTo>
                    <a:pt x="146" y="1391"/>
                  </a:lnTo>
                  <a:cubicBezTo>
                    <a:pt x="85" y="1391"/>
                    <a:pt x="56" y="1274"/>
                    <a:pt x="56" y="1274"/>
                  </a:cubicBezTo>
                  <a:cubicBezTo>
                    <a:pt x="0" y="863"/>
                    <a:pt x="273" y="501"/>
                    <a:pt x="273" y="501"/>
                  </a:cubicBezTo>
                  <a:cubicBezTo>
                    <a:pt x="166" y="183"/>
                    <a:pt x="273" y="0"/>
                    <a:pt x="273" y="0"/>
                  </a:cubicBezTo>
                  <a:lnTo>
                    <a:pt x="396" y="0"/>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7" name="Freeform 61"/>
            <p:cNvSpPr>
              <a:spLocks noChangeArrowheads="1"/>
            </p:cNvSpPr>
            <p:nvPr/>
          </p:nvSpPr>
          <p:spPr bwMode="auto">
            <a:xfrm>
              <a:off x="3382963" y="4235450"/>
              <a:ext cx="107950" cy="26988"/>
            </a:xfrm>
            <a:custGeom>
              <a:avLst/>
              <a:gdLst>
                <a:gd name="T0" fmla="*/ 107589 w 299"/>
                <a:gd name="T1" fmla="*/ 13494 h 76"/>
                <a:gd name="T2" fmla="*/ 93870 w 299"/>
                <a:gd name="T3" fmla="*/ 26633 h 76"/>
                <a:gd name="T4" fmla="*/ 13719 w 299"/>
                <a:gd name="T5" fmla="*/ 26633 h 76"/>
                <a:gd name="T6" fmla="*/ 0 w 299"/>
                <a:gd name="T7" fmla="*/ 13494 h 76"/>
                <a:gd name="T8" fmla="*/ 0 w 299"/>
                <a:gd name="T9" fmla="*/ 13494 h 76"/>
                <a:gd name="T10" fmla="*/ 13719 w 299"/>
                <a:gd name="T11" fmla="*/ 0 h 76"/>
                <a:gd name="T12" fmla="*/ 93870 w 299"/>
                <a:gd name="T13" fmla="*/ 0 h 76"/>
                <a:gd name="T14" fmla="*/ 107589 w 299"/>
                <a:gd name="T15" fmla="*/ 13494 h 76"/>
                <a:gd name="T16" fmla="*/ 0 60000 65536"/>
                <a:gd name="T17" fmla="*/ 0 60000 65536"/>
                <a:gd name="T18" fmla="*/ 0 60000 65536"/>
                <a:gd name="T19" fmla="*/ 0 60000 65536"/>
                <a:gd name="T20" fmla="*/ 0 60000 65536"/>
                <a:gd name="T21" fmla="*/ 0 60000 65536"/>
                <a:gd name="T22" fmla="*/ 0 60000 65536"/>
                <a:gd name="T23" fmla="*/ 0 60000 65536"/>
                <a:gd name="T24" fmla="*/ 0 w 299"/>
                <a:gd name="T25" fmla="*/ 0 h 76"/>
                <a:gd name="T26" fmla="*/ 299 w 299"/>
                <a:gd name="T27" fmla="*/ 76 h 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9" h="76">
                  <a:moveTo>
                    <a:pt x="298" y="38"/>
                  </a:moveTo>
                  <a:cubicBezTo>
                    <a:pt x="298" y="58"/>
                    <a:pt x="281" y="75"/>
                    <a:pt x="260" y="75"/>
                  </a:cubicBezTo>
                  <a:lnTo>
                    <a:pt x="38" y="75"/>
                  </a:lnTo>
                  <a:cubicBezTo>
                    <a:pt x="17" y="75"/>
                    <a:pt x="0" y="58"/>
                    <a:pt x="0" y="38"/>
                  </a:cubicBezTo>
                  <a:cubicBezTo>
                    <a:pt x="0" y="17"/>
                    <a:pt x="17" y="0"/>
                    <a:pt x="38" y="0"/>
                  </a:cubicBezTo>
                  <a:lnTo>
                    <a:pt x="260" y="0"/>
                  </a:lnTo>
                  <a:cubicBezTo>
                    <a:pt x="281" y="0"/>
                    <a:pt x="298" y="17"/>
                    <a:pt x="298" y="38"/>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8" name="Freeform 62"/>
            <p:cNvSpPr>
              <a:spLocks noChangeArrowheads="1"/>
            </p:cNvSpPr>
            <p:nvPr/>
          </p:nvSpPr>
          <p:spPr bwMode="auto">
            <a:xfrm>
              <a:off x="3303588" y="4154488"/>
              <a:ext cx="93662" cy="131762"/>
            </a:xfrm>
            <a:custGeom>
              <a:avLst/>
              <a:gdLst>
                <a:gd name="T0" fmla="*/ 28207 w 259"/>
                <a:gd name="T1" fmla="*/ 0 h 364"/>
                <a:gd name="T2" fmla="*/ 66901 w 259"/>
                <a:gd name="T3" fmla="*/ 11221 h 364"/>
                <a:gd name="T4" fmla="*/ 93300 w 259"/>
                <a:gd name="T5" fmla="*/ 32941 h 364"/>
                <a:gd name="T6" fmla="*/ 54244 w 259"/>
                <a:gd name="T7" fmla="*/ 49954 h 364"/>
                <a:gd name="T8" fmla="*/ 15912 w 259"/>
                <a:gd name="T9" fmla="*/ 122712 h 364"/>
                <a:gd name="T10" fmla="*/ 4701 w 259"/>
                <a:gd name="T11" fmla="*/ 127418 h 364"/>
                <a:gd name="T12" fmla="*/ 5786 w 259"/>
                <a:gd name="T13" fmla="*/ 118007 h 364"/>
                <a:gd name="T14" fmla="*/ 28207 w 259"/>
                <a:gd name="T15" fmla="*/ 0 h 364"/>
                <a:gd name="T16" fmla="*/ 0 60000 65536"/>
                <a:gd name="T17" fmla="*/ 0 60000 65536"/>
                <a:gd name="T18" fmla="*/ 0 60000 65536"/>
                <a:gd name="T19" fmla="*/ 0 60000 65536"/>
                <a:gd name="T20" fmla="*/ 0 60000 65536"/>
                <a:gd name="T21" fmla="*/ 0 60000 65536"/>
                <a:gd name="T22" fmla="*/ 0 60000 65536"/>
                <a:gd name="T23" fmla="*/ 0 60000 65536"/>
                <a:gd name="T24" fmla="*/ 0 w 259"/>
                <a:gd name="T25" fmla="*/ 0 h 364"/>
                <a:gd name="T26" fmla="*/ 259 w 259"/>
                <a:gd name="T27" fmla="*/ 364 h 3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 h="364">
                  <a:moveTo>
                    <a:pt x="78" y="0"/>
                  </a:moveTo>
                  <a:lnTo>
                    <a:pt x="185" y="31"/>
                  </a:lnTo>
                  <a:lnTo>
                    <a:pt x="258" y="91"/>
                  </a:lnTo>
                  <a:cubicBezTo>
                    <a:pt x="157" y="81"/>
                    <a:pt x="150" y="138"/>
                    <a:pt x="150" y="138"/>
                  </a:cubicBezTo>
                  <a:cubicBezTo>
                    <a:pt x="130" y="271"/>
                    <a:pt x="44" y="339"/>
                    <a:pt x="44" y="339"/>
                  </a:cubicBezTo>
                  <a:cubicBezTo>
                    <a:pt x="23" y="363"/>
                    <a:pt x="13" y="352"/>
                    <a:pt x="13" y="352"/>
                  </a:cubicBezTo>
                  <a:cubicBezTo>
                    <a:pt x="0" y="342"/>
                    <a:pt x="16" y="326"/>
                    <a:pt x="16" y="326"/>
                  </a:cubicBezTo>
                  <a:cubicBezTo>
                    <a:pt x="102" y="206"/>
                    <a:pt x="78" y="0"/>
                    <a:pt x="78" y="0"/>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69" name="Freeform 63"/>
            <p:cNvSpPr>
              <a:spLocks noChangeArrowheads="1"/>
            </p:cNvSpPr>
            <p:nvPr/>
          </p:nvSpPr>
          <p:spPr bwMode="auto">
            <a:xfrm>
              <a:off x="3313113" y="4117975"/>
              <a:ext cx="209550" cy="101600"/>
            </a:xfrm>
            <a:custGeom>
              <a:avLst/>
              <a:gdLst>
                <a:gd name="T0" fmla="*/ 160033 w 584"/>
                <a:gd name="T1" fmla="*/ 101242 h 284"/>
                <a:gd name="T2" fmla="*/ 83605 w 584"/>
                <a:gd name="T3" fmla="*/ 101242 h 284"/>
                <a:gd name="T4" fmla="*/ 83605 w 584"/>
                <a:gd name="T5" fmla="*/ 91225 h 284"/>
                <a:gd name="T6" fmla="*/ 87552 w 584"/>
                <a:gd name="T7" fmla="*/ 91225 h 284"/>
                <a:gd name="T8" fmla="*/ 74634 w 584"/>
                <a:gd name="T9" fmla="*/ 69761 h 284"/>
                <a:gd name="T10" fmla="*/ 7535 w 584"/>
                <a:gd name="T11" fmla="*/ 39352 h 284"/>
                <a:gd name="T12" fmla="*/ 0 w 584"/>
                <a:gd name="T13" fmla="*/ 34701 h 284"/>
                <a:gd name="T14" fmla="*/ 0 w 584"/>
                <a:gd name="T15" fmla="*/ 5366 h 284"/>
                <a:gd name="T16" fmla="*/ 6818 w 584"/>
                <a:gd name="T17" fmla="*/ 0 h 284"/>
                <a:gd name="T18" fmla="*/ 143886 w 584"/>
                <a:gd name="T19" fmla="*/ 0 h 284"/>
                <a:gd name="T20" fmla="*/ 170439 w 584"/>
                <a:gd name="T21" fmla="*/ 11448 h 284"/>
                <a:gd name="T22" fmla="*/ 199144 w 584"/>
                <a:gd name="T23" fmla="*/ 58670 h 284"/>
                <a:gd name="T24" fmla="*/ 188380 w 584"/>
                <a:gd name="T25" fmla="*/ 80493 h 284"/>
                <a:gd name="T26" fmla="*/ 160033 w 584"/>
                <a:gd name="T27" fmla="*/ 96234 h 284"/>
                <a:gd name="T28" fmla="*/ 160033 w 584"/>
                <a:gd name="T29" fmla="*/ 101242 h 2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4"/>
                <a:gd name="T46" fmla="*/ 0 h 284"/>
                <a:gd name="T47" fmla="*/ 584 w 584"/>
                <a:gd name="T48" fmla="*/ 284 h 28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4" h="284">
                  <a:moveTo>
                    <a:pt x="446" y="283"/>
                  </a:moveTo>
                  <a:lnTo>
                    <a:pt x="233" y="283"/>
                  </a:lnTo>
                  <a:lnTo>
                    <a:pt x="233" y="255"/>
                  </a:lnTo>
                  <a:lnTo>
                    <a:pt x="244" y="255"/>
                  </a:lnTo>
                  <a:cubicBezTo>
                    <a:pt x="242" y="209"/>
                    <a:pt x="208" y="195"/>
                    <a:pt x="208" y="195"/>
                  </a:cubicBezTo>
                  <a:lnTo>
                    <a:pt x="21" y="110"/>
                  </a:lnTo>
                  <a:lnTo>
                    <a:pt x="0" y="97"/>
                  </a:lnTo>
                  <a:lnTo>
                    <a:pt x="0" y="15"/>
                  </a:lnTo>
                  <a:lnTo>
                    <a:pt x="19" y="0"/>
                  </a:lnTo>
                  <a:lnTo>
                    <a:pt x="401" y="0"/>
                  </a:lnTo>
                  <a:cubicBezTo>
                    <a:pt x="456" y="0"/>
                    <a:pt x="475" y="32"/>
                    <a:pt x="475" y="32"/>
                  </a:cubicBezTo>
                  <a:lnTo>
                    <a:pt x="555" y="164"/>
                  </a:lnTo>
                  <a:cubicBezTo>
                    <a:pt x="583" y="213"/>
                    <a:pt x="525" y="225"/>
                    <a:pt x="525" y="225"/>
                  </a:cubicBezTo>
                  <a:cubicBezTo>
                    <a:pt x="478" y="233"/>
                    <a:pt x="446" y="269"/>
                    <a:pt x="446" y="269"/>
                  </a:cubicBezTo>
                  <a:lnTo>
                    <a:pt x="446" y="283"/>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70" name="Freeform 64"/>
            <p:cNvSpPr>
              <a:spLocks noChangeArrowheads="1"/>
            </p:cNvSpPr>
            <p:nvPr/>
          </p:nvSpPr>
          <p:spPr bwMode="auto">
            <a:xfrm>
              <a:off x="3287713" y="4117975"/>
              <a:ext cx="34925" cy="34925"/>
            </a:xfrm>
            <a:custGeom>
              <a:avLst/>
              <a:gdLst>
                <a:gd name="T0" fmla="*/ 34557 w 95"/>
                <a:gd name="T1" fmla="*/ 30339 h 99"/>
                <a:gd name="T2" fmla="*/ 30146 w 95"/>
                <a:gd name="T3" fmla="*/ 34572 h 99"/>
                <a:gd name="T4" fmla="*/ 4044 w 95"/>
                <a:gd name="T5" fmla="*/ 34572 h 99"/>
                <a:gd name="T6" fmla="*/ 0 w 95"/>
                <a:gd name="T7" fmla="*/ 30339 h 99"/>
                <a:gd name="T8" fmla="*/ 0 w 95"/>
                <a:gd name="T9" fmla="*/ 3881 h 99"/>
                <a:gd name="T10" fmla="*/ 4044 w 95"/>
                <a:gd name="T11" fmla="*/ 0 h 99"/>
                <a:gd name="T12" fmla="*/ 30146 w 95"/>
                <a:gd name="T13" fmla="*/ 0 h 99"/>
                <a:gd name="T14" fmla="*/ 34557 w 95"/>
                <a:gd name="T15" fmla="*/ 3881 h 99"/>
                <a:gd name="T16" fmla="*/ 34557 w 95"/>
                <a:gd name="T17" fmla="*/ 30339 h 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
                <a:gd name="T28" fmla="*/ 0 h 99"/>
                <a:gd name="T29" fmla="*/ 95 w 95"/>
                <a:gd name="T30" fmla="*/ 99 h 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 h="99">
                  <a:moveTo>
                    <a:pt x="94" y="86"/>
                  </a:moveTo>
                  <a:cubicBezTo>
                    <a:pt x="94" y="93"/>
                    <a:pt x="89" y="98"/>
                    <a:pt x="82" y="98"/>
                  </a:cubicBezTo>
                  <a:lnTo>
                    <a:pt x="11" y="98"/>
                  </a:lnTo>
                  <a:cubicBezTo>
                    <a:pt x="5" y="98"/>
                    <a:pt x="0" y="93"/>
                    <a:pt x="0" y="86"/>
                  </a:cubicBezTo>
                  <a:lnTo>
                    <a:pt x="0" y="11"/>
                  </a:lnTo>
                  <a:cubicBezTo>
                    <a:pt x="0" y="5"/>
                    <a:pt x="5" y="0"/>
                    <a:pt x="11" y="0"/>
                  </a:cubicBezTo>
                  <a:lnTo>
                    <a:pt x="82" y="0"/>
                  </a:lnTo>
                  <a:cubicBezTo>
                    <a:pt x="89" y="0"/>
                    <a:pt x="94" y="5"/>
                    <a:pt x="94" y="11"/>
                  </a:cubicBezTo>
                  <a:lnTo>
                    <a:pt x="94" y="86"/>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71" name="Freeform 65"/>
            <p:cNvSpPr>
              <a:spLocks noChangeArrowheads="1"/>
            </p:cNvSpPr>
            <p:nvPr/>
          </p:nvSpPr>
          <p:spPr bwMode="auto">
            <a:xfrm>
              <a:off x="3076575" y="4341813"/>
              <a:ext cx="66675" cy="74612"/>
            </a:xfrm>
            <a:custGeom>
              <a:avLst/>
              <a:gdLst>
                <a:gd name="T0" fmla="*/ 0 w 187"/>
                <a:gd name="T1" fmla="*/ 74252 h 207"/>
                <a:gd name="T2" fmla="*/ 0 w 187"/>
                <a:gd name="T3" fmla="*/ 18022 h 207"/>
                <a:gd name="T4" fmla="*/ 17828 w 187"/>
                <a:gd name="T5" fmla="*/ 0 h 207"/>
                <a:gd name="T6" fmla="*/ 48491 w 187"/>
                <a:gd name="T7" fmla="*/ 0 h 207"/>
                <a:gd name="T8" fmla="*/ 66318 w 187"/>
                <a:gd name="T9" fmla="*/ 18022 h 207"/>
                <a:gd name="T10" fmla="*/ 66318 w 187"/>
                <a:gd name="T11" fmla="*/ 74252 h 207"/>
                <a:gd name="T12" fmla="*/ 0 w 187"/>
                <a:gd name="T13" fmla="*/ 74252 h 207"/>
                <a:gd name="T14" fmla="*/ 0 60000 65536"/>
                <a:gd name="T15" fmla="*/ 0 60000 65536"/>
                <a:gd name="T16" fmla="*/ 0 60000 65536"/>
                <a:gd name="T17" fmla="*/ 0 60000 65536"/>
                <a:gd name="T18" fmla="*/ 0 60000 65536"/>
                <a:gd name="T19" fmla="*/ 0 60000 65536"/>
                <a:gd name="T20" fmla="*/ 0 60000 65536"/>
                <a:gd name="T21" fmla="*/ 0 w 187"/>
                <a:gd name="T22" fmla="*/ 0 h 207"/>
                <a:gd name="T23" fmla="*/ 187 w 187"/>
                <a:gd name="T24" fmla="*/ 207 h 2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7" h="207">
                  <a:moveTo>
                    <a:pt x="0" y="206"/>
                  </a:moveTo>
                  <a:lnTo>
                    <a:pt x="0" y="50"/>
                  </a:lnTo>
                  <a:cubicBezTo>
                    <a:pt x="0" y="23"/>
                    <a:pt x="23" y="0"/>
                    <a:pt x="50" y="0"/>
                  </a:cubicBezTo>
                  <a:lnTo>
                    <a:pt x="136" y="0"/>
                  </a:lnTo>
                  <a:cubicBezTo>
                    <a:pt x="163" y="0"/>
                    <a:pt x="186" y="23"/>
                    <a:pt x="186" y="50"/>
                  </a:cubicBezTo>
                  <a:lnTo>
                    <a:pt x="186" y="206"/>
                  </a:lnTo>
                  <a:lnTo>
                    <a:pt x="0" y="206"/>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sp>
          <p:nvSpPr>
            <p:cNvPr id="72" name="Freeform 66"/>
            <p:cNvSpPr>
              <a:spLocks noChangeArrowheads="1"/>
            </p:cNvSpPr>
            <p:nvPr/>
          </p:nvSpPr>
          <p:spPr bwMode="auto">
            <a:xfrm>
              <a:off x="3014663" y="4416425"/>
              <a:ext cx="190500" cy="349250"/>
            </a:xfrm>
            <a:custGeom>
              <a:avLst/>
              <a:gdLst>
                <a:gd name="T0" fmla="*/ 190141 w 530"/>
                <a:gd name="T1" fmla="*/ 312960 h 972"/>
                <a:gd name="T2" fmla="*/ 154557 w 530"/>
                <a:gd name="T3" fmla="*/ 348891 h 972"/>
                <a:gd name="T4" fmla="*/ 35943 w 530"/>
                <a:gd name="T5" fmla="*/ 348891 h 972"/>
                <a:gd name="T6" fmla="*/ 0 w 530"/>
                <a:gd name="T7" fmla="*/ 312960 h 972"/>
                <a:gd name="T8" fmla="*/ 0 w 530"/>
                <a:gd name="T9" fmla="*/ 35931 h 972"/>
                <a:gd name="T10" fmla="*/ 35943 w 530"/>
                <a:gd name="T11" fmla="*/ 0 h 972"/>
                <a:gd name="T12" fmla="*/ 154557 w 530"/>
                <a:gd name="T13" fmla="*/ 0 h 972"/>
                <a:gd name="T14" fmla="*/ 190141 w 530"/>
                <a:gd name="T15" fmla="*/ 35931 h 972"/>
                <a:gd name="T16" fmla="*/ 190141 w 530"/>
                <a:gd name="T17" fmla="*/ 312960 h 9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0"/>
                <a:gd name="T28" fmla="*/ 0 h 972"/>
                <a:gd name="T29" fmla="*/ 530 w 530"/>
                <a:gd name="T30" fmla="*/ 972 h 9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0" h="972">
                  <a:moveTo>
                    <a:pt x="529" y="871"/>
                  </a:moveTo>
                  <a:cubicBezTo>
                    <a:pt x="529" y="926"/>
                    <a:pt x="485" y="971"/>
                    <a:pt x="430" y="971"/>
                  </a:cubicBezTo>
                  <a:lnTo>
                    <a:pt x="100" y="971"/>
                  </a:lnTo>
                  <a:cubicBezTo>
                    <a:pt x="45" y="971"/>
                    <a:pt x="0" y="926"/>
                    <a:pt x="0" y="871"/>
                  </a:cubicBezTo>
                  <a:lnTo>
                    <a:pt x="0" y="100"/>
                  </a:lnTo>
                  <a:cubicBezTo>
                    <a:pt x="0" y="45"/>
                    <a:pt x="45" y="0"/>
                    <a:pt x="100" y="0"/>
                  </a:cubicBezTo>
                  <a:lnTo>
                    <a:pt x="430" y="0"/>
                  </a:lnTo>
                  <a:cubicBezTo>
                    <a:pt x="485" y="0"/>
                    <a:pt x="529" y="45"/>
                    <a:pt x="529" y="100"/>
                  </a:cubicBezTo>
                  <a:lnTo>
                    <a:pt x="529" y="871"/>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2"/>
                </a:solidFill>
                <a:latin typeface="Arial"/>
                <a:ea typeface="SimSun" charset="-122"/>
                <a:cs typeface="Arial"/>
              </a:endParaRPr>
            </a:p>
          </p:txBody>
        </p:sp>
      </p:grpSp>
      <p:sp>
        <p:nvSpPr>
          <p:cNvPr id="73" name="Text Box 67"/>
          <p:cNvSpPr txBox="1">
            <a:spLocks noChangeArrowheads="1"/>
          </p:cNvSpPr>
          <p:nvPr/>
        </p:nvSpPr>
        <p:spPr bwMode="auto">
          <a:xfrm>
            <a:off x="5639610" y="2124707"/>
            <a:ext cx="912780" cy="355284"/>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tabLst>
                <a:tab pos="723900" algn="l"/>
              </a:tabLst>
            </a:pPr>
            <a:r>
              <a:rPr lang="en-US" b="1" dirty="0">
                <a:solidFill>
                  <a:schemeClr val="tx1">
                    <a:lumMod val="65000"/>
                    <a:lumOff val="35000"/>
                  </a:schemeClr>
                </a:solidFill>
                <a:latin typeface="Arial"/>
                <a:ea typeface="SimSun" charset="-122"/>
                <a:cs typeface="Arial"/>
              </a:rPr>
              <a:t>ELECTRICAL</a:t>
            </a:r>
            <a:r>
              <a:rPr lang="zh-TW" altLang="en-US" b="1" dirty="0">
                <a:solidFill>
                  <a:schemeClr val="tx1">
                    <a:lumMod val="65000"/>
                    <a:lumOff val="35000"/>
                  </a:schemeClr>
                </a:solidFill>
                <a:latin typeface="Arial"/>
                <a:ea typeface="SimSun" charset="-122"/>
                <a:cs typeface="Arial"/>
              </a:rPr>
              <a:t> </a:t>
            </a:r>
            <a:r>
              <a:rPr lang="en-US" b="1" dirty="0">
                <a:solidFill>
                  <a:schemeClr val="tx1">
                    <a:lumMod val="65000"/>
                    <a:lumOff val="35000"/>
                  </a:schemeClr>
                </a:solidFill>
                <a:latin typeface="Arial"/>
                <a:ea typeface="SimSun" charset="-122"/>
                <a:cs typeface="Arial"/>
              </a:rPr>
              <a:t>&amp; </a:t>
            </a:r>
          </a:p>
          <a:p>
            <a:pPr algn="ctr" hangingPunct="0">
              <a:lnSpc>
                <a:spcPct val="93000"/>
              </a:lnSpc>
              <a:buClr>
                <a:srgbClr val="000000"/>
              </a:buClr>
              <a:buSzPct val="100000"/>
              <a:tabLst>
                <a:tab pos="723900" algn="l"/>
              </a:tabLst>
            </a:pPr>
            <a:r>
              <a:rPr lang="en-US" b="1" dirty="0">
                <a:solidFill>
                  <a:schemeClr val="tx1">
                    <a:lumMod val="65000"/>
                    <a:lumOff val="35000"/>
                  </a:schemeClr>
                </a:solidFill>
                <a:latin typeface="Arial"/>
                <a:ea typeface="SimSun" charset="-122"/>
                <a:cs typeface="Arial"/>
              </a:rPr>
              <a:t>ELECTRONICS </a:t>
            </a:r>
          </a:p>
        </p:txBody>
      </p:sp>
      <p:grpSp>
        <p:nvGrpSpPr>
          <p:cNvPr id="74" name="Group 131"/>
          <p:cNvGrpSpPr>
            <a:grpSpLocks/>
          </p:cNvGrpSpPr>
          <p:nvPr/>
        </p:nvGrpSpPr>
        <p:grpSpPr bwMode="auto">
          <a:xfrm>
            <a:off x="5752920" y="2746390"/>
            <a:ext cx="595315" cy="595282"/>
            <a:chOff x="4708525" y="3663950"/>
            <a:chExt cx="647700" cy="647700"/>
          </a:xfrm>
        </p:grpSpPr>
        <p:sp>
          <p:nvSpPr>
            <p:cNvPr id="75" name="Freeform 69"/>
            <p:cNvSpPr>
              <a:spLocks noChangeArrowheads="1"/>
            </p:cNvSpPr>
            <p:nvPr/>
          </p:nvSpPr>
          <p:spPr bwMode="auto">
            <a:xfrm>
              <a:off x="4708525" y="3663950"/>
              <a:ext cx="647700" cy="647700"/>
            </a:xfrm>
            <a:custGeom>
              <a:avLst/>
              <a:gdLst>
                <a:gd name="T0" fmla="*/ 585414 w 1799"/>
                <a:gd name="T1" fmla="*/ 191644 h 1798"/>
                <a:gd name="T2" fmla="*/ 647340 w 1799"/>
                <a:gd name="T3" fmla="*/ 216500 h 1798"/>
                <a:gd name="T4" fmla="*/ 566332 w 1799"/>
                <a:gd name="T5" fmla="*/ 232351 h 1798"/>
                <a:gd name="T6" fmla="*/ 641939 w 1799"/>
                <a:gd name="T7" fmla="*/ 276659 h 1798"/>
                <a:gd name="T8" fmla="*/ 600176 w 1799"/>
                <a:gd name="T9" fmla="*/ 296112 h 1798"/>
                <a:gd name="T10" fmla="*/ 585414 w 1799"/>
                <a:gd name="T11" fmla="*/ 340061 h 1798"/>
                <a:gd name="T12" fmla="*/ 647340 w 1799"/>
                <a:gd name="T13" fmla="*/ 364917 h 1798"/>
                <a:gd name="T14" fmla="*/ 566332 w 1799"/>
                <a:gd name="T15" fmla="*/ 380767 h 1798"/>
                <a:gd name="T16" fmla="*/ 641939 w 1799"/>
                <a:gd name="T17" fmla="*/ 425076 h 1798"/>
                <a:gd name="T18" fmla="*/ 600176 w 1799"/>
                <a:gd name="T19" fmla="*/ 444528 h 1798"/>
                <a:gd name="T20" fmla="*/ 585414 w 1799"/>
                <a:gd name="T21" fmla="*/ 488837 h 1798"/>
                <a:gd name="T22" fmla="*/ 647340 w 1799"/>
                <a:gd name="T23" fmla="*/ 513693 h 1798"/>
                <a:gd name="T24" fmla="*/ 563092 w 1799"/>
                <a:gd name="T25" fmla="*/ 529543 h 1798"/>
                <a:gd name="T26" fmla="*/ 518808 w 1799"/>
                <a:gd name="T27" fmla="*/ 641936 h 1798"/>
                <a:gd name="T28" fmla="*/ 499366 w 1799"/>
                <a:gd name="T29" fmla="*/ 599789 h 1798"/>
                <a:gd name="T30" fmla="*/ 455082 w 1799"/>
                <a:gd name="T31" fmla="*/ 585380 h 1798"/>
                <a:gd name="T32" fmla="*/ 430600 w 1799"/>
                <a:gd name="T33" fmla="*/ 647340 h 1798"/>
                <a:gd name="T34" fmla="*/ 414398 w 1799"/>
                <a:gd name="T35" fmla="*/ 566287 h 1798"/>
                <a:gd name="T36" fmla="*/ 370474 w 1799"/>
                <a:gd name="T37" fmla="*/ 641936 h 1798"/>
                <a:gd name="T38" fmla="*/ 350672 w 1799"/>
                <a:gd name="T39" fmla="*/ 599789 h 1798"/>
                <a:gd name="T40" fmla="*/ 307108 w 1799"/>
                <a:gd name="T41" fmla="*/ 585380 h 1798"/>
                <a:gd name="T42" fmla="*/ 282266 w 1799"/>
                <a:gd name="T43" fmla="*/ 647340 h 1798"/>
                <a:gd name="T44" fmla="*/ 266425 w 1799"/>
                <a:gd name="T45" fmla="*/ 566287 h 1798"/>
                <a:gd name="T46" fmla="*/ 222141 w 1799"/>
                <a:gd name="T47" fmla="*/ 641936 h 1798"/>
                <a:gd name="T48" fmla="*/ 202699 w 1799"/>
                <a:gd name="T49" fmla="*/ 599789 h 1798"/>
                <a:gd name="T50" fmla="*/ 158415 w 1799"/>
                <a:gd name="T51" fmla="*/ 585380 h 1798"/>
                <a:gd name="T52" fmla="*/ 133572 w 1799"/>
                <a:gd name="T53" fmla="*/ 647340 h 1798"/>
                <a:gd name="T54" fmla="*/ 117731 w 1799"/>
                <a:gd name="T55" fmla="*/ 563045 h 1798"/>
                <a:gd name="T56" fmla="*/ 5040 w 1799"/>
                <a:gd name="T57" fmla="*/ 519097 h 1798"/>
                <a:gd name="T58" fmla="*/ 47164 w 1799"/>
                <a:gd name="T59" fmla="*/ 499284 h 1798"/>
                <a:gd name="T60" fmla="*/ 61926 w 1799"/>
                <a:gd name="T61" fmla="*/ 455335 h 1798"/>
                <a:gd name="T62" fmla="*/ 0 w 1799"/>
                <a:gd name="T63" fmla="*/ 430479 h 1798"/>
                <a:gd name="T64" fmla="*/ 81008 w 1799"/>
                <a:gd name="T65" fmla="*/ 414629 h 1798"/>
                <a:gd name="T66" fmla="*/ 5040 w 1799"/>
                <a:gd name="T67" fmla="*/ 370320 h 1798"/>
                <a:gd name="T68" fmla="*/ 47164 w 1799"/>
                <a:gd name="T69" fmla="*/ 350868 h 1798"/>
                <a:gd name="T70" fmla="*/ 61926 w 1799"/>
                <a:gd name="T71" fmla="*/ 306559 h 1798"/>
                <a:gd name="T72" fmla="*/ 0 w 1799"/>
                <a:gd name="T73" fmla="*/ 281703 h 1798"/>
                <a:gd name="T74" fmla="*/ 81008 w 1799"/>
                <a:gd name="T75" fmla="*/ 265852 h 1798"/>
                <a:gd name="T76" fmla="*/ 5040 w 1799"/>
                <a:gd name="T77" fmla="*/ 221904 h 1798"/>
                <a:gd name="T78" fmla="*/ 47164 w 1799"/>
                <a:gd name="T79" fmla="*/ 202091 h 1798"/>
                <a:gd name="T80" fmla="*/ 61926 w 1799"/>
                <a:gd name="T81" fmla="*/ 158143 h 1798"/>
                <a:gd name="T82" fmla="*/ 0 w 1799"/>
                <a:gd name="T83" fmla="*/ 133286 h 1798"/>
                <a:gd name="T84" fmla="*/ 84248 w 1799"/>
                <a:gd name="T85" fmla="*/ 117796 h 1798"/>
                <a:gd name="T86" fmla="*/ 128172 w 1799"/>
                <a:gd name="T87" fmla="*/ 5043 h 1798"/>
                <a:gd name="T88" fmla="*/ 147974 w 1799"/>
                <a:gd name="T89" fmla="*/ 47191 h 1798"/>
                <a:gd name="T90" fmla="*/ 191898 w 1799"/>
                <a:gd name="T91" fmla="*/ 61960 h 1798"/>
                <a:gd name="T92" fmla="*/ 216740 w 1799"/>
                <a:gd name="T93" fmla="*/ 0 h 1798"/>
                <a:gd name="T94" fmla="*/ 232582 w 1799"/>
                <a:gd name="T95" fmla="*/ 81053 h 1798"/>
                <a:gd name="T96" fmla="*/ 276866 w 1799"/>
                <a:gd name="T97" fmla="*/ 5043 h 1798"/>
                <a:gd name="T98" fmla="*/ 296307 w 1799"/>
                <a:gd name="T99" fmla="*/ 47191 h 1798"/>
                <a:gd name="T100" fmla="*/ 340232 w 1799"/>
                <a:gd name="T101" fmla="*/ 61960 h 1798"/>
                <a:gd name="T102" fmla="*/ 365074 w 1799"/>
                <a:gd name="T103" fmla="*/ 0 h 1798"/>
                <a:gd name="T104" fmla="*/ 380915 w 1799"/>
                <a:gd name="T105" fmla="*/ 81053 h 1798"/>
                <a:gd name="T106" fmla="*/ 425199 w 1799"/>
                <a:gd name="T107" fmla="*/ 5043 h 1798"/>
                <a:gd name="T108" fmla="*/ 444641 w 1799"/>
                <a:gd name="T109" fmla="*/ 47191 h 1798"/>
                <a:gd name="T110" fmla="*/ 488925 w 1799"/>
                <a:gd name="T111" fmla="*/ 61960 h 1798"/>
                <a:gd name="T112" fmla="*/ 513408 w 1799"/>
                <a:gd name="T113" fmla="*/ 0 h 1798"/>
                <a:gd name="T114" fmla="*/ 529609 w 1799"/>
                <a:gd name="T115" fmla="*/ 84655 h 1798"/>
                <a:gd name="T116" fmla="*/ 641939 w 1799"/>
                <a:gd name="T117" fmla="*/ 127883 h 1798"/>
                <a:gd name="T118" fmla="*/ 600176 w 1799"/>
                <a:gd name="T119" fmla="*/ 147336 h 1798"/>
                <a:gd name="T120" fmla="*/ 445721 w 1799"/>
                <a:gd name="T121" fmla="*/ 188402 h 1798"/>
                <a:gd name="T122" fmla="*/ 201259 w 1799"/>
                <a:gd name="T123" fmla="*/ 458938 h 17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99"/>
                <a:gd name="T187" fmla="*/ 0 h 1798"/>
                <a:gd name="T188" fmla="*/ 1799 w 1799"/>
                <a:gd name="T189" fmla="*/ 1798 h 17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99" h="1798">
                  <a:moveTo>
                    <a:pt x="1626" y="439"/>
                  </a:moveTo>
                  <a:lnTo>
                    <a:pt x="1573" y="439"/>
                  </a:lnTo>
                  <a:lnTo>
                    <a:pt x="1573" y="532"/>
                  </a:lnTo>
                  <a:lnTo>
                    <a:pt x="1626" y="532"/>
                  </a:lnTo>
                  <a:cubicBezTo>
                    <a:pt x="1645" y="532"/>
                    <a:pt x="1661" y="544"/>
                    <a:pt x="1667" y="561"/>
                  </a:cubicBezTo>
                  <a:lnTo>
                    <a:pt x="1783" y="561"/>
                  </a:lnTo>
                  <a:cubicBezTo>
                    <a:pt x="1792" y="561"/>
                    <a:pt x="1798" y="568"/>
                    <a:pt x="1798" y="576"/>
                  </a:cubicBezTo>
                  <a:lnTo>
                    <a:pt x="1798" y="601"/>
                  </a:lnTo>
                  <a:cubicBezTo>
                    <a:pt x="1798" y="609"/>
                    <a:pt x="1792" y="616"/>
                    <a:pt x="1783" y="616"/>
                  </a:cubicBezTo>
                  <a:lnTo>
                    <a:pt x="1667" y="616"/>
                  </a:lnTo>
                  <a:cubicBezTo>
                    <a:pt x="1661" y="633"/>
                    <a:pt x="1645" y="645"/>
                    <a:pt x="1626" y="645"/>
                  </a:cubicBezTo>
                  <a:lnTo>
                    <a:pt x="1573" y="645"/>
                  </a:lnTo>
                  <a:lnTo>
                    <a:pt x="1573" y="738"/>
                  </a:lnTo>
                  <a:lnTo>
                    <a:pt x="1626" y="738"/>
                  </a:lnTo>
                  <a:cubicBezTo>
                    <a:pt x="1645" y="738"/>
                    <a:pt x="1661" y="751"/>
                    <a:pt x="1667" y="768"/>
                  </a:cubicBezTo>
                  <a:lnTo>
                    <a:pt x="1783" y="768"/>
                  </a:lnTo>
                  <a:cubicBezTo>
                    <a:pt x="1792" y="768"/>
                    <a:pt x="1798" y="774"/>
                    <a:pt x="1798" y="782"/>
                  </a:cubicBezTo>
                  <a:lnTo>
                    <a:pt x="1798" y="807"/>
                  </a:lnTo>
                  <a:cubicBezTo>
                    <a:pt x="1798" y="815"/>
                    <a:pt x="1792" y="822"/>
                    <a:pt x="1783" y="822"/>
                  </a:cubicBezTo>
                  <a:lnTo>
                    <a:pt x="1667" y="822"/>
                  </a:lnTo>
                  <a:cubicBezTo>
                    <a:pt x="1661" y="839"/>
                    <a:pt x="1645" y="851"/>
                    <a:pt x="1626" y="851"/>
                  </a:cubicBezTo>
                  <a:lnTo>
                    <a:pt x="1573" y="851"/>
                  </a:lnTo>
                  <a:lnTo>
                    <a:pt x="1573" y="944"/>
                  </a:lnTo>
                  <a:lnTo>
                    <a:pt x="1626" y="944"/>
                  </a:lnTo>
                  <a:cubicBezTo>
                    <a:pt x="1645" y="944"/>
                    <a:pt x="1661" y="957"/>
                    <a:pt x="1667" y="974"/>
                  </a:cubicBezTo>
                  <a:lnTo>
                    <a:pt x="1783" y="974"/>
                  </a:lnTo>
                  <a:cubicBezTo>
                    <a:pt x="1792" y="974"/>
                    <a:pt x="1798" y="980"/>
                    <a:pt x="1798" y="988"/>
                  </a:cubicBezTo>
                  <a:lnTo>
                    <a:pt x="1798" y="1013"/>
                  </a:lnTo>
                  <a:cubicBezTo>
                    <a:pt x="1798" y="1022"/>
                    <a:pt x="1792" y="1028"/>
                    <a:pt x="1783" y="1028"/>
                  </a:cubicBezTo>
                  <a:lnTo>
                    <a:pt x="1667" y="1028"/>
                  </a:lnTo>
                  <a:cubicBezTo>
                    <a:pt x="1661" y="1045"/>
                    <a:pt x="1645" y="1057"/>
                    <a:pt x="1626" y="1057"/>
                  </a:cubicBezTo>
                  <a:lnTo>
                    <a:pt x="1573" y="1057"/>
                  </a:lnTo>
                  <a:lnTo>
                    <a:pt x="1573" y="1151"/>
                  </a:lnTo>
                  <a:lnTo>
                    <a:pt x="1626" y="1151"/>
                  </a:lnTo>
                  <a:cubicBezTo>
                    <a:pt x="1645" y="1151"/>
                    <a:pt x="1661" y="1163"/>
                    <a:pt x="1667" y="1180"/>
                  </a:cubicBezTo>
                  <a:lnTo>
                    <a:pt x="1783" y="1180"/>
                  </a:lnTo>
                  <a:cubicBezTo>
                    <a:pt x="1792" y="1180"/>
                    <a:pt x="1798" y="1186"/>
                    <a:pt x="1798" y="1195"/>
                  </a:cubicBezTo>
                  <a:lnTo>
                    <a:pt x="1798" y="1219"/>
                  </a:lnTo>
                  <a:cubicBezTo>
                    <a:pt x="1798" y="1228"/>
                    <a:pt x="1792" y="1234"/>
                    <a:pt x="1783" y="1234"/>
                  </a:cubicBezTo>
                  <a:lnTo>
                    <a:pt x="1667" y="1234"/>
                  </a:lnTo>
                  <a:cubicBezTo>
                    <a:pt x="1661" y="1251"/>
                    <a:pt x="1645" y="1264"/>
                    <a:pt x="1626" y="1264"/>
                  </a:cubicBezTo>
                  <a:lnTo>
                    <a:pt x="1573" y="1264"/>
                  </a:lnTo>
                  <a:lnTo>
                    <a:pt x="1573" y="1357"/>
                  </a:lnTo>
                  <a:lnTo>
                    <a:pt x="1626" y="1357"/>
                  </a:lnTo>
                  <a:cubicBezTo>
                    <a:pt x="1645" y="1357"/>
                    <a:pt x="1661" y="1369"/>
                    <a:pt x="1667" y="1386"/>
                  </a:cubicBezTo>
                  <a:lnTo>
                    <a:pt x="1783" y="1386"/>
                  </a:lnTo>
                  <a:cubicBezTo>
                    <a:pt x="1792" y="1386"/>
                    <a:pt x="1798" y="1393"/>
                    <a:pt x="1798" y="1401"/>
                  </a:cubicBezTo>
                  <a:lnTo>
                    <a:pt x="1798" y="1426"/>
                  </a:lnTo>
                  <a:cubicBezTo>
                    <a:pt x="1798" y="1434"/>
                    <a:pt x="1792" y="1441"/>
                    <a:pt x="1783" y="1441"/>
                  </a:cubicBezTo>
                  <a:lnTo>
                    <a:pt x="1667" y="1441"/>
                  </a:lnTo>
                  <a:cubicBezTo>
                    <a:pt x="1661" y="1458"/>
                    <a:pt x="1645" y="1470"/>
                    <a:pt x="1626" y="1470"/>
                  </a:cubicBezTo>
                  <a:lnTo>
                    <a:pt x="1564" y="1470"/>
                  </a:lnTo>
                  <a:cubicBezTo>
                    <a:pt x="1548" y="1513"/>
                    <a:pt x="1514" y="1548"/>
                    <a:pt x="1471" y="1563"/>
                  </a:cubicBezTo>
                  <a:lnTo>
                    <a:pt x="1471" y="1625"/>
                  </a:lnTo>
                  <a:cubicBezTo>
                    <a:pt x="1471" y="1644"/>
                    <a:pt x="1458" y="1660"/>
                    <a:pt x="1441" y="1665"/>
                  </a:cubicBezTo>
                  <a:lnTo>
                    <a:pt x="1441" y="1782"/>
                  </a:lnTo>
                  <a:cubicBezTo>
                    <a:pt x="1441" y="1790"/>
                    <a:pt x="1435" y="1797"/>
                    <a:pt x="1426" y="1797"/>
                  </a:cubicBezTo>
                  <a:lnTo>
                    <a:pt x="1402" y="1797"/>
                  </a:lnTo>
                  <a:cubicBezTo>
                    <a:pt x="1393" y="1797"/>
                    <a:pt x="1387" y="1790"/>
                    <a:pt x="1387" y="1782"/>
                  </a:cubicBezTo>
                  <a:lnTo>
                    <a:pt x="1387" y="1665"/>
                  </a:lnTo>
                  <a:cubicBezTo>
                    <a:pt x="1370" y="1660"/>
                    <a:pt x="1358" y="1644"/>
                    <a:pt x="1358" y="1625"/>
                  </a:cubicBezTo>
                  <a:lnTo>
                    <a:pt x="1358" y="1572"/>
                  </a:lnTo>
                  <a:lnTo>
                    <a:pt x="1264" y="1572"/>
                  </a:lnTo>
                  <a:lnTo>
                    <a:pt x="1264" y="1625"/>
                  </a:lnTo>
                  <a:cubicBezTo>
                    <a:pt x="1264" y="1644"/>
                    <a:pt x="1252" y="1660"/>
                    <a:pt x="1235" y="1665"/>
                  </a:cubicBezTo>
                  <a:lnTo>
                    <a:pt x="1235" y="1782"/>
                  </a:lnTo>
                  <a:cubicBezTo>
                    <a:pt x="1235" y="1790"/>
                    <a:pt x="1228" y="1797"/>
                    <a:pt x="1220" y="1797"/>
                  </a:cubicBezTo>
                  <a:lnTo>
                    <a:pt x="1196" y="1797"/>
                  </a:lnTo>
                  <a:cubicBezTo>
                    <a:pt x="1187" y="1797"/>
                    <a:pt x="1181" y="1790"/>
                    <a:pt x="1181" y="1782"/>
                  </a:cubicBezTo>
                  <a:lnTo>
                    <a:pt x="1181" y="1665"/>
                  </a:lnTo>
                  <a:cubicBezTo>
                    <a:pt x="1164" y="1660"/>
                    <a:pt x="1151" y="1644"/>
                    <a:pt x="1151" y="1625"/>
                  </a:cubicBezTo>
                  <a:lnTo>
                    <a:pt x="1151" y="1572"/>
                  </a:lnTo>
                  <a:lnTo>
                    <a:pt x="1058" y="1572"/>
                  </a:lnTo>
                  <a:lnTo>
                    <a:pt x="1058" y="1625"/>
                  </a:lnTo>
                  <a:cubicBezTo>
                    <a:pt x="1058" y="1644"/>
                    <a:pt x="1046" y="1660"/>
                    <a:pt x="1029" y="1665"/>
                  </a:cubicBezTo>
                  <a:lnTo>
                    <a:pt x="1029" y="1782"/>
                  </a:lnTo>
                  <a:cubicBezTo>
                    <a:pt x="1029" y="1790"/>
                    <a:pt x="1022" y="1797"/>
                    <a:pt x="1014" y="1797"/>
                  </a:cubicBezTo>
                  <a:lnTo>
                    <a:pt x="989" y="1797"/>
                  </a:lnTo>
                  <a:cubicBezTo>
                    <a:pt x="981" y="1797"/>
                    <a:pt x="974" y="1790"/>
                    <a:pt x="974" y="1782"/>
                  </a:cubicBezTo>
                  <a:lnTo>
                    <a:pt x="974" y="1665"/>
                  </a:lnTo>
                  <a:cubicBezTo>
                    <a:pt x="957" y="1660"/>
                    <a:pt x="945" y="1644"/>
                    <a:pt x="945" y="1625"/>
                  </a:cubicBezTo>
                  <a:lnTo>
                    <a:pt x="945" y="1572"/>
                  </a:lnTo>
                  <a:lnTo>
                    <a:pt x="853" y="1572"/>
                  </a:lnTo>
                  <a:lnTo>
                    <a:pt x="853" y="1625"/>
                  </a:lnTo>
                  <a:cubicBezTo>
                    <a:pt x="853" y="1644"/>
                    <a:pt x="841" y="1660"/>
                    <a:pt x="824" y="1665"/>
                  </a:cubicBezTo>
                  <a:lnTo>
                    <a:pt x="824" y="1782"/>
                  </a:lnTo>
                  <a:cubicBezTo>
                    <a:pt x="824" y="1790"/>
                    <a:pt x="817" y="1797"/>
                    <a:pt x="809" y="1797"/>
                  </a:cubicBezTo>
                  <a:lnTo>
                    <a:pt x="784" y="1797"/>
                  </a:lnTo>
                  <a:cubicBezTo>
                    <a:pt x="776" y="1797"/>
                    <a:pt x="769" y="1790"/>
                    <a:pt x="769" y="1782"/>
                  </a:cubicBezTo>
                  <a:lnTo>
                    <a:pt x="769" y="1665"/>
                  </a:lnTo>
                  <a:cubicBezTo>
                    <a:pt x="752" y="1660"/>
                    <a:pt x="740" y="1644"/>
                    <a:pt x="740" y="1625"/>
                  </a:cubicBezTo>
                  <a:lnTo>
                    <a:pt x="740" y="1572"/>
                  </a:lnTo>
                  <a:lnTo>
                    <a:pt x="646" y="1572"/>
                  </a:lnTo>
                  <a:lnTo>
                    <a:pt x="646" y="1625"/>
                  </a:lnTo>
                  <a:cubicBezTo>
                    <a:pt x="646" y="1644"/>
                    <a:pt x="635" y="1660"/>
                    <a:pt x="617" y="1665"/>
                  </a:cubicBezTo>
                  <a:lnTo>
                    <a:pt x="617" y="1782"/>
                  </a:lnTo>
                  <a:cubicBezTo>
                    <a:pt x="617" y="1790"/>
                    <a:pt x="611" y="1797"/>
                    <a:pt x="602" y="1797"/>
                  </a:cubicBezTo>
                  <a:lnTo>
                    <a:pt x="577" y="1797"/>
                  </a:lnTo>
                  <a:cubicBezTo>
                    <a:pt x="569" y="1797"/>
                    <a:pt x="563" y="1790"/>
                    <a:pt x="563" y="1782"/>
                  </a:cubicBezTo>
                  <a:lnTo>
                    <a:pt x="563" y="1665"/>
                  </a:lnTo>
                  <a:cubicBezTo>
                    <a:pt x="546" y="1660"/>
                    <a:pt x="533" y="1644"/>
                    <a:pt x="533" y="1625"/>
                  </a:cubicBezTo>
                  <a:lnTo>
                    <a:pt x="533" y="1572"/>
                  </a:lnTo>
                  <a:lnTo>
                    <a:pt x="440" y="1572"/>
                  </a:lnTo>
                  <a:lnTo>
                    <a:pt x="440" y="1625"/>
                  </a:lnTo>
                  <a:cubicBezTo>
                    <a:pt x="440" y="1644"/>
                    <a:pt x="428" y="1660"/>
                    <a:pt x="411" y="1665"/>
                  </a:cubicBezTo>
                  <a:lnTo>
                    <a:pt x="411" y="1782"/>
                  </a:lnTo>
                  <a:cubicBezTo>
                    <a:pt x="411" y="1790"/>
                    <a:pt x="404" y="1797"/>
                    <a:pt x="396" y="1797"/>
                  </a:cubicBezTo>
                  <a:lnTo>
                    <a:pt x="371" y="1797"/>
                  </a:lnTo>
                  <a:cubicBezTo>
                    <a:pt x="363" y="1797"/>
                    <a:pt x="356" y="1790"/>
                    <a:pt x="356" y="1782"/>
                  </a:cubicBezTo>
                  <a:lnTo>
                    <a:pt x="356" y="1665"/>
                  </a:lnTo>
                  <a:cubicBezTo>
                    <a:pt x="340" y="1660"/>
                    <a:pt x="327" y="1644"/>
                    <a:pt x="327" y="1625"/>
                  </a:cubicBezTo>
                  <a:lnTo>
                    <a:pt x="327" y="1563"/>
                  </a:lnTo>
                  <a:cubicBezTo>
                    <a:pt x="284" y="1548"/>
                    <a:pt x="250" y="1513"/>
                    <a:pt x="234" y="1470"/>
                  </a:cubicBezTo>
                  <a:lnTo>
                    <a:pt x="172" y="1470"/>
                  </a:lnTo>
                  <a:cubicBezTo>
                    <a:pt x="153" y="1470"/>
                    <a:pt x="137" y="1458"/>
                    <a:pt x="131" y="1441"/>
                  </a:cubicBezTo>
                  <a:lnTo>
                    <a:pt x="14" y="1441"/>
                  </a:lnTo>
                  <a:cubicBezTo>
                    <a:pt x="6" y="1441"/>
                    <a:pt x="0" y="1434"/>
                    <a:pt x="0" y="1426"/>
                  </a:cubicBezTo>
                  <a:lnTo>
                    <a:pt x="0" y="1401"/>
                  </a:lnTo>
                  <a:cubicBezTo>
                    <a:pt x="0" y="1393"/>
                    <a:pt x="6" y="1386"/>
                    <a:pt x="14" y="1386"/>
                  </a:cubicBezTo>
                  <a:lnTo>
                    <a:pt x="131" y="1386"/>
                  </a:lnTo>
                  <a:cubicBezTo>
                    <a:pt x="137" y="1369"/>
                    <a:pt x="153" y="1357"/>
                    <a:pt x="172" y="1357"/>
                  </a:cubicBezTo>
                  <a:lnTo>
                    <a:pt x="225" y="1357"/>
                  </a:lnTo>
                  <a:lnTo>
                    <a:pt x="225" y="1264"/>
                  </a:lnTo>
                  <a:lnTo>
                    <a:pt x="172" y="1264"/>
                  </a:lnTo>
                  <a:cubicBezTo>
                    <a:pt x="153" y="1264"/>
                    <a:pt x="137" y="1251"/>
                    <a:pt x="131" y="1234"/>
                  </a:cubicBezTo>
                  <a:lnTo>
                    <a:pt x="14" y="1234"/>
                  </a:lnTo>
                  <a:cubicBezTo>
                    <a:pt x="6" y="1234"/>
                    <a:pt x="0" y="1228"/>
                    <a:pt x="0" y="1219"/>
                  </a:cubicBezTo>
                  <a:lnTo>
                    <a:pt x="0" y="1195"/>
                  </a:lnTo>
                  <a:cubicBezTo>
                    <a:pt x="0" y="1186"/>
                    <a:pt x="6" y="1180"/>
                    <a:pt x="14" y="1180"/>
                  </a:cubicBezTo>
                  <a:lnTo>
                    <a:pt x="131" y="1180"/>
                  </a:lnTo>
                  <a:cubicBezTo>
                    <a:pt x="137" y="1163"/>
                    <a:pt x="153" y="1151"/>
                    <a:pt x="172" y="1151"/>
                  </a:cubicBezTo>
                  <a:lnTo>
                    <a:pt x="225" y="1151"/>
                  </a:lnTo>
                  <a:lnTo>
                    <a:pt x="225" y="1057"/>
                  </a:lnTo>
                  <a:lnTo>
                    <a:pt x="172" y="1057"/>
                  </a:lnTo>
                  <a:cubicBezTo>
                    <a:pt x="153" y="1057"/>
                    <a:pt x="137" y="1045"/>
                    <a:pt x="131" y="1028"/>
                  </a:cubicBezTo>
                  <a:lnTo>
                    <a:pt x="14" y="1028"/>
                  </a:lnTo>
                  <a:cubicBezTo>
                    <a:pt x="6" y="1028"/>
                    <a:pt x="0" y="1022"/>
                    <a:pt x="0" y="1013"/>
                  </a:cubicBezTo>
                  <a:lnTo>
                    <a:pt x="0" y="988"/>
                  </a:lnTo>
                  <a:cubicBezTo>
                    <a:pt x="0" y="980"/>
                    <a:pt x="6" y="974"/>
                    <a:pt x="14" y="974"/>
                  </a:cubicBezTo>
                  <a:lnTo>
                    <a:pt x="131" y="974"/>
                  </a:lnTo>
                  <a:cubicBezTo>
                    <a:pt x="137" y="957"/>
                    <a:pt x="153" y="944"/>
                    <a:pt x="172" y="944"/>
                  </a:cubicBezTo>
                  <a:lnTo>
                    <a:pt x="225" y="944"/>
                  </a:lnTo>
                  <a:lnTo>
                    <a:pt x="225" y="851"/>
                  </a:lnTo>
                  <a:lnTo>
                    <a:pt x="172" y="851"/>
                  </a:lnTo>
                  <a:cubicBezTo>
                    <a:pt x="153" y="851"/>
                    <a:pt x="137" y="839"/>
                    <a:pt x="131" y="822"/>
                  </a:cubicBezTo>
                  <a:lnTo>
                    <a:pt x="14" y="822"/>
                  </a:lnTo>
                  <a:cubicBezTo>
                    <a:pt x="6" y="822"/>
                    <a:pt x="0" y="815"/>
                    <a:pt x="0" y="807"/>
                  </a:cubicBezTo>
                  <a:lnTo>
                    <a:pt x="0" y="782"/>
                  </a:lnTo>
                  <a:cubicBezTo>
                    <a:pt x="0" y="774"/>
                    <a:pt x="6" y="768"/>
                    <a:pt x="14" y="768"/>
                  </a:cubicBezTo>
                  <a:lnTo>
                    <a:pt x="131" y="768"/>
                  </a:lnTo>
                  <a:cubicBezTo>
                    <a:pt x="137" y="751"/>
                    <a:pt x="153" y="738"/>
                    <a:pt x="172" y="738"/>
                  </a:cubicBezTo>
                  <a:lnTo>
                    <a:pt x="225" y="738"/>
                  </a:lnTo>
                  <a:lnTo>
                    <a:pt x="225" y="645"/>
                  </a:lnTo>
                  <a:lnTo>
                    <a:pt x="172" y="645"/>
                  </a:lnTo>
                  <a:cubicBezTo>
                    <a:pt x="153" y="645"/>
                    <a:pt x="137" y="633"/>
                    <a:pt x="131" y="616"/>
                  </a:cubicBezTo>
                  <a:lnTo>
                    <a:pt x="14" y="616"/>
                  </a:lnTo>
                  <a:cubicBezTo>
                    <a:pt x="6" y="616"/>
                    <a:pt x="0" y="609"/>
                    <a:pt x="0" y="601"/>
                  </a:cubicBezTo>
                  <a:lnTo>
                    <a:pt x="0" y="576"/>
                  </a:lnTo>
                  <a:cubicBezTo>
                    <a:pt x="0" y="568"/>
                    <a:pt x="6" y="561"/>
                    <a:pt x="14" y="561"/>
                  </a:cubicBezTo>
                  <a:lnTo>
                    <a:pt x="131" y="561"/>
                  </a:lnTo>
                  <a:cubicBezTo>
                    <a:pt x="137" y="544"/>
                    <a:pt x="153" y="532"/>
                    <a:pt x="172" y="532"/>
                  </a:cubicBezTo>
                  <a:lnTo>
                    <a:pt x="225" y="532"/>
                  </a:lnTo>
                  <a:lnTo>
                    <a:pt x="225" y="439"/>
                  </a:lnTo>
                  <a:lnTo>
                    <a:pt x="172" y="439"/>
                  </a:lnTo>
                  <a:cubicBezTo>
                    <a:pt x="153" y="439"/>
                    <a:pt x="137" y="427"/>
                    <a:pt x="131" y="409"/>
                  </a:cubicBezTo>
                  <a:lnTo>
                    <a:pt x="14" y="409"/>
                  </a:lnTo>
                  <a:cubicBezTo>
                    <a:pt x="6" y="409"/>
                    <a:pt x="0" y="403"/>
                    <a:pt x="0" y="395"/>
                  </a:cubicBezTo>
                  <a:lnTo>
                    <a:pt x="0" y="370"/>
                  </a:lnTo>
                  <a:cubicBezTo>
                    <a:pt x="0" y="362"/>
                    <a:pt x="6" y="355"/>
                    <a:pt x="14" y="355"/>
                  </a:cubicBezTo>
                  <a:lnTo>
                    <a:pt x="131" y="355"/>
                  </a:lnTo>
                  <a:cubicBezTo>
                    <a:pt x="137" y="338"/>
                    <a:pt x="153" y="327"/>
                    <a:pt x="172" y="327"/>
                  </a:cubicBezTo>
                  <a:lnTo>
                    <a:pt x="234" y="327"/>
                  </a:lnTo>
                  <a:cubicBezTo>
                    <a:pt x="250" y="284"/>
                    <a:pt x="284" y="250"/>
                    <a:pt x="327" y="235"/>
                  </a:cubicBezTo>
                  <a:lnTo>
                    <a:pt x="327" y="172"/>
                  </a:lnTo>
                  <a:cubicBezTo>
                    <a:pt x="327" y="153"/>
                    <a:pt x="339" y="137"/>
                    <a:pt x="356" y="131"/>
                  </a:cubicBezTo>
                  <a:lnTo>
                    <a:pt x="356" y="14"/>
                  </a:lnTo>
                  <a:cubicBezTo>
                    <a:pt x="356" y="6"/>
                    <a:pt x="363" y="0"/>
                    <a:pt x="371" y="0"/>
                  </a:cubicBezTo>
                  <a:lnTo>
                    <a:pt x="396" y="0"/>
                  </a:lnTo>
                  <a:cubicBezTo>
                    <a:pt x="404" y="0"/>
                    <a:pt x="411" y="6"/>
                    <a:pt x="411" y="14"/>
                  </a:cubicBezTo>
                  <a:lnTo>
                    <a:pt x="411" y="131"/>
                  </a:lnTo>
                  <a:cubicBezTo>
                    <a:pt x="428" y="137"/>
                    <a:pt x="440" y="153"/>
                    <a:pt x="440" y="172"/>
                  </a:cubicBezTo>
                  <a:lnTo>
                    <a:pt x="440" y="225"/>
                  </a:lnTo>
                  <a:lnTo>
                    <a:pt x="533" y="225"/>
                  </a:lnTo>
                  <a:lnTo>
                    <a:pt x="533" y="172"/>
                  </a:lnTo>
                  <a:cubicBezTo>
                    <a:pt x="533" y="153"/>
                    <a:pt x="546" y="137"/>
                    <a:pt x="563" y="131"/>
                  </a:cubicBezTo>
                  <a:lnTo>
                    <a:pt x="563" y="14"/>
                  </a:lnTo>
                  <a:cubicBezTo>
                    <a:pt x="563" y="6"/>
                    <a:pt x="569" y="0"/>
                    <a:pt x="577" y="0"/>
                  </a:cubicBezTo>
                  <a:lnTo>
                    <a:pt x="602" y="0"/>
                  </a:lnTo>
                  <a:cubicBezTo>
                    <a:pt x="611" y="0"/>
                    <a:pt x="617" y="6"/>
                    <a:pt x="617" y="14"/>
                  </a:cubicBezTo>
                  <a:lnTo>
                    <a:pt x="617" y="131"/>
                  </a:lnTo>
                  <a:cubicBezTo>
                    <a:pt x="634" y="137"/>
                    <a:pt x="646" y="153"/>
                    <a:pt x="646" y="172"/>
                  </a:cubicBezTo>
                  <a:lnTo>
                    <a:pt x="646" y="225"/>
                  </a:lnTo>
                  <a:lnTo>
                    <a:pt x="740" y="225"/>
                  </a:lnTo>
                  <a:lnTo>
                    <a:pt x="740" y="172"/>
                  </a:lnTo>
                  <a:cubicBezTo>
                    <a:pt x="740" y="153"/>
                    <a:pt x="752" y="137"/>
                    <a:pt x="769" y="131"/>
                  </a:cubicBezTo>
                  <a:lnTo>
                    <a:pt x="769" y="14"/>
                  </a:lnTo>
                  <a:cubicBezTo>
                    <a:pt x="769" y="6"/>
                    <a:pt x="776" y="0"/>
                    <a:pt x="784" y="0"/>
                  </a:cubicBezTo>
                  <a:lnTo>
                    <a:pt x="809" y="0"/>
                  </a:lnTo>
                  <a:cubicBezTo>
                    <a:pt x="817" y="0"/>
                    <a:pt x="823" y="6"/>
                    <a:pt x="823" y="14"/>
                  </a:cubicBezTo>
                  <a:lnTo>
                    <a:pt x="823" y="131"/>
                  </a:lnTo>
                  <a:cubicBezTo>
                    <a:pt x="840" y="137"/>
                    <a:pt x="853" y="153"/>
                    <a:pt x="853" y="172"/>
                  </a:cubicBezTo>
                  <a:lnTo>
                    <a:pt x="853" y="225"/>
                  </a:lnTo>
                  <a:lnTo>
                    <a:pt x="945" y="225"/>
                  </a:lnTo>
                  <a:lnTo>
                    <a:pt x="945" y="172"/>
                  </a:lnTo>
                  <a:cubicBezTo>
                    <a:pt x="945" y="153"/>
                    <a:pt x="957" y="137"/>
                    <a:pt x="974" y="131"/>
                  </a:cubicBezTo>
                  <a:lnTo>
                    <a:pt x="974" y="14"/>
                  </a:lnTo>
                  <a:cubicBezTo>
                    <a:pt x="974" y="6"/>
                    <a:pt x="981" y="0"/>
                    <a:pt x="989" y="0"/>
                  </a:cubicBezTo>
                  <a:lnTo>
                    <a:pt x="1014" y="0"/>
                  </a:lnTo>
                  <a:cubicBezTo>
                    <a:pt x="1022" y="0"/>
                    <a:pt x="1029" y="6"/>
                    <a:pt x="1029" y="14"/>
                  </a:cubicBezTo>
                  <a:lnTo>
                    <a:pt x="1029" y="131"/>
                  </a:lnTo>
                  <a:cubicBezTo>
                    <a:pt x="1046" y="137"/>
                    <a:pt x="1058" y="153"/>
                    <a:pt x="1058" y="172"/>
                  </a:cubicBezTo>
                  <a:lnTo>
                    <a:pt x="1058" y="225"/>
                  </a:lnTo>
                  <a:lnTo>
                    <a:pt x="1151" y="225"/>
                  </a:lnTo>
                  <a:lnTo>
                    <a:pt x="1151" y="172"/>
                  </a:lnTo>
                  <a:cubicBezTo>
                    <a:pt x="1151" y="153"/>
                    <a:pt x="1164" y="137"/>
                    <a:pt x="1181" y="131"/>
                  </a:cubicBezTo>
                  <a:lnTo>
                    <a:pt x="1181" y="14"/>
                  </a:lnTo>
                  <a:cubicBezTo>
                    <a:pt x="1181" y="6"/>
                    <a:pt x="1187" y="0"/>
                    <a:pt x="1195" y="0"/>
                  </a:cubicBezTo>
                  <a:lnTo>
                    <a:pt x="1220" y="0"/>
                  </a:lnTo>
                  <a:cubicBezTo>
                    <a:pt x="1228" y="0"/>
                    <a:pt x="1235" y="6"/>
                    <a:pt x="1235" y="14"/>
                  </a:cubicBezTo>
                  <a:lnTo>
                    <a:pt x="1235" y="131"/>
                  </a:lnTo>
                  <a:cubicBezTo>
                    <a:pt x="1252" y="137"/>
                    <a:pt x="1264" y="153"/>
                    <a:pt x="1264" y="172"/>
                  </a:cubicBezTo>
                  <a:lnTo>
                    <a:pt x="1264" y="225"/>
                  </a:lnTo>
                  <a:lnTo>
                    <a:pt x="1358" y="225"/>
                  </a:lnTo>
                  <a:lnTo>
                    <a:pt x="1358" y="172"/>
                  </a:lnTo>
                  <a:cubicBezTo>
                    <a:pt x="1358" y="153"/>
                    <a:pt x="1370" y="137"/>
                    <a:pt x="1387" y="131"/>
                  </a:cubicBezTo>
                  <a:lnTo>
                    <a:pt x="1387" y="14"/>
                  </a:lnTo>
                  <a:cubicBezTo>
                    <a:pt x="1387" y="6"/>
                    <a:pt x="1393" y="0"/>
                    <a:pt x="1402" y="0"/>
                  </a:cubicBezTo>
                  <a:lnTo>
                    <a:pt x="1426" y="0"/>
                  </a:lnTo>
                  <a:cubicBezTo>
                    <a:pt x="1435" y="0"/>
                    <a:pt x="1441" y="6"/>
                    <a:pt x="1441" y="14"/>
                  </a:cubicBezTo>
                  <a:lnTo>
                    <a:pt x="1441" y="131"/>
                  </a:lnTo>
                  <a:cubicBezTo>
                    <a:pt x="1458" y="137"/>
                    <a:pt x="1471" y="153"/>
                    <a:pt x="1471" y="172"/>
                  </a:cubicBezTo>
                  <a:lnTo>
                    <a:pt x="1471" y="235"/>
                  </a:lnTo>
                  <a:cubicBezTo>
                    <a:pt x="1514" y="250"/>
                    <a:pt x="1548" y="284"/>
                    <a:pt x="1563" y="327"/>
                  </a:cubicBezTo>
                  <a:lnTo>
                    <a:pt x="1626" y="327"/>
                  </a:lnTo>
                  <a:cubicBezTo>
                    <a:pt x="1645" y="327"/>
                    <a:pt x="1661" y="338"/>
                    <a:pt x="1667" y="355"/>
                  </a:cubicBezTo>
                  <a:lnTo>
                    <a:pt x="1783" y="355"/>
                  </a:lnTo>
                  <a:cubicBezTo>
                    <a:pt x="1791" y="355"/>
                    <a:pt x="1798" y="362"/>
                    <a:pt x="1798" y="370"/>
                  </a:cubicBezTo>
                  <a:lnTo>
                    <a:pt x="1798" y="395"/>
                  </a:lnTo>
                  <a:cubicBezTo>
                    <a:pt x="1798" y="403"/>
                    <a:pt x="1791" y="409"/>
                    <a:pt x="1783" y="409"/>
                  </a:cubicBezTo>
                  <a:lnTo>
                    <a:pt x="1667" y="409"/>
                  </a:lnTo>
                  <a:cubicBezTo>
                    <a:pt x="1661" y="427"/>
                    <a:pt x="1645" y="439"/>
                    <a:pt x="1626" y="439"/>
                  </a:cubicBezTo>
                  <a:close/>
                  <a:moveTo>
                    <a:pt x="1274" y="1238"/>
                  </a:moveTo>
                  <a:lnTo>
                    <a:pt x="1274" y="558"/>
                  </a:lnTo>
                  <a:cubicBezTo>
                    <a:pt x="1274" y="539"/>
                    <a:pt x="1257" y="523"/>
                    <a:pt x="1238" y="523"/>
                  </a:cubicBezTo>
                  <a:lnTo>
                    <a:pt x="559" y="523"/>
                  </a:lnTo>
                  <a:cubicBezTo>
                    <a:pt x="540" y="523"/>
                    <a:pt x="524" y="539"/>
                    <a:pt x="524" y="558"/>
                  </a:cubicBezTo>
                  <a:lnTo>
                    <a:pt x="524" y="1238"/>
                  </a:lnTo>
                  <a:cubicBezTo>
                    <a:pt x="524" y="1257"/>
                    <a:pt x="540" y="1274"/>
                    <a:pt x="559" y="1274"/>
                  </a:cubicBezTo>
                  <a:lnTo>
                    <a:pt x="1238" y="1274"/>
                  </a:lnTo>
                  <a:cubicBezTo>
                    <a:pt x="1257" y="1274"/>
                    <a:pt x="1274" y="1257"/>
                    <a:pt x="1274" y="1238"/>
                  </a:cubicBezTo>
                  <a:close/>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latin typeface="Arial"/>
                <a:ea typeface="SimSun" charset="-122"/>
                <a:cs typeface="Arial"/>
              </a:endParaRPr>
            </a:p>
          </p:txBody>
        </p:sp>
        <p:sp>
          <p:nvSpPr>
            <p:cNvPr id="76" name="Freeform 70"/>
            <p:cNvSpPr>
              <a:spLocks noChangeArrowheads="1"/>
            </p:cNvSpPr>
            <p:nvPr/>
          </p:nvSpPr>
          <p:spPr bwMode="auto">
            <a:xfrm>
              <a:off x="4937125" y="3890963"/>
              <a:ext cx="190500" cy="190500"/>
            </a:xfrm>
            <a:custGeom>
              <a:avLst/>
              <a:gdLst>
                <a:gd name="T0" fmla="*/ 190140 w 529"/>
                <a:gd name="T1" fmla="*/ 181155 h 530"/>
                <a:gd name="T2" fmla="*/ 181137 w 529"/>
                <a:gd name="T3" fmla="*/ 190141 h 530"/>
                <a:gd name="T4" fmla="*/ 9003 w 529"/>
                <a:gd name="T5" fmla="*/ 190141 h 530"/>
                <a:gd name="T6" fmla="*/ 0 w 529"/>
                <a:gd name="T7" fmla="*/ 181155 h 530"/>
                <a:gd name="T8" fmla="*/ 0 w 529"/>
                <a:gd name="T9" fmla="*/ 8986 h 530"/>
                <a:gd name="T10" fmla="*/ 9003 w 529"/>
                <a:gd name="T11" fmla="*/ 0 h 530"/>
                <a:gd name="T12" fmla="*/ 181137 w 529"/>
                <a:gd name="T13" fmla="*/ 0 h 530"/>
                <a:gd name="T14" fmla="*/ 190140 w 529"/>
                <a:gd name="T15" fmla="*/ 8986 h 530"/>
                <a:gd name="T16" fmla="*/ 190140 w 529"/>
                <a:gd name="T17" fmla="*/ 181155 h 5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9"/>
                <a:gd name="T28" fmla="*/ 0 h 530"/>
                <a:gd name="T29" fmla="*/ 529 w 529"/>
                <a:gd name="T30" fmla="*/ 530 h 5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9" h="530">
                  <a:moveTo>
                    <a:pt x="528" y="504"/>
                  </a:moveTo>
                  <a:cubicBezTo>
                    <a:pt x="528" y="518"/>
                    <a:pt x="517" y="529"/>
                    <a:pt x="503" y="529"/>
                  </a:cubicBezTo>
                  <a:lnTo>
                    <a:pt x="25" y="529"/>
                  </a:lnTo>
                  <a:cubicBezTo>
                    <a:pt x="11" y="529"/>
                    <a:pt x="0" y="518"/>
                    <a:pt x="0" y="504"/>
                  </a:cubicBezTo>
                  <a:lnTo>
                    <a:pt x="0" y="25"/>
                  </a:lnTo>
                  <a:cubicBezTo>
                    <a:pt x="0" y="12"/>
                    <a:pt x="11" y="0"/>
                    <a:pt x="25" y="0"/>
                  </a:cubicBezTo>
                  <a:lnTo>
                    <a:pt x="503" y="0"/>
                  </a:lnTo>
                  <a:cubicBezTo>
                    <a:pt x="517" y="0"/>
                    <a:pt x="528" y="12"/>
                    <a:pt x="528" y="25"/>
                  </a:cubicBezTo>
                  <a:lnTo>
                    <a:pt x="528" y="504"/>
                  </a:ln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latin typeface="Arial"/>
                <a:ea typeface="SimSun" charset="-122"/>
                <a:cs typeface="Arial"/>
              </a:endParaRPr>
            </a:p>
          </p:txBody>
        </p:sp>
      </p:grpSp>
      <p:grpSp>
        <p:nvGrpSpPr>
          <p:cNvPr id="77" name="Group 74"/>
          <p:cNvGrpSpPr/>
          <p:nvPr/>
        </p:nvGrpSpPr>
        <p:grpSpPr>
          <a:xfrm>
            <a:off x="7464152" y="3040242"/>
            <a:ext cx="698912" cy="892922"/>
            <a:chOff x="5792542" y="3282260"/>
            <a:chExt cx="698912" cy="892922"/>
          </a:xfrm>
        </p:grpSpPr>
        <p:sp>
          <p:nvSpPr>
            <p:cNvPr id="78" name="Text Box 71"/>
            <p:cNvSpPr txBox="1">
              <a:spLocks noChangeArrowheads="1"/>
            </p:cNvSpPr>
            <p:nvPr/>
          </p:nvSpPr>
          <p:spPr bwMode="auto">
            <a:xfrm>
              <a:off x="5792542" y="4019067"/>
              <a:ext cx="698912"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tabLst>
                  <a:tab pos="723900" algn="l"/>
                </a:tabLst>
              </a:pPr>
              <a:r>
                <a:rPr lang="en-US" sz="1100" b="1" dirty="0">
                  <a:solidFill>
                    <a:srgbClr val="5C8B76"/>
                  </a:solidFill>
                  <a:latin typeface="Arial"/>
                  <a:ea typeface="SimSun" charset="-122"/>
                  <a:cs typeface="Arial"/>
                </a:rPr>
                <a:t>Automotive</a:t>
              </a:r>
            </a:p>
          </p:txBody>
        </p:sp>
        <p:grpSp>
          <p:nvGrpSpPr>
            <p:cNvPr id="79" name="Group 133"/>
            <p:cNvGrpSpPr>
              <a:grpSpLocks/>
            </p:cNvGrpSpPr>
            <p:nvPr/>
          </p:nvGrpSpPr>
          <p:grpSpPr bwMode="auto">
            <a:xfrm>
              <a:off x="5844341" y="3282260"/>
              <a:ext cx="595315" cy="595282"/>
              <a:chOff x="6461125" y="3663950"/>
              <a:chExt cx="647700" cy="647700"/>
            </a:xfrm>
          </p:grpSpPr>
          <p:sp>
            <p:nvSpPr>
              <p:cNvPr id="80" name="Freeform 72"/>
              <p:cNvSpPr>
                <a:spLocks noChangeArrowheads="1"/>
              </p:cNvSpPr>
              <p:nvPr/>
            </p:nvSpPr>
            <p:spPr bwMode="auto">
              <a:xfrm>
                <a:off x="6626225" y="3921125"/>
                <a:ext cx="317500" cy="223838"/>
              </a:xfrm>
              <a:custGeom>
                <a:avLst/>
                <a:gdLst>
                  <a:gd name="T0" fmla="*/ 158570 w 881"/>
                  <a:gd name="T1" fmla="*/ 0 h 622"/>
                  <a:gd name="T2" fmla="*/ 307049 w 881"/>
                  <a:gd name="T3" fmla="*/ 10076 h 622"/>
                  <a:gd name="T4" fmla="*/ 317140 w 881"/>
                  <a:gd name="T5" fmla="*/ 65496 h 622"/>
                  <a:gd name="T6" fmla="*/ 309572 w 881"/>
                  <a:gd name="T7" fmla="*/ 114078 h 622"/>
                  <a:gd name="T8" fmla="*/ 262361 w 881"/>
                  <a:gd name="T9" fmla="*/ 120196 h 622"/>
                  <a:gd name="T10" fmla="*/ 262721 w 881"/>
                  <a:gd name="T11" fmla="*/ 120196 h 622"/>
                  <a:gd name="T12" fmla="*/ 201456 w 881"/>
                  <a:gd name="T13" fmla="*/ 217720 h 622"/>
                  <a:gd name="T14" fmla="*/ 158570 w 881"/>
                  <a:gd name="T15" fmla="*/ 223478 h 622"/>
                  <a:gd name="T16" fmla="*/ 116405 w 881"/>
                  <a:gd name="T17" fmla="*/ 217720 h 622"/>
                  <a:gd name="T18" fmla="*/ 56581 w 881"/>
                  <a:gd name="T19" fmla="*/ 120196 h 622"/>
                  <a:gd name="T20" fmla="*/ 7928 w 881"/>
                  <a:gd name="T21" fmla="*/ 114078 h 622"/>
                  <a:gd name="T22" fmla="*/ 0 w 881"/>
                  <a:gd name="T23" fmla="*/ 65496 h 622"/>
                  <a:gd name="T24" fmla="*/ 10451 w 881"/>
                  <a:gd name="T25" fmla="*/ 10076 h 622"/>
                  <a:gd name="T26" fmla="*/ 158570 w 881"/>
                  <a:gd name="T27" fmla="*/ 0 h 622"/>
                  <a:gd name="T28" fmla="*/ 158570 w 881"/>
                  <a:gd name="T29" fmla="*/ 116597 h 622"/>
                  <a:gd name="T30" fmla="*/ 201816 w 881"/>
                  <a:gd name="T31" fmla="*/ 73413 h 622"/>
                  <a:gd name="T32" fmla="*/ 158570 w 881"/>
                  <a:gd name="T33" fmla="*/ 30229 h 622"/>
                  <a:gd name="T34" fmla="*/ 115323 w 881"/>
                  <a:gd name="T35" fmla="*/ 73413 h 622"/>
                  <a:gd name="T36" fmla="*/ 158570 w 881"/>
                  <a:gd name="T37" fmla="*/ 116597 h 6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81"/>
                  <a:gd name="T58" fmla="*/ 0 h 622"/>
                  <a:gd name="T59" fmla="*/ 881 w 881"/>
                  <a:gd name="T60" fmla="*/ 622 h 6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81" h="622">
                    <a:moveTo>
                      <a:pt x="440" y="0"/>
                    </a:moveTo>
                    <a:cubicBezTo>
                      <a:pt x="623" y="0"/>
                      <a:pt x="751" y="13"/>
                      <a:pt x="852" y="28"/>
                    </a:cubicBezTo>
                    <a:cubicBezTo>
                      <a:pt x="870" y="76"/>
                      <a:pt x="880" y="128"/>
                      <a:pt x="880" y="182"/>
                    </a:cubicBezTo>
                    <a:cubicBezTo>
                      <a:pt x="880" y="229"/>
                      <a:pt x="872" y="274"/>
                      <a:pt x="859" y="317"/>
                    </a:cubicBezTo>
                    <a:cubicBezTo>
                      <a:pt x="819" y="323"/>
                      <a:pt x="777" y="329"/>
                      <a:pt x="728" y="334"/>
                    </a:cubicBezTo>
                    <a:lnTo>
                      <a:pt x="729" y="334"/>
                    </a:lnTo>
                    <a:cubicBezTo>
                      <a:pt x="564" y="344"/>
                      <a:pt x="559" y="483"/>
                      <a:pt x="559" y="605"/>
                    </a:cubicBezTo>
                    <a:cubicBezTo>
                      <a:pt x="521" y="615"/>
                      <a:pt x="481" y="621"/>
                      <a:pt x="440" y="621"/>
                    </a:cubicBezTo>
                    <a:cubicBezTo>
                      <a:pt x="400" y="621"/>
                      <a:pt x="361" y="615"/>
                      <a:pt x="323" y="605"/>
                    </a:cubicBezTo>
                    <a:cubicBezTo>
                      <a:pt x="323" y="484"/>
                      <a:pt x="319" y="347"/>
                      <a:pt x="157" y="334"/>
                    </a:cubicBezTo>
                    <a:cubicBezTo>
                      <a:pt x="107" y="329"/>
                      <a:pt x="62" y="323"/>
                      <a:pt x="22" y="317"/>
                    </a:cubicBezTo>
                    <a:cubicBezTo>
                      <a:pt x="8" y="274"/>
                      <a:pt x="0" y="229"/>
                      <a:pt x="0" y="182"/>
                    </a:cubicBezTo>
                    <a:cubicBezTo>
                      <a:pt x="0" y="128"/>
                      <a:pt x="11" y="76"/>
                      <a:pt x="29" y="28"/>
                    </a:cubicBezTo>
                    <a:cubicBezTo>
                      <a:pt x="130" y="13"/>
                      <a:pt x="257" y="0"/>
                      <a:pt x="440" y="0"/>
                    </a:cubicBezTo>
                    <a:close/>
                    <a:moveTo>
                      <a:pt x="440" y="324"/>
                    </a:moveTo>
                    <a:cubicBezTo>
                      <a:pt x="507" y="324"/>
                      <a:pt x="560" y="271"/>
                      <a:pt x="560" y="204"/>
                    </a:cubicBezTo>
                    <a:cubicBezTo>
                      <a:pt x="560" y="138"/>
                      <a:pt x="507" y="84"/>
                      <a:pt x="440" y="84"/>
                    </a:cubicBezTo>
                    <a:cubicBezTo>
                      <a:pt x="374" y="84"/>
                      <a:pt x="320" y="138"/>
                      <a:pt x="320" y="204"/>
                    </a:cubicBezTo>
                    <a:cubicBezTo>
                      <a:pt x="320" y="271"/>
                      <a:pt x="374" y="324"/>
                      <a:pt x="440" y="324"/>
                    </a:cubicBezTo>
                    <a:close/>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3">
                      <a:lumMod val="50000"/>
                    </a:schemeClr>
                  </a:solidFill>
                  <a:latin typeface="Arial"/>
                  <a:ea typeface="SimSun" charset="-122"/>
                  <a:cs typeface="Arial"/>
                </a:endParaRPr>
              </a:p>
            </p:txBody>
          </p:sp>
          <p:sp>
            <p:nvSpPr>
              <p:cNvPr id="81" name="Freeform 73"/>
              <p:cNvSpPr>
                <a:spLocks noChangeArrowheads="1"/>
              </p:cNvSpPr>
              <p:nvPr/>
            </p:nvSpPr>
            <p:spPr bwMode="auto">
              <a:xfrm>
                <a:off x="6461125" y="3663950"/>
                <a:ext cx="647700" cy="647700"/>
              </a:xfrm>
              <a:custGeom>
                <a:avLst/>
                <a:gdLst>
                  <a:gd name="T0" fmla="*/ 323670 w 1801"/>
                  <a:gd name="T1" fmla="*/ 0 h 1798"/>
                  <a:gd name="T2" fmla="*/ 647340 w 1801"/>
                  <a:gd name="T3" fmla="*/ 323490 h 1798"/>
                  <a:gd name="T4" fmla="*/ 323670 w 1801"/>
                  <a:gd name="T5" fmla="*/ 647340 h 1798"/>
                  <a:gd name="T6" fmla="*/ 0 w 1801"/>
                  <a:gd name="T7" fmla="*/ 323490 h 1798"/>
                  <a:gd name="T8" fmla="*/ 323670 w 1801"/>
                  <a:gd name="T9" fmla="*/ 0 h 1798"/>
                  <a:gd name="T10" fmla="*/ 371501 w 1801"/>
                  <a:gd name="T11" fmla="*/ 578175 h 1798"/>
                  <a:gd name="T12" fmla="*/ 580449 w 1801"/>
                  <a:gd name="T13" fmla="*/ 355190 h 1798"/>
                  <a:gd name="T14" fmla="*/ 499531 w 1801"/>
                  <a:gd name="T15" fmla="*/ 368879 h 1798"/>
                  <a:gd name="T16" fmla="*/ 505645 w 1801"/>
                  <a:gd name="T17" fmla="*/ 323490 h 1798"/>
                  <a:gd name="T18" fmla="*/ 497733 w 1801"/>
                  <a:gd name="T19" fmla="*/ 270896 h 1798"/>
                  <a:gd name="T20" fmla="*/ 579370 w 1801"/>
                  <a:gd name="T21" fmla="*/ 283864 h 1798"/>
                  <a:gd name="T22" fmla="*/ 323670 w 1801"/>
                  <a:gd name="T23" fmla="*/ 64482 h 1798"/>
                  <a:gd name="T24" fmla="*/ 67971 w 1801"/>
                  <a:gd name="T25" fmla="*/ 283864 h 1798"/>
                  <a:gd name="T26" fmla="*/ 149967 w 1801"/>
                  <a:gd name="T27" fmla="*/ 270896 h 1798"/>
                  <a:gd name="T28" fmla="*/ 141696 w 1801"/>
                  <a:gd name="T29" fmla="*/ 323490 h 1798"/>
                  <a:gd name="T30" fmla="*/ 148169 w 1801"/>
                  <a:gd name="T31" fmla="*/ 368879 h 1798"/>
                  <a:gd name="T32" fmla="*/ 66892 w 1801"/>
                  <a:gd name="T33" fmla="*/ 355190 h 1798"/>
                  <a:gd name="T34" fmla="*/ 276199 w 1801"/>
                  <a:gd name="T35" fmla="*/ 578175 h 1798"/>
                  <a:gd name="T36" fmla="*/ 281593 w 1801"/>
                  <a:gd name="T37" fmla="*/ 500004 h 1798"/>
                  <a:gd name="T38" fmla="*/ 323670 w 1801"/>
                  <a:gd name="T39" fmla="*/ 505408 h 1798"/>
                  <a:gd name="T40" fmla="*/ 366467 w 1801"/>
                  <a:gd name="T41" fmla="*/ 500004 h 1798"/>
                  <a:gd name="T42" fmla="*/ 371501 w 1801"/>
                  <a:gd name="T43" fmla="*/ 578175 h 17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1"/>
                  <a:gd name="T67" fmla="*/ 0 h 1798"/>
                  <a:gd name="T68" fmla="*/ 1801 w 1801"/>
                  <a:gd name="T69" fmla="*/ 1798 h 17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1" h="1798">
                    <a:moveTo>
                      <a:pt x="900" y="0"/>
                    </a:moveTo>
                    <a:cubicBezTo>
                      <a:pt x="1396" y="0"/>
                      <a:pt x="1800" y="402"/>
                      <a:pt x="1800" y="898"/>
                    </a:cubicBezTo>
                    <a:cubicBezTo>
                      <a:pt x="1800" y="1394"/>
                      <a:pt x="1396" y="1797"/>
                      <a:pt x="900" y="1797"/>
                    </a:cubicBezTo>
                    <a:cubicBezTo>
                      <a:pt x="404" y="1797"/>
                      <a:pt x="0" y="1394"/>
                      <a:pt x="0" y="898"/>
                    </a:cubicBezTo>
                    <a:cubicBezTo>
                      <a:pt x="0" y="402"/>
                      <a:pt x="404" y="0"/>
                      <a:pt x="900" y="0"/>
                    </a:cubicBezTo>
                    <a:close/>
                    <a:moveTo>
                      <a:pt x="1033" y="1605"/>
                    </a:moveTo>
                    <a:cubicBezTo>
                      <a:pt x="1339" y="1547"/>
                      <a:pt x="1576" y="1297"/>
                      <a:pt x="1614" y="986"/>
                    </a:cubicBezTo>
                    <a:cubicBezTo>
                      <a:pt x="1614" y="986"/>
                      <a:pt x="1482" y="1007"/>
                      <a:pt x="1389" y="1024"/>
                    </a:cubicBezTo>
                    <a:cubicBezTo>
                      <a:pt x="1400" y="984"/>
                      <a:pt x="1406" y="942"/>
                      <a:pt x="1406" y="898"/>
                    </a:cubicBezTo>
                    <a:cubicBezTo>
                      <a:pt x="1406" y="847"/>
                      <a:pt x="1398" y="798"/>
                      <a:pt x="1384" y="752"/>
                    </a:cubicBezTo>
                    <a:cubicBezTo>
                      <a:pt x="1478" y="768"/>
                      <a:pt x="1611" y="788"/>
                      <a:pt x="1611" y="788"/>
                    </a:cubicBezTo>
                    <a:cubicBezTo>
                      <a:pt x="1558" y="443"/>
                      <a:pt x="1260" y="179"/>
                      <a:pt x="900" y="179"/>
                    </a:cubicBezTo>
                    <a:cubicBezTo>
                      <a:pt x="541" y="179"/>
                      <a:pt x="242" y="443"/>
                      <a:pt x="189" y="788"/>
                    </a:cubicBezTo>
                    <a:cubicBezTo>
                      <a:pt x="189" y="788"/>
                      <a:pt x="322" y="768"/>
                      <a:pt x="417" y="752"/>
                    </a:cubicBezTo>
                    <a:cubicBezTo>
                      <a:pt x="402" y="798"/>
                      <a:pt x="394" y="847"/>
                      <a:pt x="394" y="898"/>
                    </a:cubicBezTo>
                    <a:cubicBezTo>
                      <a:pt x="394" y="942"/>
                      <a:pt x="401" y="984"/>
                      <a:pt x="412" y="1024"/>
                    </a:cubicBezTo>
                    <a:cubicBezTo>
                      <a:pt x="318" y="1007"/>
                      <a:pt x="186" y="986"/>
                      <a:pt x="186" y="986"/>
                    </a:cubicBezTo>
                    <a:cubicBezTo>
                      <a:pt x="224" y="1298"/>
                      <a:pt x="463" y="1548"/>
                      <a:pt x="768" y="1605"/>
                    </a:cubicBezTo>
                    <a:cubicBezTo>
                      <a:pt x="768" y="1605"/>
                      <a:pt x="780" y="1486"/>
                      <a:pt x="783" y="1388"/>
                    </a:cubicBezTo>
                    <a:cubicBezTo>
                      <a:pt x="820" y="1398"/>
                      <a:pt x="860" y="1403"/>
                      <a:pt x="900" y="1403"/>
                    </a:cubicBezTo>
                    <a:cubicBezTo>
                      <a:pt x="941" y="1403"/>
                      <a:pt x="981" y="1398"/>
                      <a:pt x="1019" y="1388"/>
                    </a:cubicBezTo>
                    <a:cubicBezTo>
                      <a:pt x="1022" y="1486"/>
                      <a:pt x="1033" y="1605"/>
                      <a:pt x="1033" y="1605"/>
                    </a:cubicBezTo>
                    <a:close/>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3">
                      <a:lumMod val="50000"/>
                    </a:schemeClr>
                  </a:solidFill>
                  <a:latin typeface="Arial"/>
                  <a:ea typeface="SimSun" charset="-122"/>
                  <a:cs typeface="Arial"/>
                </a:endParaRPr>
              </a:p>
            </p:txBody>
          </p:sp>
        </p:grpSp>
      </p:grpSp>
      <p:sp>
        <p:nvSpPr>
          <p:cNvPr id="82" name="Text Box 74"/>
          <p:cNvSpPr txBox="1">
            <a:spLocks noChangeArrowheads="1"/>
          </p:cNvSpPr>
          <p:nvPr/>
        </p:nvSpPr>
        <p:spPr bwMode="auto">
          <a:xfrm>
            <a:off x="8172064" y="2123680"/>
            <a:ext cx="590937"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en-US" sz="1100" b="1" dirty="0">
                <a:solidFill>
                  <a:srgbClr val="5C8B76"/>
                </a:solidFill>
                <a:latin typeface="Arial"/>
                <a:ea typeface="SimSun" charset="-122"/>
                <a:cs typeface="Arial"/>
              </a:rPr>
              <a:t>Telecoms</a:t>
            </a:r>
          </a:p>
        </p:txBody>
      </p:sp>
      <p:grpSp>
        <p:nvGrpSpPr>
          <p:cNvPr id="83" name="Group 132"/>
          <p:cNvGrpSpPr>
            <a:grpSpLocks/>
          </p:cNvGrpSpPr>
          <p:nvPr/>
        </p:nvGrpSpPr>
        <p:grpSpPr bwMode="auto">
          <a:xfrm>
            <a:off x="8305278" y="2365600"/>
            <a:ext cx="313707" cy="644889"/>
            <a:chOff x="8123238" y="3663950"/>
            <a:chExt cx="341312" cy="701675"/>
          </a:xfrm>
        </p:grpSpPr>
        <p:sp>
          <p:nvSpPr>
            <p:cNvPr id="84" name="Freeform 75"/>
            <p:cNvSpPr>
              <a:spLocks noChangeArrowheads="1"/>
            </p:cNvSpPr>
            <p:nvPr/>
          </p:nvSpPr>
          <p:spPr bwMode="auto">
            <a:xfrm>
              <a:off x="8243888" y="3783013"/>
              <a:ext cx="101600" cy="101600"/>
            </a:xfrm>
            <a:custGeom>
              <a:avLst/>
              <a:gdLst>
                <a:gd name="T0" fmla="*/ 101240 w 282"/>
                <a:gd name="T1" fmla="*/ 50258 h 281"/>
                <a:gd name="T2" fmla="*/ 94394 w 282"/>
                <a:gd name="T3" fmla="*/ 75567 h 281"/>
                <a:gd name="T4" fmla="*/ 76020 w 282"/>
                <a:gd name="T5" fmla="*/ 94369 h 281"/>
                <a:gd name="T6" fmla="*/ 50800 w 282"/>
                <a:gd name="T7" fmla="*/ 101238 h 281"/>
                <a:gd name="T8" fmla="*/ 25220 w 282"/>
                <a:gd name="T9" fmla="*/ 94369 h 281"/>
                <a:gd name="T10" fmla="*/ 6845 w 282"/>
                <a:gd name="T11" fmla="*/ 75567 h 281"/>
                <a:gd name="T12" fmla="*/ 0 w 282"/>
                <a:gd name="T13" fmla="*/ 50258 h 281"/>
                <a:gd name="T14" fmla="*/ 6845 w 282"/>
                <a:gd name="T15" fmla="*/ 24948 h 281"/>
                <a:gd name="T16" fmla="*/ 25220 w 282"/>
                <a:gd name="T17" fmla="*/ 6508 h 281"/>
                <a:gd name="T18" fmla="*/ 50800 w 282"/>
                <a:gd name="T19" fmla="*/ 0 h 281"/>
                <a:gd name="T20" fmla="*/ 76020 w 282"/>
                <a:gd name="T21" fmla="*/ 6508 h 281"/>
                <a:gd name="T22" fmla="*/ 94394 w 282"/>
                <a:gd name="T23" fmla="*/ 24948 h 281"/>
                <a:gd name="T24" fmla="*/ 101240 w 282"/>
                <a:gd name="T25" fmla="*/ 50258 h 2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2"/>
                <a:gd name="T40" fmla="*/ 0 h 281"/>
                <a:gd name="T41" fmla="*/ 282 w 282"/>
                <a:gd name="T42" fmla="*/ 281 h 28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2" h="281">
                  <a:moveTo>
                    <a:pt x="281" y="139"/>
                  </a:moveTo>
                  <a:cubicBezTo>
                    <a:pt x="281" y="165"/>
                    <a:pt x="275" y="187"/>
                    <a:pt x="262" y="209"/>
                  </a:cubicBezTo>
                  <a:cubicBezTo>
                    <a:pt x="249" y="232"/>
                    <a:pt x="234" y="248"/>
                    <a:pt x="211" y="261"/>
                  </a:cubicBezTo>
                  <a:cubicBezTo>
                    <a:pt x="189" y="274"/>
                    <a:pt x="167" y="280"/>
                    <a:pt x="141" y="280"/>
                  </a:cubicBezTo>
                  <a:cubicBezTo>
                    <a:pt x="116" y="280"/>
                    <a:pt x="93" y="274"/>
                    <a:pt x="70" y="261"/>
                  </a:cubicBezTo>
                  <a:cubicBezTo>
                    <a:pt x="48" y="248"/>
                    <a:pt x="32" y="232"/>
                    <a:pt x="19" y="209"/>
                  </a:cubicBezTo>
                  <a:cubicBezTo>
                    <a:pt x="6" y="187"/>
                    <a:pt x="0" y="165"/>
                    <a:pt x="0" y="139"/>
                  </a:cubicBezTo>
                  <a:cubicBezTo>
                    <a:pt x="0" y="113"/>
                    <a:pt x="6" y="91"/>
                    <a:pt x="19" y="69"/>
                  </a:cubicBezTo>
                  <a:cubicBezTo>
                    <a:pt x="32" y="47"/>
                    <a:pt x="48" y="31"/>
                    <a:pt x="70" y="18"/>
                  </a:cubicBezTo>
                  <a:cubicBezTo>
                    <a:pt x="93" y="5"/>
                    <a:pt x="115" y="0"/>
                    <a:pt x="141" y="0"/>
                  </a:cubicBezTo>
                  <a:cubicBezTo>
                    <a:pt x="166" y="0"/>
                    <a:pt x="189" y="5"/>
                    <a:pt x="211" y="18"/>
                  </a:cubicBezTo>
                  <a:cubicBezTo>
                    <a:pt x="234" y="31"/>
                    <a:pt x="249" y="47"/>
                    <a:pt x="262" y="69"/>
                  </a:cubicBezTo>
                  <a:cubicBezTo>
                    <a:pt x="275" y="91"/>
                    <a:pt x="281" y="113"/>
                    <a:pt x="281" y="139"/>
                  </a:cubicBezTo>
                </a:path>
              </a:pathLst>
            </a:custGeom>
            <a:noFill/>
            <a:ln w="25560" cap="rnd">
              <a:solidFill>
                <a:srgbClr val="5C8B76"/>
              </a:solidFill>
              <a:round/>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3">
                    <a:lumMod val="50000"/>
                  </a:schemeClr>
                </a:solidFill>
                <a:latin typeface="Arial"/>
                <a:ea typeface="SimSun" charset="-122"/>
                <a:cs typeface="Arial"/>
              </a:endParaRPr>
            </a:p>
          </p:txBody>
        </p:sp>
        <p:sp>
          <p:nvSpPr>
            <p:cNvPr id="85" name="Freeform 76"/>
            <p:cNvSpPr>
              <a:spLocks noChangeArrowheads="1"/>
            </p:cNvSpPr>
            <p:nvPr/>
          </p:nvSpPr>
          <p:spPr bwMode="auto">
            <a:xfrm>
              <a:off x="8193088" y="3732213"/>
              <a:ext cx="203200" cy="201612"/>
            </a:xfrm>
            <a:custGeom>
              <a:avLst/>
              <a:gdLst>
                <a:gd name="T0" fmla="*/ 202839 w 563"/>
                <a:gd name="T1" fmla="*/ 100447 h 562"/>
                <a:gd name="T2" fmla="*/ 189124 w 563"/>
                <a:gd name="T3" fmla="*/ 151030 h 562"/>
                <a:gd name="T4" fmla="*/ 151949 w 563"/>
                <a:gd name="T5" fmla="*/ 187621 h 562"/>
                <a:gd name="T6" fmla="*/ 101420 w 563"/>
                <a:gd name="T7" fmla="*/ 201253 h 562"/>
                <a:gd name="T8" fmla="*/ 50529 w 563"/>
                <a:gd name="T9" fmla="*/ 187621 h 562"/>
                <a:gd name="T10" fmla="*/ 13354 w 563"/>
                <a:gd name="T11" fmla="*/ 151030 h 562"/>
                <a:gd name="T12" fmla="*/ 0 w 563"/>
                <a:gd name="T13" fmla="*/ 100447 h 562"/>
                <a:gd name="T14" fmla="*/ 13354 w 563"/>
                <a:gd name="T15" fmla="*/ 50582 h 562"/>
                <a:gd name="T16" fmla="*/ 50529 w 563"/>
                <a:gd name="T17" fmla="*/ 13632 h 562"/>
                <a:gd name="T18" fmla="*/ 101420 w 563"/>
                <a:gd name="T19" fmla="*/ 0 h 562"/>
                <a:gd name="T20" fmla="*/ 151949 w 563"/>
                <a:gd name="T21" fmla="*/ 13632 h 562"/>
                <a:gd name="T22" fmla="*/ 189124 w 563"/>
                <a:gd name="T23" fmla="*/ 50582 h 562"/>
                <a:gd name="T24" fmla="*/ 202839 w 563"/>
                <a:gd name="T25" fmla="*/ 100447 h 5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3"/>
                <a:gd name="T40" fmla="*/ 0 h 562"/>
                <a:gd name="T41" fmla="*/ 563 w 563"/>
                <a:gd name="T42" fmla="*/ 562 h 5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3" h="562">
                  <a:moveTo>
                    <a:pt x="562" y="280"/>
                  </a:moveTo>
                  <a:cubicBezTo>
                    <a:pt x="562" y="332"/>
                    <a:pt x="550" y="377"/>
                    <a:pt x="524" y="421"/>
                  </a:cubicBezTo>
                  <a:cubicBezTo>
                    <a:pt x="498" y="466"/>
                    <a:pt x="466" y="498"/>
                    <a:pt x="421" y="523"/>
                  </a:cubicBezTo>
                  <a:cubicBezTo>
                    <a:pt x="376" y="549"/>
                    <a:pt x="333" y="561"/>
                    <a:pt x="281" y="561"/>
                  </a:cubicBezTo>
                  <a:cubicBezTo>
                    <a:pt x="230" y="561"/>
                    <a:pt x="185" y="549"/>
                    <a:pt x="140" y="523"/>
                  </a:cubicBezTo>
                  <a:cubicBezTo>
                    <a:pt x="95" y="498"/>
                    <a:pt x="63" y="466"/>
                    <a:pt x="37" y="421"/>
                  </a:cubicBezTo>
                  <a:cubicBezTo>
                    <a:pt x="11" y="377"/>
                    <a:pt x="0" y="332"/>
                    <a:pt x="0" y="280"/>
                  </a:cubicBezTo>
                  <a:cubicBezTo>
                    <a:pt x="0" y="229"/>
                    <a:pt x="11" y="185"/>
                    <a:pt x="37" y="141"/>
                  </a:cubicBezTo>
                  <a:cubicBezTo>
                    <a:pt x="63" y="96"/>
                    <a:pt x="95" y="64"/>
                    <a:pt x="140" y="38"/>
                  </a:cubicBezTo>
                  <a:cubicBezTo>
                    <a:pt x="185" y="12"/>
                    <a:pt x="229" y="0"/>
                    <a:pt x="281" y="0"/>
                  </a:cubicBezTo>
                  <a:cubicBezTo>
                    <a:pt x="332" y="0"/>
                    <a:pt x="376" y="12"/>
                    <a:pt x="421" y="38"/>
                  </a:cubicBezTo>
                  <a:cubicBezTo>
                    <a:pt x="466" y="64"/>
                    <a:pt x="498" y="96"/>
                    <a:pt x="524" y="141"/>
                  </a:cubicBezTo>
                  <a:cubicBezTo>
                    <a:pt x="550" y="185"/>
                    <a:pt x="562" y="229"/>
                    <a:pt x="562" y="280"/>
                  </a:cubicBezTo>
                </a:path>
              </a:pathLst>
            </a:custGeom>
            <a:noFill/>
            <a:ln w="25560" cap="rnd">
              <a:solidFill>
                <a:srgbClr val="5C8B76"/>
              </a:solidFill>
              <a:round/>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3">
                    <a:lumMod val="50000"/>
                  </a:schemeClr>
                </a:solidFill>
                <a:latin typeface="Arial"/>
                <a:ea typeface="SimSun" charset="-122"/>
                <a:cs typeface="Arial"/>
              </a:endParaRPr>
            </a:p>
          </p:txBody>
        </p:sp>
        <p:sp>
          <p:nvSpPr>
            <p:cNvPr id="86" name="Freeform 77"/>
            <p:cNvSpPr>
              <a:spLocks noChangeArrowheads="1"/>
            </p:cNvSpPr>
            <p:nvPr/>
          </p:nvSpPr>
          <p:spPr bwMode="auto">
            <a:xfrm>
              <a:off x="8123238" y="3663950"/>
              <a:ext cx="341312" cy="341313"/>
            </a:xfrm>
            <a:custGeom>
              <a:avLst/>
              <a:gdLst>
                <a:gd name="T0" fmla="*/ 340952 w 948"/>
                <a:gd name="T1" fmla="*/ 170116 h 947"/>
                <a:gd name="T2" fmla="*/ 318270 w 948"/>
                <a:gd name="T3" fmla="*/ 255534 h 947"/>
                <a:gd name="T4" fmla="*/ 255624 w 948"/>
                <a:gd name="T5" fmla="*/ 317886 h 947"/>
                <a:gd name="T6" fmla="*/ 170656 w 948"/>
                <a:gd name="T7" fmla="*/ 340953 h 947"/>
                <a:gd name="T8" fmla="*/ 85328 w 948"/>
                <a:gd name="T9" fmla="*/ 317886 h 947"/>
                <a:gd name="T10" fmla="*/ 22682 w 948"/>
                <a:gd name="T11" fmla="*/ 255534 h 947"/>
                <a:gd name="T12" fmla="*/ 0 w 948"/>
                <a:gd name="T13" fmla="*/ 170116 h 947"/>
                <a:gd name="T14" fmla="*/ 22682 w 948"/>
                <a:gd name="T15" fmla="*/ 85058 h 947"/>
                <a:gd name="T16" fmla="*/ 85328 w 948"/>
                <a:gd name="T17" fmla="*/ 22706 h 947"/>
                <a:gd name="T18" fmla="*/ 170656 w 948"/>
                <a:gd name="T19" fmla="*/ 0 h 947"/>
                <a:gd name="T20" fmla="*/ 255624 w 948"/>
                <a:gd name="T21" fmla="*/ 22706 h 947"/>
                <a:gd name="T22" fmla="*/ 318270 w 948"/>
                <a:gd name="T23" fmla="*/ 85058 h 947"/>
                <a:gd name="T24" fmla="*/ 340952 w 948"/>
                <a:gd name="T25" fmla="*/ 170116 h 9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8"/>
                <a:gd name="T40" fmla="*/ 0 h 947"/>
                <a:gd name="T41" fmla="*/ 948 w 948"/>
                <a:gd name="T42" fmla="*/ 947 h 9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8" h="947">
                  <a:moveTo>
                    <a:pt x="947" y="472"/>
                  </a:moveTo>
                  <a:cubicBezTo>
                    <a:pt x="947" y="559"/>
                    <a:pt x="928" y="634"/>
                    <a:pt x="884" y="709"/>
                  </a:cubicBezTo>
                  <a:cubicBezTo>
                    <a:pt x="840" y="785"/>
                    <a:pt x="786" y="839"/>
                    <a:pt x="710" y="882"/>
                  </a:cubicBezTo>
                  <a:cubicBezTo>
                    <a:pt x="635" y="926"/>
                    <a:pt x="562" y="946"/>
                    <a:pt x="474" y="946"/>
                  </a:cubicBezTo>
                  <a:cubicBezTo>
                    <a:pt x="387" y="946"/>
                    <a:pt x="313" y="926"/>
                    <a:pt x="237" y="882"/>
                  </a:cubicBezTo>
                  <a:cubicBezTo>
                    <a:pt x="162" y="839"/>
                    <a:pt x="107" y="785"/>
                    <a:pt x="63" y="709"/>
                  </a:cubicBezTo>
                  <a:cubicBezTo>
                    <a:pt x="20" y="634"/>
                    <a:pt x="0" y="559"/>
                    <a:pt x="0" y="472"/>
                  </a:cubicBezTo>
                  <a:cubicBezTo>
                    <a:pt x="0" y="385"/>
                    <a:pt x="20" y="311"/>
                    <a:pt x="63" y="236"/>
                  </a:cubicBezTo>
                  <a:cubicBezTo>
                    <a:pt x="107" y="160"/>
                    <a:pt x="162" y="106"/>
                    <a:pt x="237" y="63"/>
                  </a:cubicBezTo>
                  <a:cubicBezTo>
                    <a:pt x="313" y="19"/>
                    <a:pt x="386" y="0"/>
                    <a:pt x="474" y="0"/>
                  </a:cubicBezTo>
                  <a:cubicBezTo>
                    <a:pt x="561" y="0"/>
                    <a:pt x="635" y="19"/>
                    <a:pt x="710" y="63"/>
                  </a:cubicBezTo>
                  <a:cubicBezTo>
                    <a:pt x="786" y="106"/>
                    <a:pt x="840" y="160"/>
                    <a:pt x="884" y="236"/>
                  </a:cubicBezTo>
                  <a:cubicBezTo>
                    <a:pt x="928" y="311"/>
                    <a:pt x="947" y="385"/>
                    <a:pt x="947" y="472"/>
                  </a:cubicBezTo>
                </a:path>
              </a:pathLst>
            </a:custGeom>
            <a:noFill/>
            <a:ln w="25560" cap="rnd">
              <a:solidFill>
                <a:srgbClr val="5C8B76"/>
              </a:solidFill>
              <a:round/>
              <a:headEnd/>
              <a:tailEnd/>
            </a:ln>
          </p:spPr>
          <p:txBody>
            <a:bodyPr wrap="none" anchor="ctr">
              <a:prstTxWarp prst="textNoShape">
                <a:avLst/>
              </a:prstTxWarp>
            </a:bodyPr>
            <a:lstStyle/>
            <a:p>
              <a:pPr algn="ctr" hangingPunct="0">
                <a:lnSpc>
                  <a:spcPct val="93000"/>
                </a:lnSpc>
                <a:buClr>
                  <a:srgbClr val="000000"/>
                </a:buClr>
                <a:buSzPct val="100000"/>
                <a:buNone/>
              </a:pPr>
              <a:endParaRPr lang="en-US" dirty="0">
                <a:solidFill>
                  <a:schemeClr val="accent3">
                    <a:lumMod val="50000"/>
                  </a:schemeClr>
                </a:solidFill>
                <a:latin typeface="Arial"/>
                <a:ea typeface="SimSun" charset="-122"/>
                <a:cs typeface="Arial"/>
              </a:endParaRPr>
            </a:p>
          </p:txBody>
        </p:sp>
        <p:sp>
          <p:nvSpPr>
            <p:cNvPr id="87" name="Line 78"/>
            <p:cNvSpPr>
              <a:spLocks noChangeShapeType="1"/>
            </p:cNvSpPr>
            <p:nvPr/>
          </p:nvSpPr>
          <p:spPr bwMode="auto">
            <a:xfrm flipV="1">
              <a:off x="8293100" y="3832225"/>
              <a:ext cx="1588" cy="161925"/>
            </a:xfrm>
            <a:prstGeom prst="line">
              <a:avLst/>
            </a:prstGeom>
            <a:noFill/>
            <a:ln w="25560" cap="rnd">
              <a:solidFill>
                <a:srgbClr val="C32033"/>
              </a:solidFill>
              <a:round/>
              <a:headEnd/>
              <a:tailEnd/>
            </a:ln>
          </p:spPr>
          <p:txBody>
            <a:bodyPr>
              <a:prstTxWarp prst="textNoShape">
                <a:avLst/>
              </a:prstTxWarp>
            </a:bodyPr>
            <a:lstStyle/>
            <a:p>
              <a:pPr algn="ctr">
                <a:buNone/>
              </a:pPr>
              <a:endParaRPr lang="en-US" dirty="0">
                <a:solidFill>
                  <a:schemeClr val="accent3">
                    <a:lumMod val="50000"/>
                  </a:schemeClr>
                </a:solidFill>
                <a:latin typeface="Arial"/>
                <a:cs typeface="Arial"/>
              </a:endParaRPr>
            </a:p>
          </p:txBody>
        </p:sp>
        <p:sp>
          <p:nvSpPr>
            <p:cNvPr id="88" name="Freeform 79"/>
            <p:cNvSpPr>
              <a:spLocks noChangeArrowheads="1"/>
            </p:cNvSpPr>
            <p:nvPr/>
          </p:nvSpPr>
          <p:spPr bwMode="auto">
            <a:xfrm>
              <a:off x="8123238" y="3989388"/>
              <a:ext cx="261937" cy="376237"/>
            </a:xfrm>
            <a:custGeom>
              <a:avLst/>
              <a:gdLst>
                <a:gd name="T0" fmla="*/ 127370 w 728"/>
                <a:gd name="T1" fmla="*/ 98102 h 1047"/>
                <a:gd name="T2" fmla="*/ 213004 w 728"/>
                <a:gd name="T3" fmla="*/ 98102 h 1047"/>
                <a:gd name="T4" fmla="*/ 81316 w 728"/>
                <a:gd name="T5" fmla="*/ 200875 h 1047"/>
                <a:gd name="T6" fmla="*/ 261577 w 728"/>
                <a:gd name="T7" fmla="*/ 200875 h 1047"/>
                <a:gd name="T8" fmla="*/ 0 w 728"/>
                <a:gd name="T9" fmla="*/ 375878 h 1047"/>
                <a:gd name="T10" fmla="*/ 170547 w 728"/>
                <a:gd name="T11" fmla="*/ 0 h 1047"/>
                <a:gd name="T12" fmla="*/ 0 60000 65536"/>
                <a:gd name="T13" fmla="*/ 0 60000 65536"/>
                <a:gd name="T14" fmla="*/ 0 60000 65536"/>
                <a:gd name="T15" fmla="*/ 0 60000 65536"/>
                <a:gd name="T16" fmla="*/ 0 60000 65536"/>
                <a:gd name="T17" fmla="*/ 0 60000 65536"/>
                <a:gd name="T18" fmla="*/ 0 w 728"/>
                <a:gd name="T19" fmla="*/ 0 h 1047"/>
                <a:gd name="T20" fmla="*/ 728 w 728"/>
                <a:gd name="T21" fmla="*/ 1047 h 1047"/>
              </a:gdLst>
              <a:ahLst/>
              <a:cxnLst>
                <a:cxn ang="T12">
                  <a:pos x="T0" y="T1"/>
                </a:cxn>
                <a:cxn ang="T13">
                  <a:pos x="T2" y="T3"/>
                </a:cxn>
                <a:cxn ang="T14">
                  <a:pos x="T4" y="T5"/>
                </a:cxn>
                <a:cxn ang="T15">
                  <a:pos x="T6" y="T7"/>
                </a:cxn>
                <a:cxn ang="T16">
                  <a:pos x="T8" y="T9"/>
                </a:cxn>
                <a:cxn ang="T17">
                  <a:pos x="T10" y="T11"/>
                </a:cxn>
              </a:cxnLst>
              <a:rect l="T18" t="T19" r="T20" b="T21"/>
              <a:pathLst>
                <a:path w="728" h="1047">
                  <a:moveTo>
                    <a:pt x="354" y="273"/>
                  </a:moveTo>
                  <a:lnTo>
                    <a:pt x="592" y="273"/>
                  </a:lnTo>
                  <a:lnTo>
                    <a:pt x="226" y="559"/>
                  </a:lnTo>
                  <a:lnTo>
                    <a:pt x="727" y="559"/>
                  </a:lnTo>
                  <a:lnTo>
                    <a:pt x="0" y="1046"/>
                  </a:lnTo>
                  <a:lnTo>
                    <a:pt x="474" y="0"/>
                  </a:lnTo>
                </a:path>
              </a:pathLst>
            </a:custGeom>
            <a:noFill/>
            <a:ln w="19080" cap="rnd">
              <a:solidFill>
                <a:srgbClr val="C32033"/>
              </a:solidFill>
              <a:round/>
              <a:headEnd/>
              <a:tailEnd/>
            </a:ln>
          </p:spPr>
          <p:txBody>
            <a:bodyPr>
              <a:prstTxWarp prst="textNoShape">
                <a:avLst/>
              </a:prstTxWarp>
            </a:bodyPr>
            <a:lstStyle/>
            <a:p>
              <a:pPr algn="ctr" hangingPunct="0">
                <a:lnSpc>
                  <a:spcPct val="93000"/>
                </a:lnSpc>
                <a:buClr>
                  <a:srgbClr val="000000"/>
                </a:buClr>
                <a:buSzPct val="100000"/>
                <a:buNone/>
              </a:pPr>
              <a:endParaRPr lang="en-US" dirty="0">
                <a:solidFill>
                  <a:schemeClr val="accent3">
                    <a:lumMod val="50000"/>
                  </a:schemeClr>
                </a:solidFill>
                <a:latin typeface="Arial"/>
                <a:ea typeface="SimSun" charset="-122"/>
                <a:cs typeface="Arial"/>
              </a:endParaRPr>
            </a:p>
          </p:txBody>
        </p:sp>
        <p:sp>
          <p:nvSpPr>
            <p:cNvPr id="89" name="Freeform 80"/>
            <p:cNvSpPr>
              <a:spLocks noChangeArrowheads="1"/>
            </p:cNvSpPr>
            <p:nvPr/>
          </p:nvSpPr>
          <p:spPr bwMode="auto">
            <a:xfrm>
              <a:off x="8202613" y="3989388"/>
              <a:ext cx="261937" cy="376237"/>
            </a:xfrm>
            <a:custGeom>
              <a:avLst/>
              <a:gdLst>
                <a:gd name="T0" fmla="*/ 51162 w 727"/>
                <a:gd name="T1" fmla="*/ 98102 h 1047"/>
                <a:gd name="T2" fmla="*/ 180149 w 727"/>
                <a:gd name="T3" fmla="*/ 200875 h 1047"/>
                <a:gd name="T4" fmla="*/ 0 w 727"/>
                <a:gd name="T5" fmla="*/ 200875 h 1047"/>
                <a:gd name="T6" fmla="*/ 261577 w 727"/>
                <a:gd name="T7" fmla="*/ 375878 h 1047"/>
                <a:gd name="T8" fmla="*/ 91156 w 727"/>
                <a:gd name="T9" fmla="*/ 0 h 1047"/>
                <a:gd name="T10" fmla="*/ 0 60000 65536"/>
                <a:gd name="T11" fmla="*/ 0 60000 65536"/>
                <a:gd name="T12" fmla="*/ 0 60000 65536"/>
                <a:gd name="T13" fmla="*/ 0 60000 65536"/>
                <a:gd name="T14" fmla="*/ 0 60000 65536"/>
                <a:gd name="T15" fmla="*/ 0 w 727"/>
                <a:gd name="T16" fmla="*/ 0 h 1047"/>
                <a:gd name="T17" fmla="*/ 727 w 727"/>
                <a:gd name="T18" fmla="*/ 1047 h 1047"/>
              </a:gdLst>
              <a:ahLst/>
              <a:cxnLst>
                <a:cxn ang="T10">
                  <a:pos x="T0" y="T1"/>
                </a:cxn>
                <a:cxn ang="T11">
                  <a:pos x="T2" y="T3"/>
                </a:cxn>
                <a:cxn ang="T12">
                  <a:pos x="T4" y="T5"/>
                </a:cxn>
                <a:cxn ang="T13">
                  <a:pos x="T6" y="T7"/>
                </a:cxn>
                <a:cxn ang="T14">
                  <a:pos x="T8" y="T9"/>
                </a:cxn>
              </a:cxnLst>
              <a:rect l="T15" t="T16" r="T17" b="T18"/>
              <a:pathLst>
                <a:path w="727" h="1047">
                  <a:moveTo>
                    <a:pt x="142" y="273"/>
                  </a:moveTo>
                  <a:lnTo>
                    <a:pt x="500" y="559"/>
                  </a:lnTo>
                  <a:lnTo>
                    <a:pt x="0" y="559"/>
                  </a:lnTo>
                  <a:lnTo>
                    <a:pt x="726" y="1046"/>
                  </a:lnTo>
                  <a:lnTo>
                    <a:pt x="253" y="0"/>
                  </a:lnTo>
                </a:path>
              </a:pathLst>
            </a:custGeom>
            <a:noFill/>
            <a:ln w="19080" cap="rnd">
              <a:solidFill>
                <a:srgbClr val="C32033"/>
              </a:solidFill>
              <a:round/>
              <a:headEnd/>
              <a:tailEnd/>
            </a:ln>
          </p:spPr>
          <p:txBody>
            <a:bodyPr>
              <a:prstTxWarp prst="textNoShape">
                <a:avLst/>
              </a:prstTxWarp>
            </a:bodyPr>
            <a:lstStyle/>
            <a:p>
              <a:pPr algn="ctr" hangingPunct="0">
                <a:lnSpc>
                  <a:spcPct val="93000"/>
                </a:lnSpc>
                <a:buClr>
                  <a:srgbClr val="000000"/>
                </a:buClr>
                <a:buSzPct val="100000"/>
                <a:buNone/>
              </a:pPr>
              <a:endParaRPr lang="en-US" dirty="0">
                <a:solidFill>
                  <a:schemeClr val="accent3">
                    <a:lumMod val="50000"/>
                  </a:schemeClr>
                </a:solidFill>
                <a:latin typeface="Arial"/>
                <a:ea typeface="SimSun" charset="-122"/>
                <a:cs typeface="Arial"/>
              </a:endParaRPr>
            </a:p>
          </p:txBody>
        </p:sp>
      </p:grpSp>
      <p:grpSp>
        <p:nvGrpSpPr>
          <p:cNvPr id="90" name="Group 87"/>
          <p:cNvGrpSpPr>
            <a:grpSpLocks noChangeAspect="1"/>
          </p:cNvGrpSpPr>
          <p:nvPr/>
        </p:nvGrpSpPr>
        <p:grpSpPr>
          <a:xfrm>
            <a:off x="8929949" y="3014177"/>
            <a:ext cx="612000" cy="659771"/>
            <a:chOff x="5472113" y="3660775"/>
            <a:chExt cx="1350962" cy="1457325"/>
          </a:xfrm>
        </p:grpSpPr>
        <p:grpSp>
          <p:nvGrpSpPr>
            <p:cNvPr id="91" name="Group 88"/>
            <p:cNvGrpSpPr/>
            <p:nvPr/>
          </p:nvGrpSpPr>
          <p:grpSpPr>
            <a:xfrm>
              <a:off x="5643563" y="3660775"/>
              <a:ext cx="1179512" cy="1457325"/>
              <a:chOff x="5643563" y="3660775"/>
              <a:chExt cx="1179512" cy="1457325"/>
            </a:xfrm>
          </p:grpSpPr>
          <p:sp>
            <p:nvSpPr>
              <p:cNvPr id="99" name="Freeform 26"/>
              <p:cNvSpPr>
                <a:spLocks noChangeArrowheads="1"/>
              </p:cNvSpPr>
              <p:nvPr/>
            </p:nvSpPr>
            <p:spPr bwMode="auto">
              <a:xfrm>
                <a:off x="5643563" y="3660775"/>
                <a:ext cx="1179512" cy="1457325"/>
              </a:xfrm>
              <a:custGeom>
                <a:avLst/>
                <a:gdLst>
                  <a:gd name="T0" fmla="*/ 3583 w 3643"/>
                  <a:gd name="T1" fmla="*/ 2470 h 4499"/>
                  <a:gd name="T2" fmla="*/ 3138 w 3643"/>
                  <a:gd name="T3" fmla="*/ 2698 h 4499"/>
                  <a:gd name="T4" fmla="*/ 2918 w 3643"/>
                  <a:gd name="T5" fmla="*/ 3260 h 4499"/>
                  <a:gd name="T6" fmla="*/ 2669 w 3643"/>
                  <a:gd name="T7" fmla="*/ 4296 h 4499"/>
                  <a:gd name="T8" fmla="*/ 1782 w 3643"/>
                  <a:gd name="T9" fmla="*/ 4427 h 4499"/>
                  <a:gd name="T10" fmla="*/ 1567 w 3643"/>
                  <a:gd name="T11" fmla="*/ 4272 h 4499"/>
                  <a:gd name="T12" fmla="*/ 1205 w 3643"/>
                  <a:gd name="T13" fmla="*/ 3161 h 4499"/>
                  <a:gd name="T14" fmla="*/ 922 w 3643"/>
                  <a:gd name="T15" fmla="*/ 2716 h 4499"/>
                  <a:gd name="T16" fmla="*/ 76 w 3643"/>
                  <a:gd name="T17" fmla="*/ 994 h 4499"/>
                  <a:gd name="T18" fmla="*/ 418 w 3643"/>
                  <a:gd name="T19" fmla="*/ 274 h 4499"/>
                  <a:gd name="T20" fmla="*/ 592 w 3643"/>
                  <a:gd name="T21" fmla="*/ 144 h 4499"/>
                  <a:gd name="T22" fmla="*/ 645 w 3643"/>
                  <a:gd name="T23" fmla="*/ 58 h 4499"/>
                  <a:gd name="T24" fmla="*/ 720 w 3643"/>
                  <a:gd name="T25" fmla="*/ 10 h 4499"/>
                  <a:gd name="T26" fmla="*/ 907 w 3643"/>
                  <a:gd name="T27" fmla="*/ 451 h 4499"/>
                  <a:gd name="T28" fmla="*/ 848 w 3643"/>
                  <a:gd name="T29" fmla="*/ 547 h 4499"/>
                  <a:gd name="T30" fmla="*/ 759 w 3643"/>
                  <a:gd name="T31" fmla="*/ 537 h 4499"/>
                  <a:gd name="T32" fmla="*/ 649 w 3643"/>
                  <a:gd name="T33" fmla="*/ 379 h 4499"/>
                  <a:gd name="T34" fmla="*/ 199 w 3643"/>
                  <a:gd name="T35" fmla="*/ 642 h 4499"/>
                  <a:gd name="T36" fmla="*/ 1096 w 3643"/>
                  <a:gd name="T37" fmla="*/ 2467 h 4499"/>
                  <a:gd name="T38" fmla="*/ 1310 w 3643"/>
                  <a:gd name="T39" fmla="*/ 2694 h 4499"/>
                  <a:gd name="T40" fmla="*/ 1469 w 3643"/>
                  <a:gd name="T41" fmla="*/ 2558 h 4499"/>
                  <a:gd name="T42" fmla="*/ 2398 w 3643"/>
                  <a:gd name="T43" fmla="*/ 935 h 4499"/>
                  <a:gd name="T44" fmla="*/ 2138 w 3643"/>
                  <a:gd name="T45" fmla="*/ 451 h 4499"/>
                  <a:gd name="T46" fmla="*/ 1919 w 3643"/>
                  <a:gd name="T47" fmla="*/ 519 h 4499"/>
                  <a:gd name="T48" fmla="*/ 1817 w 3643"/>
                  <a:gd name="T49" fmla="*/ 568 h 4499"/>
                  <a:gd name="T50" fmla="*/ 1684 w 3643"/>
                  <a:gd name="T51" fmla="*/ 494 h 4499"/>
                  <a:gd name="T52" fmla="*/ 1856 w 3643"/>
                  <a:gd name="T53" fmla="*/ 46 h 4499"/>
                  <a:gd name="T54" fmla="*/ 1932 w 3643"/>
                  <a:gd name="T55" fmla="*/ 92 h 4499"/>
                  <a:gd name="T56" fmla="*/ 1970 w 3643"/>
                  <a:gd name="T57" fmla="*/ 261 h 4499"/>
                  <a:gd name="T58" fmla="*/ 2542 w 3643"/>
                  <a:gd name="T59" fmla="*/ 600 h 4499"/>
                  <a:gd name="T60" fmla="*/ 1734 w 3643"/>
                  <a:gd name="T61" fmla="*/ 2530 h 4499"/>
                  <a:gd name="T62" fmla="*/ 1545 w 3643"/>
                  <a:gd name="T63" fmla="*/ 3131 h 4499"/>
                  <a:gd name="T64" fmla="*/ 1441 w 3643"/>
                  <a:gd name="T65" fmla="*/ 3207 h 4499"/>
                  <a:gd name="T66" fmla="*/ 1849 w 3643"/>
                  <a:gd name="T67" fmla="*/ 4257 h 4499"/>
                  <a:gd name="T68" fmla="*/ 2717 w 3643"/>
                  <a:gd name="T69" fmla="*/ 3818 h 4499"/>
                  <a:gd name="T70" fmla="*/ 2961 w 3643"/>
                  <a:gd name="T71" fmla="*/ 2573 h 4499"/>
                  <a:gd name="T72" fmla="*/ 2933 w 3643"/>
                  <a:gd name="T73" fmla="*/ 2523 h 4499"/>
                  <a:gd name="T74" fmla="*/ 3247 w 3643"/>
                  <a:gd name="T75" fmla="*/ 2010 h 44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43"/>
                  <a:gd name="T115" fmla="*/ 0 h 4499"/>
                  <a:gd name="T116" fmla="*/ 3643 w 3643"/>
                  <a:gd name="T117" fmla="*/ 4499 h 449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43" h="4499">
                    <a:moveTo>
                      <a:pt x="3355" y="2027"/>
                    </a:moveTo>
                    <a:cubicBezTo>
                      <a:pt x="3540" y="2086"/>
                      <a:pt x="3642" y="2285"/>
                      <a:pt x="3583" y="2470"/>
                    </a:cubicBezTo>
                    <a:cubicBezTo>
                      <a:pt x="3535" y="2616"/>
                      <a:pt x="3400" y="2715"/>
                      <a:pt x="3247" y="2715"/>
                    </a:cubicBezTo>
                    <a:cubicBezTo>
                      <a:pt x="3210" y="2715"/>
                      <a:pt x="3174" y="2709"/>
                      <a:pt x="3138" y="2698"/>
                    </a:cubicBezTo>
                    <a:cubicBezTo>
                      <a:pt x="3128" y="2694"/>
                      <a:pt x="3117" y="2690"/>
                      <a:pt x="3107" y="2686"/>
                    </a:cubicBezTo>
                    <a:cubicBezTo>
                      <a:pt x="2990" y="2856"/>
                      <a:pt x="2925" y="3054"/>
                      <a:pt x="2918" y="3260"/>
                    </a:cubicBezTo>
                    <a:lnTo>
                      <a:pt x="2900" y="3824"/>
                    </a:lnTo>
                    <a:cubicBezTo>
                      <a:pt x="2894" y="4012"/>
                      <a:pt x="2810" y="4184"/>
                      <a:pt x="2669" y="4296"/>
                    </a:cubicBezTo>
                    <a:cubicBezTo>
                      <a:pt x="2501" y="4430"/>
                      <a:pt x="2319" y="4498"/>
                      <a:pt x="2129" y="4498"/>
                    </a:cubicBezTo>
                    <a:cubicBezTo>
                      <a:pt x="2017" y="4498"/>
                      <a:pt x="1900" y="4474"/>
                      <a:pt x="1782" y="4427"/>
                    </a:cubicBezTo>
                    <a:cubicBezTo>
                      <a:pt x="1765" y="4421"/>
                      <a:pt x="1748" y="4413"/>
                      <a:pt x="1732" y="4405"/>
                    </a:cubicBezTo>
                    <a:cubicBezTo>
                      <a:pt x="1669" y="4372"/>
                      <a:pt x="1612" y="4326"/>
                      <a:pt x="1567" y="4272"/>
                    </a:cubicBezTo>
                    <a:cubicBezTo>
                      <a:pt x="1335" y="3994"/>
                      <a:pt x="1234" y="3639"/>
                      <a:pt x="1259" y="3188"/>
                    </a:cubicBezTo>
                    <a:cubicBezTo>
                      <a:pt x="1242" y="3181"/>
                      <a:pt x="1216" y="3169"/>
                      <a:pt x="1205" y="3161"/>
                    </a:cubicBezTo>
                    <a:cubicBezTo>
                      <a:pt x="1184" y="3148"/>
                      <a:pt x="1152" y="3109"/>
                      <a:pt x="1148" y="3105"/>
                    </a:cubicBezTo>
                    <a:lnTo>
                      <a:pt x="922" y="2716"/>
                    </a:lnTo>
                    <a:cubicBezTo>
                      <a:pt x="886" y="2653"/>
                      <a:pt x="900" y="2575"/>
                      <a:pt x="952" y="2527"/>
                    </a:cubicBezTo>
                    <a:lnTo>
                      <a:pt x="76" y="994"/>
                    </a:lnTo>
                    <a:cubicBezTo>
                      <a:pt x="8" y="876"/>
                      <a:pt x="0" y="732"/>
                      <a:pt x="54" y="588"/>
                    </a:cubicBezTo>
                    <a:cubicBezTo>
                      <a:pt x="112" y="430"/>
                      <a:pt x="249" y="312"/>
                      <a:pt x="418" y="274"/>
                    </a:cubicBezTo>
                    <a:lnTo>
                      <a:pt x="613" y="229"/>
                    </a:lnTo>
                    <a:lnTo>
                      <a:pt x="592" y="144"/>
                    </a:lnTo>
                    <a:cubicBezTo>
                      <a:pt x="588" y="125"/>
                      <a:pt x="591" y="106"/>
                      <a:pt x="601" y="90"/>
                    </a:cubicBezTo>
                    <a:cubicBezTo>
                      <a:pt x="611" y="74"/>
                      <a:pt x="627" y="63"/>
                      <a:pt x="645" y="58"/>
                    </a:cubicBezTo>
                    <a:cubicBezTo>
                      <a:pt x="652" y="57"/>
                      <a:pt x="658" y="56"/>
                      <a:pt x="664" y="57"/>
                    </a:cubicBezTo>
                    <a:cubicBezTo>
                      <a:pt x="674" y="33"/>
                      <a:pt x="694" y="16"/>
                      <a:pt x="720" y="10"/>
                    </a:cubicBezTo>
                    <a:cubicBezTo>
                      <a:pt x="762" y="0"/>
                      <a:pt x="806" y="27"/>
                      <a:pt x="816" y="69"/>
                    </a:cubicBezTo>
                    <a:lnTo>
                      <a:pt x="907" y="451"/>
                    </a:lnTo>
                    <a:cubicBezTo>
                      <a:pt x="912" y="472"/>
                      <a:pt x="909" y="493"/>
                      <a:pt x="897" y="511"/>
                    </a:cubicBezTo>
                    <a:cubicBezTo>
                      <a:pt x="886" y="530"/>
                      <a:pt x="868" y="542"/>
                      <a:pt x="848" y="547"/>
                    </a:cubicBezTo>
                    <a:cubicBezTo>
                      <a:pt x="823" y="553"/>
                      <a:pt x="796" y="546"/>
                      <a:pt x="777" y="530"/>
                    </a:cubicBezTo>
                    <a:cubicBezTo>
                      <a:pt x="772" y="533"/>
                      <a:pt x="766" y="536"/>
                      <a:pt x="759" y="537"/>
                    </a:cubicBezTo>
                    <a:cubicBezTo>
                      <a:pt x="720" y="546"/>
                      <a:pt x="682" y="522"/>
                      <a:pt x="674" y="484"/>
                    </a:cubicBezTo>
                    <a:lnTo>
                      <a:pt x="649" y="379"/>
                    </a:lnTo>
                    <a:lnTo>
                      <a:pt x="453" y="424"/>
                    </a:lnTo>
                    <a:cubicBezTo>
                      <a:pt x="334" y="451"/>
                      <a:pt x="239" y="532"/>
                      <a:pt x="199" y="642"/>
                    </a:cubicBezTo>
                    <a:cubicBezTo>
                      <a:pt x="172" y="712"/>
                      <a:pt x="153" y="818"/>
                      <a:pt x="210" y="917"/>
                    </a:cubicBezTo>
                    <a:lnTo>
                      <a:pt x="1096" y="2467"/>
                    </a:lnTo>
                    <a:cubicBezTo>
                      <a:pt x="1145" y="2471"/>
                      <a:pt x="1189" y="2497"/>
                      <a:pt x="1215" y="2540"/>
                    </a:cubicBezTo>
                    <a:lnTo>
                      <a:pt x="1310" y="2694"/>
                    </a:lnTo>
                    <a:cubicBezTo>
                      <a:pt x="1330" y="2727"/>
                      <a:pt x="1384" y="2724"/>
                      <a:pt x="1401" y="2690"/>
                    </a:cubicBezTo>
                    <a:lnTo>
                      <a:pt x="1469" y="2558"/>
                    </a:lnTo>
                    <a:cubicBezTo>
                      <a:pt x="1492" y="2511"/>
                      <a:pt x="1537" y="2481"/>
                      <a:pt x="1588" y="2475"/>
                    </a:cubicBezTo>
                    <a:lnTo>
                      <a:pt x="2398" y="935"/>
                    </a:lnTo>
                    <a:cubicBezTo>
                      <a:pt x="2451" y="833"/>
                      <a:pt x="2428" y="729"/>
                      <a:pt x="2399" y="659"/>
                    </a:cubicBezTo>
                    <a:cubicBezTo>
                      <a:pt x="2354" y="551"/>
                      <a:pt x="2257" y="474"/>
                      <a:pt x="2138" y="451"/>
                    </a:cubicBezTo>
                    <a:lnTo>
                      <a:pt x="1940" y="413"/>
                    </a:lnTo>
                    <a:lnTo>
                      <a:pt x="1919" y="519"/>
                    </a:lnTo>
                    <a:cubicBezTo>
                      <a:pt x="1911" y="556"/>
                      <a:pt x="1874" y="582"/>
                      <a:pt x="1835" y="575"/>
                    </a:cubicBezTo>
                    <a:cubicBezTo>
                      <a:pt x="1829" y="573"/>
                      <a:pt x="1823" y="571"/>
                      <a:pt x="1817" y="568"/>
                    </a:cubicBezTo>
                    <a:cubicBezTo>
                      <a:pt x="1798" y="585"/>
                      <a:pt x="1772" y="593"/>
                      <a:pt x="1747" y="588"/>
                    </a:cubicBezTo>
                    <a:cubicBezTo>
                      <a:pt x="1704" y="579"/>
                      <a:pt x="1676" y="537"/>
                      <a:pt x="1684" y="494"/>
                    </a:cubicBezTo>
                    <a:lnTo>
                      <a:pt x="1761" y="109"/>
                    </a:lnTo>
                    <a:cubicBezTo>
                      <a:pt x="1770" y="67"/>
                      <a:pt x="1812" y="37"/>
                      <a:pt x="1856" y="46"/>
                    </a:cubicBezTo>
                    <a:cubicBezTo>
                      <a:pt x="1882" y="51"/>
                      <a:pt x="1902" y="68"/>
                      <a:pt x="1913" y="91"/>
                    </a:cubicBezTo>
                    <a:cubicBezTo>
                      <a:pt x="1919" y="91"/>
                      <a:pt x="1925" y="91"/>
                      <a:pt x="1932" y="92"/>
                    </a:cubicBezTo>
                    <a:cubicBezTo>
                      <a:pt x="1971" y="100"/>
                      <a:pt x="1995" y="137"/>
                      <a:pt x="1988" y="176"/>
                    </a:cubicBezTo>
                    <a:lnTo>
                      <a:pt x="1970" y="261"/>
                    </a:lnTo>
                    <a:lnTo>
                      <a:pt x="2167" y="299"/>
                    </a:lnTo>
                    <a:cubicBezTo>
                      <a:pt x="2337" y="332"/>
                      <a:pt x="2478" y="444"/>
                      <a:pt x="2542" y="600"/>
                    </a:cubicBezTo>
                    <a:cubicBezTo>
                      <a:pt x="2600" y="742"/>
                      <a:pt x="2598" y="886"/>
                      <a:pt x="2535" y="1007"/>
                    </a:cubicBezTo>
                    <a:lnTo>
                      <a:pt x="1734" y="2530"/>
                    </a:lnTo>
                    <a:cubicBezTo>
                      <a:pt x="1785" y="2576"/>
                      <a:pt x="1800" y="2652"/>
                      <a:pt x="1767" y="2715"/>
                    </a:cubicBezTo>
                    <a:lnTo>
                      <a:pt x="1545" y="3131"/>
                    </a:lnTo>
                    <a:cubicBezTo>
                      <a:pt x="1540" y="3139"/>
                      <a:pt x="1508" y="3181"/>
                      <a:pt x="1485" y="3194"/>
                    </a:cubicBezTo>
                    <a:cubicBezTo>
                      <a:pt x="1474" y="3200"/>
                      <a:pt x="1455" y="3205"/>
                      <a:pt x="1441" y="3207"/>
                    </a:cubicBezTo>
                    <a:cubicBezTo>
                      <a:pt x="1421" y="3605"/>
                      <a:pt x="1509" y="3915"/>
                      <a:pt x="1708" y="4154"/>
                    </a:cubicBezTo>
                    <a:cubicBezTo>
                      <a:pt x="1746" y="4200"/>
                      <a:pt x="1795" y="4235"/>
                      <a:pt x="1849" y="4257"/>
                    </a:cubicBezTo>
                    <a:cubicBezTo>
                      <a:pt x="2109" y="4360"/>
                      <a:pt x="2337" y="4327"/>
                      <a:pt x="2554" y="4153"/>
                    </a:cubicBezTo>
                    <a:cubicBezTo>
                      <a:pt x="2653" y="4074"/>
                      <a:pt x="2712" y="3952"/>
                      <a:pt x="2717" y="3818"/>
                    </a:cubicBezTo>
                    <a:lnTo>
                      <a:pt x="2735" y="3255"/>
                    </a:lnTo>
                    <a:cubicBezTo>
                      <a:pt x="2743" y="3009"/>
                      <a:pt x="2821" y="2774"/>
                      <a:pt x="2961" y="2573"/>
                    </a:cubicBezTo>
                    <a:lnTo>
                      <a:pt x="2963" y="2571"/>
                    </a:lnTo>
                    <a:cubicBezTo>
                      <a:pt x="2952" y="2556"/>
                      <a:pt x="2941" y="2540"/>
                      <a:pt x="2933" y="2523"/>
                    </a:cubicBezTo>
                    <a:cubicBezTo>
                      <a:pt x="2890" y="2439"/>
                      <a:pt x="2882" y="2344"/>
                      <a:pt x="2911" y="2254"/>
                    </a:cubicBezTo>
                    <a:cubicBezTo>
                      <a:pt x="2958" y="2108"/>
                      <a:pt x="3093" y="2010"/>
                      <a:pt x="3247" y="2010"/>
                    </a:cubicBezTo>
                    <a:cubicBezTo>
                      <a:pt x="3283" y="2010"/>
                      <a:pt x="3320" y="2015"/>
                      <a:pt x="3355" y="2027"/>
                    </a:cubicBezTo>
                  </a:path>
                </a:pathLst>
              </a:custGeom>
              <a:solidFill>
                <a:srgbClr val="BD1839"/>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100" name="Freeform 27"/>
              <p:cNvSpPr>
                <a:spLocks noChangeArrowheads="1"/>
              </p:cNvSpPr>
              <p:nvPr/>
            </p:nvSpPr>
            <p:spPr bwMode="auto">
              <a:xfrm>
                <a:off x="6637338" y="4370388"/>
                <a:ext cx="115887" cy="115887"/>
              </a:xfrm>
              <a:custGeom>
                <a:avLst/>
                <a:gdLst>
                  <a:gd name="T0" fmla="*/ 26 w 355"/>
                  <a:gd name="T1" fmla="*/ 129 h 355"/>
                  <a:gd name="T2" fmla="*/ 225 w 355"/>
                  <a:gd name="T3" fmla="*/ 27 h 355"/>
                  <a:gd name="T4" fmla="*/ 327 w 355"/>
                  <a:gd name="T5" fmla="*/ 225 h 355"/>
                  <a:gd name="T6" fmla="*/ 128 w 355"/>
                  <a:gd name="T7" fmla="*/ 327 h 355"/>
                  <a:gd name="T8" fmla="*/ 26 w 355"/>
                  <a:gd name="T9" fmla="*/ 129 h 355"/>
                  <a:gd name="T10" fmla="*/ 0 60000 65536"/>
                  <a:gd name="T11" fmla="*/ 0 60000 65536"/>
                  <a:gd name="T12" fmla="*/ 0 60000 65536"/>
                  <a:gd name="T13" fmla="*/ 0 60000 65536"/>
                  <a:gd name="T14" fmla="*/ 0 60000 65536"/>
                  <a:gd name="T15" fmla="*/ 0 w 355"/>
                  <a:gd name="T16" fmla="*/ 0 h 355"/>
                  <a:gd name="T17" fmla="*/ 355 w 355"/>
                  <a:gd name="T18" fmla="*/ 355 h 355"/>
                </a:gdLst>
                <a:ahLst/>
                <a:cxnLst>
                  <a:cxn ang="T10">
                    <a:pos x="T0" y="T1"/>
                  </a:cxn>
                  <a:cxn ang="T11">
                    <a:pos x="T2" y="T3"/>
                  </a:cxn>
                  <a:cxn ang="T12">
                    <a:pos x="T4" y="T5"/>
                  </a:cxn>
                  <a:cxn ang="T13">
                    <a:pos x="T6" y="T7"/>
                  </a:cxn>
                  <a:cxn ang="T14">
                    <a:pos x="T8" y="T9"/>
                  </a:cxn>
                </a:cxnLst>
                <a:rect l="T15" t="T16" r="T17" b="T18"/>
                <a:pathLst>
                  <a:path w="355" h="355">
                    <a:moveTo>
                      <a:pt x="26" y="129"/>
                    </a:moveTo>
                    <a:cubicBezTo>
                      <a:pt x="53" y="46"/>
                      <a:pt x="142" y="0"/>
                      <a:pt x="225" y="27"/>
                    </a:cubicBezTo>
                    <a:cubicBezTo>
                      <a:pt x="308" y="54"/>
                      <a:pt x="354" y="142"/>
                      <a:pt x="327" y="225"/>
                    </a:cubicBezTo>
                    <a:cubicBezTo>
                      <a:pt x="300" y="308"/>
                      <a:pt x="211" y="354"/>
                      <a:pt x="128" y="327"/>
                    </a:cubicBezTo>
                    <a:cubicBezTo>
                      <a:pt x="45" y="300"/>
                      <a:pt x="0" y="211"/>
                      <a:pt x="26" y="129"/>
                    </a:cubicBezTo>
                  </a:path>
                </a:pathLst>
              </a:custGeom>
              <a:solidFill>
                <a:srgbClr val="C32033"/>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101" name="Freeform 28"/>
              <p:cNvSpPr>
                <a:spLocks noChangeArrowheads="1"/>
              </p:cNvSpPr>
              <p:nvPr/>
            </p:nvSpPr>
            <p:spPr bwMode="auto">
              <a:xfrm>
                <a:off x="6630988" y="4370388"/>
                <a:ext cx="123825" cy="115887"/>
              </a:xfrm>
              <a:custGeom>
                <a:avLst/>
                <a:gdLst>
                  <a:gd name="T0" fmla="*/ 199 w 383"/>
                  <a:gd name="T1" fmla="*/ 354 h 355"/>
                  <a:gd name="T2" fmla="*/ 199 w 383"/>
                  <a:gd name="T3" fmla="*/ 354 h 355"/>
                  <a:gd name="T4" fmla="*/ 144 w 383"/>
                  <a:gd name="T5" fmla="*/ 346 h 355"/>
                  <a:gd name="T6" fmla="*/ 30 w 383"/>
                  <a:gd name="T7" fmla="*/ 123 h 355"/>
                  <a:gd name="T8" fmla="*/ 198 w 383"/>
                  <a:gd name="T9" fmla="*/ 0 h 355"/>
                  <a:gd name="T10" fmla="*/ 253 w 383"/>
                  <a:gd name="T11" fmla="*/ 8 h 355"/>
                  <a:gd name="T12" fmla="*/ 357 w 383"/>
                  <a:gd name="T13" fmla="*/ 96 h 355"/>
                  <a:gd name="T14" fmla="*/ 367 w 383"/>
                  <a:gd name="T15" fmla="*/ 231 h 355"/>
                  <a:gd name="T16" fmla="*/ 199 w 383"/>
                  <a:gd name="T17" fmla="*/ 354 h 355"/>
                  <a:gd name="T18" fmla="*/ 199 w 383"/>
                  <a:gd name="T19" fmla="*/ 39 h 355"/>
                  <a:gd name="T20" fmla="*/ 67 w 383"/>
                  <a:gd name="T21" fmla="*/ 135 h 355"/>
                  <a:gd name="T22" fmla="*/ 156 w 383"/>
                  <a:gd name="T23" fmla="*/ 308 h 355"/>
                  <a:gd name="T24" fmla="*/ 199 w 383"/>
                  <a:gd name="T25" fmla="*/ 315 h 355"/>
                  <a:gd name="T26" fmla="*/ 330 w 383"/>
                  <a:gd name="T27" fmla="*/ 219 h 355"/>
                  <a:gd name="T28" fmla="*/ 322 w 383"/>
                  <a:gd name="T29" fmla="*/ 114 h 355"/>
                  <a:gd name="T30" fmla="*/ 241 w 383"/>
                  <a:gd name="T31" fmla="*/ 46 h 355"/>
                  <a:gd name="T32" fmla="*/ 199 w 383"/>
                  <a:gd name="T33" fmla="*/ 39 h 3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3"/>
                  <a:gd name="T52" fmla="*/ 0 h 355"/>
                  <a:gd name="T53" fmla="*/ 383 w 383"/>
                  <a:gd name="T54" fmla="*/ 355 h 3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3" h="355">
                    <a:moveTo>
                      <a:pt x="199" y="354"/>
                    </a:moveTo>
                    <a:lnTo>
                      <a:pt x="199" y="354"/>
                    </a:lnTo>
                    <a:cubicBezTo>
                      <a:pt x="180" y="354"/>
                      <a:pt x="162" y="351"/>
                      <a:pt x="144" y="346"/>
                    </a:cubicBezTo>
                    <a:cubicBezTo>
                      <a:pt x="51" y="316"/>
                      <a:pt x="0" y="216"/>
                      <a:pt x="30" y="123"/>
                    </a:cubicBezTo>
                    <a:cubicBezTo>
                      <a:pt x="53" y="49"/>
                      <a:pt x="121" y="0"/>
                      <a:pt x="198" y="0"/>
                    </a:cubicBezTo>
                    <a:cubicBezTo>
                      <a:pt x="217" y="0"/>
                      <a:pt x="235" y="3"/>
                      <a:pt x="253" y="8"/>
                    </a:cubicBezTo>
                    <a:cubicBezTo>
                      <a:pt x="298" y="23"/>
                      <a:pt x="335" y="54"/>
                      <a:pt x="357" y="96"/>
                    </a:cubicBezTo>
                    <a:cubicBezTo>
                      <a:pt x="378" y="138"/>
                      <a:pt x="382" y="186"/>
                      <a:pt x="367" y="231"/>
                    </a:cubicBezTo>
                    <a:cubicBezTo>
                      <a:pt x="344" y="305"/>
                      <a:pt x="276" y="354"/>
                      <a:pt x="199" y="354"/>
                    </a:cubicBezTo>
                    <a:close/>
                    <a:moveTo>
                      <a:pt x="199" y="39"/>
                    </a:moveTo>
                    <a:cubicBezTo>
                      <a:pt x="138" y="39"/>
                      <a:pt x="85" y="78"/>
                      <a:pt x="67" y="135"/>
                    </a:cubicBezTo>
                    <a:cubicBezTo>
                      <a:pt x="44" y="207"/>
                      <a:pt x="84" y="285"/>
                      <a:pt x="156" y="308"/>
                    </a:cubicBezTo>
                    <a:cubicBezTo>
                      <a:pt x="170" y="313"/>
                      <a:pt x="184" y="315"/>
                      <a:pt x="199" y="315"/>
                    </a:cubicBezTo>
                    <a:cubicBezTo>
                      <a:pt x="259" y="315"/>
                      <a:pt x="312" y="277"/>
                      <a:pt x="330" y="219"/>
                    </a:cubicBezTo>
                    <a:cubicBezTo>
                      <a:pt x="341" y="184"/>
                      <a:pt x="338" y="147"/>
                      <a:pt x="322" y="114"/>
                    </a:cubicBezTo>
                    <a:cubicBezTo>
                      <a:pt x="305" y="81"/>
                      <a:pt x="276" y="57"/>
                      <a:pt x="241" y="46"/>
                    </a:cubicBezTo>
                    <a:cubicBezTo>
                      <a:pt x="227" y="41"/>
                      <a:pt x="213" y="39"/>
                      <a:pt x="199" y="39"/>
                    </a:cubicBezTo>
                    <a:close/>
                  </a:path>
                </a:pathLst>
              </a:custGeom>
              <a:solidFill>
                <a:srgbClr val="FFFFFF"/>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102" name="Freeform 29"/>
              <p:cNvSpPr>
                <a:spLocks noChangeArrowheads="1"/>
              </p:cNvSpPr>
              <p:nvPr/>
            </p:nvSpPr>
            <p:spPr bwMode="auto">
              <a:xfrm>
                <a:off x="5921375" y="4452938"/>
                <a:ext cx="314325" cy="254000"/>
              </a:xfrm>
              <a:custGeom>
                <a:avLst/>
                <a:gdLst>
                  <a:gd name="T0" fmla="*/ 862 w 968"/>
                  <a:gd name="T1" fmla="*/ 49 h 783"/>
                  <a:gd name="T2" fmla="*/ 924 w 968"/>
                  <a:gd name="T3" fmla="*/ 277 h 783"/>
                  <a:gd name="T4" fmla="*/ 703 w 968"/>
                  <a:gd name="T5" fmla="*/ 694 h 783"/>
                  <a:gd name="T6" fmla="*/ 635 w 968"/>
                  <a:gd name="T7" fmla="*/ 764 h 783"/>
                  <a:gd name="T8" fmla="*/ 567 w 968"/>
                  <a:gd name="T9" fmla="*/ 782 h 783"/>
                  <a:gd name="T10" fmla="*/ 565 w 968"/>
                  <a:gd name="T11" fmla="*/ 782 h 783"/>
                  <a:gd name="T12" fmla="*/ 412 w 968"/>
                  <a:gd name="T13" fmla="*/ 782 h 783"/>
                  <a:gd name="T14" fmla="*/ 404 w 968"/>
                  <a:gd name="T15" fmla="*/ 781 h 783"/>
                  <a:gd name="T16" fmla="*/ 371 w 968"/>
                  <a:gd name="T17" fmla="*/ 758 h 783"/>
                  <a:gd name="T18" fmla="*/ 334 w 968"/>
                  <a:gd name="T19" fmla="*/ 731 h 783"/>
                  <a:gd name="T20" fmla="*/ 274 w 968"/>
                  <a:gd name="T21" fmla="*/ 671 h 783"/>
                  <a:gd name="T22" fmla="*/ 46 w 968"/>
                  <a:gd name="T23" fmla="*/ 279 h 783"/>
                  <a:gd name="T24" fmla="*/ 100 w 968"/>
                  <a:gd name="T25" fmla="*/ 48 h 783"/>
                  <a:gd name="T26" fmla="*/ 130 w 968"/>
                  <a:gd name="T27" fmla="*/ 29 h 783"/>
                  <a:gd name="T28" fmla="*/ 225 w 968"/>
                  <a:gd name="T29" fmla="*/ 0 h 783"/>
                  <a:gd name="T30" fmla="*/ 372 w 968"/>
                  <a:gd name="T31" fmla="*/ 82 h 783"/>
                  <a:gd name="T32" fmla="*/ 467 w 968"/>
                  <a:gd name="T33" fmla="*/ 237 h 783"/>
                  <a:gd name="T34" fmla="*/ 495 w 968"/>
                  <a:gd name="T35" fmla="*/ 251 h 783"/>
                  <a:gd name="T36" fmla="*/ 524 w 968"/>
                  <a:gd name="T37" fmla="*/ 234 h 783"/>
                  <a:gd name="T38" fmla="*/ 592 w 968"/>
                  <a:gd name="T39" fmla="*/ 102 h 783"/>
                  <a:gd name="T40" fmla="*/ 746 w 968"/>
                  <a:gd name="T41" fmla="*/ 8 h 783"/>
                  <a:gd name="T42" fmla="*/ 836 w 968"/>
                  <a:gd name="T43" fmla="*/ 33 h 783"/>
                  <a:gd name="T44" fmla="*/ 862 w 968"/>
                  <a:gd name="T45" fmla="*/ 49 h 78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8"/>
                  <a:gd name="T70" fmla="*/ 0 h 783"/>
                  <a:gd name="T71" fmla="*/ 968 w 968"/>
                  <a:gd name="T72" fmla="*/ 783 h 78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8" h="783">
                    <a:moveTo>
                      <a:pt x="862" y="49"/>
                    </a:moveTo>
                    <a:cubicBezTo>
                      <a:pt x="940" y="97"/>
                      <a:pt x="967" y="197"/>
                      <a:pt x="924" y="277"/>
                    </a:cubicBezTo>
                    <a:lnTo>
                      <a:pt x="703" y="694"/>
                    </a:lnTo>
                    <a:cubicBezTo>
                      <a:pt x="701" y="696"/>
                      <a:pt x="664" y="747"/>
                      <a:pt x="635" y="764"/>
                    </a:cubicBezTo>
                    <a:cubicBezTo>
                      <a:pt x="615" y="776"/>
                      <a:pt x="578" y="781"/>
                      <a:pt x="567" y="782"/>
                    </a:cubicBezTo>
                    <a:cubicBezTo>
                      <a:pt x="566" y="782"/>
                      <a:pt x="566" y="782"/>
                      <a:pt x="565" y="782"/>
                    </a:cubicBezTo>
                    <a:lnTo>
                      <a:pt x="412" y="782"/>
                    </a:lnTo>
                    <a:cubicBezTo>
                      <a:pt x="409" y="782"/>
                      <a:pt x="406" y="782"/>
                      <a:pt x="404" y="781"/>
                    </a:cubicBezTo>
                    <a:cubicBezTo>
                      <a:pt x="400" y="779"/>
                      <a:pt x="395" y="776"/>
                      <a:pt x="371" y="758"/>
                    </a:cubicBezTo>
                    <a:cubicBezTo>
                      <a:pt x="357" y="747"/>
                      <a:pt x="342" y="736"/>
                      <a:pt x="334" y="731"/>
                    </a:cubicBezTo>
                    <a:cubicBezTo>
                      <a:pt x="312" y="717"/>
                      <a:pt x="282" y="681"/>
                      <a:pt x="274" y="671"/>
                    </a:cubicBezTo>
                    <a:lnTo>
                      <a:pt x="46" y="279"/>
                    </a:lnTo>
                    <a:cubicBezTo>
                      <a:pt x="0" y="200"/>
                      <a:pt x="24" y="99"/>
                      <a:pt x="100" y="48"/>
                    </a:cubicBezTo>
                    <a:lnTo>
                      <a:pt x="130" y="29"/>
                    </a:lnTo>
                    <a:cubicBezTo>
                      <a:pt x="158" y="10"/>
                      <a:pt x="191" y="0"/>
                      <a:pt x="225" y="0"/>
                    </a:cubicBezTo>
                    <a:cubicBezTo>
                      <a:pt x="285" y="0"/>
                      <a:pt x="341" y="31"/>
                      <a:pt x="372" y="82"/>
                    </a:cubicBezTo>
                    <a:lnTo>
                      <a:pt x="467" y="237"/>
                    </a:lnTo>
                    <a:cubicBezTo>
                      <a:pt x="473" y="245"/>
                      <a:pt x="483" y="251"/>
                      <a:pt x="495" y="251"/>
                    </a:cubicBezTo>
                    <a:cubicBezTo>
                      <a:pt x="505" y="251"/>
                      <a:pt x="518" y="246"/>
                      <a:pt x="524" y="234"/>
                    </a:cubicBezTo>
                    <a:lnTo>
                      <a:pt x="592" y="102"/>
                    </a:lnTo>
                    <a:cubicBezTo>
                      <a:pt x="621" y="44"/>
                      <a:pt x="680" y="8"/>
                      <a:pt x="746" y="8"/>
                    </a:cubicBezTo>
                    <a:cubicBezTo>
                      <a:pt x="778" y="8"/>
                      <a:pt x="809" y="17"/>
                      <a:pt x="836" y="33"/>
                    </a:cubicBezTo>
                    <a:lnTo>
                      <a:pt x="862" y="49"/>
                    </a:lnTo>
                  </a:path>
                </a:pathLst>
              </a:custGeom>
              <a:solidFill>
                <a:srgbClr val="5C8B76"/>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grpSp>
        <p:grpSp>
          <p:nvGrpSpPr>
            <p:cNvPr id="92" name="Group 89"/>
            <p:cNvGrpSpPr/>
            <p:nvPr/>
          </p:nvGrpSpPr>
          <p:grpSpPr>
            <a:xfrm>
              <a:off x="5472113" y="4386263"/>
              <a:ext cx="411162" cy="663575"/>
              <a:chOff x="5472113" y="4386263"/>
              <a:chExt cx="411162" cy="663575"/>
            </a:xfrm>
          </p:grpSpPr>
          <p:sp>
            <p:nvSpPr>
              <p:cNvPr id="93" name="Freeform 30"/>
              <p:cNvSpPr>
                <a:spLocks noChangeArrowheads="1"/>
              </p:cNvSpPr>
              <p:nvPr/>
            </p:nvSpPr>
            <p:spPr bwMode="auto">
              <a:xfrm>
                <a:off x="5530850" y="4386263"/>
                <a:ext cx="292100" cy="101600"/>
              </a:xfrm>
              <a:custGeom>
                <a:avLst/>
                <a:gdLst>
                  <a:gd name="T0" fmla="*/ 905 w 906"/>
                  <a:gd name="T1" fmla="*/ 237 h 312"/>
                  <a:gd name="T2" fmla="*/ 831 w 906"/>
                  <a:gd name="T3" fmla="*/ 311 h 312"/>
                  <a:gd name="T4" fmla="*/ 74 w 906"/>
                  <a:gd name="T5" fmla="*/ 311 h 312"/>
                  <a:gd name="T6" fmla="*/ 0 w 906"/>
                  <a:gd name="T7" fmla="*/ 237 h 312"/>
                  <a:gd name="T8" fmla="*/ 0 w 906"/>
                  <a:gd name="T9" fmla="*/ 74 h 312"/>
                  <a:gd name="T10" fmla="*/ 74 w 906"/>
                  <a:gd name="T11" fmla="*/ 0 h 312"/>
                  <a:gd name="T12" fmla="*/ 831 w 906"/>
                  <a:gd name="T13" fmla="*/ 0 h 312"/>
                  <a:gd name="T14" fmla="*/ 905 w 906"/>
                  <a:gd name="T15" fmla="*/ 74 h 312"/>
                  <a:gd name="T16" fmla="*/ 905 w 906"/>
                  <a:gd name="T17" fmla="*/ 237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312"/>
                  <a:gd name="T29" fmla="*/ 906 w 90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312">
                    <a:moveTo>
                      <a:pt x="905" y="237"/>
                    </a:moveTo>
                    <a:cubicBezTo>
                      <a:pt x="905" y="278"/>
                      <a:pt x="872" y="311"/>
                      <a:pt x="831" y="311"/>
                    </a:cubicBezTo>
                    <a:lnTo>
                      <a:pt x="74" y="311"/>
                    </a:lnTo>
                    <a:cubicBezTo>
                      <a:pt x="34" y="311"/>
                      <a:pt x="0" y="278"/>
                      <a:pt x="0" y="237"/>
                    </a:cubicBezTo>
                    <a:lnTo>
                      <a:pt x="0" y="74"/>
                    </a:lnTo>
                    <a:cubicBezTo>
                      <a:pt x="0" y="34"/>
                      <a:pt x="34" y="0"/>
                      <a:pt x="74" y="0"/>
                    </a:cubicBezTo>
                    <a:lnTo>
                      <a:pt x="831" y="0"/>
                    </a:lnTo>
                    <a:cubicBezTo>
                      <a:pt x="872" y="0"/>
                      <a:pt x="905" y="34"/>
                      <a:pt x="905" y="74"/>
                    </a:cubicBezTo>
                    <a:lnTo>
                      <a:pt x="905" y="237"/>
                    </a:lnTo>
                  </a:path>
                </a:pathLst>
              </a:custGeom>
              <a:solidFill>
                <a:srgbClr val="5C8B76"/>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94" name="Freeform 31"/>
              <p:cNvSpPr>
                <a:spLocks noChangeArrowheads="1"/>
              </p:cNvSpPr>
              <p:nvPr/>
            </p:nvSpPr>
            <p:spPr bwMode="auto">
              <a:xfrm>
                <a:off x="5472113" y="4464050"/>
                <a:ext cx="411162" cy="585788"/>
              </a:xfrm>
              <a:custGeom>
                <a:avLst/>
                <a:gdLst>
                  <a:gd name="T0" fmla="*/ 1270 w 1271"/>
                  <a:gd name="T1" fmla="*/ 1659 h 1808"/>
                  <a:gd name="T2" fmla="*/ 1122 w 1271"/>
                  <a:gd name="T3" fmla="*/ 1807 h 1808"/>
                  <a:gd name="T4" fmla="*/ 148 w 1271"/>
                  <a:gd name="T5" fmla="*/ 1807 h 1808"/>
                  <a:gd name="T6" fmla="*/ 0 w 1271"/>
                  <a:gd name="T7" fmla="*/ 1659 h 1808"/>
                  <a:gd name="T8" fmla="*/ 0 w 1271"/>
                  <a:gd name="T9" fmla="*/ 148 h 1808"/>
                  <a:gd name="T10" fmla="*/ 148 w 1271"/>
                  <a:gd name="T11" fmla="*/ 0 h 1808"/>
                  <a:gd name="T12" fmla="*/ 1122 w 1271"/>
                  <a:gd name="T13" fmla="*/ 0 h 1808"/>
                  <a:gd name="T14" fmla="*/ 1270 w 1271"/>
                  <a:gd name="T15" fmla="*/ 148 h 1808"/>
                  <a:gd name="T16" fmla="*/ 1270 w 1271"/>
                  <a:gd name="T17" fmla="*/ 1659 h 18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1"/>
                  <a:gd name="T28" fmla="*/ 0 h 1808"/>
                  <a:gd name="T29" fmla="*/ 1271 w 1271"/>
                  <a:gd name="T30" fmla="*/ 1808 h 18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1" h="1808">
                    <a:moveTo>
                      <a:pt x="1270" y="1659"/>
                    </a:moveTo>
                    <a:cubicBezTo>
                      <a:pt x="1270" y="1740"/>
                      <a:pt x="1204" y="1807"/>
                      <a:pt x="1122" y="1807"/>
                    </a:cubicBezTo>
                    <a:lnTo>
                      <a:pt x="148" y="1807"/>
                    </a:lnTo>
                    <a:cubicBezTo>
                      <a:pt x="66" y="1807"/>
                      <a:pt x="0" y="1740"/>
                      <a:pt x="0" y="1659"/>
                    </a:cubicBezTo>
                    <a:lnTo>
                      <a:pt x="0" y="148"/>
                    </a:lnTo>
                    <a:cubicBezTo>
                      <a:pt x="0" y="66"/>
                      <a:pt x="66" y="0"/>
                      <a:pt x="148" y="0"/>
                    </a:cubicBezTo>
                    <a:lnTo>
                      <a:pt x="1122" y="0"/>
                    </a:lnTo>
                    <a:cubicBezTo>
                      <a:pt x="1204" y="0"/>
                      <a:pt x="1270" y="66"/>
                      <a:pt x="1270" y="148"/>
                    </a:cubicBezTo>
                    <a:lnTo>
                      <a:pt x="1270" y="1659"/>
                    </a:lnTo>
                  </a:path>
                </a:pathLst>
              </a:custGeom>
              <a:solidFill>
                <a:srgbClr val="BD1839"/>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95" name="Freeform 32"/>
              <p:cNvSpPr>
                <a:spLocks noChangeArrowheads="1"/>
              </p:cNvSpPr>
              <p:nvPr/>
            </p:nvSpPr>
            <p:spPr bwMode="auto">
              <a:xfrm>
                <a:off x="5526088" y="4830763"/>
                <a:ext cx="176212" cy="174625"/>
              </a:xfrm>
              <a:custGeom>
                <a:avLst/>
                <a:gdLst>
                  <a:gd name="T0" fmla="*/ 123 w 544"/>
                  <a:gd name="T1" fmla="*/ 419 h 542"/>
                  <a:gd name="T2" fmla="*/ 100 w 544"/>
                  <a:gd name="T3" fmla="*/ 0 h 542"/>
                  <a:gd name="T4" fmla="*/ 543 w 544"/>
                  <a:gd name="T5" fmla="*/ 442 h 542"/>
                  <a:gd name="T6" fmla="*/ 123 w 544"/>
                  <a:gd name="T7" fmla="*/ 419 h 542"/>
                  <a:gd name="T8" fmla="*/ 0 60000 65536"/>
                  <a:gd name="T9" fmla="*/ 0 60000 65536"/>
                  <a:gd name="T10" fmla="*/ 0 60000 65536"/>
                  <a:gd name="T11" fmla="*/ 0 60000 65536"/>
                  <a:gd name="T12" fmla="*/ 0 w 544"/>
                  <a:gd name="T13" fmla="*/ 0 h 542"/>
                  <a:gd name="T14" fmla="*/ 544 w 544"/>
                  <a:gd name="T15" fmla="*/ 542 h 542"/>
                </a:gdLst>
                <a:ahLst/>
                <a:cxnLst>
                  <a:cxn ang="T8">
                    <a:pos x="T0" y="T1"/>
                  </a:cxn>
                  <a:cxn ang="T9">
                    <a:pos x="T2" y="T3"/>
                  </a:cxn>
                  <a:cxn ang="T10">
                    <a:pos x="T4" y="T5"/>
                  </a:cxn>
                  <a:cxn ang="T11">
                    <a:pos x="T6" y="T7"/>
                  </a:cxn>
                </a:cxnLst>
                <a:rect l="T12" t="T13" r="T14" b="T15"/>
                <a:pathLst>
                  <a:path w="544" h="542">
                    <a:moveTo>
                      <a:pt x="123" y="419"/>
                    </a:moveTo>
                    <a:cubicBezTo>
                      <a:pt x="8" y="304"/>
                      <a:pt x="0" y="123"/>
                      <a:pt x="100" y="0"/>
                    </a:cubicBezTo>
                    <a:lnTo>
                      <a:pt x="543" y="442"/>
                    </a:lnTo>
                    <a:cubicBezTo>
                      <a:pt x="419" y="541"/>
                      <a:pt x="237" y="534"/>
                      <a:pt x="123" y="419"/>
                    </a:cubicBezTo>
                  </a:path>
                </a:pathLst>
              </a:custGeom>
              <a:solidFill>
                <a:srgbClr val="FFFFFF"/>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96" name="Freeform 33"/>
              <p:cNvSpPr>
                <a:spLocks noChangeArrowheads="1"/>
              </p:cNvSpPr>
              <p:nvPr/>
            </p:nvSpPr>
            <p:spPr bwMode="auto">
              <a:xfrm>
                <a:off x="5573713" y="4783138"/>
                <a:ext cx="174625" cy="174625"/>
              </a:xfrm>
              <a:custGeom>
                <a:avLst/>
                <a:gdLst>
                  <a:gd name="T0" fmla="*/ 420 w 543"/>
                  <a:gd name="T1" fmla="*/ 122 h 543"/>
                  <a:gd name="T2" fmla="*/ 443 w 543"/>
                  <a:gd name="T3" fmla="*/ 542 h 543"/>
                  <a:gd name="T4" fmla="*/ 0 w 543"/>
                  <a:gd name="T5" fmla="*/ 100 h 543"/>
                  <a:gd name="T6" fmla="*/ 420 w 543"/>
                  <a:gd name="T7" fmla="*/ 122 h 543"/>
                  <a:gd name="T8" fmla="*/ 0 60000 65536"/>
                  <a:gd name="T9" fmla="*/ 0 60000 65536"/>
                  <a:gd name="T10" fmla="*/ 0 60000 65536"/>
                  <a:gd name="T11" fmla="*/ 0 60000 65536"/>
                  <a:gd name="T12" fmla="*/ 0 w 543"/>
                  <a:gd name="T13" fmla="*/ 0 h 543"/>
                  <a:gd name="T14" fmla="*/ 543 w 543"/>
                  <a:gd name="T15" fmla="*/ 543 h 543"/>
                </a:gdLst>
                <a:ahLst/>
                <a:cxnLst>
                  <a:cxn ang="T8">
                    <a:pos x="T0" y="T1"/>
                  </a:cxn>
                  <a:cxn ang="T9">
                    <a:pos x="T2" y="T3"/>
                  </a:cxn>
                  <a:cxn ang="T10">
                    <a:pos x="T4" y="T5"/>
                  </a:cxn>
                  <a:cxn ang="T11">
                    <a:pos x="T6" y="T7"/>
                  </a:cxn>
                </a:cxnLst>
                <a:rect l="T12" t="T13" r="T14" b="T15"/>
                <a:pathLst>
                  <a:path w="543" h="543">
                    <a:moveTo>
                      <a:pt x="420" y="122"/>
                    </a:moveTo>
                    <a:cubicBezTo>
                      <a:pt x="535" y="237"/>
                      <a:pt x="542" y="418"/>
                      <a:pt x="443" y="542"/>
                    </a:cubicBezTo>
                    <a:lnTo>
                      <a:pt x="0" y="100"/>
                    </a:lnTo>
                    <a:cubicBezTo>
                      <a:pt x="124" y="0"/>
                      <a:pt x="305" y="8"/>
                      <a:pt x="420" y="122"/>
                    </a:cubicBezTo>
                  </a:path>
                </a:pathLst>
              </a:custGeom>
              <a:solidFill>
                <a:srgbClr val="FFFFFF"/>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97" name="Freeform 34"/>
              <p:cNvSpPr>
                <a:spLocks noChangeArrowheads="1"/>
              </p:cNvSpPr>
              <p:nvPr/>
            </p:nvSpPr>
            <p:spPr bwMode="auto">
              <a:xfrm>
                <a:off x="5661025" y="4614863"/>
                <a:ext cx="176213" cy="176212"/>
              </a:xfrm>
              <a:custGeom>
                <a:avLst/>
                <a:gdLst>
                  <a:gd name="T0" fmla="*/ 176 w 547"/>
                  <a:gd name="T1" fmla="*/ 465 h 546"/>
                  <a:gd name="T2" fmla="*/ 0 w 547"/>
                  <a:gd name="T3" fmla="*/ 290 h 546"/>
                  <a:gd name="T4" fmla="*/ 289 w 547"/>
                  <a:gd name="T5" fmla="*/ 0 h 546"/>
                  <a:gd name="T6" fmla="*/ 466 w 547"/>
                  <a:gd name="T7" fmla="*/ 176 h 546"/>
                  <a:gd name="T8" fmla="*/ 466 w 547"/>
                  <a:gd name="T9" fmla="*/ 465 h 546"/>
                  <a:gd name="T10" fmla="*/ 176 w 547"/>
                  <a:gd name="T11" fmla="*/ 465 h 546"/>
                  <a:gd name="T12" fmla="*/ 0 60000 65536"/>
                  <a:gd name="T13" fmla="*/ 0 60000 65536"/>
                  <a:gd name="T14" fmla="*/ 0 60000 65536"/>
                  <a:gd name="T15" fmla="*/ 0 60000 65536"/>
                  <a:gd name="T16" fmla="*/ 0 60000 65536"/>
                  <a:gd name="T17" fmla="*/ 0 60000 65536"/>
                  <a:gd name="T18" fmla="*/ 0 w 547"/>
                  <a:gd name="T19" fmla="*/ 0 h 546"/>
                  <a:gd name="T20" fmla="*/ 547 w 547"/>
                  <a:gd name="T21" fmla="*/ 546 h 546"/>
                </a:gdLst>
                <a:ahLst/>
                <a:cxnLst>
                  <a:cxn ang="T12">
                    <a:pos x="T0" y="T1"/>
                  </a:cxn>
                  <a:cxn ang="T13">
                    <a:pos x="T2" y="T3"/>
                  </a:cxn>
                  <a:cxn ang="T14">
                    <a:pos x="T4" y="T5"/>
                  </a:cxn>
                  <a:cxn ang="T15">
                    <a:pos x="T6" y="T7"/>
                  </a:cxn>
                  <a:cxn ang="T16">
                    <a:pos x="T8" y="T9"/>
                  </a:cxn>
                  <a:cxn ang="T17">
                    <a:pos x="T10" y="T11"/>
                  </a:cxn>
                </a:cxnLst>
                <a:rect l="T18" t="T19" r="T20" b="T21"/>
                <a:pathLst>
                  <a:path w="547" h="546">
                    <a:moveTo>
                      <a:pt x="176" y="465"/>
                    </a:moveTo>
                    <a:lnTo>
                      <a:pt x="0" y="290"/>
                    </a:lnTo>
                    <a:lnTo>
                      <a:pt x="289" y="0"/>
                    </a:lnTo>
                    <a:lnTo>
                      <a:pt x="466" y="176"/>
                    </a:lnTo>
                    <a:cubicBezTo>
                      <a:pt x="546" y="256"/>
                      <a:pt x="546" y="386"/>
                      <a:pt x="466" y="465"/>
                    </a:cubicBezTo>
                    <a:cubicBezTo>
                      <a:pt x="386" y="545"/>
                      <a:pt x="256" y="545"/>
                      <a:pt x="176" y="465"/>
                    </a:cubicBezTo>
                  </a:path>
                </a:pathLst>
              </a:custGeom>
              <a:solidFill>
                <a:srgbClr val="FFFFFF"/>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sp>
            <p:nvSpPr>
              <p:cNvPr id="98" name="Freeform 35"/>
              <p:cNvSpPr>
                <a:spLocks noChangeArrowheads="1"/>
              </p:cNvSpPr>
              <p:nvPr/>
            </p:nvSpPr>
            <p:spPr bwMode="auto">
              <a:xfrm>
                <a:off x="5561013" y="4516438"/>
                <a:ext cx="177800" cy="177800"/>
              </a:xfrm>
              <a:custGeom>
                <a:avLst/>
                <a:gdLst>
                  <a:gd name="T0" fmla="*/ 370 w 547"/>
                  <a:gd name="T1" fmla="*/ 80 h 546"/>
                  <a:gd name="T2" fmla="*/ 546 w 547"/>
                  <a:gd name="T3" fmla="*/ 256 h 546"/>
                  <a:gd name="T4" fmla="*/ 256 w 547"/>
                  <a:gd name="T5" fmla="*/ 545 h 546"/>
                  <a:gd name="T6" fmla="*/ 80 w 547"/>
                  <a:gd name="T7" fmla="*/ 369 h 546"/>
                  <a:gd name="T8" fmla="*/ 80 w 547"/>
                  <a:gd name="T9" fmla="*/ 80 h 546"/>
                  <a:gd name="T10" fmla="*/ 370 w 547"/>
                  <a:gd name="T11" fmla="*/ 80 h 546"/>
                  <a:gd name="T12" fmla="*/ 0 60000 65536"/>
                  <a:gd name="T13" fmla="*/ 0 60000 65536"/>
                  <a:gd name="T14" fmla="*/ 0 60000 65536"/>
                  <a:gd name="T15" fmla="*/ 0 60000 65536"/>
                  <a:gd name="T16" fmla="*/ 0 60000 65536"/>
                  <a:gd name="T17" fmla="*/ 0 60000 65536"/>
                  <a:gd name="T18" fmla="*/ 0 w 547"/>
                  <a:gd name="T19" fmla="*/ 0 h 546"/>
                  <a:gd name="T20" fmla="*/ 547 w 547"/>
                  <a:gd name="T21" fmla="*/ 546 h 546"/>
                </a:gdLst>
                <a:ahLst/>
                <a:cxnLst>
                  <a:cxn ang="T12">
                    <a:pos x="T0" y="T1"/>
                  </a:cxn>
                  <a:cxn ang="T13">
                    <a:pos x="T2" y="T3"/>
                  </a:cxn>
                  <a:cxn ang="T14">
                    <a:pos x="T4" y="T5"/>
                  </a:cxn>
                  <a:cxn ang="T15">
                    <a:pos x="T6" y="T7"/>
                  </a:cxn>
                  <a:cxn ang="T16">
                    <a:pos x="T8" y="T9"/>
                  </a:cxn>
                  <a:cxn ang="T17">
                    <a:pos x="T10" y="T11"/>
                  </a:cxn>
                </a:cxnLst>
                <a:rect l="T18" t="T19" r="T20" b="T21"/>
                <a:pathLst>
                  <a:path w="547" h="546">
                    <a:moveTo>
                      <a:pt x="370" y="80"/>
                    </a:moveTo>
                    <a:lnTo>
                      <a:pt x="546" y="256"/>
                    </a:lnTo>
                    <a:lnTo>
                      <a:pt x="256" y="545"/>
                    </a:lnTo>
                    <a:lnTo>
                      <a:pt x="80" y="369"/>
                    </a:lnTo>
                    <a:cubicBezTo>
                      <a:pt x="0" y="289"/>
                      <a:pt x="0" y="160"/>
                      <a:pt x="80" y="80"/>
                    </a:cubicBezTo>
                    <a:cubicBezTo>
                      <a:pt x="160" y="0"/>
                      <a:pt x="290" y="0"/>
                      <a:pt x="370" y="80"/>
                    </a:cubicBezTo>
                  </a:path>
                </a:pathLst>
              </a:custGeom>
              <a:solidFill>
                <a:srgbClr val="FFFFFF"/>
              </a:solidFill>
              <a:ln w="9525">
                <a:noFill/>
                <a:bevel/>
                <a:headEnd/>
                <a:tailEnd/>
              </a:ln>
            </p:spPr>
            <p:txBody>
              <a:bodyPr wrap="none" anchor="ctr">
                <a:prstTxWarp prst="textNoShape">
                  <a:avLst/>
                </a:prstTxWarp>
              </a:bodyPr>
              <a:lstStyle/>
              <a:p>
                <a:pPr>
                  <a:buNone/>
                </a:pPr>
                <a:endParaRPr lang="en-US" dirty="0">
                  <a:latin typeface="Arial"/>
                  <a:cs typeface="Arial"/>
                </a:endParaRPr>
              </a:p>
            </p:txBody>
          </p:sp>
        </p:grpSp>
      </p:grpSp>
      <p:sp>
        <p:nvSpPr>
          <p:cNvPr id="103" name="Text Box 74"/>
          <p:cNvSpPr txBox="1">
            <a:spLocks noChangeArrowheads="1"/>
          </p:cNvSpPr>
          <p:nvPr/>
        </p:nvSpPr>
        <p:spPr bwMode="auto">
          <a:xfrm>
            <a:off x="8747561" y="3782514"/>
            <a:ext cx="904440" cy="145186"/>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en-US" sz="1100" b="1" dirty="0">
                <a:solidFill>
                  <a:srgbClr val="5C8B76"/>
                </a:solidFill>
                <a:latin typeface="Arial"/>
                <a:ea typeface="SimSun" charset="-122"/>
                <a:cs typeface="Arial"/>
              </a:rPr>
              <a:t>Healthcare</a:t>
            </a:r>
          </a:p>
        </p:txBody>
      </p:sp>
      <p:grpSp>
        <p:nvGrpSpPr>
          <p:cNvPr id="104" name="Group 3071"/>
          <p:cNvGrpSpPr/>
          <p:nvPr/>
        </p:nvGrpSpPr>
        <p:grpSpPr>
          <a:xfrm>
            <a:off x="2328614" y="4354456"/>
            <a:ext cx="717550" cy="215900"/>
            <a:chOff x="804614" y="4437112"/>
            <a:chExt cx="717550" cy="215900"/>
          </a:xfrm>
        </p:grpSpPr>
        <p:sp>
          <p:nvSpPr>
            <p:cNvPr id="105" name="Freeform 1"/>
            <p:cNvSpPr>
              <a:spLocks noChangeArrowheads="1"/>
            </p:cNvSpPr>
            <p:nvPr/>
          </p:nvSpPr>
          <p:spPr bwMode="auto">
            <a:xfrm>
              <a:off x="804614" y="4437112"/>
              <a:ext cx="717550" cy="215900"/>
            </a:xfrm>
            <a:custGeom>
              <a:avLst/>
              <a:gdLst>
                <a:gd name="T0" fmla="*/ 1691 w 1992"/>
                <a:gd name="T1" fmla="*/ 0 h 600"/>
                <a:gd name="T2" fmla="*/ 300 w 1992"/>
                <a:gd name="T3" fmla="*/ 0 h 600"/>
                <a:gd name="T4" fmla="*/ 300 w 1992"/>
                <a:gd name="T5" fmla="*/ 0 h 600"/>
                <a:gd name="T6" fmla="*/ 0 w 1992"/>
                <a:gd name="T7" fmla="*/ 300 h 600"/>
                <a:gd name="T8" fmla="*/ 300 w 1992"/>
                <a:gd name="T9" fmla="*/ 599 h 600"/>
                <a:gd name="T10" fmla="*/ 300 w 1992"/>
                <a:gd name="T11" fmla="*/ 599 h 600"/>
                <a:gd name="T12" fmla="*/ 1691 w 1992"/>
                <a:gd name="T13" fmla="*/ 599 h 600"/>
                <a:gd name="T14" fmla="*/ 1991 w 1992"/>
                <a:gd name="T15" fmla="*/ 300 h 600"/>
                <a:gd name="T16" fmla="*/ 1691 w 1992"/>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2" h="600">
                  <a:moveTo>
                    <a:pt x="1691" y="0"/>
                  </a:moveTo>
                  <a:lnTo>
                    <a:pt x="300" y="0"/>
                  </a:lnTo>
                  <a:lnTo>
                    <a:pt x="300" y="0"/>
                  </a:lnTo>
                  <a:cubicBezTo>
                    <a:pt x="134" y="0"/>
                    <a:pt x="0" y="134"/>
                    <a:pt x="0" y="300"/>
                  </a:cubicBezTo>
                  <a:cubicBezTo>
                    <a:pt x="0" y="465"/>
                    <a:pt x="134" y="599"/>
                    <a:pt x="300" y="599"/>
                  </a:cubicBezTo>
                  <a:lnTo>
                    <a:pt x="300" y="599"/>
                  </a:lnTo>
                  <a:lnTo>
                    <a:pt x="1691" y="599"/>
                  </a:lnTo>
                  <a:cubicBezTo>
                    <a:pt x="1857" y="599"/>
                    <a:pt x="1991" y="465"/>
                    <a:pt x="1991" y="300"/>
                  </a:cubicBezTo>
                  <a:cubicBezTo>
                    <a:pt x="1991" y="134"/>
                    <a:pt x="1857" y="0"/>
                    <a:pt x="1691"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nvGrpSpPr>
            <p:cNvPr id="106" name="Group 114"/>
            <p:cNvGrpSpPr/>
            <p:nvPr/>
          </p:nvGrpSpPr>
          <p:grpSpPr>
            <a:xfrm>
              <a:off x="887164" y="4467275"/>
              <a:ext cx="144463" cy="149225"/>
              <a:chOff x="887164" y="4467275"/>
              <a:chExt cx="144463" cy="149225"/>
            </a:xfrm>
          </p:grpSpPr>
          <p:sp>
            <p:nvSpPr>
              <p:cNvPr id="108" name="Freeform 2"/>
              <p:cNvSpPr>
                <a:spLocks noChangeArrowheads="1"/>
              </p:cNvSpPr>
              <p:nvPr/>
            </p:nvSpPr>
            <p:spPr bwMode="auto">
              <a:xfrm>
                <a:off x="891927" y="4475212"/>
                <a:ext cx="19050" cy="44450"/>
              </a:xfrm>
              <a:custGeom>
                <a:avLst/>
                <a:gdLst>
                  <a:gd name="T0" fmla="*/ 50 w 51"/>
                  <a:gd name="T1" fmla="*/ 35 h 125"/>
                  <a:gd name="T2" fmla="*/ 50 w 51"/>
                  <a:gd name="T3" fmla="*/ 35 h 125"/>
                  <a:gd name="T4" fmla="*/ 27 w 51"/>
                  <a:gd name="T5" fmla="*/ 29 h 125"/>
                  <a:gd name="T6" fmla="*/ 0 w 51"/>
                  <a:gd name="T7" fmla="*/ 0 h 125"/>
                  <a:gd name="T8" fmla="*/ 0 w 51"/>
                  <a:gd name="T9" fmla="*/ 124 h 125"/>
                  <a:gd name="T10" fmla="*/ 49 w 51"/>
                  <a:gd name="T11" fmla="*/ 124 h 125"/>
                  <a:gd name="T12" fmla="*/ 50 w 51"/>
                  <a:gd name="T13" fmla="*/ 35 h 125"/>
                </a:gdLst>
                <a:ahLst/>
                <a:cxnLst>
                  <a:cxn ang="0">
                    <a:pos x="T0" y="T1"/>
                  </a:cxn>
                  <a:cxn ang="0">
                    <a:pos x="T2" y="T3"/>
                  </a:cxn>
                  <a:cxn ang="0">
                    <a:pos x="T4" y="T5"/>
                  </a:cxn>
                  <a:cxn ang="0">
                    <a:pos x="T6" y="T7"/>
                  </a:cxn>
                  <a:cxn ang="0">
                    <a:pos x="T8" y="T9"/>
                  </a:cxn>
                  <a:cxn ang="0">
                    <a:pos x="T10" y="T11"/>
                  </a:cxn>
                  <a:cxn ang="0">
                    <a:pos x="T12" y="T13"/>
                  </a:cxn>
                </a:cxnLst>
                <a:rect l="0" t="0" r="r" b="b"/>
                <a:pathLst>
                  <a:path w="51" h="125">
                    <a:moveTo>
                      <a:pt x="50" y="35"/>
                    </a:moveTo>
                    <a:lnTo>
                      <a:pt x="50" y="35"/>
                    </a:lnTo>
                    <a:cubicBezTo>
                      <a:pt x="48" y="38"/>
                      <a:pt x="42" y="38"/>
                      <a:pt x="27" y="29"/>
                    </a:cubicBezTo>
                    <a:cubicBezTo>
                      <a:pt x="8" y="17"/>
                      <a:pt x="1" y="6"/>
                      <a:pt x="0" y="0"/>
                    </a:cubicBezTo>
                    <a:cubicBezTo>
                      <a:pt x="0" y="11"/>
                      <a:pt x="0" y="105"/>
                      <a:pt x="0" y="124"/>
                    </a:cubicBezTo>
                    <a:lnTo>
                      <a:pt x="49" y="124"/>
                    </a:lnTo>
                    <a:cubicBezTo>
                      <a:pt x="50" y="110"/>
                      <a:pt x="50" y="39"/>
                      <a:pt x="50" y="35"/>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09" name="Freeform 3"/>
              <p:cNvSpPr>
                <a:spLocks noChangeArrowheads="1"/>
              </p:cNvSpPr>
              <p:nvPr/>
            </p:nvSpPr>
            <p:spPr bwMode="auto">
              <a:xfrm>
                <a:off x="890339" y="4522837"/>
                <a:ext cx="22225" cy="9525"/>
              </a:xfrm>
              <a:custGeom>
                <a:avLst/>
                <a:gdLst>
                  <a:gd name="T0" fmla="*/ 60 w 61"/>
                  <a:gd name="T1" fmla="*/ 0 h 26"/>
                  <a:gd name="T2" fmla="*/ 55 w 61"/>
                  <a:gd name="T3" fmla="*/ 0 h 26"/>
                  <a:gd name="T4" fmla="*/ 6 w 61"/>
                  <a:gd name="T5" fmla="*/ 0 h 26"/>
                  <a:gd name="T6" fmla="*/ 0 w 61"/>
                  <a:gd name="T7" fmla="*/ 0 h 26"/>
                  <a:gd name="T8" fmla="*/ 0 w 61"/>
                  <a:gd name="T9" fmla="*/ 25 h 26"/>
                  <a:gd name="T10" fmla="*/ 60 w 61"/>
                  <a:gd name="T11" fmla="*/ 25 h 26"/>
                  <a:gd name="T12" fmla="*/ 60 w 6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61" h="26">
                    <a:moveTo>
                      <a:pt x="60" y="0"/>
                    </a:moveTo>
                    <a:lnTo>
                      <a:pt x="55" y="0"/>
                    </a:lnTo>
                    <a:lnTo>
                      <a:pt x="6" y="0"/>
                    </a:lnTo>
                    <a:lnTo>
                      <a:pt x="0" y="0"/>
                    </a:lnTo>
                    <a:lnTo>
                      <a:pt x="0" y="25"/>
                    </a:lnTo>
                    <a:lnTo>
                      <a:pt x="60" y="25"/>
                    </a:lnTo>
                    <a:lnTo>
                      <a:pt x="60" y="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0" name="Freeform 4"/>
              <p:cNvSpPr>
                <a:spLocks noChangeArrowheads="1"/>
              </p:cNvSpPr>
              <p:nvPr/>
            </p:nvSpPr>
            <p:spPr bwMode="auto">
              <a:xfrm>
                <a:off x="888752" y="4535537"/>
                <a:ext cx="25400" cy="11113"/>
              </a:xfrm>
              <a:custGeom>
                <a:avLst/>
                <a:gdLst>
                  <a:gd name="T0" fmla="*/ 5 w 71"/>
                  <a:gd name="T1" fmla="*/ 28 h 30"/>
                  <a:gd name="T2" fmla="*/ 65 w 71"/>
                  <a:gd name="T3" fmla="*/ 28 h 30"/>
                  <a:gd name="T4" fmla="*/ 70 w 71"/>
                  <a:gd name="T5" fmla="*/ 29 h 30"/>
                  <a:gd name="T6" fmla="*/ 70 w 71"/>
                  <a:gd name="T7" fmla="*/ 0 h 30"/>
                  <a:gd name="T8" fmla="*/ 65 w 71"/>
                  <a:gd name="T9" fmla="*/ 0 h 30"/>
                  <a:gd name="T10" fmla="*/ 5 w 71"/>
                  <a:gd name="T11" fmla="*/ 0 h 30"/>
                  <a:gd name="T12" fmla="*/ 0 w 71"/>
                  <a:gd name="T13" fmla="*/ 0 h 30"/>
                  <a:gd name="T14" fmla="*/ 0 w 71"/>
                  <a:gd name="T15" fmla="*/ 29 h 30"/>
                  <a:gd name="T16" fmla="*/ 5 w 71"/>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0">
                    <a:moveTo>
                      <a:pt x="5" y="28"/>
                    </a:moveTo>
                    <a:lnTo>
                      <a:pt x="65" y="28"/>
                    </a:lnTo>
                    <a:cubicBezTo>
                      <a:pt x="66" y="28"/>
                      <a:pt x="68" y="28"/>
                      <a:pt x="70" y="29"/>
                    </a:cubicBezTo>
                    <a:lnTo>
                      <a:pt x="70" y="0"/>
                    </a:lnTo>
                    <a:lnTo>
                      <a:pt x="65" y="0"/>
                    </a:lnTo>
                    <a:lnTo>
                      <a:pt x="5" y="0"/>
                    </a:lnTo>
                    <a:lnTo>
                      <a:pt x="0" y="0"/>
                    </a:lnTo>
                    <a:lnTo>
                      <a:pt x="0" y="29"/>
                    </a:lnTo>
                    <a:cubicBezTo>
                      <a:pt x="2" y="28"/>
                      <a:pt x="4" y="28"/>
                      <a:pt x="5" y="28"/>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1" name="Freeform 5"/>
              <p:cNvSpPr>
                <a:spLocks noChangeArrowheads="1"/>
              </p:cNvSpPr>
              <p:nvPr/>
            </p:nvSpPr>
            <p:spPr bwMode="auto">
              <a:xfrm>
                <a:off x="887164" y="4541887"/>
                <a:ext cx="28575" cy="74613"/>
              </a:xfrm>
              <a:custGeom>
                <a:avLst/>
                <a:gdLst>
                  <a:gd name="T0" fmla="*/ 9 w 79"/>
                  <a:gd name="T1" fmla="*/ 206 h 207"/>
                  <a:gd name="T2" fmla="*/ 69 w 79"/>
                  <a:gd name="T3" fmla="*/ 206 h 207"/>
                  <a:gd name="T4" fmla="*/ 78 w 79"/>
                  <a:gd name="T5" fmla="*/ 197 h 207"/>
                  <a:gd name="T6" fmla="*/ 78 w 79"/>
                  <a:gd name="T7" fmla="*/ 9 h 207"/>
                  <a:gd name="T8" fmla="*/ 74 w 79"/>
                  <a:gd name="T9" fmla="*/ 1 h 207"/>
                  <a:gd name="T10" fmla="*/ 69 w 79"/>
                  <a:gd name="T11" fmla="*/ 0 h 207"/>
                  <a:gd name="T12" fmla="*/ 9 w 79"/>
                  <a:gd name="T13" fmla="*/ 0 h 207"/>
                  <a:gd name="T14" fmla="*/ 4 w 79"/>
                  <a:gd name="T15" fmla="*/ 1 h 207"/>
                  <a:gd name="T16" fmla="*/ 0 w 79"/>
                  <a:gd name="T17" fmla="*/ 9 h 207"/>
                  <a:gd name="T18" fmla="*/ 0 w 79"/>
                  <a:gd name="T19" fmla="*/ 197 h 207"/>
                  <a:gd name="T20" fmla="*/ 9 w 79"/>
                  <a:gd name="T21" fmla="*/ 20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 h="207">
                    <a:moveTo>
                      <a:pt x="9" y="206"/>
                    </a:moveTo>
                    <a:lnTo>
                      <a:pt x="69" y="206"/>
                    </a:lnTo>
                    <a:cubicBezTo>
                      <a:pt x="74" y="206"/>
                      <a:pt x="78" y="202"/>
                      <a:pt x="78" y="197"/>
                    </a:cubicBezTo>
                    <a:lnTo>
                      <a:pt x="78" y="9"/>
                    </a:lnTo>
                    <a:cubicBezTo>
                      <a:pt x="78" y="6"/>
                      <a:pt x="76" y="3"/>
                      <a:pt x="74" y="1"/>
                    </a:cubicBezTo>
                    <a:cubicBezTo>
                      <a:pt x="72" y="1"/>
                      <a:pt x="70" y="0"/>
                      <a:pt x="69" y="0"/>
                    </a:cubicBezTo>
                    <a:lnTo>
                      <a:pt x="9" y="0"/>
                    </a:lnTo>
                    <a:cubicBezTo>
                      <a:pt x="8" y="0"/>
                      <a:pt x="6" y="1"/>
                      <a:pt x="4" y="1"/>
                    </a:cubicBezTo>
                    <a:cubicBezTo>
                      <a:pt x="2" y="3"/>
                      <a:pt x="0" y="6"/>
                      <a:pt x="0" y="9"/>
                    </a:cubicBezTo>
                    <a:lnTo>
                      <a:pt x="0" y="197"/>
                    </a:lnTo>
                    <a:cubicBezTo>
                      <a:pt x="0" y="202"/>
                      <a:pt x="4" y="206"/>
                      <a:pt x="9" y="206"/>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2" name="Freeform 6"/>
              <p:cNvSpPr>
                <a:spLocks noChangeArrowheads="1"/>
              </p:cNvSpPr>
              <p:nvPr/>
            </p:nvSpPr>
            <p:spPr bwMode="auto">
              <a:xfrm>
                <a:off x="891927" y="4470450"/>
                <a:ext cx="19050" cy="19050"/>
              </a:xfrm>
              <a:custGeom>
                <a:avLst/>
                <a:gdLst>
                  <a:gd name="T0" fmla="*/ 27 w 52"/>
                  <a:gd name="T1" fmla="*/ 41 h 51"/>
                  <a:gd name="T2" fmla="*/ 50 w 52"/>
                  <a:gd name="T3" fmla="*/ 47 h 51"/>
                  <a:gd name="T4" fmla="*/ 47 w 52"/>
                  <a:gd name="T5" fmla="*/ 33 h 51"/>
                  <a:gd name="T6" fmla="*/ 1 w 52"/>
                  <a:gd name="T7" fmla="*/ 6 h 51"/>
                  <a:gd name="T8" fmla="*/ 0 w 52"/>
                  <a:gd name="T9" fmla="*/ 12 h 51"/>
                  <a:gd name="T10" fmla="*/ 27 w 52"/>
                  <a:gd name="T11" fmla="*/ 41 h 51"/>
                </a:gdLst>
                <a:ahLst/>
                <a:cxnLst>
                  <a:cxn ang="0">
                    <a:pos x="T0" y="T1"/>
                  </a:cxn>
                  <a:cxn ang="0">
                    <a:pos x="T2" y="T3"/>
                  </a:cxn>
                  <a:cxn ang="0">
                    <a:pos x="T4" y="T5"/>
                  </a:cxn>
                  <a:cxn ang="0">
                    <a:pos x="T6" y="T7"/>
                  </a:cxn>
                  <a:cxn ang="0">
                    <a:pos x="T8" y="T9"/>
                  </a:cxn>
                  <a:cxn ang="0">
                    <a:pos x="T10" y="T11"/>
                  </a:cxn>
                </a:cxnLst>
                <a:rect l="0" t="0" r="r" b="b"/>
                <a:pathLst>
                  <a:path w="52" h="51">
                    <a:moveTo>
                      <a:pt x="27" y="41"/>
                    </a:moveTo>
                    <a:cubicBezTo>
                      <a:pt x="42" y="50"/>
                      <a:pt x="48" y="50"/>
                      <a:pt x="50" y="47"/>
                    </a:cubicBezTo>
                    <a:cubicBezTo>
                      <a:pt x="51" y="44"/>
                      <a:pt x="49" y="38"/>
                      <a:pt x="47" y="33"/>
                    </a:cubicBezTo>
                    <a:cubicBezTo>
                      <a:pt x="39" y="19"/>
                      <a:pt x="7" y="0"/>
                      <a:pt x="1" y="6"/>
                    </a:cubicBezTo>
                    <a:cubicBezTo>
                      <a:pt x="0" y="7"/>
                      <a:pt x="0" y="9"/>
                      <a:pt x="0" y="12"/>
                    </a:cubicBezTo>
                    <a:cubicBezTo>
                      <a:pt x="1" y="18"/>
                      <a:pt x="8" y="29"/>
                      <a:pt x="27" y="41"/>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3" name="Freeform 7"/>
              <p:cNvSpPr>
                <a:spLocks noChangeArrowheads="1"/>
              </p:cNvSpPr>
              <p:nvPr/>
            </p:nvSpPr>
            <p:spPr bwMode="auto">
              <a:xfrm>
                <a:off x="922089" y="4589512"/>
                <a:ext cx="107950" cy="26988"/>
              </a:xfrm>
              <a:custGeom>
                <a:avLst/>
                <a:gdLst>
                  <a:gd name="T0" fmla="*/ 150 w 302"/>
                  <a:gd name="T1" fmla="*/ 75 h 76"/>
                  <a:gd name="T2" fmla="*/ 301 w 302"/>
                  <a:gd name="T3" fmla="*/ 16 h 76"/>
                  <a:gd name="T4" fmla="*/ 301 w 302"/>
                  <a:gd name="T5" fmla="*/ 0 h 76"/>
                  <a:gd name="T6" fmla="*/ 150 w 302"/>
                  <a:gd name="T7" fmla="*/ 59 h 76"/>
                  <a:gd name="T8" fmla="*/ 0 w 302"/>
                  <a:gd name="T9" fmla="*/ 0 h 76"/>
                  <a:gd name="T10" fmla="*/ 0 w 302"/>
                  <a:gd name="T11" fmla="*/ 16 h 76"/>
                  <a:gd name="T12" fmla="*/ 150 w 302"/>
                  <a:gd name="T13" fmla="*/ 75 h 76"/>
                </a:gdLst>
                <a:ahLst/>
                <a:cxnLst>
                  <a:cxn ang="0">
                    <a:pos x="T0" y="T1"/>
                  </a:cxn>
                  <a:cxn ang="0">
                    <a:pos x="T2" y="T3"/>
                  </a:cxn>
                  <a:cxn ang="0">
                    <a:pos x="T4" y="T5"/>
                  </a:cxn>
                  <a:cxn ang="0">
                    <a:pos x="T6" y="T7"/>
                  </a:cxn>
                  <a:cxn ang="0">
                    <a:pos x="T8" y="T9"/>
                  </a:cxn>
                  <a:cxn ang="0">
                    <a:pos x="T10" y="T11"/>
                  </a:cxn>
                  <a:cxn ang="0">
                    <a:pos x="T12" y="T13"/>
                  </a:cxn>
                </a:cxnLst>
                <a:rect l="0" t="0" r="r" b="b"/>
                <a:pathLst>
                  <a:path w="302" h="76">
                    <a:moveTo>
                      <a:pt x="150" y="75"/>
                    </a:moveTo>
                    <a:cubicBezTo>
                      <a:pt x="234" y="75"/>
                      <a:pt x="301" y="49"/>
                      <a:pt x="301" y="16"/>
                    </a:cubicBezTo>
                    <a:lnTo>
                      <a:pt x="301" y="0"/>
                    </a:lnTo>
                    <a:cubicBezTo>
                      <a:pt x="301" y="33"/>
                      <a:pt x="234" y="59"/>
                      <a:pt x="150" y="59"/>
                    </a:cubicBezTo>
                    <a:cubicBezTo>
                      <a:pt x="67" y="59"/>
                      <a:pt x="0" y="33"/>
                      <a:pt x="0" y="0"/>
                    </a:cubicBezTo>
                    <a:lnTo>
                      <a:pt x="0" y="16"/>
                    </a:lnTo>
                    <a:cubicBezTo>
                      <a:pt x="0" y="49"/>
                      <a:pt x="67" y="75"/>
                      <a:pt x="150" y="75"/>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4" name="Freeform 8"/>
              <p:cNvSpPr>
                <a:spLocks noChangeArrowheads="1"/>
              </p:cNvSpPr>
              <p:nvPr/>
            </p:nvSpPr>
            <p:spPr bwMode="auto">
              <a:xfrm>
                <a:off x="922089" y="4467275"/>
                <a:ext cx="109538" cy="109537"/>
              </a:xfrm>
              <a:custGeom>
                <a:avLst/>
                <a:gdLst>
                  <a:gd name="T0" fmla="*/ 151 w 304"/>
                  <a:gd name="T1" fmla="*/ 302 h 303"/>
                  <a:gd name="T2" fmla="*/ 0 w 304"/>
                  <a:gd name="T3" fmla="*/ 151 h 303"/>
                  <a:gd name="T4" fmla="*/ 151 w 304"/>
                  <a:gd name="T5" fmla="*/ 0 h 303"/>
                  <a:gd name="T6" fmla="*/ 303 w 304"/>
                  <a:gd name="T7" fmla="*/ 151 h 303"/>
                  <a:gd name="T8" fmla="*/ 151 w 304"/>
                  <a:gd name="T9" fmla="*/ 302 h 303"/>
                  <a:gd name="T10" fmla="*/ 151 w 304"/>
                  <a:gd name="T11" fmla="*/ 35 h 303"/>
                  <a:gd name="T12" fmla="*/ 35 w 304"/>
                  <a:gd name="T13" fmla="*/ 151 h 303"/>
                  <a:gd name="T14" fmla="*/ 151 w 304"/>
                  <a:gd name="T15" fmla="*/ 267 h 303"/>
                  <a:gd name="T16" fmla="*/ 268 w 304"/>
                  <a:gd name="T17" fmla="*/ 151 h 303"/>
                  <a:gd name="T18" fmla="*/ 151 w 304"/>
                  <a:gd name="T19" fmla="*/ 3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151" y="302"/>
                    </a:moveTo>
                    <a:cubicBezTo>
                      <a:pt x="68" y="302"/>
                      <a:pt x="0" y="234"/>
                      <a:pt x="0" y="151"/>
                    </a:cubicBezTo>
                    <a:cubicBezTo>
                      <a:pt x="0" y="68"/>
                      <a:pt x="68" y="0"/>
                      <a:pt x="151" y="0"/>
                    </a:cubicBezTo>
                    <a:cubicBezTo>
                      <a:pt x="235" y="0"/>
                      <a:pt x="303" y="68"/>
                      <a:pt x="303" y="151"/>
                    </a:cubicBezTo>
                    <a:cubicBezTo>
                      <a:pt x="303" y="234"/>
                      <a:pt x="235" y="302"/>
                      <a:pt x="151" y="302"/>
                    </a:cubicBezTo>
                    <a:close/>
                    <a:moveTo>
                      <a:pt x="151" y="35"/>
                    </a:moveTo>
                    <a:cubicBezTo>
                      <a:pt x="87" y="35"/>
                      <a:pt x="35" y="87"/>
                      <a:pt x="35" y="151"/>
                    </a:cubicBezTo>
                    <a:cubicBezTo>
                      <a:pt x="35" y="215"/>
                      <a:pt x="87" y="267"/>
                      <a:pt x="151" y="267"/>
                    </a:cubicBezTo>
                    <a:cubicBezTo>
                      <a:pt x="216" y="267"/>
                      <a:pt x="268" y="215"/>
                      <a:pt x="268" y="151"/>
                    </a:cubicBezTo>
                    <a:cubicBezTo>
                      <a:pt x="268" y="87"/>
                      <a:pt x="216" y="35"/>
                      <a:pt x="151" y="35"/>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5" name="Freeform 9"/>
              <p:cNvSpPr>
                <a:spLocks noChangeArrowheads="1"/>
              </p:cNvSpPr>
              <p:nvPr/>
            </p:nvSpPr>
            <p:spPr bwMode="auto">
              <a:xfrm>
                <a:off x="922089" y="4567287"/>
                <a:ext cx="107950" cy="42863"/>
              </a:xfrm>
              <a:custGeom>
                <a:avLst/>
                <a:gdLst>
                  <a:gd name="T0" fmla="*/ 150 w 302"/>
                  <a:gd name="T1" fmla="*/ 118 h 119"/>
                  <a:gd name="T2" fmla="*/ 301 w 302"/>
                  <a:gd name="T3" fmla="*/ 59 h 119"/>
                  <a:gd name="T4" fmla="*/ 150 w 302"/>
                  <a:gd name="T5" fmla="*/ 0 h 119"/>
                  <a:gd name="T6" fmla="*/ 0 w 302"/>
                  <a:gd name="T7" fmla="*/ 59 h 119"/>
                  <a:gd name="T8" fmla="*/ 150 w 302"/>
                  <a:gd name="T9" fmla="*/ 118 h 119"/>
                  <a:gd name="T10" fmla="*/ 150 w 302"/>
                  <a:gd name="T11" fmla="*/ 7 h 119"/>
                  <a:gd name="T12" fmla="*/ 283 w 302"/>
                  <a:gd name="T13" fmla="*/ 59 h 119"/>
                  <a:gd name="T14" fmla="*/ 150 w 302"/>
                  <a:gd name="T15" fmla="*/ 111 h 119"/>
                  <a:gd name="T16" fmla="*/ 18 w 302"/>
                  <a:gd name="T17" fmla="*/ 59 h 119"/>
                  <a:gd name="T18" fmla="*/ 150 w 302"/>
                  <a:gd name="T19" fmla="*/ 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19">
                    <a:moveTo>
                      <a:pt x="150" y="118"/>
                    </a:moveTo>
                    <a:cubicBezTo>
                      <a:pt x="234" y="118"/>
                      <a:pt x="301" y="92"/>
                      <a:pt x="301" y="59"/>
                    </a:cubicBezTo>
                    <a:cubicBezTo>
                      <a:pt x="301" y="26"/>
                      <a:pt x="234" y="0"/>
                      <a:pt x="150" y="0"/>
                    </a:cubicBezTo>
                    <a:cubicBezTo>
                      <a:pt x="67" y="0"/>
                      <a:pt x="0" y="26"/>
                      <a:pt x="0" y="59"/>
                    </a:cubicBezTo>
                    <a:cubicBezTo>
                      <a:pt x="0" y="92"/>
                      <a:pt x="67" y="118"/>
                      <a:pt x="150" y="118"/>
                    </a:cubicBezTo>
                    <a:close/>
                    <a:moveTo>
                      <a:pt x="150" y="7"/>
                    </a:moveTo>
                    <a:cubicBezTo>
                      <a:pt x="224" y="7"/>
                      <a:pt x="283" y="30"/>
                      <a:pt x="283" y="59"/>
                    </a:cubicBezTo>
                    <a:cubicBezTo>
                      <a:pt x="283" y="88"/>
                      <a:pt x="224" y="111"/>
                      <a:pt x="150" y="111"/>
                    </a:cubicBezTo>
                    <a:cubicBezTo>
                      <a:pt x="77" y="111"/>
                      <a:pt x="18" y="88"/>
                      <a:pt x="18" y="59"/>
                    </a:cubicBezTo>
                    <a:cubicBezTo>
                      <a:pt x="18" y="30"/>
                      <a:pt x="77" y="7"/>
                      <a:pt x="150" y="7"/>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6" name="Freeform 10"/>
              <p:cNvSpPr>
                <a:spLocks noChangeArrowheads="1"/>
              </p:cNvSpPr>
              <p:nvPr/>
            </p:nvSpPr>
            <p:spPr bwMode="auto">
              <a:xfrm>
                <a:off x="936377" y="4573637"/>
                <a:ext cx="80962" cy="30163"/>
              </a:xfrm>
              <a:custGeom>
                <a:avLst/>
                <a:gdLst>
                  <a:gd name="T0" fmla="*/ 223 w 224"/>
                  <a:gd name="T1" fmla="*/ 37 h 84"/>
                  <a:gd name="T2" fmla="*/ 111 w 224"/>
                  <a:gd name="T3" fmla="*/ 0 h 84"/>
                  <a:gd name="T4" fmla="*/ 0 w 224"/>
                  <a:gd name="T5" fmla="*/ 37 h 84"/>
                  <a:gd name="T6" fmla="*/ 0 w 224"/>
                  <a:gd name="T7" fmla="*/ 39 h 84"/>
                  <a:gd name="T8" fmla="*/ 0 w 224"/>
                  <a:gd name="T9" fmla="*/ 41 h 84"/>
                  <a:gd name="T10" fmla="*/ 111 w 224"/>
                  <a:gd name="T11" fmla="*/ 83 h 84"/>
                  <a:gd name="T12" fmla="*/ 223 w 224"/>
                  <a:gd name="T13" fmla="*/ 41 h 84"/>
                  <a:gd name="T14" fmla="*/ 223 w 224"/>
                  <a:gd name="T15" fmla="*/ 39 h 84"/>
                  <a:gd name="T16" fmla="*/ 223 w 224"/>
                  <a:gd name="T1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84">
                    <a:moveTo>
                      <a:pt x="223" y="37"/>
                    </a:moveTo>
                    <a:cubicBezTo>
                      <a:pt x="223" y="16"/>
                      <a:pt x="173" y="0"/>
                      <a:pt x="111" y="0"/>
                    </a:cubicBezTo>
                    <a:cubicBezTo>
                      <a:pt x="50" y="0"/>
                      <a:pt x="0" y="16"/>
                      <a:pt x="0" y="37"/>
                    </a:cubicBezTo>
                    <a:cubicBezTo>
                      <a:pt x="0" y="38"/>
                      <a:pt x="0" y="38"/>
                      <a:pt x="0" y="39"/>
                    </a:cubicBezTo>
                    <a:cubicBezTo>
                      <a:pt x="0" y="40"/>
                      <a:pt x="0" y="40"/>
                      <a:pt x="0" y="41"/>
                    </a:cubicBezTo>
                    <a:cubicBezTo>
                      <a:pt x="0" y="64"/>
                      <a:pt x="50" y="83"/>
                      <a:pt x="111" y="83"/>
                    </a:cubicBezTo>
                    <a:cubicBezTo>
                      <a:pt x="173" y="83"/>
                      <a:pt x="223" y="64"/>
                      <a:pt x="223" y="41"/>
                    </a:cubicBezTo>
                    <a:cubicBezTo>
                      <a:pt x="223" y="40"/>
                      <a:pt x="223" y="40"/>
                      <a:pt x="223" y="39"/>
                    </a:cubicBezTo>
                    <a:cubicBezTo>
                      <a:pt x="223" y="38"/>
                      <a:pt x="223" y="37"/>
                      <a:pt x="223" y="37"/>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sp>
          <p:nvSpPr>
            <p:cNvPr id="107" name="Text Box 11"/>
            <p:cNvSpPr txBox="1">
              <a:spLocks noChangeArrowheads="1"/>
            </p:cNvSpPr>
            <p:nvPr/>
          </p:nvSpPr>
          <p:spPr bwMode="auto">
            <a:xfrm>
              <a:off x="1049089" y="4437112"/>
              <a:ext cx="458788" cy="2158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buNone/>
              </a:pPr>
              <a:r>
                <a:rPr lang="en-US" sz="700" dirty="0">
                  <a:solidFill>
                    <a:srgbClr val="BE1839"/>
                  </a:solidFill>
                  <a:latin typeface="Arial"/>
                  <a:ea typeface="'ArialMT'" pitchFamily="32" charset="0"/>
                  <a:cs typeface="Arial"/>
                </a:rPr>
                <a:t>Cosmetics</a:t>
              </a:r>
            </a:p>
          </p:txBody>
        </p:sp>
      </p:grpSp>
      <p:grpSp>
        <p:nvGrpSpPr>
          <p:cNvPr id="117" name="Group 3072"/>
          <p:cNvGrpSpPr/>
          <p:nvPr/>
        </p:nvGrpSpPr>
        <p:grpSpPr>
          <a:xfrm>
            <a:off x="3102785" y="4354457"/>
            <a:ext cx="590550" cy="225503"/>
            <a:chOff x="1579314" y="4437112"/>
            <a:chExt cx="590550" cy="225503"/>
          </a:xfrm>
        </p:grpSpPr>
        <p:sp>
          <p:nvSpPr>
            <p:cNvPr id="118" name="Freeform 12"/>
            <p:cNvSpPr>
              <a:spLocks noChangeArrowheads="1"/>
            </p:cNvSpPr>
            <p:nvPr/>
          </p:nvSpPr>
          <p:spPr bwMode="auto">
            <a:xfrm>
              <a:off x="1579314" y="4437112"/>
              <a:ext cx="590550" cy="215900"/>
            </a:xfrm>
            <a:custGeom>
              <a:avLst/>
              <a:gdLst>
                <a:gd name="T0" fmla="*/ 1339 w 1639"/>
                <a:gd name="T1" fmla="*/ 0 h 600"/>
                <a:gd name="T2" fmla="*/ 299 w 1639"/>
                <a:gd name="T3" fmla="*/ 0 h 600"/>
                <a:gd name="T4" fmla="*/ 299 w 1639"/>
                <a:gd name="T5" fmla="*/ 0 h 600"/>
                <a:gd name="T6" fmla="*/ 0 w 1639"/>
                <a:gd name="T7" fmla="*/ 300 h 600"/>
                <a:gd name="T8" fmla="*/ 299 w 1639"/>
                <a:gd name="T9" fmla="*/ 599 h 600"/>
                <a:gd name="T10" fmla="*/ 299 w 1639"/>
                <a:gd name="T11" fmla="*/ 599 h 600"/>
                <a:gd name="T12" fmla="*/ 1339 w 1639"/>
                <a:gd name="T13" fmla="*/ 599 h 600"/>
                <a:gd name="T14" fmla="*/ 1638 w 1639"/>
                <a:gd name="T15" fmla="*/ 300 h 600"/>
                <a:gd name="T16" fmla="*/ 1339 w 1639"/>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9" h="600">
                  <a:moveTo>
                    <a:pt x="1339" y="0"/>
                  </a:moveTo>
                  <a:lnTo>
                    <a:pt x="299" y="0"/>
                  </a:lnTo>
                  <a:lnTo>
                    <a:pt x="299" y="0"/>
                  </a:lnTo>
                  <a:cubicBezTo>
                    <a:pt x="134" y="0"/>
                    <a:pt x="0" y="134"/>
                    <a:pt x="0" y="300"/>
                  </a:cubicBezTo>
                  <a:cubicBezTo>
                    <a:pt x="0" y="465"/>
                    <a:pt x="134" y="599"/>
                    <a:pt x="299" y="599"/>
                  </a:cubicBezTo>
                  <a:lnTo>
                    <a:pt x="299" y="599"/>
                  </a:lnTo>
                  <a:lnTo>
                    <a:pt x="1339" y="599"/>
                  </a:lnTo>
                  <a:cubicBezTo>
                    <a:pt x="1504" y="599"/>
                    <a:pt x="1638" y="465"/>
                    <a:pt x="1638" y="300"/>
                  </a:cubicBezTo>
                  <a:cubicBezTo>
                    <a:pt x="1638" y="134"/>
                    <a:pt x="1504" y="0"/>
                    <a:pt x="1339"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19" name="Text Box 13"/>
            <p:cNvSpPr txBox="1">
              <a:spLocks noChangeArrowheads="1"/>
            </p:cNvSpPr>
            <p:nvPr/>
          </p:nvSpPr>
          <p:spPr bwMode="auto">
            <a:xfrm>
              <a:off x="1803152" y="4437113"/>
              <a:ext cx="290512" cy="2255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6173" rIns="0" bIns="0" anchor="ctr"/>
            <a:lstStyle/>
            <a:p>
              <a:pPr algn="ctr">
                <a:buNone/>
              </a:pPr>
              <a:r>
                <a:rPr lang="en-US" sz="700" dirty="0">
                  <a:solidFill>
                    <a:srgbClr val="BE1839"/>
                  </a:solidFill>
                  <a:latin typeface="Arial"/>
                  <a:ea typeface="'ArialMT'" pitchFamily="32" charset="0"/>
                  <a:cs typeface="Arial"/>
                </a:rPr>
                <a:t>Candle</a:t>
              </a:r>
            </a:p>
          </p:txBody>
        </p:sp>
        <p:grpSp>
          <p:nvGrpSpPr>
            <p:cNvPr id="120" name="Group 127"/>
            <p:cNvGrpSpPr/>
            <p:nvPr/>
          </p:nvGrpSpPr>
          <p:grpSpPr>
            <a:xfrm>
              <a:off x="1655514" y="4470450"/>
              <a:ext cx="111125" cy="144462"/>
              <a:chOff x="1655514" y="4470450"/>
              <a:chExt cx="111125" cy="144462"/>
            </a:xfrm>
          </p:grpSpPr>
          <p:sp>
            <p:nvSpPr>
              <p:cNvPr id="121" name="Freeform 14"/>
              <p:cNvSpPr>
                <a:spLocks noChangeArrowheads="1"/>
              </p:cNvSpPr>
              <p:nvPr/>
            </p:nvSpPr>
            <p:spPr bwMode="auto">
              <a:xfrm>
                <a:off x="1655514" y="4559350"/>
                <a:ext cx="111125" cy="55562"/>
              </a:xfrm>
              <a:custGeom>
                <a:avLst/>
                <a:gdLst>
                  <a:gd name="T0" fmla="*/ 154 w 310"/>
                  <a:gd name="T1" fmla="*/ 153 h 154"/>
                  <a:gd name="T2" fmla="*/ 0 w 310"/>
                  <a:gd name="T3" fmla="*/ 153 h 154"/>
                  <a:gd name="T4" fmla="*/ 0 w 310"/>
                  <a:gd name="T5" fmla="*/ 0 h 154"/>
                  <a:gd name="T6" fmla="*/ 309 w 310"/>
                  <a:gd name="T7" fmla="*/ 0 h 154"/>
                  <a:gd name="T8" fmla="*/ 309 w 310"/>
                  <a:gd name="T9" fmla="*/ 153 h 154"/>
                  <a:gd name="T10" fmla="*/ 154 w 310"/>
                  <a:gd name="T11" fmla="*/ 153 h 154"/>
                </a:gdLst>
                <a:ahLst/>
                <a:cxnLst>
                  <a:cxn ang="0">
                    <a:pos x="T0" y="T1"/>
                  </a:cxn>
                  <a:cxn ang="0">
                    <a:pos x="T2" y="T3"/>
                  </a:cxn>
                  <a:cxn ang="0">
                    <a:pos x="T4" y="T5"/>
                  </a:cxn>
                  <a:cxn ang="0">
                    <a:pos x="T6" y="T7"/>
                  </a:cxn>
                  <a:cxn ang="0">
                    <a:pos x="T8" y="T9"/>
                  </a:cxn>
                  <a:cxn ang="0">
                    <a:pos x="T10" y="T11"/>
                  </a:cxn>
                </a:cxnLst>
                <a:rect l="0" t="0" r="r" b="b"/>
                <a:pathLst>
                  <a:path w="310" h="154">
                    <a:moveTo>
                      <a:pt x="154" y="153"/>
                    </a:moveTo>
                    <a:lnTo>
                      <a:pt x="0" y="153"/>
                    </a:lnTo>
                    <a:lnTo>
                      <a:pt x="0" y="0"/>
                    </a:lnTo>
                    <a:lnTo>
                      <a:pt x="309" y="0"/>
                    </a:lnTo>
                    <a:lnTo>
                      <a:pt x="309" y="153"/>
                    </a:lnTo>
                    <a:lnTo>
                      <a:pt x="154" y="153"/>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22" name="Freeform 15"/>
              <p:cNvSpPr>
                <a:spLocks noChangeArrowheads="1"/>
              </p:cNvSpPr>
              <p:nvPr/>
            </p:nvSpPr>
            <p:spPr bwMode="auto">
              <a:xfrm>
                <a:off x="1687264" y="4470450"/>
                <a:ext cx="50800" cy="90487"/>
              </a:xfrm>
              <a:custGeom>
                <a:avLst/>
                <a:gdLst>
                  <a:gd name="T0" fmla="*/ 70 w 141"/>
                  <a:gd name="T1" fmla="*/ 0 h 253"/>
                  <a:gd name="T2" fmla="*/ 0 w 141"/>
                  <a:gd name="T3" fmla="*/ 126 h 253"/>
                  <a:gd name="T4" fmla="*/ 70 w 141"/>
                  <a:gd name="T5" fmla="*/ 252 h 253"/>
                  <a:gd name="T6" fmla="*/ 140 w 141"/>
                  <a:gd name="T7" fmla="*/ 126 h 253"/>
                  <a:gd name="T8" fmla="*/ 70 w 141"/>
                  <a:gd name="T9" fmla="*/ 0 h 253"/>
                  <a:gd name="T10" fmla="*/ 69 w 141"/>
                  <a:gd name="T11" fmla="*/ 223 h 253"/>
                  <a:gd name="T12" fmla="*/ 41 w 141"/>
                  <a:gd name="T13" fmla="*/ 172 h 253"/>
                  <a:gd name="T14" fmla="*/ 69 w 141"/>
                  <a:gd name="T15" fmla="*/ 121 h 253"/>
                  <a:gd name="T16" fmla="*/ 97 w 141"/>
                  <a:gd name="T17" fmla="*/ 172 h 253"/>
                  <a:gd name="T18" fmla="*/ 69 w 141"/>
                  <a:gd name="T19" fmla="*/ 22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53">
                    <a:moveTo>
                      <a:pt x="70" y="0"/>
                    </a:moveTo>
                    <a:cubicBezTo>
                      <a:pt x="38" y="28"/>
                      <a:pt x="0" y="71"/>
                      <a:pt x="0" y="126"/>
                    </a:cubicBezTo>
                    <a:cubicBezTo>
                      <a:pt x="0" y="181"/>
                      <a:pt x="29" y="228"/>
                      <a:pt x="70" y="252"/>
                    </a:cubicBezTo>
                    <a:cubicBezTo>
                      <a:pt x="111" y="228"/>
                      <a:pt x="140" y="181"/>
                      <a:pt x="140" y="126"/>
                    </a:cubicBezTo>
                    <a:cubicBezTo>
                      <a:pt x="140" y="71"/>
                      <a:pt x="97" y="23"/>
                      <a:pt x="70" y="0"/>
                    </a:cubicBezTo>
                    <a:close/>
                    <a:moveTo>
                      <a:pt x="69" y="223"/>
                    </a:moveTo>
                    <a:cubicBezTo>
                      <a:pt x="53" y="213"/>
                      <a:pt x="41" y="194"/>
                      <a:pt x="41" y="172"/>
                    </a:cubicBezTo>
                    <a:cubicBezTo>
                      <a:pt x="41" y="150"/>
                      <a:pt x="56" y="133"/>
                      <a:pt x="69" y="121"/>
                    </a:cubicBezTo>
                    <a:cubicBezTo>
                      <a:pt x="80" y="131"/>
                      <a:pt x="97" y="150"/>
                      <a:pt x="97" y="172"/>
                    </a:cubicBezTo>
                    <a:cubicBezTo>
                      <a:pt x="97" y="194"/>
                      <a:pt x="86" y="213"/>
                      <a:pt x="69" y="223"/>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grpSp>
        <p:nvGrpSpPr>
          <p:cNvPr id="123" name="Group 3082"/>
          <p:cNvGrpSpPr/>
          <p:nvPr/>
        </p:nvGrpSpPr>
        <p:grpSpPr>
          <a:xfrm>
            <a:off x="4870202" y="4671229"/>
            <a:ext cx="514350" cy="225502"/>
            <a:chOff x="3346202" y="4702225"/>
            <a:chExt cx="514350" cy="225502"/>
          </a:xfrm>
        </p:grpSpPr>
        <p:sp>
          <p:nvSpPr>
            <p:cNvPr id="124" name="Freeform 16"/>
            <p:cNvSpPr>
              <a:spLocks noChangeArrowheads="1"/>
            </p:cNvSpPr>
            <p:nvPr/>
          </p:nvSpPr>
          <p:spPr bwMode="auto">
            <a:xfrm>
              <a:off x="3346202" y="4702225"/>
              <a:ext cx="514350" cy="215900"/>
            </a:xfrm>
            <a:custGeom>
              <a:avLst/>
              <a:gdLst>
                <a:gd name="T0" fmla="*/ 1128 w 1428"/>
                <a:gd name="T1" fmla="*/ 0 h 600"/>
                <a:gd name="T2" fmla="*/ 300 w 1428"/>
                <a:gd name="T3" fmla="*/ 0 h 600"/>
                <a:gd name="T4" fmla="*/ 300 w 1428"/>
                <a:gd name="T5" fmla="*/ 0 h 600"/>
                <a:gd name="T6" fmla="*/ 0 w 1428"/>
                <a:gd name="T7" fmla="*/ 300 h 600"/>
                <a:gd name="T8" fmla="*/ 300 w 1428"/>
                <a:gd name="T9" fmla="*/ 599 h 600"/>
                <a:gd name="T10" fmla="*/ 300 w 1428"/>
                <a:gd name="T11" fmla="*/ 599 h 600"/>
                <a:gd name="T12" fmla="*/ 1128 w 1428"/>
                <a:gd name="T13" fmla="*/ 599 h 600"/>
                <a:gd name="T14" fmla="*/ 1427 w 1428"/>
                <a:gd name="T15" fmla="*/ 300 h 600"/>
                <a:gd name="T16" fmla="*/ 1128 w 1428"/>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8" h="600">
                  <a:moveTo>
                    <a:pt x="1128" y="0"/>
                  </a:moveTo>
                  <a:lnTo>
                    <a:pt x="300" y="0"/>
                  </a:lnTo>
                  <a:lnTo>
                    <a:pt x="300" y="0"/>
                  </a:lnTo>
                  <a:cubicBezTo>
                    <a:pt x="134" y="0"/>
                    <a:pt x="0" y="134"/>
                    <a:pt x="0" y="300"/>
                  </a:cubicBezTo>
                  <a:cubicBezTo>
                    <a:pt x="0" y="465"/>
                    <a:pt x="134" y="599"/>
                    <a:pt x="300" y="599"/>
                  </a:cubicBezTo>
                  <a:lnTo>
                    <a:pt x="300" y="599"/>
                  </a:lnTo>
                  <a:lnTo>
                    <a:pt x="1128" y="599"/>
                  </a:lnTo>
                  <a:cubicBezTo>
                    <a:pt x="1293" y="599"/>
                    <a:pt x="1427" y="465"/>
                    <a:pt x="1427" y="300"/>
                  </a:cubicBezTo>
                  <a:cubicBezTo>
                    <a:pt x="1427" y="134"/>
                    <a:pt x="1293" y="0"/>
                    <a:pt x="1128"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25" name="Text Box 17"/>
            <p:cNvSpPr txBox="1">
              <a:spLocks noChangeArrowheads="1"/>
            </p:cNvSpPr>
            <p:nvPr/>
          </p:nvSpPr>
          <p:spPr bwMode="auto">
            <a:xfrm>
              <a:off x="3562102" y="4702225"/>
              <a:ext cx="244475" cy="2255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6173" rIns="0" bIns="0" anchor="ctr"/>
            <a:lstStyle/>
            <a:p>
              <a:pPr algn="r">
                <a:buNone/>
              </a:pPr>
              <a:r>
                <a:rPr lang="en-US" sz="700" dirty="0">
                  <a:solidFill>
                    <a:srgbClr val="BE1839"/>
                  </a:solidFill>
                  <a:latin typeface="Arial"/>
                  <a:ea typeface="'ArialMT'" pitchFamily="32" charset="0"/>
                  <a:cs typeface="Arial"/>
                </a:rPr>
                <a:t>Home</a:t>
              </a:r>
            </a:p>
            <a:p>
              <a:pPr algn="r"/>
              <a:r>
                <a:rPr lang="en-US" sz="700" dirty="0">
                  <a:solidFill>
                    <a:srgbClr val="BE1839"/>
                  </a:solidFill>
                  <a:latin typeface="Arial"/>
                  <a:ea typeface="'ArialMT'" pitchFamily="32" charset="0"/>
                  <a:cs typeface="Arial"/>
                </a:rPr>
                <a:t>Ware</a:t>
              </a:r>
            </a:p>
          </p:txBody>
        </p:sp>
        <p:sp>
          <p:nvSpPr>
            <p:cNvPr id="126" name="Freeform 18"/>
            <p:cNvSpPr>
              <a:spLocks noChangeAspect="1" noChangeArrowheads="1"/>
            </p:cNvSpPr>
            <p:nvPr/>
          </p:nvSpPr>
          <p:spPr bwMode="auto">
            <a:xfrm>
              <a:off x="3392239" y="4741912"/>
              <a:ext cx="148585" cy="122846"/>
            </a:xfrm>
            <a:custGeom>
              <a:avLst/>
              <a:gdLst>
                <a:gd name="T0" fmla="*/ 211 w 423"/>
                <a:gd name="T1" fmla="*/ 0 h 351"/>
                <a:gd name="T2" fmla="*/ 121 w 423"/>
                <a:gd name="T3" fmla="*/ 91 h 351"/>
                <a:gd name="T4" fmla="*/ 121 w 423"/>
                <a:gd name="T5" fmla="*/ 47 h 351"/>
                <a:gd name="T6" fmla="*/ 72 w 423"/>
                <a:gd name="T7" fmla="*/ 47 h 351"/>
                <a:gd name="T8" fmla="*/ 72 w 423"/>
                <a:gd name="T9" fmla="*/ 139 h 351"/>
                <a:gd name="T10" fmla="*/ 0 w 423"/>
                <a:gd name="T11" fmla="*/ 211 h 351"/>
                <a:gd name="T12" fmla="*/ 72 w 423"/>
                <a:gd name="T13" fmla="*/ 211 h 351"/>
                <a:gd name="T14" fmla="*/ 72 w 423"/>
                <a:gd name="T15" fmla="*/ 350 h 351"/>
                <a:gd name="T16" fmla="*/ 350 w 423"/>
                <a:gd name="T17" fmla="*/ 350 h 351"/>
                <a:gd name="T18" fmla="*/ 350 w 423"/>
                <a:gd name="T19" fmla="*/ 211 h 351"/>
                <a:gd name="T20" fmla="*/ 422 w 423"/>
                <a:gd name="T21" fmla="*/ 211 h 351"/>
                <a:gd name="T22" fmla="*/ 211 w 423"/>
                <a:gd name="T23"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3" h="351">
                  <a:moveTo>
                    <a:pt x="211" y="0"/>
                  </a:moveTo>
                  <a:lnTo>
                    <a:pt x="121" y="91"/>
                  </a:lnTo>
                  <a:lnTo>
                    <a:pt x="121" y="47"/>
                  </a:lnTo>
                  <a:lnTo>
                    <a:pt x="72" y="47"/>
                  </a:lnTo>
                  <a:lnTo>
                    <a:pt x="72" y="139"/>
                  </a:lnTo>
                  <a:lnTo>
                    <a:pt x="0" y="211"/>
                  </a:lnTo>
                  <a:lnTo>
                    <a:pt x="72" y="211"/>
                  </a:lnTo>
                  <a:lnTo>
                    <a:pt x="72" y="350"/>
                  </a:lnTo>
                  <a:lnTo>
                    <a:pt x="350" y="350"/>
                  </a:lnTo>
                  <a:lnTo>
                    <a:pt x="350" y="211"/>
                  </a:lnTo>
                  <a:lnTo>
                    <a:pt x="422" y="211"/>
                  </a:lnTo>
                  <a:lnTo>
                    <a:pt x="211" y="0"/>
                  </a:lnTo>
                </a:path>
              </a:pathLst>
            </a:custGeom>
            <a:solidFill>
              <a:srgbClr val="C9314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dirty="0">
                <a:latin typeface="Arial"/>
                <a:cs typeface="Arial"/>
              </a:endParaRPr>
            </a:p>
          </p:txBody>
        </p:sp>
      </p:grpSp>
      <p:grpSp>
        <p:nvGrpSpPr>
          <p:cNvPr id="127" name="Group 3075"/>
          <p:cNvGrpSpPr/>
          <p:nvPr/>
        </p:nvGrpSpPr>
        <p:grpSpPr>
          <a:xfrm>
            <a:off x="4551114" y="4354457"/>
            <a:ext cx="642938" cy="215901"/>
            <a:chOff x="3027114" y="4437112"/>
            <a:chExt cx="642938" cy="215901"/>
          </a:xfrm>
        </p:grpSpPr>
        <p:sp>
          <p:nvSpPr>
            <p:cNvPr id="128" name="Freeform 22"/>
            <p:cNvSpPr>
              <a:spLocks noChangeArrowheads="1"/>
            </p:cNvSpPr>
            <p:nvPr/>
          </p:nvSpPr>
          <p:spPr bwMode="auto">
            <a:xfrm>
              <a:off x="3027114" y="4437112"/>
              <a:ext cx="642938" cy="215900"/>
            </a:xfrm>
            <a:custGeom>
              <a:avLst/>
              <a:gdLst>
                <a:gd name="T0" fmla="*/ 1484 w 1785"/>
                <a:gd name="T1" fmla="*/ 0 h 600"/>
                <a:gd name="T2" fmla="*/ 300 w 1785"/>
                <a:gd name="T3" fmla="*/ 0 h 600"/>
                <a:gd name="T4" fmla="*/ 300 w 1785"/>
                <a:gd name="T5" fmla="*/ 0 h 600"/>
                <a:gd name="T6" fmla="*/ 0 w 1785"/>
                <a:gd name="T7" fmla="*/ 300 h 600"/>
                <a:gd name="T8" fmla="*/ 300 w 1785"/>
                <a:gd name="T9" fmla="*/ 599 h 600"/>
                <a:gd name="T10" fmla="*/ 300 w 1785"/>
                <a:gd name="T11" fmla="*/ 599 h 600"/>
                <a:gd name="T12" fmla="*/ 1484 w 1785"/>
                <a:gd name="T13" fmla="*/ 599 h 600"/>
                <a:gd name="T14" fmla="*/ 1784 w 1785"/>
                <a:gd name="T15" fmla="*/ 300 h 600"/>
                <a:gd name="T16" fmla="*/ 1484 w 1785"/>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5" h="600">
                  <a:moveTo>
                    <a:pt x="1484" y="0"/>
                  </a:moveTo>
                  <a:lnTo>
                    <a:pt x="300" y="0"/>
                  </a:lnTo>
                  <a:lnTo>
                    <a:pt x="300" y="0"/>
                  </a:lnTo>
                  <a:cubicBezTo>
                    <a:pt x="134" y="0"/>
                    <a:pt x="0" y="134"/>
                    <a:pt x="0" y="300"/>
                  </a:cubicBezTo>
                  <a:cubicBezTo>
                    <a:pt x="0" y="465"/>
                    <a:pt x="134" y="599"/>
                    <a:pt x="300" y="599"/>
                  </a:cubicBezTo>
                  <a:lnTo>
                    <a:pt x="300" y="599"/>
                  </a:lnTo>
                  <a:lnTo>
                    <a:pt x="1484" y="599"/>
                  </a:lnTo>
                  <a:cubicBezTo>
                    <a:pt x="1649" y="599"/>
                    <a:pt x="1784" y="465"/>
                    <a:pt x="1784" y="300"/>
                  </a:cubicBezTo>
                  <a:cubicBezTo>
                    <a:pt x="1784" y="134"/>
                    <a:pt x="1649" y="0"/>
                    <a:pt x="1484"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29" name="Text Box 23"/>
            <p:cNvSpPr txBox="1">
              <a:spLocks noChangeArrowheads="1"/>
            </p:cNvSpPr>
            <p:nvPr/>
          </p:nvSpPr>
          <p:spPr bwMode="auto">
            <a:xfrm>
              <a:off x="3234829" y="4437113"/>
              <a:ext cx="394196"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Juvenile Products</a:t>
              </a:r>
            </a:p>
          </p:txBody>
        </p:sp>
        <p:grpSp>
          <p:nvGrpSpPr>
            <p:cNvPr id="130" name="Group 137"/>
            <p:cNvGrpSpPr/>
            <p:nvPr/>
          </p:nvGrpSpPr>
          <p:grpSpPr>
            <a:xfrm>
              <a:off x="3095377" y="4460925"/>
              <a:ext cx="122237" cy="163512"/>
              <a:chOff x="3095377" y="4460925"/>
              <a:chExt cx="122237" cy="163512"/>
            </a:xfrm>
          </p:grpSpPr>
          <p:sp>
            <p:nvSpPr>
              <p:cNvPr id="131" name="Freeform 25"/>
              <p:cNvSpPr>
                <a:spLocks noChangeArrowheads="1"/>
              </p:cNvSpPr>
              <p:nvPr/>
            </p:nvSpPr>
            <p:spPr bwMode="auto">
              <a:xfrm>
                <a:off x="3095377" y="4518075"/>
                <a:ext cx="33337" cy="7937"/>
              </a:xfrm>
              <a:custGeom>
                <a:avLst/>
                <a:gdLst>
                  <a:gd name="T0" fmla="*/ 93 w 94"/>
                  <a:gd name="T1" fmla="*/ 19 h 20"/>
                  <a:gd name="T2" fmla="*/ 1 w 94"/>
                  <a:gd name="T3" fmla="*/ 0 h 20"/>
                  <a:gd name="T4" fmla="*/ 4 w 94"/>
                  <a:gd name="T5" fmla="*/ 19 h 20"/>
                  <a:gd name="T6" fmla="*/ 93 w 94"/>
                  <a:gd name="T7" fmla="*/ 19 h 20"/>
                </a:gdLst>
                <a:ahLst/>
                <a:cxnLst>
                  <a:cxn ang="0">
                    <a:pos x="T0" y="T1"/>
                  </a:cxn>
                  <a:cxn ang="0">
                    <a:pos x="T2" y="T3"/>
                  </a:cxn>
                  <a:cxn ang="0">
                    <a:pos x="T4" y="T5"/>
                  </a:cxn>
                  <a:cxn ang="0">
                    <a:pos x="T6" y="T7"/>
                  </a:cxn>
                </a:cxnLst>
                <a:rect l="0" t="0" r="r" b="b"/>
                <a:pathLst>
                  <a:path w="94" h="20">
                    <a:moveTo>
                      <a:pt x="93" y="19"/>
                    </a:moveTo>
                    <a:cubicBezTo>
                      <a:pt x="65" y="16"/>
                      <a:pt x="23" y="7"/>
                      <a:pt x="1" y="0"/>
                    </a:cubicBezTo>
                    <a:cubicBezTo>
                      <a:pt x="0" y="6"/>
                      <a:pt x="2" y="10"/>
                      <a:pt x="4" y="19"/>
                    </a:cubicBezTo>
                    <a:cubicBezTo>
                      <a:pt x="27" y="19"/>
                      <a:pt x="61" y="19"/>
                      <a:pt x="93" y="19"/>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32" name="Freeform 26"/>
              <p:cNvSpPr>
                <a:spLocks noChangeArrowheads="1"/>
              </p:cNvSpPr>
              <p:nvPr/>
            </p:nvSpPr>
            <p:spPr bwMode="auto">
              <a:xfrm>
                <a:off x="3098552" y="4497437"/>
                <a:ext cx="44450" cy="28575"/>
              </a:xfrm>
              <a:custGeom>
                <a:avLst/>
                <a:gdLst>
                  <a:gd name="T0" fmla="*/ 3 w 122"/>
                  <a:gd name="T1" fmla="*/ 47 h 79"/>
                  <a:gd name="T2" fmla="*/ 0 w 122"/>
                  <a:gd name="T3" fmla="*/ 54 h 79"/>
                  <a:gd name="T4" fmla="*/ 115 w 122"/>
                  <a:gd name="T5" fmla="*/ 78 h 79"/>
                  <a:gd name="T6" fmla="*/ 121 w 122"/>
                  <a:gd name="T7" fmla="*/ 78 h 79"/>
                  <a:gd name="T8" fmla="*/ 9 w 122"/>
                  <a:gd name="T9" fmla="*/ 0 h 79"/>
                  <a:gd name="T10" fmla="*/ 9 w 122"/>
                  <a:gd name="T11" fmla="*/ 2 h 79"/>
                  <a:gd name="T12" fmla="*/ 3 w 122"/>
                  <a:gd name="T13" fmla="*/ 47 h 79"/>
                </a:gdLst>
                <a:ahLst/>
                <a:cxnLst>
                  <a:cxn ang="0">
                    <a:pos x="T0" y="T1"/>
                  </a:cxn>
                  <a:cxn ang="0">
                    <a:pos x="T2" y="T3"/>
                  </a:cxn>
                  <a:cxn ang="0">
                    <a:pos x="T4" y="T5"/>
                  </a:cxn>
                  <a:cxn ang="0">
                    <a:pos x="T6" y="T7"/>
                  </a:cxn>
                  <a:cxn ang="0">
                    <a:pos x="T8" y="T9"/>
                  </a:cxn>
                  <a:cxn ang="0">
                    <a:pos x="T10" y="T11"/>
                  </a:cxn>
                  <a:cxn ang="0">
                    <a:pos x="T12" y="T13"/>
                  </a:cxn>
                </a:cxnLst>
                <a:rect l="0" t="0" r="r" b="b"/>
                <a:pathLst>
                  <a:path w="122" h="79">
                    <a:moveTo>
                      <a:pt x="3" y="47"/>
                    </a:moveTo>
                    <a:cubicBezTo>
                      <a:pt x="1" y="50"/>
                      <a:pt x="0" y="52"/>
                      <a:pt x="0" y="54"/>
                    </a:cubicBezTo>
                    <a:cubicBezTo>
                      <a:pt x="27" y="62"/>
                      <a:pt x="79" y="74"/>
                      <a:pt x="115" y="78"/>
                    </a:cubicBezTo>
                    <a:lnTo>
                      <a:pt x="121" y="78"/>
                    </a:lnTo>
                    <a:cubicBezTo>
                      <a:pt x="63" y="60"/>
                      <a:pt x="21" y="15"/>
                      <a:pt x="9" y="0"/>
                    </a:cubicBezTo>
                    <a:cubicBezTo>
                      <a:pt x="9" y="1"/>
                      <a:pt x="9" y="2"/>
                      <a:pt x="9" y="2"/>
                    </a:cubicBezTo>
                    <a:cubicBezTo>
                      <a:pt x="10" y="6"/>
                      <a:pt x="10" y="32"/>
                      <a:pt x="3" y="47"/>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33" name="Freeform 27"/>
              <p:cNvSpPr>
                <a:spLocks noChangeArrowheads="1"/>
              </p:cNvSpPr>
              <p:nvPr/>
            </p:nvSpPr>
            <p:spPr bwMode="auto">
              <a:xfrm>
                <a:off x="3104902" y="4475212"/>
                <a:ext cx="49212" cy="49213"/>
              </a:xfrm>
              <a:custGeom>
                <a:avLst/>
                <a:gdLst>
                  <a:gd name="T0" fmla="*/ 20 w 138"/>
                  <a:gd name="T1" fmla="*/ 30 h 138"/>
                  <a:gd name="T2" fmla="*/ 0 w 138"/>
                  <a:gd name="T3" fmla="*/ 59 h 138"/>
                  <a:gd name="T4" fmla="*/ 112 w 138"/>
                  <a:gd name="T5" fmla="*/ 137 h 138"/>
                  <a:gd name="T6" fmla="*/ 137 w 138"/>
                  <a:gd name="T7" fmla="*/ 137 h 138"/>
                  <a:gd name="T8" fmla="*/ 62 w 138"/>
                  <a:gd name="T9" fmla="*/ 39 h 138"/>
                  <a:gd name="T10" fmla="*/ 42 w 138"/>
                  <a:gd name="T11" fmla="*/ 0 h 138"/>
                  <a:gd name="T12" fmla="*/ 39 w 138"/>
                  <a:gd name="T13" fmla="*/ 2 h 138"/>
                  <a:gd name="T14" fmla="*/ 20 w 138"/>
                  <a:gd name="T15" fmla="*/ 30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138">
                    <a:moveTo>
                      <a:pt x="20" y="30"/>
                    </a:moveTo>
                    <a:cubicBezTo>
                      <a:pt x="12" y="38"/>
                      <a:pt x="1" y="54"/>
                      <a:pt x="0" y="59"/>
                    </a:cubicBezTo>
                    <a:cubicBezTo>
                      <a:pt x="11" y="74"/>
                      <a:pt x="54" y="119"/>
                      <a:pt x="112" y="137"/>
                    </a:cubicBezTo>
                    <a:cubicBezTo>
                      <a:pt x="120" y="137"/>
                      <a:pt x="129" y="137"/>
                      <a:pt x="137" y="137"/>
                    </a:cubicBezTo>
                    <a:cubicBezTo>
                      <a:pt x="112" y="115"/>
                      <a:pt x="74" y="58"/>
                      <a:pt x="62" y="39"/>
                    </a:cubicBezTo>
                    <a:cubicBezTo>
                      <a:pt x="54" y="27"/>
                      <a:pt x="44" y="9"/>
                      <a:pt x="42" y="0"/>
                    </a:cubicBezTo>
                    <a:cubicBezTo>
                      <a:pt x="41" y="1"/>
                      <a:pt x="40" y="1"/>
                      <a:pt x="39" y="2"/>
                    </a:cubicBezTo>
                    <a:cubicBezTo>
                      <a:pt x="33" y="8"/>
                      <a:pt x="28" y="22"/>
                      <a:pt x="20" y="3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34" name="Freeform 28"/>
              <p:cNvSpPr>
                <a:spLocks noChangeArrowheads="1"/>
              </p:cNvSpPr>
              <p:nvPr/>
            </p:nvSpPr>
            <p:spPr bwMode="auto">
              <a:xfrm>
                <a:off x="3122364" y="4460925"/>
                <a:ext cx="41275" cy="63500"/>
              </a:xfrm>
              <a:custGeom>
                <a:avLst/>
                <a:gdLst>
                  <a:gd name="T0" fmla="*/ 52 w 116"/>
                  <a:gd name="T1" fmla="*/ 25 h 177"/>
                  <a:gd name="T2" fmla="*/ 0 w 116"/>
                  <a:gd name="T3" fmla="*/ 39 h 177"/>
                  <a:gd name="T4" fmla="*/ 20 w 116"/>
                  <a:gd name="T5" fmla="*/ 78 h 177"/>
                  <a:gd name="T6" fmla="*/ 95 w 116"/>
                  <a:gd name="T7" fmla="*/ 176 h 177"/>
                  <a:gd name="T8" fmla="*/ 115 w 116"/>
                  <a:gd name="T9" fmla="*/ 176 h 177"/>
                  <a:gd name="T10" fmla="*/ 106 w 116"/>
                  <a:gd name="T11" fmla="*/ 68 h 177"/>
                  <a:gd name="T12" fmla="*/ 105 w 116"/>
                  <a:gd name="T13" fmla="*/ 0 h 177"/>
                  <a:gd name="T14" fmla="*/ 102 w 116"/>
                  <a:gd name="T15" fmla="*/ 1 h 177"/>
                  <a:gd name="T16" fmla="*/ 52 w 116"/>
                  <a:gd name="T17" fmla="*/ 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77">
                    <a:moveTo>
                      <a:pt x="52" y="25"/>
                    </a:moveTo>
                    <a:cubicBezTo>
                      <a:pt x="37" y="31"/>
                      <a:pt x="10" y="34"/>
                      <a:pt x="0" y="39"/>
                    </a:cubicBezTo>
                    <a:cubicBezTo>
                      <a:pt x="2" y="48"/>
                      <a:pt x="12" y="66"/>
                      <a:pt x="20" y="78"/>
                    </a:cubicBezTo>
                    <a:cubicBezTo>
                      <a:pt x="32" y="97"/>
                      <a:pt x="70" y="154"/>
                      <a:pt x="95" y="176"/>
                    </a:cubicBezTo>
                    <a:cubicBezTo>
                      <a:pt x="102" y="176"/>
                      <a:pt x="109" y="176"/>
                      <a:pt x="115" y="176"/>
                    </a:cubicBezTo>
                    <a:cubicBezTo>
                      <a:pt x="113" y="153"/>
                      <a:pt x="108" y="93"/>
                      <a:pt x="106" y="68"/>
                    </a:cubicBezTo>
                    <a:cubicBezTo>
                      <a:pt x="103" y="42"/>
                      <a:pt x="102" y="16"/>
                      <a:pt x="105" y="0"/>
                    </a:cubicBezTo>
                    <a:cubicBezTo>
                      <a:pt x="104" y="1"/>
                      <a:pt x="103" y="1"/>
                      <a:pt x="102" y="1"/>
                    </a:cubicBezTo>
                    <a:cubicBezTo>
                      <a:pt x="98" y="2"/>
                      <a:pt x="70" y="19"/>
                      <a:pt x="52" y="25"/>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35" name="Freeform 29"/>
              <p:cNvSpPr>
                <a:spLocks noChangeArrowheads="1"/>
              </p:cNvSpPr>
              <p:nvPr/>
            </p:nvSpPr>
            <p:spPr bwMode="auto">
              <a:xfrm>
                <a:off x="3096964" y="4497437"/>
                <a:ext cx="120650" cy="127000"/>
              </a:xfrm>
              <a:custGeom>
                <a:avLst/>
                <a:gdLst>
                  <a:gd name="T0" fmla="*/ 324 w 334"/>
                  <a:gd name="T1" fmla="*/ 0 h 352"/>
                  <a:gd name="T2" fmla="*/ 264 w 334"/>
                  <a:gd name="T3" fmla="*/ 0 h 352"/>
                  <a:gd name="T4" fmla="*/ 255 w 334"/>
                  <a:gd name="T5" fmla="*/ 7 h 352"/>
                  <a:gd name="T6" fmla="*/ 233 w 334"/>
                  <a:gd name="T7" fmla="*/ 84 h 352"/>
                  <a:gd name="T8" fmla="*/ 0 w 334"/>
                  <a:gd name="T9" fmla="*/ 84 h 352"/>
                  <a:gd name="T10" fmla="*/ 2 w 334"/>
                  <a:gd name="T11" fmla="*/ 94 h 352"/>
                  <a:gd name="T12" fmla="*/ 12 w 334"/>
                  <a:gd name="T13" fmla="*/ 163 h 352"/>
                  <a:gd name="T14" fmla="*/ 50 w 334"/>
                  <a:gd name="T15" fmla="*/ 179 h 352"/>
                  <a:gd name="T16" fmla="*/ 82 w 334"/>
                  <a:gd name="T17" fmla="*/ 180 h 352"/>
                  <a:gd name="T18" fmla="*/ 138 w 334"/>
                  <a:gd name="T19" fmla="*/ 221 h 352"/>
                  <a:gd name="T20" fmla="*/ 114 w 334"/>
                  <a:gd name="T21" fmla="*/ 241 h 352"/>
                  <a:gd name="T22" fmla="*/ 72 w 334"/>
                  <a:gd name="T23" fmla="*/ 225 h 352"/>
                  <a:gd name="T24" fmla="*/ 9 w 334"/>
                  <a:gd name="T25" fmla="*/ 288 h 352"/>
                  <a:gd name="T26" fmla="*/ 72 w 334"/>
                  <a:gd name="T27" fmla="*/ 351 h 352"/>
                  <a:gd name="T28" fmla="*/ 135 w 334"/>
                  <a:gd name="T29" fmla="*/ 288 h 352"/>
                  <a:gd name="T30" fmla="*/ 126 w 334"/>
                  <a:gd name="T31" fmla="*/ 256 h 352"/>
                  <a:gd name="T32" fmla="*/ 154 w 334"/>
                  <a:gd name="T33" fmla="*/ 233 h 352"/>
                  <a:gd name="T34" fmla="*/ 165 w 334"/>
                  <a:gd name="T35" fmla="*/ 241 h 352"/>
                  <a:gd name="T36" fmla="*/ 157 w 334"/>
                  <a:gd name="T37" fmla="*/ 274 h 352"/>
                  <a:gd name="T38" fmla="*/ 233 w 334"/>
                  <a:gd name="T39" fmla="*/ 351 h 352"/>
                  <a:gd name="T40" fmla="*/ 309 w 334"/>
                  <a:gd name="T41" fmla="*/ 274 h 352"/>
                  <a:gd name="T42" fmla="*/ 233 w 334"/>
                  <a:gd name="T43" fmla="*/ 198 h 352"/>
                  <a:gd name="T44" fmla="*/ 175 w 334"/>
                  <a:gd name="T45" fmla="*/ 226 h 352"/>
                  <a:gd name="T46" fmla="*/ 169 w 334"/>
                  <a:gd name="T47" fmla="*/ 221 h 352"/>
                  <a:gd name="T48" fmla="*/ 215 w 334"/>
                  <a:gd name="T49" fmla="*/ 181 h 352"/>
                  <a:gd name="T50" fmla="*/ 276 w 334"/>
                  <a:gd name="T51" fmla="*/ 178 h 352"/>
                  <a:gd name="T52" fmla="*/ 321 w 334"/>
                  <a:gd name="T53" fmla="*/ 84 h 352"/>
                  <a:gd name="T54" fmla="*/ 253 w 334"/>
                  <a:gd name="T55" fmla="*/ 84 h 352"/>
                  <a:gd name="T56" fmla="*/ 271 w 334"/>
                  <a:gd name="T57" fmla="*/ 19 h 352"/>
                  <a:gd name="T58" fmla="*/ 324 w 334"/>
                  <a:gd name="T59" fmla="*/ 19 h 352"/>
                  <a:gd name="T60" fmla="*/ 333 w 334"/>
                  <a:gd name="T61" fmla="*/ 9 h 352"/>
                  <a:gd name="T62" fmla="*/ 324 w 334"/>
                  <a:gd name="T63" fmla="*/ 0 h 352"/>
                  <a:gd name="T64" fmla="*/ 116 w 334"/>
                  <a:gd name="T65" fmla="*/ 288 h 352"/>
                  <a:gd name="T66" fmla="*/ 72 w 334"/>
                  <a:gd name="T67" fmla="*/ 332 h 352"/>
                  <a:gd name="T68" fmla="*/ 28 w 334"/>
                  <a:gd name="T69" fmla="*/ 288 h 352"/>
                  <a:gd name="T70" fmla="*/ 72 w 334"/>
                  <a:gd name="T71" fmla="*/ 244 h 352"/>
                  <a:gd name="T72" fmla="*/ 99 w 334"/>
                  <a:gd name="T73" fmla="*/ 254 h 352"/>
                  <a:gd name="T74" fmla="*/ 68 w 334"/>
                  <a:gd name="T75" fmla="*/ 280 h 352"/>
                  <a:gd name="T76" fmla="*/ 67 w 334"/>
                  <a:gd name="T77" fmla="*/ 293 h 352"/>
                  <a:gd name="T78" fmla="*/ 74 w 334"/>
                  <a:gd name="T79" fmla="*/ 296 h 352"/>
                  <a:gd name="T80" fmla="*/ 80 w 334"/>
                  <a:gd name="T81" fmla="*/ 294 h 352"/>
                  <a:gd name="T82" fmla="*/ 111 w 334"/>
                  <a:gd name="T83" fmla="*/ 269 h 352"/>
                  <a:gd name="T84" fmla="*/ 116 w 334"/>
                  <a:gd name="T85" fmla="*/ 288 h 352"/>
                  <a:gd name="T86" fmla="*/ 233 w 334"/>
                  <a:gd name="T87" fmla="*/ 217 h 352"/>
                  <a:gd name="T88" fmla="*/ 291 w 334"/>
                  <a:gd name="T89" fmla="*/ 274 h 352"/>
                  <a:gd name="T90" fmla="*/ 233 w 334"/>
                  <a:gd name="T91" fmla="*/ 332 h 352"/>
                  <a:gd name="T92" fmla="*/ 176 w 334"/>
                  <a:gd name="T93" fmla="*/ 274 h 352"/>
                  <a:gd name="T94" fmla="*/ 181 w 334"/>
                  <a:gd name="T95" fmla="*/ 253 h 352"/>
                  <a:gd name="T96" fmla="*/ 228 w 334"/>
                  <a:gd name="T97" fmla="*/ 288 h 352"/>
                  <a:gd name="T98" fmla="*/ 234 w 334"/>
                  <a:gd name="T99" fmla="*/ 290 h 352"/>
                  <a:gd name="T100" fmla="*/ 242 w 334"/>
                  <a:gd name="T101" fmla="*/ 286 h 352"/>
                  <a:gd name="T102" fmla="*/ 239 w 334"/>
                  <a:gd name="T103" fmla="*/ 273 h 352"/>
                  <a:gd name="T104" fmla="*/ 191 w 334"/>
                  <a:gd name="T105" fmla="*/ 237 h 352"/>
                  <a:gd name="T106" fmla="*/ 233 w 334"/>
                  <a:gd name="T107" fmla="*/ 217 h 352"/>
                  <a:gd name="T108" fmla="*/ 153 w 334"/>
                  <a:gd name="T109" fmla="*/ 209 h 352"/>
                  <a:gd name="T110" fmla="*/ 115 w 334"/>
                  <a:gd name="T111" fmla="*/ 181 h 352"/>
                  <a:gd name="T112" fmla="*/ 185 w 334"/>
                  <a:gd name="T113" fmla="*/ 182 h 352"/>
                  <a:gd name="T114" fmla="*/ 153 w 334"/>
                  <a:gd name="T115"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4" h="352">
                    <a:moveTo>
                      <a:pt x="324" y="0"/>
                    </a:moveTo>
                    <a:lnTo>
                      <a:pt x="264" y="0"/>
                    </a:lnTo>
                    <a:cubicBezTo>
                      <a:pt x="260" y="0"/>
                      <a:pt x="256" y="2"/>
                      <a:pt x="255" y="7"/>
                    </a:cubicBezTo>
                    <a:lnTo>
                      <a:pt x="233" y="84"/>
                    </a:lnTo>
                    <a:lnTo>
                      <a:pt x="0" y="84"/>
                    </a:lnTo>
                    <a:cubicBezTo>
                      <a:pt x="1" y="87"/>
                      <a:pt x="2" y="90"/>
                      <a:pt x="2" y="94"/>
                    </a:cubicBezTo>
                    <a:cubicBezTo>
                      <a:pt x="6" y="114"/>
                      <a:pt x="8" y="153"/>
                      <a:pt x="12" y="163"/>
                    </a:cubicBezTo>
                    <a:cubicBezTo>
                      <a:pt x="17" y="174"/>
                      <a:pt x="29" y="176"/>
                      <a:pt x="50" y="179"/>
                    </a:cubicBezTo>
                    <a:cubicBezTo>
                      <a:pt x="55" y="179"/>
                      <a:pt x="66" y="180"/>
                      <a:pt x="82" y="180"/>
                    </a:cubicBezTo>
                    <a:lnTo>
                      <a:pt x="138" y="221"/>
                    </a:lnTo>
                    <a:lnTo>
                      <a:pt x="114" y="241"/>
                    </a:lnTo>
                    <a:cubicBezTo>
                      <a:pt x="103" y="231"/>
                      <a:pt x="88" y="225"/>
                      <a:pt x="72" y="225"/>
                    </a:cubicBezTo>
                    <a:cubicBezTo>
                      <a:pt x="37" y="225"/>
                      <a:pt x="9" y="254"/>
                      <a:pt x="9" y="288"/>
                    </a:cubicBezTo>
                    <a:cubicBezTo>
                      <a:pt x="9" y="323"/>
                      <a:pt x="37" y="351"/>
                      <a:pt x="72" y="351"/>
                    </a:cubicBezTo>
                    <a:cubicBezTo>
                      <a:pt x="106" y="351"/>
                      <a:pt x="135" y="322"/>
                      <a:pt x="135" y="288"/>
                    </a:cubicBezTo>
                    <a:cubicBezTo>
                      <a:pt x="135" y="276"/>
                      <a:pt x="131" y="266"/>
                      <a:pt x="126" y="256"/>
                    </a:cubicBezTo>
                    <a:lnTo>
                      <a:pt x="154" y="233"/>
                    </a:lnTo>
                    <a:lnTo>
                      <a:pt x="165" y="241"/>
                    </a:lnTo>
                    <a:cubicBezTo>
                      <a:pt x="160" y="251"/>
                      <a:pt x="157" y="263"/>
                      <a:pt x="157" y="274"/>
                    </a:cubicBezTo>
                    <a:cubicBezTo>
                      <a:pt x="157" y="316"/>
                      <a:pt x="191" y="351"/>
                      <a:pt x="233" y="351"/>
                    </a:cubicBezTo>
                    <a:cubicBezTo>
                      <a:pt x="275" y="351"/>
                      <a:pt x="309" y="316"/>
                      <a:pt x="309" y="274"/>
                    </a:cubicBezTo>
                    <a:cubicBezTo>
                      <a:pt x="309" y="233"/>
                      <a:pt x="275" y="198"/>
                      <a:pt x="233" y="198"/>
                    </a:cubicBezTo>
                    <a:cubicBezTo>
                      <a:pt x="210" y="198"/>
                      <a:pt x="189" y="209"/>
                      <a:pt x="175" y="226"/>
                    </a:cubicBezTo>
                    <a:lnTo>
                      <a:pt x="169" y="221"/>
                    </a:lnTo>
                    <a:lnTo>
                      <a:pt x="215" y="181"/>
                    </a:lnTo>
                    <a:cubicBezTo>
                      <a:pt x="243" y="181"/>
                      <a:pt x="265" y="180"/>
                      <a:pt x="276" y="178"/>
                    </a:cubicBezTo>
                    <a:cubicBezTo>
                      <a:pt x="313" y="170"/>
                      <a:pt x="317" y="98"/>
                      <a:pt x="321" y="84"/>
                    </a:cubicBezTo>
                    <a:lnTo>
                      <a:pt x="253" y="84"/>
                    </a:lnTo>
                    <a:lnTo>
                      <a:pt x="271" y="19"/>
                    </a:lnTo>
                    <a:lnTo>
                      <a:pt x="324" y="19"/>
                    </a:lnTo>
                    <a:cubicBezTo>
                      <a:pt x="329" y="19"/>
                      <a:pt x="333" y="14"/>
                      <a:pt x="333" y="9"/>
                    </a:cubicBezTo>
                    <a:cubicBezTo>
                      <a:pt x="333" y="4"/>
                      <a:pt x="329" y="0"/>
                      <a:pt x="324" y="0"/>
                    </a:cubicBezTo>
                    <a:close/>
                    <a:moveTo>
                      <a:pt x="116" y="288"/>
                    </a:moveTo>
                    <a:cubicBezTo>
                      <a:pt x="116" y="312"/>
                      <a:pt x="96" y="332"/>
                      <a:pt x="72" y="332"/>
                    </a:cubicBezTo>
                    <a:cubicBezTo>
                      <a:pt x="48" y="332"/>
                      <a:pt x="28" y="312"/>
                      <a:pt x="28" y="288"/>
                    </a:cubicBezTo>
                    <a:cubicBezTo>
                      <a:pt x="28" y="264"/>
                      <a:pt x="48" y="244"/>
                      <a:pt x="72" y="244"/>
                    </a:cubicBezTo>
                    <a:cubicBezTo>
                      <a:pt x="82" y="244"/>
                      <a:pt x="91" y="248"/>
                      <a:pt x="99" y="254"/>
                    </a:cubicBezTo>
                    <a:lnTo>
                      <a:pt x="68" y="280"/>
                    </a:lnTo>
                    <a:cubicBezTo>
                      <a:pt x="64" y="283"/>
                      <a:pt x="63" y="289"/>
                      <a:pt x="67" y="293"/>
                    </a:cubicBezTo>
                    <a:cubicBezTo>
                      <a:pt x="69" y="295"/>
                      <a:pt x="71" y="296"/>
                      <a:pt x="74" y="296"/>
                    </a:cubicBezTo>
                    <a:cubicBezTo>
                      <a:pt x="76" y="296"/>
                      <a:pt x="78" y="296"/>
                      <a:pt x="80" y="294"/>
                    </a:cubicBezTo>
                    <a:lnTo>
                      <a:pt x="111" y="269"/>
                    </a:lnTo>
                    <a:cubicBezTo>
                      <a:pt x="114" y="275"/>
                      <a:pt x="116" y="281"/>
                      <a:pt x="116" y="288"/>
                    </a:cubicBezTo>
                    <a:close/>
                    <a:moveTo>
                      <a:pt x="233" y="217"/>
                    </a:moveTo>
                    <a:cubicBezTo>
                      <a:pt x="265" y="217"/>
                      <a:pt x="291" y="243"/>
                      <a:pt x="291" y="274"/>
                    </a:cubicBezTo>
                    <a:cubicBezTo>
                      <a:pt x="291" y="306"/>
                      <a:pt x="265" y="332"/>
                      <a:pt x="233" y="332"/>
                    </a:cubicBezTo>
                    <a:cubicBezTo>
                      <a:pt x="202" y="332"/>
                      <a:pt x="176" y="306"/>
                      <a:pt x="176" y="274"/>
                    </a:cubicBezTo>
                    <a:cubicBezTo>
                      <a:pt x="176" y="267"/>
                      <a:pt x="178" y="259"/>
                      <a:pt x="181" y="253"/>
                    </a:cubicBezTo>
                    <a:lnTo>
                      <a:pt x="228" y="288"/>
                    </a:lnTo>
                    <a:cubicBezTo>
                      <a:pt x="230" y="289"/>
                      <a:pt x="232" y="290"/>
                      <a:pt x="234" y="290"/>
                    </a:cubicBezTo>
                    <a:cubicBezTo>
                      <a:pt x="237" y="290"/>
                      <a:pt x="240" y="288"/>
                      <a:pt x="242" y="286"/>
                    </a:cubicBezTo>
                    <a:cubicBezTo>
                      <a:pt x="245" y="282"/>
                      <a:pt x="244" y="276"/>
                      <a:pt x="239" y="273"/>
                    </a:cubicBezTo>
                    <a:lnTo>
                      <a:pt x="191" y="237"/>
                    </a:lnTo>
                    <a:cubicBezTo>
                      <a:pt x="201" y="225"/>
                      <a:pt x="216" y="217"/>
                      <a:pt x="233" y="217"/>
                    </a:cubicBezTo>
                    <a:close/>
                    <a:moveTo>
                      <a:pt x="153" y="209"/>
                    </a:moveTo>
                    <a:lnTo>
                      <a:pt x="115" y="181"/>
                    </a:lnTo>
                    <a:cubicBezTo>
                      <a:pt x="137" y="182"/>
                      <a:pt x="162" y="182"/>
                      <a:pt x="185" y="182"/>
                    </a:cubicBezTo>
                    <a:lnTo>
                      <a:pt x="153" y="209"/>
                    </a:ln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grpSp>
        <p:nvGrpSpPr>
          <p:cNvPr id="136" name="Group 3080"/>
          <p:cNvGrpSpPr/>
          <p:nvPr/>
        </p:nvGrpSpPr>
        <p:grpSpPr>
          <a:xfrm>
            <a:off x="3746253" y="4671229"/>
            <a:ext cx="604837" cy="225502"/>
            <a:chOff x="2222252" y="4702225"/>
            <a:chExt cx="604837" cy="225502"/>
          </a:xfrm>
        </p:grpSpPr>
        <p:sp>
          <p:nvSpPr>
            <p:cNvPr id="137" name="Freeform 30"/>
            <p:cNvSpPr>
              <a:spLocks noChangeArrowheads="1"/>
            </p:cNvSpPr>
            <p:nvPr/>
          </p:nvSpPr>
          <p:spPr bwMode="auto">
            <a:xfrm>
              <a:off x="2222252" y="4702225"/>
              <a:ext cx="604837" cy="215900"/>
            </a:xfrm>
            <a:custGeom>
              <a:avLst/>
              <a:gdLst>
                <a:gd name="T0" fmla="*/ 1378 w 1679"/>
                <a:gd name="T1" fmla="*/ 0 h 600"/>
                <a:gd name="T2" fmla="*/ 300 w 1679"/>
                <a:gd name="T3" fmla="*/ 0 h 600"/>
                <a:gd name="T4" fmla="*/ 300 w 1679"/>
                <a:gd name="T5" fmla="*/ 0 h 600"/>
                <a:gd name="T6" fmla="*/ 0 w 1679"/>
                <a:gd name="T7" fmla="*/ 300 h 600"/>
                <a:gd name="T8" fmla="*/ 300 w 1679"/>
                <a:gd name="T9" fmla="*/ 599 h 600"/>
                <a:gd name="T10" fmla="*/ 300 w 1679"/>
                <a:gd name="T11" fmla="*/ 599 h 600"/>
                <a:gd name="T12" fmla="*/ 1378 w 1679"/>
                <a:gd name="T13" fmla="*/ 599 h 600"/>
                <a:gd name="T14" fmla="*/ 1678 w 1679"/>
                <a:gd name="T15" fmla="*/ 300 h 600"/>
                <a:gd name="T16" fmla="*/ 1378 w 1679"/>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9" h="600">
                  <a:moveTo>
                    <a:pt x="1378" y="0"/>
                  </a:moveTo>
                  <a:lnTo>
                    <a:pt x="300" y="0"/>
                  </a:lnTo>
                  <a:lnTo>
                    <a:pt x="300" y="0"/>
                  </a:lnTo>
                  <a:cubicBezTo>
                    <a:pt x="134" y="0"/>
                    <a:pt x="0" y="134"/>
                    <a:pt x="0" y="300"/>
                  </a:cubicBezTo>
                  <a:cubicBezTo>
                    <a:pt x="0" y="465"/>
                    <a:pt x="134" y="599"/>
                    <a:pt x="300" y="599"/>
                  </a:cubicBezTo>
                  <a:lnTo>
                    <a:pt x="300" y="599"/>
                  </a:lnTo>
                  <a:lnTo>
                    <a:pt x="1378" y="599"/>
                  </a:lnTo>
                  <a:cubicBezTo>
                    <a:pt x="1544" y="599"/>
                    <a:pt x="1678" y="465"/>
                    <a:pt x="1678" y="300"/>
                  </a:cubicBezTo>
                  <a:cubicBezTo>
                    <a:pt x="1678" y="134"/>
                    <a:pt x="1544" y="0"/>
                    <a:pt x="1378"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38" name="Text Box 31"/>
            <p:cNvSpPr txBox="1">
              <a:spLocks noChangeArrowheads="1"/>
            </p:cNvSpPr>
            <p:nvPr/>
          </p:nvSpPr>
          <p:spPr bwMode="auto">
            <a:xfrm>
              <a:off x="2420689" y="4711750"/>
              <a:ext cx="354013" cy="2159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Sporting goods </a:t>
              </a:r>
            </a:p>
          </p:txBody>
        </p:sp>
        <p:grpSp>
          <p:nvGrpSpPr>
            <p:cNvPr id="139" name="Group 145"/>
            <p:cNvGrpSpPr/>
            <p:nvPr/>
          </p:nvGrpSpPr>
          <p:grpSpPr>
            <a:xfrm>
              <a:off x="2261939" y="4738737"/>
              <a:ext cx="144463" cy="144463"/>
              <a:chOff x="2261939" y="4738737"/>
              <a:chExt cx="144463" cy="144463"/>
            </a:xfrm>
          </p:grpSpPr>
          <p:sp>
            <p:nvSpPr>
              <p:cNvPr id="140" name="Freeform 33"/>
              <p:cNvSpPr>
                <a:spLocks noChangeArrowheads="1"/>
              </p:cNvSpPr>
              <p:nvPr/>
            </p:nvSpPr>
            <p:spPr bwMode="auto">
              <a:xfrm>
                <a:off x="2273052" y="4800650"/>
                <a:ext cx="41275" cy="80962"/>
              </a:xfrm>
              <a:custGeom>
                <a:avLst/>
                <a:gdLst>
                  <a:gd name="T0" fmla="*/ 51 w 114"/>
                  <a:gd name="T1" fmla="*/ 0 h 223"/>
                  <a:gd name="T2" fmla="*/ 43 w 114"/>
                  <a:gd name="T3" fmla="*/ 12 h 223"/>
                  <a:gd name="T4" fmla="*/ 0 w 114"/>
                  <a:gd name="T5" fmla="*/ 138 h 223"/>
                  <a:gd name="T6" fmla="*/ 113 w 114"/>
                  <a:gd name="T7" fmla="*/ 222 h 223"/>
                  <a:gd name="T8" fmla="*/ 80 w 114"/>
                  <a:gd name="T9" fmla="*/ 93 h 223"/>
                  <a:gd name="T10" fmla="*/ 51 w 114"/>
                  <a:gd name="T11" fmla="*/ 0 h 223"/>
                </a:gdLst>
                <a:ahLst/>
                <a:cxnLst>
                  <a:cxn ang="0">
                    <a:pos x="T0" y="T1"/>
                  </a:cxn>
                  <a:cxn ang="0">
                    <a:pos x="T2" y="T3"/>
                  </a:cxn>
                  <a:cxn ang="0">
                    <a:pos x="T4" y="T5"/>
                  </a:cxn>
                  <a:cxn ang="0">
                    <a:pos x="T6" y="T7"/>
                  </a:cxn>
                  <a:cxn ang="0">
                    <a:pos x="T8" y="T9"/>
                  </a:cxn>
                  <a:cxn ang="0">
                    <a:pos x="T10" y="T11"/>
                  </a:cxn>
                </a:cxnLst>
                <a:rect l="0" t="0" r="r" b="b"/>
                <a:pathLst>
                  <a:path w="114" h="223">
                    <a:moveTo>
                      <a:pt x="51" y="0"/>
                    </a:moveTo>
                    <a:cubicBezTo>
                      <a:pt x="48" y="4"/>
                      <a:pt x="46" y="8"/>
                      <a:pt x="43" y="12"/>
                    </a:cubicBezTo>
                    <a:cubicBezTo>
                      <a:pt x="8" y="68"/>
                      <a:pt x="1" y="124"/>
                      <a:pt x="0" y="138"/>
                    </a:cubicBezTo>
                    <a:cubicBezTo>
                      <a:pt x="26" y="178"/>
                      <a:pt x="66" y="209"/>
                      <a:pt x="113" y="222"/>
                    </a:cubicBezTo>
                    <a:cubicBezTo>
                      <a:pt x="95" y="184"/>
                      <a:pt x="84" y="117"/>
                      <a:pt x="80" y="93"/>
                    </a:cubicBezTo>
                    <a:cubicBezTo>
                      <a:pt x="74" y="52"/>
                      <a:pt x="64" y="21"/>
                      <a:pt x="51" y="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41" name="Freeform 34"/>
              <p:cNvSpPr>
                <a:spLocks noChangeArrowheads="1"/>
              </p:cNvSpPr>
              <p:nvPr/>
            </p:nvSpPr>
            <p:spPr bwMode="auto">
              <a:xfrm>
                <a:off x="2296864" y="4786362"/>
                <a:ext cx="79375" cy="96838"/>
              </a:xfrm>
              <a:custGeom>
                <a:avLst/>
                <a:gdLst>
                  <a:gd name="T0" fmla="*/ 0 w 221"/>
                  <a:gd name="T1" fmla="*/ 20 h 268"/>
                  <a:gd name="T2" fmla="*/ 37 w 221"/>
                  <a:gd name="T3" fmla="*/ 127 h 268"/>
                  <a:gd name="T4" fmla="*/ 78 w 221"/>
                  <a:gd name="T5" fmla="*/ 266 h 268"/>
                  <a:gd name="T6" fmla="*/ 102 w 221"/>
                  <a:gd name="T7" fmla="*/ 267 h 268"/>
                  <a:gd name="T8" fmla="*/ 220 w 221"/>
                  <a:gd name="T9" fmla="*/ 228 h 268"/>
                  <a:gd name="T10" fmla="*/ 19 w 221"/>
                  <a:gd name="T11" fmla="*/ 0 h 268"/>
                  <a:gd name="T12" fmla="*/ 0 w 221"/>
                  <a:gd name="T13" fmla="*/ 20 h 268"/>
                </a:gdLst>
                <a:ahLst/>
                <a:cxnLst>
                  <a:cxn ang="0">
                    <a:pos x="T0" y="T1"/>
                  </a:cxn>
                  <a:cxn ang="0">
                    <a:pos x="T2" y="T3"/>
                  </a:cxn>
                  <a:cxn ang="0">
                    <a:pos x="T4" y="T5"/>
                  </a:cxn>
                  <a:cxn ang="0">
                    <a:pos x="T6" y="T7"/>
                  </a:cxn>
                  <a:cxn ang="0">
                    <a:pos x="T8" y="T9"/>
                  </a:cxn>
                  <a:cxn ang="0">
                    <a:pos x="T10" y="T11"/>
                  </a:cxn>
                  <a:cxn ang="0">
                    <a:pos x="T12" y="T13"/>
                  </a:cxn>
                </a:cxnLst>
                <a:rect l="0" t="0" r="r" b="b"/>
                <a:pathLst>
                  <a:path w="221" h="268">
                    <a:moveTo>
                      <a:pt x="0" y="20"/>
                    </a:moveTo>
                    <a:cubicBezTo>
                      <a:pt x="17" y="44"/>
                      <a:pt x="29" y="79"/>
                      <a:pt x="37" y="127"/>
                    </a:cubicBezTo>
                    <a:cubicBezTo>
                      <a:pt x="45" y="187"/>
                      <a:pt x="63" y="255"/>
                      <a:pt x="78" y="266"/>
                    </a:cubicBezTo>
                    <a:cubicBezTo>
                      <a:pt x="86" y="267"/>
                      <a:pt x="94" y="267"/>
                      <a:pt x="102" y="267"/>
                    </a:cubicBezTo>
                    <a:cubicBezTo>
                      <a:pt x="146" y="267"/>
                      <a:pt x="187" y="253"/>
                      <a:pt x="220" y="228"/>
                    </a:cubicBezTo>
                    <a:lnTo>
                      <a:pt x="19" y="0"/>
                    </a:lnTo>
                    <a:cubicBezTo>
                      <a:pt x="13" y="6"/>
                      <a:pt x="6" y="13"/>
                      <a:pt x="0" y="2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42" name="Freeform 35"/>
              <p:cNvSpPr>
                <a:spLocks noChangeArrowheads="1"/>
              </p:cNvSpPr>
              <p:nvPr/>
            </p:nvSpPr>
            <p:spPr bwMode="auto">
              <a:xfrm>
                <a:off x="2261939" y="4786362"/>
                <a:ext cx="25400" cy="50800"/>
              </a:xfrm>
              <a:custGeom>
                <a:avLst/>
                <a:gdLst>
                  <a:gd name="T0" fmla="*/ 70 w 71"/>
                  <a:gd name="T1" fmla="*/ 19 h 143"/>
                  <a:gd name="T2" fmla="*/ 55 w 71"/>
                  <a:gd name="T3" fmla="*/ 9 h 143"/>
                  <a:gd name="T4" fmla="*/ 7 w 71"/>
                  <a:gd name="T5" fmla="*/ 15 h 143"/>
                  <a:gd name="T6" fmla="*/ 0 w 71"/>
                  <a:gd name="T7" fmla="*/ 66 h 143"/>
                  <a:gd name="T8" fmla="*/ 16 w 71"/>
                  <a:gd name="T9" fmla="*/ 142 h 143"/>
                  <a:gd name="T10" fmla="*/ 58 w 71"/>
                  <a:gd name="T11" fmla="*/ 37 h 143"/>
                  <a:gd name="T12" fmla="*/ 70 w 71"/>
                  <a:gd name="T13" fmla="*/ 19 h 143"/>
                </a:gdLst>
                <a:ahLst/>
                <a:cxnLst>
                  <a:cxn ang="0">
                    <a:pos x="T0" y="T1"/>
                  </a:cxn>
                  <a:cxn ang="0">
                    <a:pos x="T2" y="T3"/>
                  </a:cxn>
                  <a:cxn ang="0">
                    <a:pos x="T4" y="T5"/>
                  </a:cxn>
                  <a:cxn ang="0">
                    <a:pos x="T6" y="T7"/>
                  </a:cxn>
                  <a:cxn ang="0">
                    <a:pos x="T8" y="T9"/>
                  </a:cxn>
                  <a:cxn ang="0">
                    <a:pos x="T10" y="T11"/>
                  </a:cxn>
                  <a:cxn ang="0">
                    <a:pos x="T12" y="T13"/>
                  </a:cxn>
                </a:cxnLst>
                <a:rect l="0" t="0" r="r" b="b"/>
                <a:pathLst>
                  <a:path w="71" h="143">
                    <a:moveTo>
                      <a:pt x="70" y="19"/>
                    </a:moveTo>
                    <a:cubicBezTo>
                      <a:pt x="66" y="14"/>
                      <a:pt x="61" y="11"/>
                      <a:pt x="55" y="9"/>
                    </a:cubicBezTo>
                    <a:cubicBezTo>
                      <a:pt x="35" y="0"/>
                      <a:pt x="14" y="11"/>
                      <a:pt x="7" y="15"/>
                    </a:cubicBezTo>
                    <a:cubicBezTo>
                      <a:pt x="3" y="31"/>
                      <a:pt x="0" y="48"/>
                      <a:pt x="0" y="66"/>
                    </a:cubicBezTo>
                    <a:cubicBezTo>
                      <a:pt x="0" y="93"/>
                      <a:pt x="6" y="119"/>
                      <a:pt x="16" y="142"/>
                    </a:cubicBezTo>
                    <a:cubicBezTo>
                      <a:pt x="21" y="116"/>
                      <a:pt x="33" y="76"/>
                      <a:pt x="58" y="37"/>
                    </a:cubicBezTo>
                    <a:cubicBezTo>
                      <a:pt x="61" y="31"/>
                      <a:pt x="66" y="25"/>
                      <a:pt x="70" y="19"/>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43" name="Freeform 36"/>
              <p:cNvSpPr>
                <a:spLocks noChangeArrowheads="1"/>
              </p:cNvSpPr>
              <p:nvPr/>
            </p:nvSpPr>
            <p:spPr bwMode="auto">
              <a:xfrm>
                <a:off x="2309564" y="4773662"/>
                <a:ext cx="95250" cy="88900"/>
              </a:xfrm>
              <a:custGeom>
                <a:avLst/>
                <a:gdLst>
                  <a:gd name="T0" fmla="*/ 135 w 266"/>
                  <a:gd name="T1" fmla="*/ 40 h 249"/>
                  <a:gd name="T2" fmla="*/ 26 w 266"/>
                  <a:gd name="T3" fmla="*/ 0 h 249"/>
                  <a:gd name="T4" fmla="*/ 0 w 266"/>
                  <a:gd name="T5" fmla="*/ 18 h 249"/>
                  <a:gd name="T6" fmla="*/ 201 w 266"/>
                  <a:gd name="T7" fmla="*/ 248 h 249"/>
                  <a:gd name="T8" fmla="*/ 265 w 266"/>
                  <a:gd name="T9" fmla="*/ 117 h 249"/>
                  <a:gd name="T10" fmla="*/ 135 w 266"/>
                  <a:gd name="T11" fmla="*/ 40 h 249"/>
                </a:gdLst>
                <a:ahLst/>
                <a:cxnLst>
                  <a:cxn ang="0">
                    <a:pos x="T0" y="T1"/>
                  </a:cxn>
                  <a:cxn ang="0">
                    <a:pos x="T2" y="T3"/>
                  </a:cxn>
                  <a:cxn ang="0">
                    <a:pos x="T4" y="T5"/>
                  </a:cxn>
                  <a:cxn ang="0">
                    <a:pos x="T6" y="T7"/>
                  </a:cxn>
                  <a:cxn ang="0">
                    <a:pos x="T8" y="T9"/>
                  </a:cxn>
                  <a:cxn ang="0">
                    <a:pos x="T10" y="T11"/>
                  </a:cxn>
                </a:cxnLst>
                <a:rect l="0" t="0" r="r" b="b"/>
                <a:pathLst>
                  <a:path w="266" h="249">
                    <a:moveTo>
                      <a:pt x="135" y="40"/>
                    </a:moveTo>
                    <a:cubicBezTo>
                      <a:pt x="84" y="35"/>
                      <a:pt x="48" y="22"/>
                      <a:pt x="26" y="0"/>
                    </a:cubicBezTo>
                    <a:cubicBezTo>
                      <a:pt x="17" y="6"/>
                      <a:pt x="8" y="12"/>
                      <a:pt x="0" y="18"/>
                    </a:cubicBezTo>
                    <a:lnTo>
                      <a:pt x="201" y="248"/>
                    </a:lnTo>
                    <a:cubicBezTo>
                      <a:pt x="237" y="215"/>
                      <a:pt x="261" y="169"/>
                      <a:pt x="265" y="117"/>
                    </a:cubicBezTo>
                    <a:cubicBezTo>
                      <a:pt x="255" y="80"/>
                      <a:pt x="168" y="49"/>
                      <a:pt x="135" y="4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44" name="Freeform 37"/>
              <p:cNvSpPr>
                <a:spLocks noChangeArrowheads="1"/>
              </p:cNvSpPr>
              <p:nvPr/>
            </p:nvSpPr>
            <p:spPr bwMode="auto">
              <a:xfrm>
                <a:off x="2287339" y="4741912"/>
                <a:ext cx="26988" cy="34925"/>
              </a:xfrm>
              <a:custGeom>
                <a:avLst/>
                <a:gdLst>
                  <a:gd name="T0" fmla="*/ 76 w 77"/>
                  <a:gd name="T1" fmla="*/ 74 h 95"/>
                  <a:gd name="T2" fmla="*/ 74 w 77"/>
                  <a:gd name="T3" fmla="*/ 72 h 95"/>
                  <a:gd name="T4" fmla="*/ 73 w 77"/>
                  <a:gd name="T5" fmla="*/ 0 h 95"/>
                  <a:gd name="T6" fmla="*/ 0 w 77"/>
                  <a:gd name="T7" fmla="*/ 39 h 95"/>
                  <a:gd name="T8" fmla="*/ 48 w 77"/>
                  <a:gd name="T9" fmla="*/ 94 h 95"/>
                  <a:gd name="T10" fmla="*/ 76 w 77"/>
                  <a:gd name="T11" fmla="*/ 74 h 95"/>
                </a:gdLst>
                <a:ahLst/>
                <a:cxnLst>
                  <a:cxn ang="0">
                    <a:pos x="T0" y="T1"/>
                  </a:cxn>
                  <a:cxn ang="0">
                    <a:pos x="T2" y="T3"/>
                  </a:cxn>
                  <a:cxn ang="0">
                    <a:pos x="T4" y="T5"/>
                  </a:cxn>
                  <a:cxn ang="0">
                    <a:pos x="T6" y="T7"/>
                  </a:cxn>
                  <a:cxn ang="0">
                    <a:pos x="T8" y="T9"/>
                  </a:cxn>
                  <a:cxn ang="0">
                    <a:pos x="T10" y="T11"/>
                  </a:cxn>
                </a:cxnLst>
                <a:rect l="0" t="0" r="r" b="b"/>
                <a:pathLst>
                  <a:path w="77" h="95">
                    <a:moveTo>
                      <a:pt x="76" y="74"/>
                    </a:moveTo>
                    <a:cubicBezTo>
                      <a:pt x="75" y="73"/>
                      <a:pt x="75" y="73"/>
                      <a:pt x="74" y="72"/>
                    </a:cubicBezTo>
                    <a:cubicBezTo>
                      <a:pt x="61" y="46"/>
                      <a:pt x="67" y="18"/>
                      <a:pt x="73" y="0"/>
                    </a:cubicBezTo>
                    <a:cubicBezTo>
                      <a:pt x="46" y="8"/>
                      <a:pt x="21" y="21"/>
                      <a:pt x="0" y="39"/>
                    </a:cubicBezTo>
                    <a:lnTo>
                      <a:pt x="48" y="94"/>
                    </a:lnTo>
                    <a:cubicBezTo>
                      <a:pt x="56" y="87"/>
                      <a:pt x="66" y="80"/>
                      <a:pt x="76" y="74"/>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45" name="Freeform 38"/>
              <p:cNvSpPr>
                <a:spLocks noChangeArrowheads="1"/>
              </p:cNvSpPr>
              <p:nvPr/>
            </p:nvSpPr>
            <p:spPr bwMode="auto">
              <a:xfrm>
                <a:off x="2266702" y="4760962"/>
                <a:ext cx="31750" cy="26988"/>
              </a:xfrm>
              <a:custGeom>
                <a:avLst/>
                <a:gdLst>
                  <a:gd name="T0" fmla="*/ 48 w 88"/>
                  <a:gd name="T1" fmla="*/ 61 h 75"/>
                  <a:gd name="T2" fmla="*/ 68 w 88"/>
                  <a:gd name="T3" fmla="*/ 74 h 75"/>
                  <a:gd name="T4" fmla="*/ 87 w 88"/>
                  <a:gd name="T5" fmla="*/ 54 h 75"/>
                  <a:gd name="T6" fmla="*/ 40 w 88"/>
                  <a:gd name="T7" fmla="*/ 0 h 75"/>
                  <a:gd name="T8" fmla="*/ 0 w 88"/>
                  <a:gd name="T9" fmla="*/ 60 h 75"/>
                  <a:gd name="T10" fmla="*/ 48 w 88"/>
                  <a:gd name="T11" fmla="*/ 61 h 75"/>
                </a:gdLst>
                <a:ahLst/>
                <a:cxnLst>
                  <a:cxn ang="0">
                    <a:pos x="T0" y="T1"/>
                  </a:cxn>
                  <a:cxn ang="0">
                    <a:pos x="T2" y="T3"/>
                  </a:cxn>
                  <a:cxn ang="0">
                    <a:pos x="T4" y="T5"/>
                  </a:cxn>
                  <a:cxn ang="0">
                    <a:pos x="T6" y="T7"/>
                  </a:cxn>
                  <a:cxn ang="0">
                    <a:pos x="T8" y="T9"/>
                  </a:cxn>
                  <a:cxn ang="0">
                    <a:pos x="T10" y="T11"/>
                  </a:cxn>
                </a:cxnLst>
                <a:rect l="0" t="0" r="r" b="b"/>
                <a:pathLst>
                  <a:path w="88" h="75">
                    <a:moveTo>
                      <a:pt x="48" y="61"/>
                    </a:moveTo>
                    <a:cubicBezTo>
                      <a:pt x="55" y="64"/>
                      <a:pt x="61" y="68"/>
                      <a:pt x="68" y="74"/>
                    </a:cubicBezTo>
                    <a:cubicBezTo>
                      <a:pt x="74" y="67"/>
                      <a:pt x="80" y="60"/>
                      <a:pt x="87" y="54"/>
                    </a:cubicBezTo>
                    <a:lnTo>
                      <a:pt x="40" y="0"/>
                    </a:lnTo>
                    <a:cubicBezTo>
                      <a:pt x="23" y="17"/>
                      <a:pt x="10" y="37"/>
                      <a:pt x="0" y="60"/>
                    </a:cubicBezTo>
                    <a:cubicBezTo>
                      <a:pt x="13" y="56"/>
                      <a:pt x="30" y="54"/>
                      <a:pt x="48" y="61"/>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46" name="Freeform 39"/>
              <p:cNvSpPr>
                <a:spLocks noChangeArrowheads="1"/>
              </p:cNvSpPr>
              <p:nvPr/>
            </p:nvSpPr>
            <p:spPr bwMode="auto">
              <a:xfrm>
                <a:off x="2315914" y="4738737"/>
                <a:ext cx="58738" cy="26988"/>
              </a:xfrm>
              <a:custGeom>
                <a:avLst/>
                <a:gdLst>
                  <a:gd name="T0" fmla="*/ 14 w 163"/>
                  <a:gd name="T1" fmla="*/ 70 h 73"/>
                  <a:gd name="T2" fmla="*/ 14 w 163"/>
                  <a:gd name="T3" fmla="*/ 72 h 73"/>
                  <a:gd name="T4" fmla="*/ 162 w 163"/>
                  <a:gd name="T5" fmla="*/ 36 h 73"/>
                  <a:gd name="T6" fmla="*/ 48 w 163"/>
                  <a:gd name="T7" fmla="*/ 0 h 73"/>
                  <a:gd name="T8" fmla="*/ 19 w 163"/>
                  <a:gd name="T9" fmla="*/ 2 h 73"/>
                  <a:gd name="T10" fmla="*/ 14 w 163"/>
                  <a:gd name="T11" fmla="*/ 70 h 73"/>
                </a:gdLst>
                <a:ahLst/>
                <a:cxnLst>
                  <a:cxn ang="0">
                    <a:pos x="T0" y="T1"/>
                  </a:cxn>
                  <a:cxn ang="0">
                    <a:pos x="T2" y="T3"/>
                  </a:cxn>
                  <a:cxn ang="0">
                    <a:pos x="T4" y="T5"/>
                  </a:cxn>
                  <a:cxn ang="0">
                    <a:pos x="T6" y="T7"/>
                  </a:cxn>
                  <a:cxn ang="0">
                    <a:pos x="T8" y="T9"/>
                  </a:cxn>
                  <a:cxn ang="0">
                    <a:pos x="T10" y="T11"/>
                  </a:cxn>
                </a:cxnLst>
                <a:rect l="0" t="0" r="r" b="b"/>
                <a:pathLst>
                  <a:path w="163" h="73">
                    <a:moveTo>
                      <a:pt x="14" y="70"/>
                    </a:moveTo>
                    <a:cubicBezTo>
                      <a:pt x="14" y="71"/>
                      <a:pt x="14" y="71"/>
                      <a:pt x="14" y="72"/>
                    </a:cubicBezTo>
                    <a:cubicBezTo>
                      <a:pt x="53" y="52"/>
                      <a:pt x="101" y="38"/>
                      <a:pt x="162" y="36"/>
                    </a:cubicBezTo>
                    <a:cubicBezTo>
                      <a:pt x="130" y="13"/>
                      <a:pt x="90" y="0"/>
                      <a:pt x="48" y="0"/>
                    </a:cubicBezTo>
                    <a:cubicBezTo>
                      <a:pt x="38" y="0"/>
                      <a:pt x="28" y="1"/>
                      <a:pt x="19" y="2"/>
                    </a:cubicBezTo>
                    <a:cubicBezTo>
                      <a:pt x="13" y="13"/>
                      <a:pt x="0" y="44"/>
                      <a:pt x="14" y="7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47" name="Freeform 40"/>
              <p:cNvSpPr>
                <a:spLocks noChangeArrowheads="1"/>
              </p:cNvSpPr>
              <p:nvPr/>
            </p:nvSpPr>
            <p:spPr bwMode="auto">
              <a:xfrm>
                <a:off x="2327027" y="4759375"/>
                <a:ext cx="79375" cy="44450"/>
              </a:xfrm>
              <a:custGeom>
                <a:avLst/>
                <a:gdLst>
                  <a:gd name="T0" fmla="*/ 92 w 220"/>
                  <a:gd name="T1" fmla="*/ 62 h 124"/>
                  <a:gd name="T2" fmla="*/ 94 w 220"/>
                  <a:gd name="T3" fmla="*/ 62 h 124"/>
                  <a:gd name="T4" fmla="*/ 219 w 220"/>
                  <a:gd name="T5" fmla="*/ 123 h 124"/>
                  <a:gd name="T6" fmla="*/ 159 w 220"/>
                  <a:gd name="T7" fmla="*/ 1 h 124"/>
                  <a:gd name="T8" fmla="*/ 0 w 220"/>
                  <a:gd name="T9" fmla="*/ 32 h 124"/>
                  <a:gd name="T10" fmla="*/ 92 w 220"/>
                  <a:gd name="T11" fmla="*/ 62 h 124"/>
                </a:gdLst>
                <a:ahLst/>
                <a:cxnLst>
                  <a:cxn ang="0">
                    <a:pos x="T0" y="T1"/>
                  </a:cxn>
                  <a:cxn ang="0">
                    <a:pos x="T2" y="T3"/>
                  </a:cxn>
                  <a:cxn ang="0">
                    <a:pos x="T4" y="T5"/>
                  </a:cxn>
                  <a:cxn ang="0">
                    <a:pos x="T6" y="T7"/>
                  </a:cxn>
                  <a:cxn ang="0">
                    <a:pos x="T8" y="T9"/>
                  </a:cxn>
                  <a:cxn ang="0">
                    <a:pos x="T10" y="T11"/>
                  </a:cxn>
                </a:cxnLst>
                <a:rect l="0" t="0" r="r" b="b"/>
                <a:pathLst>
                  <a:path w="220" h="124">
                    <a:moveTo>
                      <a:pt x="92" y="62"/>
                    </a:moveTo>
                    <a:lnTo>
                      <a:pt x="94" y="62"/>
                    </a:lnTo>
                    <a:cubicBezTo>
                      <a:pt x="105" y="65"/>
                      <a:pt x="180" y="86"/>
                      <a:pt x="219" y="123"/>
                    </a:cubicBezTo>
                    <a:cubicBezTo>
                      <a:pt x="214" y="75"/>
                      <a:pt x="192" y="32"/>
                      <a:pt x="159" y="1"/>
                    </a:cubicBezTo>
                    <a:cubicBezTo>
                      <a:pt x="98" y="0"/>
                      <a:pt x="45" y="11"/>
                      <a:pt x="0" y="32"/>
                    </a:cubicBezTo>
                    <a:cubicBezTo>
                      <a:pt x="19" y="48"/>
                      <a:pt x="49" y="58"/>
                      <a:pt x="92" y="62"/>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grpSp>
        <p:nvGrpSpPr>
          <p:cNvPr id="148" name="Group 3074"/>
          <p:cNvGrpSpPr/>
          <p:nvPr/>
        </p:nvGrpSpPr>
        <p:grpSpPr>
          <a:xfrm>
            <a:off x="3749957" y="4354456"/>
            <a:ext cx="744537" cy="215900"/>
            <a:chOff x="2225427" y="4437112"/>
            <a:chExt cx="744537" cy="215900"/>
          </a:xfrm>
        </p:grpSpPr>
        <p:sp>
          <p:nvSpPr>
            <p:cNvPr id="149" name="Freeform 41"/>
            <p:cNvSpPr>
              <a:spLocks noChangeArrowheads="1"/>
            </p:cNvSpPr>
            <p:nvPr/>
          </p:nvSpPr>
          <p:spPr bwMode="auto">
            <a:xfrm>
              <a:off x="2225427" y="4437112"/>
              <a:ext cx="744537" cy="215900"/>
            </a:xfrm>
            <a:custGeom>
              <a:avLst/>
              <a:gdLst>
                <a:gd name="T0" fmla="*/ 1766 w 2066"/>
                <a:gd name="T1" fmla="*/ 0 h 600"/>
                <a:gd name="T2" fmla="*/ 300 w 2066"/>
                <a:gd name="T3" fmla="*/ 0 h 600"/>
                <a:gd name="T4" fmla="*/ 300 w 2066"/>
                <a:gd name="T5" fmla="*/ 0 h 600"/>
                <a:gd name="T6" fmla="*/ 0 w 2066"/>
                <a:gd name="T7" fmla="*/ 300 h 600"/>
                <a:gd name="T8" fmla="*/ 300 w 2066"/>
                <a:gd name="T9" fmla="*/ 599 h 600"/>
                <a:gd name="T10" fmla="*/ 300 w 2066"/>
                <a:gd name="T11" fmla="*/ 599 h 600"/>
                <a:gd name="T12" fmla="*/ 1766 w 2066"/>
                <a:gd name="T13" fmla="*/ 599 h 600"/>
                <a:gd name="T14" fmla="*/ 2065 w 2066"/>
                <a:gd name="T15" fmla="*/ 300 h 600"/>
                <a:gd name="T16" fmla="*/ 1766 w 2066"/>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6" h="600">
                  <a:moveTo>
                    <a:pt x="1766" y="0"/>
                  </a:moveTo>
                  <a:lnTo>
                    <a:pt x="300" y="0"/>
                  </a:lnTo>
                  <a:lnTo>
                    <a:pt x="300" y="0"/>
                  </a:lnTo>
                  <a:cubicBezTo>
                    <a:pt x="134" y="0"/>
                    <a:pt x="0" y="134"/>
                    <a:pt x="0" y="300"/>
                  </a:cubicBezTo>
                  <a:cubicBezTo>
                    <a:pt x="0" y="465"/>
                    <a:pt x="134" y="599"/>
                    <a:pt x="300" y="599"/>
                  </a:cubicBezTo>
                  <a:lnTo>
                    <a:pt x="300" y="599"/>
                  </a:lnTo>
                  <a:lnTo>
                    <a:pt x="1766" y="599"/>
                  </a:lnTo>
                  <a:cubicBezTo>
                    <a:pt x="1931" y="599"/>
                    <a:pt x="2065" y="465"/>
                    <a:pt x="2065" y="300"/>
                  </a:cubicBezTo>
                  <a:cubicBezTo>
                    <a:pt x="2065" y="134"/>
                    <a:pt x="1931" y="0"/>
                    <a:pt x="1766"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50" name="Text Box 42"/>
            <p:cNvSpPr txBox="1">
              <a:spLocks noChangeArrowheads="1"/>
            </p:cNvSpPr>
            <p:nvPr/>
          </p:nvSpPr>
          <p:spPr bwMode="auto">
            <a:xfrm>
              <a:off x="2454027" y="4437113"/>
              <a:ext cx="447675" cy="2158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Household</a:t>
              </a:r>
            </a:p>
            <a:p>
              <a:pPr algn="ctr">
                <a:lnSpc>
                  <a:spcPts val="700"/>
                </a:lnSpc>
              </a:pPr>
              <a:r>
                <a:rPr lang="en-US" sz="700" dirty="0">
                  <a:solidFill>
                    <a:srgbClr val="BE1839"/>
                  </a:solidFill>
                  <a:latin typeface="Arial"/>
                  <a:ea typeface="'ArialMT'" pitchFamily="32" charset="0"/>
                  <a:cs typeface="Arial"/>
                </a:rPr>
                <a:t>Liquid</a:t>
              </a:r>
            </a:p>
          </p:txBody>
        </p:sp>
        <p:grpSp>
          <p:nvGrpSpPr>
            <p:cNvPr id="151" name="Group 156"/>
            <p:cNvGrpSpPr/>
            <p:nvPr/>
          </p:nvGrpSpPr>
          <p:grpSpPr>
            <a:xfrm>
              <a:off x="2307977" y="4462512"/>
              <a:ext cx="120650" cy="163513"/>
              <a:chOff x="2307977" y="4462512"/>
              <a:chExt cx="120650" cy="163513"/>
            </a:xfrm>
          </p:grpSpPr>
          <p:sp>
            <p:nvSpPr>
              <p:cNvPr id="152" name="Freeform 44"/>
              <p:cNvSpPr>
                <a:spLocks noChangeArrowheads="1"/>
              </p:cNvSpPr>
              <p:nvPr/>
            </p:nvSpPr>
            <p:spPr bwMode="auto">
              <a:xfrm>
                <a:off x="2352427" y="4462512"/>
                <a:ext cx="76200" cy="161925"/>
              </a:xfrm>
              <a:custGeom>
                <a:avLst/>
                <a:gdLst>
                  <a:gd name="T0" fmla="*/ 134 w 213"/>
                  <a:gd name="T1" fmla="*/ 100 h 450"/>
                  <a:gd name="T2" fmla="*/ 142 w 213"/>
                  <a:gd name="T3" fmla="*/ 92 h 450"/>
                  <a:gd name="T4" fmla="*/ 132 w 213"/>
                  <a:gd name="T5" fmla="*/ 82 h 450"/>
                  <a:gd name="T6" fmla="*/ 127 w 213"/>
                  <a:gd name="T7" fmla="*/ 82 h 450"/>
                  <a:gd name="T8" fmla="*/ 127 w 213"/>
                  <a:gd name="T9" fmla="*/ 71 h 450"/>
                  <a:gd name="T10" fmla="*/ 130 w 213"/>
                  <a:gd name="T11" fmla="*/ 71 h 450"/>
                  <a:gd name="T12" fmla="*/ 130 w 213"/>
                  <a:gd name="T13" fmla="*/ 68 h 450"/>
                  <a:gd name="T14" fmla="*/ 150 w 213"/>
                  <a:gd name="T15" fmla="*/ 57 h 450"/>
                  <a:gd name="T16" fmla="*/ 158 w 213"/>
                  <a:gd name="T17" fmla="*/ 41 h 450"/>
                  <a:gd name="T18" fmla="*/ 138 w 213"/>
                  <a:gd name="T19" fmla="*/ 8 h 450"/>
                  <a:gd name="T20" fmla="*/ 119 w 213"/>
                  <a:gd name="T21" fmla="*/ 0 h 450"/>
                  <a:gd name="T22" fmla="*/ 23 w 213"/>
                  <a:gd name="T23" fmla="*/ 0 h 450"/>
                  <a:gd name="T24" fmla="*/ 22 w 213"/>
                  <a:gd name="T25" fmla="*/ 1 h 450"/>
                  <a:gd name="T26" fmla="*/ 21 w 213"/>
                  <a:gd name="T27" fmla="*/ 0 h 450"/>
                  <a:gd name="T28" fmla="*/ 3 w 213"/>
                  <a:gd name="T29" fmla="*/ 0 h 450"/>
                  <a:gd name="T30" fmla="*/ 0 w 213"/>
                  <a:gd name="T31" fmla="*/ 3 h 450"/>
                  <a:gd name="T32" fmla="*/ 0 w 213"/>
                  <a:gd name="T33" fmla="*/ 22 h 450"/>
                  <a:gd name="T34" fmla="*/ 3 w 213"/>
                  <a:gd name="T35" fmla="*/ 25 h 450"/>
                  <a:gd name="T36" fmla="*/ 18 w 213"/>
                  <a:gd name="T37" fmla="*/ 25 h 450"/>
                  <a:gd name="T38" fmla="*/ 23 w 213"/>
                  <a:gd name="T39" fmla="*/ 28 h 450"/>
                  <a:gd name="T40" fmla="*/ 31 w 213"/>
                  <a:gd name="T41" fmla="*/ 32 h 450"/>
                  <a:gd name="T42" fmla="*/ 15 w 213"/>
                  <a:gd name="T43" fmla="*/ 108 h 450"/>
                  <a:gd name="T44" fmla="*/ 15 w 213"/>
                  <a:gd name="T45" fmla="*/ 115 h 450"/>
                  <a:gd name="T46" fmla="*/ 23 w 213"/>
                  <a:gd name="T47" fmla="*/ 112 h 450"/>
                  <a:gd name="T48" fmla="*/ 49 w 213"/>
                  <a:gd name="T49" fmla="*/ 61 h 450"/>
                  <a:gd name="T50" fmla="*/ 70 w 213"/>
                  <a:gd name="T51" fmla="*/ 49 h 450"/>
                  <a:gd name="T52" fmla="*/ 70 w 213"/>
                  <a:gd name="T53" fmla="*/ 50 h 450"/>
                  <a:gd name="T54" fmla="*/ 80 w 213"/>
                  <a:gd name="T55" fmla="*/ 64 h 450"/>
                  <a:gd name="T56" fmla="*/ 77 w 213"/>
                  <a:gd name="T57" fmla="*/ 64 h 450"/>
                  <a:gd name="T58" fmla="*/ 77 w 213"/>
                  <a:gd name="T59" fmla="*/ 72 h 450"/>
                  <a:gd name="T60" fmla="*/ 81 w 213"/>
                  <a:gd name="T61" fmla="*/ 72 h 450"/>
                  <a:gd name="T62" fmla="*/ 81 w 213"/>
                  <a:gd name="T63" fmla="*/ 82 h 450"/>
                  <a:gd name="T64" fmla="*/ 76 w 213"/>
                  <a:gd name="T65" fmla="*/ 82 h 450"/>
                  <a:gd name="T66" fmla="*/ 67 w 213"/>
                  <a:gd name="T67" fmla="*/ 92 h 450"/>
                  <a:gd name="T68" fmla="*/ 72 w 213"/>
                  <a:gd name="T69" fmla="*/ 100 h 450"/>
                  <a:gd name="T70" fmla="*/ 73 w 213"/>
                  <a:gd name="T71" fmla="*/ 225 h 450"/>
                  <a:gd name="T72" fmla="*/ 18 w 213"/>
                  <a:gd name="T73" fmla="*/ 420 h 450"/>
                  <a:gd name="T74" fmla="*/ 41 w 213"/>
                  <a:gd name="T75" fmla="*/ 449 h 450"/>
                  <a:gd name="T76" fmla="*/ 171 w 213"/>
                  <a:gd name="T77" fmla="*/ 449 h 450"/>
                  <a:gd name="T78" fmla="*/ 196 w 213"/>
                  <a:gd name="T79" fmla="*/ 421 h 450"/>
                  <a:gd name="T80" fmla="*/ 134 w 213"/>
                  <a:gd name="T81" fmla="*/ 10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3" h="450">
                    <a:moveTo>
                      <a:pt x="134" y="100"/>
                    </a:moveTo>
                    <a:cubicBezTo>
                      <a:pt x="138" y="99"/>
                      <a:pt x="142" y="96"/>
                      <a:pt x="142" y="92"/>
                    </a:cubicBezTo>
                    <a:cubicBezTo>
                      <a:pt x="142" y="86"/>
                      <a:pt x="137" y="82"/>
                      <a:pt x="132" y="82"/>
                    </a:cubicBezTo>
                    <a:lnTo>
                      <a:pt x="127" y="82"/>
                    </a:lnTo>
                    <a:lnTo>
                      <a:pt x="127" y="71"/>
                    </a:lnTo>
                    <a:lnTo>
                      <a:pt x="130" y="71"/>
                    </a:lnTo>
                    <a:lnTo>
                      <a:pt x="130" y="68"/>
                    </a:lnTo>
                    <a:cubicBezTo>
                      <a:pt x="130" y="68"/>
                      <a:pt x="138" y="59"/>
                      <a:pt x="150" y="57"/>
                    </a:cubicBezTo>
                    <a:cubicBezTo>
                      <a:pt x="150" y="57"/>
                      <a:pt x="165" y="54"/>
                      <a:pt x="158" y="41"/>
                    </a:cubicBezTo>
                    <a:lnTo>
                      <a:pt x="138" y="8"/>
                    </a:lnTo>
                    <a:cubicBezTo>
                      <a:pt x="138" y="8"/>
                      <a:pt x="133" y="0"/>
                      <a:pt x="119" y="0"/>
                    </a:cubicBezTo>
                    <a:lnTo>
                      <a:pt x="23" y="0"/>
                    </a:lnTo>
                    <a:lnTo>
                      <a:pt x="22" y="1"/>
                    </a:lnTo>
                    <a:cubicBezTo>
                      <a:pt x="21" y="1"/>
                      <a:pt x="21" y="0"/>
                      <a:pt x="21" y="0"/>
                    </a:cubicBezTo>
                    <a:lnTo>
                      <a:pt x="3" y="0"/>
                    </a:lnTo>
                    <a:cubicBezTo>
                      <a:pt x="1" y="0"/>
                      <a:pt x="0" y="1"/>
                      <a:pt x="0" y="3"/>
                    </a:cubicBezTo>
                    <a:lnTo>
                      <a:pt x="0" y="22"/>
                    </a:lnTo>
                    <a:cubicBezTo>
                      <a:pt x="0" y="24"/>
                      <a:pt x="1" y="25"/>
                      <a:pt x="3" y="25"/>
                    </a:cubicBezTo>
                    <a:lnTo>
                      <a:pt x="18" y="25"/>
                    </a:lnTo>
                    <a:lnTo>
                      <a:pt x="23" y="28"/>
                    </a:lnTo>
                    <a:lnTo>
                      <a:pt x="31" y="32"/>
                    </a:lnTo>
                    <a:cubicBezTo>
                      <a:pt x="32" y="45"/>
                      <a:pt x="33" y="84"/>
                      <a:pt x="15" y="108"/>
                    </a:cubicBezTo>
                    <a:cubicBezTo>
                      <a:pt x="15" y="108"/>
                      <a:pt x="11" y="113"/>
                      <a:pt x="15" y="115"/>
                    </a:cubicBezTo>
                    <a:cubicBezTo>
                      <a:pt x="15" y="115"/>
                      <a:pt x="17" y="118"/>
                      <a:pt x="23" y="112"/>
                    </a:cubicBezTo>
                    <a:cubicBezTo>
                      <a:pt x="23" y="112"/>
                      <a:pt x="44" y="95"/>
                      <a:pt x="49" y="61"/>
                    </a:cubicBezTo>
                    <a:cubicBezTo>
                      <a:pt x="49" y="61"/>
                      <a:pt x="51" y="50"/>
                      <a:pt x="70" y="49"/>
                    </a:cubicBezTo>
                    <a:lnTo>
                      <a:pt x="70" y="50"/>
                    </a:lnTo>
                    <a:cubicBezTo>
                      <a:pt x="70" y="50"/>
                      <a:pt x="79" y="53"/>
                      <a:pt x="80" y="64"/>
                    </a:cubicBezTo>
                    <a:lnTo>
                      <a:pt x="77" y="64"/>
                    </a:lnTo>
                    <a:lnTo>
                      <a:pt x="77" y="72"/>
                    </a:lnTo>
                    <a:lnTo>
                      <a:pt x="81" y="72"/>
                    </a:lnTo>
                    <a:lnTo>
                      <a:pt x="81" y="82"/>
                    </a:lnTo>
                    <a:lnTo>
                      <a:pt x="76" y="82"/>
                    </a:lnTo>
                    <a:cubicBezTo>
                      <a:pt x="71" y="82"/>
                      <a:pt x="67" y="86"/>
                      <a:pt x="67" y="92"/>
                    </a:cubicBezTo>
                    <a:cubicBezTo>
                      <a:pt x="67" y="95"/>
                      <a:pt x="69" y="98"/>
                      <a:pt x="72" y="100"/>
                    </a:cubicBezTo>
                    <a:cubicBezTo>
                      <a:pt x="70" y="104"/>
                      <a:pt x="47" y="149"/>
                      <a:pt x="73" y="225"/>
                    </a:cubicBezTo>
                    <a:cubicBezTo>
                      <a:pt x="73" y="225"/>
                      <a:pt x="4" y="316"/>
                      <a:pt x="18" y="420"/>
                    </a:cubicBezTo>
                    <a:cubicBezTo>
                      <a:pt x="18" y="420"/>
                      <a:pt x="25" y="449"/>
                      <a:pt x="41" y="449"/>
                    </a:cubicBezTo>
                    <a:lnTo>
                      <a:pt x="171" y="449"/>
                    </a:lnTo>
                    <a:cubicBezTo>
                      <a:pt x="171" y="449"/>
                      <a:pt x="191" y="449"/>
                      <a:pt x="196" y="421"/>
                    </a:cubicBezTo>
                    <a:cubicBezTo>
                      <a:pt x="196" y="421"/>
                      <a:pt x="212" y="311"/>
                      <a:pt x="134" y="10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53" name="Freeform 45"/>
              <p:cNvSpPr>
                <a:spLocks noChangeArrowheads="1"/>
              </p:cNvSpPr>
              <p:nvPr/>
            </p:nvSpPr>
            <p:spPr bwMode="auto">
              <a:xfrm>
                <a:off x="2307977" y="4537125"/>
                <a:ext cx="39687" cy="88900"/>
              </a:xfrm>
              <a:custGeom>
                <a:avLst/>
                <a:gdLst>
                  <a:gd name="T0" fmla="*/ 89 w 111"/>
                  <a:gd name="T1" fmla="*/ 43 h 246"/>
                  <a:gd name="T2" fmla="*/ 74 w 111"/>
                  <a:gd name="T3" fmla="*/ 43 h 246"/>
                  <a:gd name="T4" fmla="*/ 74 w 111"/>
                  <a:gd name="T5" fmla="*/ 10 h 246"/>
                  <a:gd name="T6" fmla="*/ 64 w 111"/>
                  <a:gd name="T7" fmla="*/ 0 h 246"/>
                  <a:gd name="T8" fmla="*/ 46 w 111"/>
                  <a:gd name="T9" fmla="*/ 0 h 246"/>
                  <a:gd name="T10" fmla="*/ 36 w 111"/>
                  <a:gd name="T11" fmla="*/ 10 h 246"/>
                  <a:gd name="T12" fmla="*/ 36 w 111"/>
                  <a:gd name="T13" fmla="*/ 43 h 246"/>
                  <a:gd name="T14" fmla="*/ 21 w 111"/>
                  <a:gd name="T15" fmla="*/ 43 h 246"/>
                  <a:gd name="T16" fmla="*/ 0 w 111"/>
                  <a:gd name="T17" fmla="*/ 63 h 246"/>
                  <a:gd name="T18" fmla="*/ 0 w 111"/>
                  <a:gd name="T19" fmla="*/ 224 h 246"/>
                  <a:gd name="T20" fmla="*/ 21 w 111"/>
                  <a:gd name="T21" fmla="*/ 245 h 246"/>
                  <a:gd name="T22" fmla="*/ 89 w 111"/>
                  <a:gd name="T23" fmla="*/ 245 h 246"/>
                  <a:gd name="T24" fmla="*/ 110 w 111"/>
                  <a:gd name="T25" fmla="*/ 224 h 246"/>
                  <a:gd name="T26" fmla="*/ 110 w 111"/>
                  <a:gd name="T27" fmla="*/ 63 h 246"/>
                  <a:gd name="T28" fmla="*/ 89 w 111"/>
                  <a:gd name="T29" fmla="*/ 4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 h="246">
                    <a:moveTo>
                      <a:pt x="89" y="43"/>
                    </a:moveTo>
                    <a:lnTo>
                      <a:pt x="74" y="43"/>
                    </a:lnTo>
                    <a:lnTo>
                      <a:pt x="74" y="10"/>
                    </a:lnTo>
                    <a:cubicBezTo>
                      <a:pt x="74" y="4"/>
                      <a:pt x="70" y="0"/>
                      <a:pt x="64" y="0"/>
                    </a:cubicBezTo>
                    <a:lnTo>
                      <a:pt x="46" y="0"/>
                    </a:lnTo>
                    <a:cubicBezTo>
                      <a:pt x="40" y="0"/>
                      <a:pt x="36" y="4"/>
                      <a:pt x="36" y="10"/>
                    </a:cubicBezTo>
                    <a:lnTo>
                      <a:pt x="36" y="43"/>
                    </a:lnTo>
                    <a:lnTo>
                      <a:pt x="21" y="43"/>
                    </a:lnTo>
                    <a:cubicBezTo>
                      <a:pt x="9" y="43"/>
                      <a:pt x="0" y="52"/>
                      <a:pt x="0" y="63"/>
                    </a:cubicBezTo>
                    <a:lnTo>
                      <a:pt x="0" y="224"/>
                    </a:lnTo>
                    <a:cubicBezTo>
                      <a:pt x="0" y="236"/>
                      <a:pt x="9" y="245"/>
                      <a:pt x="21" y="245"/>
                    </a:cubicBezTo>
                    <a:lnTo>
                      <a:pt x="89" y="245"/>
                    </a:lnTo>
                    <a:cubicBezTo>
                      <a:pt x="101" y="245"/>
                      <a:pt x="110" y="236"/>
                      <a:pt x="110" y="224"/>
                    </a:cubicBezTo>
                    <a:lnTo>
                      <a:pt x="110" y="63"/>
                    </a:lnTo>
                    <a:cubicBezTo>
                      <a:pt x="110" y="52"/>
                      <a:pt x="101" y="43"/>
                      <a:pt x="89" y="43"/>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grpSp>
        <p:nvGrpSpPr>
          <p:cNvPr id="154" name="Group 3088"/>
          <p:cNvGrpSpPr/>
          <p:nvPr/>
        </p:nvGrpSpPr>
        <p:grpSpPr>
          <a:xfrm>
            <a:off x="2851150" y="5254702"/>
            <a:ext cx="654050" cy="220663"/>
            <a:chOff x="1327150" y="5234037"/>
            <a:chExt cx="654050" cy="220663"/>
          </a:xfrm>
        </p:grpSpPr>
        <p:sp>
          <p:nvSpPr>
            <p:cNvPr id="155" name="Freeform 46"/>
            <p:cNvSpPr>
              <a:spLocks noChangeArrowheads="1"/>
            </p:cNvSpPr>
            <p:nvPr/>
          </p:nvSpPr>
          <p:spPr bwMode="auto">
            <a:xfrm>
              <a:off x="1327150" y="5234037"/>
              <a:ext cx="654050" cy="215900"/>
            </a:xfrm>
            <a:custGeom>
              <a:avLst/>
              <a:gdLst>
                <a:gd name="T0" fmla="*/ 1519 w 1819"/>
                <a:gd name="T1" fmla="*/ 0 h 600"/>
                <a:gd name="T2" fmla="*/ 299 w 1819"/>
                <a:gd name="T3" fmla="*/ 0 h 600"/>
                <a:gd name="T4" fmla="*/ 299 w 1819"/>
                <a:gd name="T5" fmla="*/ 0 h 600"/>
                <a:gd name="T6" fmla="*/ 0 w 1819"/>
                <a:gd name="T7" fmla="*/ 299 h 600"/>
                <a:gd name="T8" fmla="*/ 299 w 1819"/>
                <a:gd name="T9" fmla="*/ 599 h 600"/>
                <a:gd name="T10" fmla="*/ 299 w 1819"/>
                <a:gd name="T11" fmla="*/ 599 h 600"/>
                <a:gd name="T12" fmla="*/ 1519 w 1819"/>
                <a:gd name="T13" fmla="*/ 599 h 600"/>
                <a:gd name="T14" fmla="*/ 1818 w 1819"/>
                <a:gd name="T15" fmla="*/ 299 h 600"/>
                <a:gd name="T16" fmla="*/ 1519 w 1819"/>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9" h="600">
                  <a:moveTo>
                    <a:pt x="1519" y="0"/>
                  </a:moveTo>
                  <a:lnTo>
                    <a:pt x="299" y="0"/>
                  </a:lnTo>
                  <a:lnTo>
                    <a:pt x="299" y="0"/>
                  </a:lnTo>
                  <a:cubicBezTo>
                    <a:pt x="134" y="0"/>
                    <a:pt x="0" y="134"/>
                    <a:pt x="0" y="299"/>
                  </a:cubicBezTo>
                  <a:cubicBezTo>
                    <a:pt x="0" y="464"/>
                    <a:pt x="134" y="599"/>
                    <a:pt x="299" y="599"/>
                  </a:cubicBezTo>
                  <a:lnTo>
                    <a:pt x="299" y="599"/>
                  </a:lnTo>
                  <a:lnTo>
                    <a:pt x="1519" y="599"/>
                  </a:lnTo>
                  <a:cubicBezTo>
                    <a:pt x="1684" y="599"/>
                    <a:pt x="1818" y="464"/>
                    <a:pt x="1818" y="299"/>
                  </a:cubicBezTo>
                  <a:cubicBezTo>
                    <a:pt x="1818" y="134"/>
                    <a:pt x="1684" y="0"/>
                    <a:pt x="1519"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56" name="Text Box 47"/>
            <p:cNvSpPr txBox="1">
              <a:spLocks noChangeArrowheads="1"/>
            </p:cNvSpPr>
            <p:nvPr/>
          </p:nvSpPr>
          <p:spPr bwMode="auto">
            <a:xfrm>
              <a:off x="1527173" y="5248326"/>
              <a:ext cx="405988" cy="2063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Nutrition &amp; Pharma</a:t>
              </a:r>
            </a:p>
          </p:txBody>
        </p:sp>
        <p:sp>
          <p:nvSpPr>
            <p:cNvPr id="157" name="Freeform 49"/>
            <p:cNvSpPr>
              <a:spLocks noChangeArrowheads="1"/>
            </p:cNvSpPr>
            <p:nvPr/>
          </p:nvSpPr>
          <p:spPr bwMode="auto">
            <a:xfrm>
              <a:off x="1408113" y="5267375"/>
              <a:ext cx="88900" cy="144462"/>
            </a:xfrm>
            <a:custGeom>
              <a:avLst/>
              <a:gdLst>
                <a:gd name="T0" fmla="*/ 219 w 249"/>
                <a:gd name="T1" fmla="*/ 46 h 401"/>
                <a:gd name="T2" fmla="*/ 212 w 249"/>
                <a:gd name="T3" fmla="*/ 46 h 401"/>
                <a:gd name="T4" fmla="*/ 212 w 249"/>
                <a:gd name="T5" fmla="*/ 15 h 401"/>
                <a:gd name="T6" fmla="*/ 198 w 249"/>
                <a:gd name="T7" fmla="*/ 0 h 401"/>
                <a:gd name="T8" fmla="*/ 50 w 249"/>
                <a:gd name="T9" fmla="*/ 0 h 401"/>
                <a:gd name="T10" fmla="*/ 36 w 249"/>
                <a:gd name="T11" fmla="*/ 15 h 401"/>
                <a:gd name="T12" fmla="*/ 36 w 249"/>
                <a:gd name="T13" fmla="*/ 46 h 401"/>
                <a:gd name="T14" fmla="*/ 29 w 249"/>
                <a:gd name="T15" fmla="*/ 46 h 401"/>
                <a:gd name="T16" fmla="*/ 0 w 249"/>
                <a:gd name="T17" fmla="*/ 75 h 401"/>
                <a:gd name="T18" fmla="*/ 0 w 249"/>
                <a:gd name="T19" fmla="*/ 371 h 401"/>
                <a:gd name="T20" fmla="*/ 29 w 249"/>
                <a:gd name="T21" fmla="*/ 400 h 401"/>
                <a:gd name="T22" fmla="*/ 219 w 249"/>
                <a:gd name="T23" fmla="*/ 400 h 401"/>
                <a:gd name="T24" fmla="*/ 248 w 249"/>
                <a:gd name="T25" fmla="*/ 371 h 401"/>
                <a:gd name="T26" fmla="*/ 248 w 249"/>
                <a:gd name="T27" fmla="*/ 75 h 401"/>
                <a:gd name="T28" fmla="*/ 219 w 249"/>
                <a:gd name="T29" fmla="*/ 46 h 401"/>
                <a:gd name="T30" fmla="*/ 70 w 249"/>
                <a:gd name="T31" fmla="*/ 94 h 401"/>
                <a:gd name="T32" fmla="*/ 127 w 249"/>
                <a:gd name="T33" fmla="*/ 94 h 401"/>
                <a:gd name="T34" fmla="*/ 161 w 249"/>
                <a:gd name="T35" fmla="*/ 128 h 401"/>
                <a:gd name="T36" fmla="*/ 105 w 249"/>
                <a:gd name="T37" fmla="*/ 184 h 401"/>
                <a:gd name="T38" fmla="*/ 70 w 249"/>
                <a:gd name="T39" fmla="*/ 150 h 401"/>
                <a:gd name="T40" fmla="*/ 70 w 249"/>
                <a:gd name="T41" fmla="*/ 94 h 401"/>
                <a:gd name="T42" fmla="*/ 57 w 249"/>
                <a:gd name="T43" fmla="*/ 349 h 401"/>
                <a:gd name="T44" fmla="*/ 52 w 249"/>
                <a:gd name="T45" fmla="*/ 268 h 401"/>
                <a:gd name="T46" fmla="*/ 139 w 249"/>
                <a:gd name="T47" fmla="*/ 354 h 401"/>
                <a:gd name="T48" fmla="*/ 57 w 249"/>
                <a:gd name="T49" fmla="*/ 349 h 401"/>
                <a:gd name="T50" fmla="*/ 148 w 249"/>
                <a:gd name="T51" fmla="*/ 344 h 401"/>
                <a:gd name="T52" fmla="*/ 62 w 249"/>
                <a:gd name="T53" fmla="*/ 258 h 401"/>
                <a:gd name="T54" fmla="*/ 144 w 249"/>
                <a:gd name="T55" fmla="*/ 262 h 401"/>
                <a:gd name="T56" fmla="*/ 148 w 249"/>
                <a:gd name="T57" fmla="*/ 344 h 401"/>
                <a:gd name="T58" fmla="*/ 205 w 249"/>
                <a:gd name="T59" fmla="*/ 228 h 401"/>
                <a:gd name="T60" fmla="*/ 148 w 249"/>
                <a:gd name="T61" fmla="*/ 228 h 401"/>
                <a:gd name="T62" fmla="*/ 114 w 249"/>
                <a:gd name="T63" fmla="*/ 194 h 401"/>
                <a:gd name="T64" fmla="*/ 170 w 249"/>
                <a:gd name="T65" fmla="*/ 137 h 401"/>
                <a:gd name="T66" fmla="*/ 205 w 249"/>
                <a:gd name="T67" fmla="*/ 172 h 401"/>
                <a:gd name="T68" fmla="*/ 205 w 249"/>
                <a:gd name="T69" fmla="*/ 228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9" h="401">
                  <a:moveTo>
                    <a:pt x="219" y="46"/>
                  </a:moveTo>
                  <a:lnTo>
                    <a:pt x="212" y="46"/>
                  </a:lnTo>
                  <a:lnTo>
                    <a:pt x="212" y="15"/>
                  </a:lnTo>
                  <a:cubicBezTo>
                    <a:pt x="212" y="7"/>
                    <a:pt x="206" y="0"/>
                    <a:pt x="198" y="0"/>
                  </a:cubicBezTo>
                  <a:lnTo>
                    <a:pt x="50" y="0"/>
                  </a:lnTo>
                  <a:cubicBezTo>
                    <a:pt x="42" y="0"/>
                    <a:pt x="36" y="7"/>
                    <a:pt x="36" y="15"/>
                  </a:cubicBezTo>
                  <a:lnTo>
                    <a:pt x="36" y="46"/>
                  </a:lnTo>
                  <a:lnTo>
                    <a:pt x="29" y="46"/>
                  </a:lnTo>
                  <a:cubicBezTo>
                    <a:pt x="13" y="46"/>
                    <a:pt x="0" y="59"/>
                    <a:pt x="0" y="75"/>
                  </a:cubicBezTo>
                  <a:lnTo>
                    <a:pt x="0" y="371"/>
                  </a:lnTo>
                  <a:cubicBezTo>
                    <a:pt x="0" y="387"/>
                    <a:pt x="13" y="400"/>
                    <a:pt x="29" y="400"/>
                  </a:cubicBezTo>
                  <a:lnTo>
                    <a:pt x="219" y="400"/>
                  </a:lnTo>
                  <a:cubicBezTo>
                    <a:pt x="235" y="400"/>
                    <a:pt x="248" y="387"/>
                    <a:pt x="248" y="371"/>
                  </a:cubicBezTo>
                  <a:lnTo>
                    <a:pt x="248" y="75"/>
                  </a:lnTo>
                  <a:cubicBezTo>
                    <a:pt x="248" y="59"/>
                    <a:pt x="235" y="46"/>
                    <a:pt x="219" y="46"/>
                  </a:cubicBezTo>
                  <a:close/>
                  <a:moveTo>
                    <a:pt x="70" y="94"/>
                  </a:moveTo>
                  <a:cubicBezTo>
                    <a:pt x="86" y="78"/>
                    <a:pt x="111" y="78"/>
                    <a:pt x="127" y="94"/>
                  </a:cubicBezTo>
                  <a:lnTo>
                    <a:pt x="161" y="128"/>
                  </a:lnTo>
                  <a:lnTo>
                    <a:pt x="105" y="184"/>
                  </a:lnTo>
                  <a:lnTo>
                    <a:pt x="70" y="150"/>
                  </a:lnTo>
                  <a:cubicBezTo>
                    <a:pt x="55" y="135"/>
                    <a:pt x="55" y="109"/>
                    <a:pt x="70" y="94"/>
                  </a:cubicBezTo>
                  <a:close/>
                  <a:moveTo>
                    <a:pt x="57" y="349"/>
                  </a:moveTo>
                  <a:cubicBezTo>
                    <a:pt x="34" y="327"/>
                    <a:pt x="33" y="292"/>
                    <a:pt x="52" y="268"/>
                  </a:cubicBezTo>
                  <a:lnTo>
                    <a:pt x="139" y="354"/>
                  </a:lnTo>
                  <a:cubicBezTo>
                    <a:pt x="114" y="373"/>
                    <a:pt x="79" y="372"/>
                    <a:pt x="57" y="349"/>
                  </a:cubicBezTo>
                  <a:close/>
                  <a:moveTo>
                    <a:pt x="148" y="344"/>
                  </a:moveTo>
                  <a:lnTo>
                    <a:pt x="62" y="258"/>
                  </a:lnTo>
                  <a:cubicBezTo>
                    <a:pt x="86" y="239"/>
                    <a:pt x="121" y="240"/>
                    <a:pt x="144" y="262"/>
                  </a:cubicBezTo>
                  <a:cubicBezTo>
                    <a:pt x="166" y="285"/>
                    <a:pt x="167" y="320"/>
                    <a:pt x="148" y="344"/>
                  </a:cubicBezTo>
                  <a:close/>
                  <a:moveTo>
                    <a:pt x="205" y="228"/>
                  </a:moveTo>
                  <a:cubicBezTo>
                    <a:pt x="189" y="244"/>
                    <a:pt x="164" y="244"/>
                    <a:pt x="148" y="228"/>
                  </a:cubicBezTo>
                  <a:lnTo>
                    <a:pt x="114" y="194"/>
                  </a:lnTo>
                  <a:lnTo>
                    <a:pt x="170" y="137"/>
                  </a:lnTo>
                  <a:lnTo>
                    <a:pt x="205" y="172"/>
                  </a:lnTo>
                  <a:cubicBezTo>
                    <a:pt x="220" y="187"/>
                    <a:pt x="220" y="213"/>
                    <a:pt x="205" y="228"/>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nvGrpSpPr>
          <p:cNvPr id="158" name="Group 3084"/>
          <p:cNvGrpSpPr/>
          <p:nvPr/>
        </p:nvGrpSpPr>
        <p:grpSpPr>
          <a:xfrm>
            <a:off x="3382714" y="4968925"/>
            <a:ext cx="503238" cy="215900"/>
            <a:chOff x="1858714" y="4968925"/>
            <a:chExt cx="503238" cy="215900"/>
          </a:xfrm>
        </p:grpSpPr>
        <p:sp>
          <p:nvSpPr>
            <p:cNvPr id="159" name="Freeform 56"/>
            <p:cNvSpPr>
              <a:spLocks noChangeArrowheads="1"/>
            </p:cNvSpPr>
            <p:nvPr/>
          </p:nvSpPr>
          <p:spPr bwMode="auto">
            <a:xfrm>
              <a:off x="1858714" y="4968925"/>
              <a:ext cx="503238" cy="215900"/>
            </a:xfrm>
            <a:custGeom>
              <a:avLst/>
              <a:gdLst>
                <a:gd name="T0" fmla="*/ 1097 w 1398"/>
                <a:gd name="T1" fmla="*/ 0 h 600"/>
                <a:gd name="T2" fmla="*/ 299 w 1398"/>
                <a:gd name="T3" fmla="*/ 0 h 600"/>
                <a:gd name="T4" fmla="*/ 299 w 1398"/>
                <a:gd name="T5" fmla="*/ 0 h 600"/>
                <a:gd name="T6" fmla="*/ 0 w 1398"/>
                <a:gd name="T7" fmla="*/ 299 h 600"/>
                <a:gd name="T8" fmla="*/ 299 w 1398"/>
                <a:gd name="T9" fmla="*/ 599 h 600"/>
                <a:gd name="T10" fmla="*/ 299 w 1398"/>
                <a:gd name="T11" fmla="*/ 599 h 600"/>
                <a:gd name="T12" fmla="*/ 1097 w 1398"/>
                <a:gd name="T13" fmla="*/ 599 h 600"/>
                <a:gd name="T14" fmla="*/ 1397 w 1398"/>
                <a:gd name="T15" fmla="*/ 299 h 600"/>
                <a:gd name="T16" fmla="*/ 1097 w 1398"/>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600">
                  <a:moveTo>
                    <a:pt x="1097" y="0"/>
                  </a:moveTo>
                  <a:lnTo>
                    <a:pt x="299" y="0"/>
                  </a:lnTo>
                  <a:lnTo>
                    <a:pt x="299" y="0"/>
                  </a:lnTo>
                  <a:cubicBezTo>
                    <a:pt x="134" y="0"/>
                    <a:pt x="0" y="134"/>
                    <a:pt x="0" y="299"/>
                  </a:cubicBezTo>
                  <a:cubicBezTo>
                    <a:pt x="0" y="465"/>
                    <a:pt x="134" y="599"/>
                    <a:pt x="299" y="599"/>
                  </a:cubicBezTo>
                  <a:lnTo>
                    <a:pt x="299" y="599"/>
                  </a:lnTo>
                  <a:lnTo>
                    <a:pt x="1097" y="599"/>
                  </a:lnTo>
                  <a:cubicBezTo>
                    <a:pt x="1263" y="599"/>
                    <a:pt x="1397" y="465"/>
                    <a:pt x="1397" y="299"/>
                  </a:cubicBezTo>
                  <a:cubicBezTo>
                    <a:pt x="1397" y="134"/>
                    <a:pt x="1263" y="0"/>
                    <a:pt x="1097"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60" name="Text Box 57"/>
            <p:cNvSpPr txBox="1">
              <a:spLocks noChangeArrowheads="1"/>
            </p:cNvSpPr>
            <p:nvPr/>
          </p:nvSpPr>
          <p:spPr bwMode="auto">
            <a:xfrm>
              <a:off x="2076202" y="4978450"/>
              <a:ext cx="246062" cy="206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Plush Toys</a:t>
              </a:r>
            </a:p>
          </p:txBody>
        </p:sp>
        <p:grpSp>
          <p:nvGrpSpPr>
            <p:cNvPr id="161" name="Group 168"/>
            <p:cNvGrpSpPr/>
            <p:nvPr/>
          </p:nvGrpSpPr>
          <p:grpSpPr>
            <a:xfrm>
              <a:off x="1906339" y="5000675"/>
              <a:ext cx="169863" cy="149225"/>
              <a:chOff x="1906339" y="5000675"/>
              <a:chExt cx="169863" cy="149225"/>
            </a:xfrm>
          </p:grpSpPr>
          <p:sp>
            <p:nvSpPr>
              <p:cNvPr id="162" name="Freeform 59"/>
              <p:cNvSpPr>
                <a:spLocks noChangeArrowheads="1"/>
              </p:cNvSpPr>
              <p:nvPr/>
            </p:nvSpPr>
            <p:spPr bwMode="auto">
              <a:xfrm>
                <a:off x="1939677" y="5000675"/>
                <a:ext cx="30162" cy="28575"/>
              </a:xfrm>
              <a:custGeom>
                <a:avLst/>
                <a:gdLst>
                  <a:gd name="T0" fmla="*/ 30 w 82"/>
                  <a:gd name="T1" fmla="*/ 52 h 81"/>
                  <a:gd name="T2" fmla="*/ 50 w 82"/>
                  <a:gd name="T3" fmla="*/ 33 h 81"/>
                  <a:gd name="T4" fmla="*/ 69 w 82"/>
                  <a:gd name="T5" fmla="*/ 45 h 81"/>
                  <a:gd name="T6" fmla="*/ 81 w 82"/>
                  <a:gd name="T7" fmla="*/ 36 h 81"/>
                  <a:gd name="T8" fmla="*/ 41 w 82"/>
                  <a:gd name="T9" fmla="*/ 0 h 81"/>
                  <a:gd name="T10" fmla="*/ 0 w 82"/>
                  <a:gd name="T11" fmla="*/ 40 h 81"/>
                  <a:gd name="T12" fmla="*/ 41 w 82"/>
                  <a:gd name="T13" fmla="*/ 80 h 81"/>
                  <a:gd name="T14" fmla="*/ 41 w 82"/>
                  <a:gd name="T15" fmla="*/ 79 h 81"/>
                  <a:gd name="T16" fmla="*/ 46 w 82"/>
                  <a:gd name="T17" fmla="*/ 72 h 81"/>
                  <a:gd name="T18" fmla="*/ 30 w 82"/>
                  <a:gd name="T19" fmla="*/ 5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30" y="52"/>
                    </a:moveTo>
                    <a:cubicBezTo>
                      <a:pt x="30" y="41"/>
                      <a:pt x="39" y="33"/>
                      <a:pt x="50" y="33"/>
                    </a:cubicBezTo>
                    <a:cubicBezTo>
                      <a:pt x="59" y="33"/>
                      <a:pt x="66" y="38"/>
                      <a:pt x="69" y="45"/>
                    </a:cubicBezTo>
                    <a:cubicBezTo>
                      <a:pt x="73" y="41"/>
                      <a:pt x="77" y="39"/>
                      <a:pt x="81" y="36"/>
                    </a:cubicBezTo>
                    <a:cubicBezTo>
                      <a:pt x="79" y="16"/>
                      <a:pt x="62" y="0"/>
                      <a:pt x="41" y="0"/>
                    </a:cubicBezTo>
                    <a:cubicBezTo>
                      <a:pt x="18" y="0"/>
                      <a:pt x="0" y="18"/>
                      <a:pt x="0" y="40"/>
                    </a:cubicBezTo>
                    <a:cubicBezTo>
                      <a:pt x="0" y="62"/>
                      <a:pt x="18" y="80"/>
                      <a:pt x="41" y="80"/>
                    </a:cubicBezTo>
                    <a:lnTo>
                      <a:pt x="41" y="79"/>
                    </a:lnTo>
                    <a:cubicBezTo>
                      <a:pt x="43" y="77"/>
                      <a:pt x="44" y="74"/>
                      <a:pt x="46" y="72"/>
                    </a:cubicBezTo>
                    <a:cubicBezTo>
                      <a:pt x="36" y="70"/>
                      <a:pt x="30" y="62"/>
                      <a:pt x="30" y="52"/>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63" name="Freeform 60"/>
              <p:cNvSpPr>
                <a:spLocks noChangeArrowheads="1"/>
              </p:cNvSpPr>
              <p:nvPr/>
            </p:nvSpPr>
            <p:spPr bwMode="auto">
              <a:xfrm>
                <a:off x="2026989" y="5013375"/>
                <a:ext cx="30163" cy="31750"/>
              </a:xfrm>
              <a:custGeom>
                <a:avLst/>
                <a:gdLst>
                  <a:gd name="T0" fmla="*/ 10 w 85"/>
                  <a:gd name="T1" fmla="*/ 44 h 87"/>
                  <a:gd name="T2" fmla="*/ 31 w 85"/>
                  <a:gd name="T3" fmla="*/ 34 h 87"/>
                  <a:gd name="T4" fmla="*/ 48 w 85"/>
                  <a:gd name="T5" fmla="*/ 57 h 87"/>
                  <a:gd name="T6" fmla="*/ 24 w 85"/>
                  <a:gd name="T7" fmla="*/ 73 h 87"/>
                  <a:gd name="T8" fmla="*/ 22 w 85"/>
                  <a:gd name="T9" fmla="*/ 73 h 87"/>
                  <a:gd name="T10" fmla="*/ 24 w 85"/>
                  <a:gd name="T11" fmla="*/ 79 h 87"/>
                  <a:gd name="T12" fmla="*/ 32 w 85"/>
                  <a:gd name="T13" fmla="*/ 82 h 87"/>
                  <a:gd name="T14" fmla="*/ 80 w 85"/>
                  <a:gd name="T15" fmla="*/ 50 h 87"/>
                  <a:gd name="T16" fmla="*/ 47 w 85"/>
                  <a:gd name="T17" fmla="*/ 4 h 87"/>
                  <a:gd name="T18" fmla="*/ 0 w 85"/>
                  <a:gd name="T19" fmla="*/ 31 h 87"/>
                  <a:gd name="T20" fmla="*/ 2 w 85"/>
                  <a:gd name="T21" fmla="*/ 34 h 87"/>
                  <a:gd name="T22" fmla="*/ 10 w 85"/>
                  <a:gd name="T23"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7">
                    <a:moveTo>
                      <a:pt x="10" y="44"/>
                    </a:moveTo>
                    <a:cubicBezTo>
                      <a:pt x="14" y="37"/>
                      <a:pt x="22" y="32"/>
                      <a:pt x="31" y="34"/>
                    </a:cubicBezTo>
                    <a:cubicBezTo>
                      <a:pt x="42" y="36"/>
                      <a:pt x="50" y="47"/>
                      <a:pt x="48" y="57"/>
                    </a:cubicBezTo>
                    <a:cubicBezTo>
                      <a:pt x="46" y="68"/>
                      <a:pt x="35" y="75"/>
                      <a:pt x="24" y="73"/>
                    </a:cubicBezTo>
                    <a:cubicBezTo>
                      <a:pt x="23" y="73"/>
                      <a:pt x="23" y="73"/>
                      <a:pt x="22" y="73"/>
                    </a:cubicBezTo>
                    <a:cubicBezTo>
                      <a:pt x="23" y="75"/>
                      <a:pt x="23" y="77"/>
                      <a:pt x="24" y="79"/>
                    </a:cubicBezTo>
                    <a:cubicBezTo>
                      <a:pt x="26" y="80"/>
                      <a:pt x="29" y="81"/>
                      <a:pt x="32" y="82"/>
                    </a:cubicBezTo>
                    <a:cubicBezTo>
                      <a:pt x="54" y="86"/>
                      <a:pt x="76" y="72"/>
                      <a:pt x="80" y="50"/>
                    </a:cubicBezTo>
                    <a:cubicBezTo>
                      <a:pt x="84" y="29"/>
                      <a:pt x="69" y="8"/>
                      <a:pt x="47" y="4"/>
                    </a:cubicBezTo>
                    <a:cubicBezTo>
                      <a:pt x="26" y="0"/>
                      <a:pt x="6" y="12"/>
                      <a:pt x="0" y="31"/>
                    </a:cubicBezTo>
                    <a:cubicBezTo>
                      <a:pt x="1" y="32"/>
                      <a:pt x="1" y="33"/>
                      <a:pt x="2" y="34"/>
                    </a:cubicBezTo>
                    <a:cubicBezTo>
                      <a:pt x="5" y="37"/>
                      <a:pt x="7" y="40"/>
                      <a:pt x="10" y="44"/>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64" name="Freeform 61"/>
              <p:cNvSpPr>
                <a:spLocks noChangeArrowheads="1"/>
              </p:cNvSpPr>
              <p:nvPr/>
            </p:nvSpPr>
            <p:spPr bwMode="auto">
              <a:xfrm>
                <a:off x="1955552" y="5016550"/>
                <a:ext cx="9525" cy="9525"/>
              </a:xfrm>
              <a:custGeom>
                <a:avLst/>
                <a:gdLst>
                  <a:gd name="T0" fmla="*/ 0 w 27"/>
                  <a:gd name="T1" fmla="*/ 27 h 28"/>
                  <a:gd name="T2" fmla="*/ 5 w 27"/>
                  <a:gd name="T3" fmla="*/ 27 h 28"/>
                  <a:gd name="T4" fmla="*/ 26 w 27"/>
                  <a:gd name="T5" fmla="*/ 7 h 28"/>
                  <a:gd name="T6" fmla="*/ 24 w 27"/>
                  <a:gd name="T7" fmla="*/ 0 h 28"/>
                  <a:gd name="T8" fmla="*/ 0 w 27"/>
                  <a:gd name="T9" fmla="*/ 27 h 28"/>
                </a:gdLst>
                <a:ahLst/>
                <a:cxnLst>
                  <a:cxn ang="0">
                    <a:pos x="T0" y="T1"/>
                  </a:cxn>
                  <a:cxn ang="0">
                    <a:pos x="T2" y="T3"/>
                  </a:cxn>
                  <a:cxn ang="0">
                    <a:pos x="T4" y="T5"/>
                  </a:cxn>
                  <a:cxn ang="0">
                    <a:pos x="T6" y="T7"/>
                  </a:cxn>
                  <a:cxn ang="0">
                    <a:pos x="T8" y="T9"/>
                  </a:cxn>
                </a:cxnLst>
                <a:rect l="0" t="0" r="r" b="b"/>
                <a:pathLst>
                  <a:path w="27" h="28">
                    <a:moveTo>
                      <a:pt x="0" y="27"/>
                    </a:moveTo>
                    <a:cubicBezTo>
                      <a:pt x="2" y="27"/>
                      <a:pt x="4" y="27"/>
                      <a:pt x="5" y="27"/>
                    </a:cubicBezTo>
                    <a:cubicBezTo>
                      <a:pt x="17" y="27"/>
                      <a:pt x="26" y="18"/>
                      <a:pt x="26" y="7"/>
                    </a:cubicBezTo>
                    <a:cubicBezTo>
                      <a:pt x="26" y="5"/>
                      <a:pt x="25" y="2"/>
                      <a:pt x="24" y="0"/>
                    </a:cubicBezTo>
                    <a:cubicBezTo>
                      <a:pt x="15" y="7"/>
                      <a:pt x="7" y="17"/>
                      <a:pt x="0" y="27"/>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65" name="Freeform 62"/>
              <p:cNvSpPr>
                <a:spLocks noChangeArrowheads="1"/>
              </p:cNvSpPr>
              <p:nvPr/>
            </p:nvSpPr>
            <p:spPr bwMode="auto">
              <a:xfrm>
                <a:off x="2028577" y="5029250"/>
                <a:ext cx="6350" cy="11112"/>
              </a:xfrm>
              <a:custGeom>
                <a:avLst/>
                <a:gdLst>
                  <a:gd name="T0" fmla="*/ 2 w 17"/>
                  <a:gd name="T1" fmla="*/ 6 h 30"/>
                  <a:gd name="T2" fmla="*/ 16 w 17"/>
                  <a:gd name="T3" fmla="*/ 29 h 30"/>
                  <a:gd name="T4" fmla="*/ 4 w 17"/>
                  <a:gd name="T5" fmla="*/ 0 h 30"/>
                  <a:gd name="T6" fmla="*/ 2 w 17"/>
                  <a:gd name="T7" fmla="*/ 6 h 30"/>
                </a:gdLst>
                <a:ahLst/>
                <a:cxnLst>
                  <a:cxn ang="0">
                    <a:pos x="T0" y="T1"/>
                  </a:cxn>
                  <a:cxn ang="0">
                    <a:pos x="T2" y="T3"/>
                  </a:cxn>
                  <a:cxn ang="0">
                    <a:pos x="T4" y="T5"/>
                  </a:cxn>
                  <a:cxn ang="0">
                    <a:pos x="T6" y="T7"/>
                  </a:cxn>
                </a:cxnLst>
                <a:rect l="0" t="0" r="r" b="b"/>
                <a:pathLst>
                  <a:path w="17" h="30">
                    <a:moveTo>
                      <a:pt x="2" y="6"/>
                    </a:moveTo>
                    <a:cubicBezTo>
                      <a:pt x="0" y="16"/>
                      <a:pt x="6" y="26"/>
                      <a:pt x="16" y="29"/>
                    </a:cubicBezTo>
                    <a:cubicBezTo>
                      <a:pt x="13" y="18"/>
                      <a:pt x="9" y="9"/>
                      <a:pt x="4" y="0"/>
                    </a:cubicBezTo>
                    <a:cubicBezTo>
                      <a:pt x="3" y="2"/>
                      <a:pt x="2" y="4"/>
                      <a:pt x="2" y="6"/>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66" name="Freeform 63"/>
              <p:cNvSpPr>
                <a:spLocks noChangeArrowheads="1"/>
              </p:cNvSpPr>
              <p:nvPr/>
            </p:nvSpPr>
            <p:spPr bwMode="auto">
              <a:xfrm>
                <a:off x="1953964" y="5013375"/>
                <a:ext cx="15875" cy="15875"/>
              </a:xfrm>
              <a:custGeom>
                <a:avLst/>
                <a:gdLst>
                  <a:gd name="T0" fmla="*/ 41 w 42"/>
                  <a:gd name="T1" fmla="*/ 4 h 44"/>
                  <a:gd name="T2" fmla="*/ 40 w 42"/>
                  <a:gd name="T3" fmla="*/ 0 h 44"/>
                  <a:gd name="T4" fmla="*/ 28 w 42"/>
                  <a:gd name="T5" fmla="*/ 9 h 44"/>
                  <a:gd name="T6" fmla="*/ 30 w 42"/>
                  <a:gd name="T7" fmla="*/ 16 h 44"/>
                  <a:gd name="T8" fmla="*/ 9 w 42"/>
                  <a:gd name="T9" fmla="*/ 36 h 44"/>
                  <a:gd name="T10" fmla="*/ 4 w 42"/>
                  <a:gd name="T11" fmla="*/ 36 h 44"/>
                  <a:gd name="T12" fmla="*/ 0 w 42"/>
                  <a:gd name="T13" fmla="*/ 43 h 44"/>
                  <a:gd name="T14" fmla="*/ 41 w 42"/>
                  <a:gd name="T15" fmla="*/ 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
                    </a:moveTo>
                    <a:cubicBezTo>
                      <a:pt x="41" y="2"/>
                      <a:pt x="41" y="1"/>
                      <a:pt x="40" y="0"/>
                    </a:cubicBezTo>
                    <a:cubicBezTo>
                      <a:pt x="36" y="2"/>
                      <a:pt x="32" y="5"/>
                      <a:pt x="28" y="9"/>
                    </a:cubicBezTo>
                    <a:cubicBezTo>
                      <a:pt x="29" y="11"/>
                      <a:pt x="30" y="14"/>
                      <a:pt x="30" y="16"/>
                    </a:cubicBezTo>
                    <a:cubicBezTo>
                      <a:pt x="30" y="27"/>
                      <a:pt x="20" y="36"/>
                      <a:pt x="9" y="36"/>
                    </a:cubicBezTo>
                    <a:cubicBezTo>
                      <a:pt x="8" y="36"/>
                      <a:pt x="6" y="36"/>
                      <a:pt x="4" y="36"/>
                    </a:cubicBezTo>
                    <a:cubicBezTo>
                      <a:pt x="3" y="38"/>
                      <a:pt x="1" y="41"/>
                      <a:pt x="0" y="43"/>
                    </a:cubicBezTo>
                    <a:cubicBezTo>
                      <a:pt x="23" y="43"/>
                      <a:pt x="41" y="25"/>
                      <a:pt x="41" y="4"/>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67" name="Freeform 64"/>
              <p:cNvSpPr>
                <a:spLocks noChangeArrowheads="1"/>
              </p:cNvSpPr>
              <p:nvPr/>
            </p:nvSpPr>
            <p:spPr bwMode="auto">
              <a:xfrm>
                <a:off x="2025402" y="5024487"/>
                <a:ext cx="11112" cy="17463"/>
              </a:xfrm>
              <a:custGeom>
                <a:avLst/>
                <a:gdLst>
                  <a:gd name="T0" fmla="*/ 28 w 29"/>
                  <a:gd name="T1" fmla="*/ 48 h 49"/>
                  <a:gd name="T2" fmla="*/ 26 w 29"/>
                  <a:gd name="T3" fmla="*/ 42 h 49"/>
                  <a:gd name="T4" fmla="*/ 12 w 29"/>
                  <a:gd name="T5" fmla="*/ 19 h 49"/>
                  <a:gd name="T6" fmla="*/ 14 w 29"/>
                  <a:gd name="T7" fmla="*/ 13 h 49"/>
                  <a:gd name="T8" fmla="*/ 6 w 29"/>
                  <a:gd name="T9" fmla="*/ 3 h 49"/>
                  <a:gd name="T10" fmla="*/ 4 w 29"/>
                  <a:gd name="T11" fmla="*/ 0 h 49"/>
                  <a:gd name="T12" fmla="*/ 3 w 29"/>
                  <a:gd name="T13" fmla="*/ 4 h 49"/>
                  <a:gd name="T14" fmla="*/ 28 w 29"/>
                  <a:gd name="T15" fmla="*/ 48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9">
                    <a:moveTo>
                      <a:pt x="28" y="48"/>
                    </a:moveTo>
                    <a:cubicBezTo>
                      <a:pt x="27" y="46"/>
                      <a:pt x="27" y="44"/>
                      <a:pt x="26" y="42"/>
                    </a:cubicBezTo>
                    <a:cubicBezTo>
                      <a:pt x="16" y="39"/>
                      <a:pt x="10" y="29"/>
                      <a:pt x="12" y="19"/>
                    </a:cubicBezTo>
                    <a:cubicBezTo>
                      <a:pt x="12" y="17"/>
                      <a:pt x="13" y="15"/>
                      <a:pt x="14" y="13"/>
                    </a:cubicBezTo>
                    <a:cubicBezTo>
                      <a:pt x="11" y="9"/>
                      <a:pt x="9" y="6"/>
                      <a:pt x="6" y="3"/>
                    </a:cubicBezTo>
                    <a:cubicBezTo>
                      <a:pt x="5" y="2"/>
                      <a:pt x="5" y="1"/>
                      <a:pt x="4" y="0"/>
                    </a:cubicBezTo>
                    <a:cubicBezTo>
                      <a:pt x="4" y="1"/>
                      <a:pt x="4" y="3"/>
                      <a:pt x="3" y="4"/>
                    </a:cubicBezTo>
                    <a:cubicBezTo>
                      <a:pt x="0" y="23"/>
                      <a:pt x="10" y="41"/>
                      <a:pt x="28" y="48"/>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68" name="Freeform 65"/>
              <p:cNvSpPr>
                <a:spLocks noChangeArrowheads="1"/>
              </p:cNvSpPr>
              <p:nvPr/>
            </p:nvSpPr>
            <p:spPr bwMode="auto">
              <a:xfrm>
                <a:off x="1906339" y="5005437"/>
                <a:ext cx="169863" cy="144463"/>
              </a:xfrm>
              <a:custGeom>
                <a:avLst/>
                <a:gdLst>
                  <a:gd name="T0" fmla="*/ 375 w 474"/>
                  <a:gd name="T1" fmla="*/ 167 h 400"/>
                  <a:gd name="T2" fmla="*/ 319 w 474"/>
                  <a:gd name="T3" fmla="*/ 200 h 400"/>
                  <a:gd name="T4" fmla="*/ 318 w 474"/>
                  <a:gd name="T5" fmla="*/ 199 h 400"/>
                  <a:gd name="T6" fmla="*/ 362 w 474"/>
                  <a:gd name="T7" fmla="*/ 116 h 400"/>
                  <a:gd name="T8" fmla="*/ 361 w 474"/>
                  <a:gd name="T9" fmla="*/ 98 h 400"/>
                  <a:gd name="T10" fmla="*/ 336 w 474"/>
                  <a:gd name="T11" fmla="*/ 54 h 400"/>
                  <a:gd name="T12" fmla="*/ 337 w 474"/>
                  <a:gd name="T13" fmla="*/ 50 h 400"/>
                  <a:gd name="T14" fmla="*/ 239 w 474"/>
                  <a:gd name="T15" fmla="*/ 0 h 400"/>
                  <a:gd name="T16" fmla="*/ 173 w 474"/>
                  <a:gd name="T17" fmla="*/ 19 h 400"/>
                  <a:gd name="T18" fmla="*/ 174 w 474"/>
                  <a:gd name="T19" fmla="*/ 23 h 400"/>
                  <a:gd name="T20" fmla="*/ 133 w 474"/>
                  <a:gd name="T21" fmla="*/ 62 h 400"/>
                  <a:gd name="T22" fmla="*/ 125 w 474"/>
                  <a:gd name="T23" fmla="*/ 89 h 400"/>
                  <a:gd name="T24" fmla="*/ 121 w 474"/>
                  <a:gd name="T25" fmla="*/ 116 h 400"/>
                  <a:gd name="T26" fmla="*/ 154 w 474"/>
                  <a:gd name="T27" fmla="*/ 190 h 400"/>
                  <a:gd name="T28" fmla="*/ 98 w 474"/>
                  <a:gd name="T29" fmla="*/ 157 h 400"/>
                  <a:gd name="T30" fmla="*/ 60 w 474"/>
                  <a:gd name="T31" fmla="*/ 230 h 400"/>
                  <a:gd name="T32" fmla="*/ 60 w 474"/>
                  <a:gd name="T33" fmla="*/ 230 h 400"/>
                  <a:gd name="T34" fmla="*/ 30 w 474"/>
                  <a:gd name="T35" fmla="*/ 340 h 400"/>
                  <a:gd name="T36" fmla="*/ 147 w 474"/>
                  <a:gd name="T37" fmla="*/ 358 h 400"/>
                  <a:gd name="T38" fmla="*/ 305 w 474"/>
                  <a:gd name="T39" fmla="*/ 359 h 400"/>
                  <a:gd name="T40" fmla="*/ 424 w 474"/>
                  <a:gd name="T41" fmla="*/ 324 h 400"/>
                  <a:gd name="T42" fmla="*/ 398 w 474"/>
                  <a:gd name="T43" fmla="*/ 244 h 400"/>
                  <a:gd name="T44" fmla="*/ 413 w 474"/>
                  <a:gd name="T45" fmla="*/ 240 h 400"/>
                  <a:gd name="T46" fmla="*/ 375 w 474"/>
                  <a:gd name="T47" fmla="*/ 167 h 400"/>
                  <a:gd name="T48" fmla="*/ 101 w 474"/>
                  <a:gd name="T49" fmla="*/ 303 h 400"/>
                  <a:gd name="T50" fmla="*/ 67 w 474"/>
                  <a:gd name="T51" fmla="*/ 351 h 400"/>
                  <a:gd name="T52" fmla="*/ 49 w 474"/>
                  <a:gd name="T53" fmla="*/ 280 h 400"/>
                  <a:gd name="T54" fmla="*/ 103 w 474"/>
                  <a:gd name="T55" fmla="*/ 242 h 400"/>
                  <a:gd name="T56" fmla="*/ 101 w 474"/>
                  <a:gd name="T57" fmla="*/ 303 h 400"/>
                  <a:gd name="T58" fmla="*/ 234 w 474"/>
                  <a:gd name="T59" fmla="*/ 315 h 400"/>
                  <a:gd name="T60" fmla="*/ 172 w 474"/>
                  <a:gd name="T61" fmla="*/ 242 h 400"/>
                  <a:gd name="T62" fmla="*/ 179 w 474"/>
                  <a:gd name="T63" fmla="*/ 208 h 400"/>
                  <a:gd name="T64" fmla="*/ 242 w 474"/>
                  <a:gd name="T65" fmla="*/ 223 h 400"/>
                  <a:gd name="T66" fmla="*/ 291 w 474"/>
                  <a:gd name="T67" fmla="*/ 214 h 400"/>
                  <a:gd name="T68" fmla="*/ 296 w 474"/>
                  <a:gd name="T69" fmla="*/ 242 h 400"/>
                  <a:gd name="T70" fmla="*/ 234 w 474"/>
                  <a:gd name="T71" fmla="*/ 315 h 400"/>
                  <a:gd name="T72" fmla="*/ 401 w 474"/>
                  <a:gd name="T73" fmla="*/ 283 h 400"/>
                  <a:gd name="T74" fmla="*/ 382 w 474"/>
                  <a:gd name="T75" fmla="*/ 353 h 400"/>
                  <a:gd name="T76" fmla="*/ 348 w 474"/>
                  <a:gd name="T77" fmla="*/ 305 h 400"/>
                  <a:gd name="T78" fmla="*/ 346 w 474"/>
                  <a:gd name="T79" fmla="*/ 244 h 400"/>
                  <a:gd name="T80" fmla="*/ 401 w 474"/>
                  <a:gd name="T81" fmla="*/ 28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4" h="400">
                    <a:moveTo>
                      <a:pt x="375" y="167"/>
                    </a:moveTo>
                    <a:cubicBezTo>
                      <a:pt x="357" y="178"/>
                      <a:pt x="338" y="189"/>
                      <a:pt x="319" y="200"/>
                    </a:cubicBezTo>
                    <a:lnTo>
                      <a:pt x="318" y="199"/>
                    </a:lnTo>
                    <a:cubicBezTo>
                      <a:pt x="345" y="179"/>
                      <a:pt x="362" y="149"/>
                      <a:pt x="362" y="116"/>
                    </a:cubicBezTo>
                    <a:cubicBezTo>
                      <a:pt x="362" y="110"/>
                      <a:pt x="362" y="104"/>
                      <a:pt x="361" y="98"/>
                    </a:cubicBezTo>
                    <a:cubicBezTo>
                      <a:pt x="343" y="91"/>
                      <a:pt x="333" y="73"/>
                      <a:pt x="336" y="54"/>
                    </a:cubicBezTo>
                    <a:cubicBezTo>
                      <a:pt x="337" y="53"/>
                      <a:pt x="337" y="51"/>
                      <a:pt x="337" y="50"/>
                    </a:cubicBezTo>
                    <a:cubicBezTo>
                      <a:pt x="317" y="20"/>
                      <a:pt x="280" y="0"/>
                      <a:pt x="239" y="0"/>
                    </a:cubicBezTo>
                    <a:cubicBezTo>
                      <a:pt x="215" y="0"/>
                      <a:pt x="192" y="7"/>
                      <a:pt x="173" y="19"/>
                    </a:cubicBezTo>
                    <a:cubicBezTo>
                      <a:pt x="174" y="20"/>
                      <a:pt x="174" y="21"/>
                      <a:pt x="174" y="23"/>
                    </a:cubicBezTo>
                    <a:cubicBezTo>
                      <a:pt x="174" y="44"/>
                      <a:pt x="156" y="62"/>
                      <a:pt x="133" y="62"/>
                    </a:cubicBezTo>
                    <a:cubicBezTo>
                      <a:pt x="129" y="71"/>
                      <a:pt x="126" y="80"/>
                      <a:pt x="125" y="89"/>
                    </a:cubicBezTo>
                    <a:cubicBezTo>
                      <a:pt x="122" y="98"/>
                      <a:pt x="121" y="107"/>
                      <a:pt x="121" y="116"/>
                    </a:cubicBezTo>
                    <a:cubicBezTo>
                      <a:pt x="121" y="144"/>
                      <a:pt x="134" y="171"/>
                      <a:pt x="154" y="190"/>
                    </a:cubicBezTo>
                    <a:cubicBezTo>
                      <a:pt x="136" y="179"/>
                      <a:pt x="117" y="168"/>
                      <a:pt x="98" y="157"/>
                    </a:cubicBezTo>
                    <a:cubicBezTo>
                      <a:pt x="35" y="123"/>
                      <a:pt x="0" y="207"/>
                      <a:pt x="60" y="230"/>
                    </a:cubicBezTo>
                    <a:lnTo>
                      <a:pt x="60" y="230"/>
                    </a:lnTo>
                    <a:cubicBezTo>
                      <a:pt x="35" y="252"/>
                      <a:pt x="21" y="301"/>
                      <a:pt x="30" y="340"/>
                    </a:cubicBezTo>
                    <a:cubicBezTo>
                      <a:pt x="49" y="399"/>
                      <a:pt x="92" y="387"/>
                      <a:pt x="147" y="358"/>
                    </a:cubicBezTo>
                    <a:cubicBezTo>
                      <a:pt x="199" y="383"/>
                      <a:pt x="237" y="391"/>
                      <a:pt x="305" y="359"/>
                    </a:cubicBezTo>
                    <a:cubicBezTo>
                      <a:pt x="348" y="392"/>
                      <a:pt x="413" y="381"/>
                      <a:pt x="424" y="324"/>
                    </a:cubicBezTo>
                    <a:cubicBezTo>
                      <a:pt x="433" y="294"/>
                      <a:pt x="418" y="264"/>
                      <a:pt x="398" y="244"/>
                    </a:cubicBezTo>
                    <a:cubicBezTo>
                      <a:pt x="403" y="242"/>
                      <a:pt x="408" y="241"/>
                      <a:pt x="413" y="240"/>
                    </a:cubicBezTo>
                    <a:cubicBezTo>
                      <a:pt x="473" y="216"/>
                      <a:pt x="438" y="133"/>
                      <a:pt x="375" y="167"/>
                    </a:cubicBezTo>
                    <a:close/>
                    <a:moveTo>
                      <a:pt x="101" y="303"/>
                    </a:moveTo>
                    <a:cubicBezTo>
                      <a:pt x="92" y="331"/>
                      <a:pt x="97" y="357"/>
                      <a:pt x="67" y="351"/>
                    </a:cubicBezTo>
                    <a:cubicBezTo>
                      <a:pt x="37" y="345"/>
                      <a:pt x="39" y="309"/>
                      <a:pt x="49" y="280"/>
                    </a:cubicBezTo>
                    <a:cubicBezTo>
                      <a:pt x="58" y="251"/>
                      <a:pt x="82" y="233"/>
                      <a:pt x="103" y="242"/>
                    </a:cubicBezTo>
                    <a:cubicBezTo>
                      <a:pt x="124" y="250"/>
                      <a:pt x="111" y="274"/>
                      <a:pt x="101" y="303"/>
                    </a:cubicBezTo>
                    <a:close/>
                    <a:moveTo>
                      <a:pt x="234" y="315"/>
                    </a:moveTo>
                    <a:cubicBezTo>
                      <a:pt x="200" y="315"/>
                      <a:pt x="172" y="282"/>
                      <a:pt x="172" y="242"/>
                    </a:cubicBezTo>
                    <a:cubicBezTo>
                      <a:pt x="172" y="229"/>
                      <a:pt x="175" y="218"/>
                      <a:pt x="179" y="208"/>
                    </a:cubicBezTo>
                    <a:cubicBezTo>
                      <a:pt x="197" y="217"/>
                      <a:pt x="219" y="223"/>
                      <a:pt x="242" y="223"/>
                    </a:cubicBezTo>
                    <a:cubicBezTo>
                      <a:pt x="259" y="223"/>
                      <a:pt x="276" y="220"/>
                      <a:pt x="291" y="214"/>
                    </a:cubicBezTo>
                    <a:cubicBezTo>
                      <a:pt x="294" y="222"/>
                      <a:pt x="296" y="232"/>
                      <a:pt x="296" y="242"/>
                    </a:cubicBezTo>
                    <a:cubicBezTo>
                      <a:pt x="296" y="282"/>
                      <a:pt x="268" y="315"/>
                      <a:pt x="234" y="315"/>
                    </a:cubicBezTo>
                    <a:close/>
                    <a:moveTo>
                      <a:pt x="401" y="283"/>
                    </a:moveTo>
                    <a:cubicBezTo>
                      <a:pt x="410" y="311"/>
                      <a:pt x="411" y="347"/>
                      <a:pt x="382" y="353"/>
                    </a:cubicBezTo>
                    <a:cubicBezTo>
                      <a:pt x="352" y="359"/>
                      <a:pt x="358" y="334"/>
                      <a:pt x="348" y="305"/>
                    </a:cubicBezTo>
                    <a:cubicBezTo>
                      <a:pt x="338" y="277"/>
                      <a:pt x="325" y="253"/>
                      <a:pt x="346" y="244"/>
                    </a:cubicBezTo>
                    <a:cubicBezTo>
                      <a:pt x="367" y="236"/>
                      <a:pt x="391" y="254"/>
                      <a:pt x="401" y="283"/>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grpSp>
        <p:nvGrpSpPr>
          <p:cNvPr id="169" name="Group 3077"/>
          <p:cNvGrpSpPr/>
          <p:nvPr/>
        </p:nvGrpSpPr>
        <p:grpSpPr>
          <a:xfrm>
            <a:off x="2471489" y="4671229"/>
            <a:ext cx="539750" cy="225502"/>
            <a:chOff x="947489" y="4702225"/>
            <a:chExt cx="539750" cy="225502"/>
          </a:xfrm>
        </p:grpSpPr>
        <p:sp>
          <p:nvSpPr>
            <p:cNvPr id="170" name="Freeform 66"/>
            <p:cNvSpPr>
              <a:spLocks noChangeArrowheads="1"/>
            </p:cNvSpPr>
            <p:nvPr/>
          </p:nvSpPr>
          <p:spPr bwMode="auto">
            <a:xfrm>
              <a:off x="947489" y="4702225"/>
              <a:ext cx="539750" cy="215900"/>
            </a:xfrm>
            <a:custGeom>
              <a:avLst/>
              <a:gdLst>
                <a:gd name="T0" fmla="*/ 1200 w 1501"/>
                <a:gd name="T1" fmla="*/ 0 h 600"/>
                <a:gd name="T2" fmla="*/ 300 w 1501"/>
                <a:gd name="T3" fmla="*/ 0 h 600"/>
                <a:gd name="T4" fmla="*/ 300 w 1501"/>
                <a:gd name="T5" fmla="*/ 0 h 600"/>
                <a:gd name="T6" fmla="*/ 0 w 1501"/>
                <a:gd name="T7" fmla="*/ 300 h 600"/>
                <a:gd name="T8" fmla="*/ 300 w 1501"/>
                <a:gd name="T9" fmla="*/ 599 h 600"/>
                <a:gd name="T10" fmla="*/ 300 w 1501"/>
                <a:gd name="T11" fmla="*/ 599 h 600"/>
                <a:gd name="T12" fmla="*/ 1200 w 1501"/>
                <a:gd name="T13" fmla="*/ 599 h 600"/>
                <a:gd name="T14" fmla="*/ 1500 w 1501"/>
                <a:gd name="T15" fmla="*/ 300 h 600"/>
                <a:gd name="T16" fmla="*/ 1200 w 1501"/>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1" h="600">
                  <a:moveTo>
                    <a:pt x="1200" y="0"/>
                  </a:moveTo>
                  <a:lnTo>
                    <a:pt x="300" y="0"/>
                  </a:lnTo>
                  <a:lnTo>
                    <a:pt x="300" y="0"/>
                  </a:lnTo>
                  <a:cubicBezTo>
                    <a:pt x="134" y="0"/>
                    <a:pt x="0" y="134"/>
                    <a:pt x="0" y="300"/>
                  </a:cubicBezTo>
                  <a:cubicBezTo>
                    <a:pt x="0" y="465"/>
                    <a:pt x="134" y="599"/>
                    <a:pt x="300" y="599"/>
                  </a:cubicBezTo>
                  <a:lnTo>
                    <a:pt x="300" y="599"/>
                  </a:lnTo>
                  <a:lnTo>
                    <a:pt x="1200" y="599"/>
                  </a:lnTo>
                  <a:cubicBezTo>
                    <a:pt x="1365" y="599"/>
                    <a:pt x="1500" y="465"/>
                    <a:pt x="1500" y="300"/>
                  </a:cubicBezTo>
                  <a:cubicBezTo>
                    <a:pt x="1500" y="134"/>
                    <a:pt x="1365" y="0"/>
                    <a:pt x="1200"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71" name="Text Box 67"/>
            <p:cNvSpPr txBox="1">
              <a:spLocks noChangeArrowheads="1"/>
            </p:cNvSpPr>
            <p:nvPr/>
          </p:nvSpPr>
          <p:spPr bwMode="auto">
            <a:xfrm>
              <a:off x="1115616" y="4702225"/>
              <a:ext cx="350837" cy="2255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buNone/>
              </a:pPr>
              <a:r>
                <a:rPr lang="en-US" sz="700" dirty="0">
                  <a:solidFill>
                    <a:srgbClr val="BE1839"/>
                  </a:solidFill>
                  <a:latin typeface="Arial"/>
                  <a:ea typeface="'ArialMT'" pitchFamily="32" charset="0"/>
                  <a:cs typeface="Arial"/>
                </a:rPr>
                <a:t>Jewelry</a:t>
              </a:r>
            </a:p>
          </p:txBody>
        </p:sp>
        <p:grpSp>
          <p:nvGrpSpPr>
            <p:cNvPr id="172" name="Group 178"/>
            <p:cNvGrpSpPr/>
            <p:nvPr/>
          </p:nvGrpSpPr>
          <p:grpSpPr>
            <a:xfrm>
              <a:off x="980825" y="4738737"/>
              <a:ext cx="130175" cy="144463"/>
              <a:chOff x="995114" y="4738737"/>
              <a:chExt cx="130175" cy="144463"/>
            </a:xfrm>
          </p:grpSpPr>
          <p:sp>
            <p:nvSpPr>
              <p:cNvPr id="173" name="Freeform 68"/>
              <p:cNvSpPr>
                <a:spLocks noChangeArrowheads="1"/>
              </p:cNvSpPr>
              <p:nvPr/>
            </p:nvSpPr>
            <p:spPr bwMode="auto">
              <a:xfrm>
                <a:off x="995114" y="4773662"/>
                <a:ext cx="130175" cy="109538"/>
              </a:xfrm>
              <a:custGeom>
                <a:avLst/>
                <a:gdLst>
                  <a:gd name="T0" fmla="*/ 353 w 363"/>
                  <a:gd name="T1" fmla="*/ 49 h 304"/>
                  <a:gd name="T2" fmla="*/ 310 w 363"/>
                  <a:gd name="T3" fmla="*/ 0 h 304"/>
                  <a:gd name="T4" fmla="*/ 278 w 363"/>
                  <a:gd name="T5" fmla="*/ 93 h 304"/>
                  <a:gd name="T6" fmla="*/ 209 w 363"/>
                  <a:gd name="T7" fmla="*/ 158 h 304"/>
                  <a:gd name="T8" fmla="*/ 198 w 363"/>
                  <a:gd name="T9" fmla="*/ 165 h 304"/>
                  <a:gd name="T10" fmla="*/ 213 w 363"/>
                  <a:gd name="T11" fmla="*/ 198 h 304"/>
                  <a:gd name="T12" fmla="*/ 181 w 363"/>
                  <a:gd name="T13" fmla="*/ 254 h 304"/>
                  <a:gd name="T14" fmla="*/ 149 w 363"/>
                  <a:gd name="T15" fmla="*/ 198 h 304"/>
                  <a:gd name="T16" fmla="*/ 164 w 363"/>
                  <a:gd name="T17" fmla="*/ 165 h 304"/>
                  <a:gd name="T18" fmla="*/ 154 w 363"/>
                  <a:gd name="T19" fmla="*/ 158 h 304"/>
                  <a:gd name="T20" fmla="*/ 84 w 363"/>
                  <a:gd name="T21" fmla="*/ 93 h 304"/>
                  <a:gd name="T22" fmla="*/ 52 w 363"/>
                  <a:gd name="T23" fmla="*/ 0 h 304"/>
                  <a:gd name="T24" fmla="*/ 9 w 363"/>
                  <a:gd name="T25" fmla="*/ 49 h 304"/>
                  <a:gd name="T26" fmla="*/ 63 w 363"/>
                  <a:gd name="T27" fmla="*/ 205 h 304"/>
                  <a:gd name="T28" fmla="*/ 181 w 363"/>
                  <a:gd name="T29" fmla="*/ 303 h 304"/>
                  <a:gd name="T30" fmla="*/ 299 w 363"/>
                  <a:gd name="T31" fmla="*/ 205 h 304"/>
                  <a:gd name="T32" fmla="*/ 353 w 363"/>
                  <a:gd name="T33" fmla="*/ 4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3" h="304">
                    <a:moveTo>
                      <a:pt x="353" y="49"/>
                    </a:moveTo>
                    <a:cubicBezTo>
                      <a:pt x="351" y="34"/>
                      <a:pt x="345" y="24"/>
                      <a:pt x="310" y="0"/>
                    </a:cubicBezTo>
                    <a:cubicBezTo>
                      <a:pt x="310" y="14"/>
                      <a:pt x="306" y="50"/>
                      <a:pt x="278" y="93"/>
                    </a:cubicBezTo>
                    <a:cubicBezTo>
                      <a:pt x="244" y="148"/>
                      <a:pt x="209" y="158"/>
                      <a:pt x="209" y="158"/>
                    </a:cubicBezTo>
                    <a:lnTo>
                      <a:pt x="198" y="165"/>
                    </a:lnTo>
                    <a:cubicBezTo>
                      <a:pt x="198" y="165"/>
                      <a:pt x="197" y="181"/>
                      <a:pt x="213" y="198"/>
                    </a:cubicBezTo>
                    <a:cubicBezTo>
                      <a:pt x="230" y="214"/>
                      <a:pt x="213" y="254"/>
                      <a:pt x="181" y="254"/>
                    </a:cubicBezTo>
                    <a:cubicBezTo>
                      <a:pt x="150" y="254"/>
                      <a:pt x="132" y="214"/>
                      <a:pt x="149" y="198"/>
                    </a:cubicBezTo>
                    <a:cubicBezTo>
                      <a:pt x="166" y="181"/>
                      <a:pt x="164" y="165"/>
                      <a:pt x="164" y="165"/>
                    </a:cubicBezTo>
                    <a:lnTo>
                      <a:pt x="154" y="158"/>
                    </a:lnTo>
                    <a:cubicBezTo>
                      <a:pt x="154" y="158"/>
                      <a:pt x="119" y="148"/>
                      <a:pt x="84" y="93"/>
                    </a:cubicBezTo>
                    <a:cubicBezTo>
                      <a:pt x="57" y="50"/>
                      <a:pt x="53" y="14"/>
                      <a:pt x="52" y="0"/>
                    </a:cubicBezTo>
                    <a:cubicBezTo>
                      <a:pt x="17" y="24"/>
                      <a:pt x="12" y="34"/>
                      <a:pt x="9" y="49"/>
                    </a:cubicBezTo>
                    <a:cubicBezTo>
                      <a:pt x="6" y="68"/>
                      <a:pt x="0" y="110"/>
                      <a:pt x="63" y="205"/>
                    </a:cubicBezTo>
                    <a:cubicBezTo>
                      <a:pt x="127" y="300"/>
                      <a:pt x="181" y="303"/>
                      <a:pt x="181" y="303"/>
                    </a:cubicBezTo>
                    <a:cubicBezTo>
                      <a:pt x="181" y="303"/>
                      <a:pt x="235" y="300"/>
                      <a:pt x="299" y="205"/>
                    </a:cubicBezTo>
                    <a:cubicBezTo>
                      <a:pt x="362" y="110"/>
                      <a:pt x="356" y="68"/>
                      <a:pt x="353" y="49"/>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74" name="Freeform 69"/>
              <p:cNvSpPr>
                <a:spLocks noChangeArrowheads="1"/>
              </p:cNvSpPr>
              <p:nvPr/>
            </p:nvSpPr>
            <p:spPr bwMode="auto">
              <a:xfrm>
                <a:off x="1020514" y="4738737"/>
                <a:ext cx="80963" cy="85725"/>
              </a:xfrm>
              <a:custGeom>
                <a:avLst/>
                <a:gdLst>
                  <a:gd name="T0" fmla="*/ 111 w 224"/>
                  <a:gd name="T1" fmla="*/ 79 h 240"/>
                  <a:gd name="T2" fmla="*/ 70 w 224"/>
                  <a:gd name="T3" fmla="*/ 56 h 240"/>
                  <a:gd name="T4" fmla="*/ 111 w 224"/>
                  <a:gd name="T5" fmla="*/ 32 h 240"/>
                  <a:gd name="T6" fmla="*/ 152 w 224"/>
                  <a:gd name="T7" fmla="*/ 56 h 240"/>
                  <a:gd name="T8" fmla="*/ 111 w 224"/>
                  <a:gd name="T9" fmla="*/ 79 h 240"/>
                  <a:gd name="T10" fmla="*/ 214 w 224"/>
                  <a:gd name="T11" fmla="*/ 79 h 240"/>
                  <a:gd name="T12" fmla="*/ 179 w 224"/>
                  <a:gd name="T13" fmla="*/ 38 h 240"/>
                  <a:gd name="T14" fmla="*/ 111 w 224"/>
                  <a:gd name="T15" fmla="*/ 0 h 240"/>
                  <a:gd name="T16" fmla="*/ 43 w 224"/>
                  <a:gd name="T17" fmla="*/ 38 h 240"/>
                  <a:gd name="T18" fmla="*/ 9 w 224"/>
                  <a:gd name="T19" fmla="*/ 79 h 240"/>
                  <a:gd name="T20" fmla="*/ 0 w 224"/>
                  <a:gd name="T21" fmla="*/ 85 h 240"/>
                  <a:gd name="T22" fmla="*/ 111 w 224"/>
                  <a:gd name="T23" fmla="*/ 239 h 240"/>
                  <a:gd name="T24" fmla="*/ 223 w 224"/>
                  <a:gd name="T25" fmla="*/ 85 h 240"/>
                  <a:gd name="T26" fmla="*/ 214 w 224"/>
                  <a:gd name="T27" fmla="*/ 7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240">
                    <a:moveTo>
                      <a:pt x="111" y="79"/>
                    </a:moveTo>
                    <a:cubicBezTo>
                      <a:pt x="88" y="79"/>
                      <a:pt x="70" y="69"/>
                      <a:pt x="70" y="56"/>
                    </a:cubicBezTo>
                    <a:cubicBezTo>
                      <a:pt x="70" y="43"/>
                      <a:pt x="88" y="32"/>
                      <a:pt x="111" y="32"/>
                    </a:cubicBezTo>
                    <a:cubicBezTo>
                      <a:pt x="134" y="32"/>
                      <a:pt x="152" y="43"/>
                      <a:pt x="152" y="56"/>
                    </a:cubicBezTo>
                    <a:cubicBezTo>
                      <a:pt x="152" y="69"/>
                      <a:pt x="134" y="79"/>
                      <a:pt x="111" y="79"/>
                    </a:cubicBezTo>
                    <a:close/>
                    <a:moveTo>
                      <a:pt x="214" y="79"/>
                    </a:moveTo>
                    <a:cubicBezTo>
                      <a:pt x="214" y="79"/>
                      <a:pt x="190" y="64"/>
                      <a:pt x="179" y="38"/>
                    </a:cubicBezTo>
                    <a:cubicBezTo>
                      <a:pt x="168" y="12"/>
                      <a:pt x="140" y="0"/>
                      <a:pt x="111" y="0"/>
                    </a:cubicBezTo>
                    <a:cubicBezTo>
                      <a:pt x="82" y="0"/>
                      <a:pt x="54" y="12"/>
                      <a:pt x="43" y="38"/>
                    </a:cubicBezTo>
                    <a:cubicBezTo>
                      <a:pt x="33" y="64"/>
                      <a:pt x="9" y="79"/>
                      <a:pt x="9" y="79"/>
                    </a:cubicBezTo>
                    <a:cubicBezTo>
                      <a:pt x="5" y="81"/>
                      <a:pt x="3" y="83"/>
                      <a:pt x="0" y="85"/>
                    </a:cubicBezTo>
                    <a:cubicBezTo>
                      <a:pt x="16" y="195"/>
                      <a:pt x="111" y="239"/>
                      <a:pt x="111" y="239"/>
                    </a:cubicBezTo>
                    <a:cubicBezTo>
                      <a:pt x="111" y="239"/>
                      <a:pt x="206" y="195"/>
                      <a:pt x="223" y="85"/>
                    </a:cubicBezTo>
                    <a:cubicBezTo>
                      <a:pt x="220" y="83"/>
                      <a:pt x="217" y="81"/>
                      <a:pt x="214" y="79"/>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grpSp>
        <p:nvGrpSpPr>
          <p:cNvPr id="175" name="Group 3081"/>
          <p:cNvGrpSpPr/>
          <p:nvPr/>
        </p:nvGrpSpPr>
        <p:grpSpPr>
          <a:xfrm>
            <a:off x="4378078" y="4671229"/>
            <a:ext cx="465137" cy="225502"/>
            <a:chOff x="2854077" y="4702225"/>
            <a:chExt cx="465137" cy="225502"/>
          </a:xfrm>
        </p:grpSpPr>
        <p:sp>
          <p:nvSpPr>
            <p:cNvPr id="176" name="Freeform 70"/>
            <p:cNvSpPr>
              <a:spLocks noChangeArrowheads="1"/>
            </p:cNvSpPr>
            <p:nvPr/>
          </p:nvSpPr>
          <p:spPr bwMode="auto">
            <a:xfrm>
              <a:off x="2854077" y="4702225"/>
              <a:ext cx="465137" cy="215900"/>
            </a:xfrm>
            <a:custGeom>
              <a:avLst/>
              <a:gdLst>
                <a:gd name="T0" fmla="*/ 989 w 1290"/>
                <a:gd name="T1" fmla="*/ 0 h 600"/>
                <a:gd name="T2" fmla="*/ 300 w 1290"/>
                <a:gd name="T3" fmla="*/ 0 h 600"/>
                <a:gd name="T4" fmla="*/ 300 w 1290"/>
                <a:gd name="T5" fmla="*/ 0 h 600"/>
                <a:gd name="T6" fmla="*/ 0 w 1290"/>
                <a:gd name="T7" fmla="*/ 300 h 600"/>
                <a:gd name="T8" fmla="*/ 300 w 1290"/>
                <a:gd name="T9" fmla="*/ 599 h 600"/>
                <a:gd name="T10" fmla="*/ 300 w 1290"/>
                <a:gd name="T11" fmla="*/ 599 h 600"/>
                <a:gd name="T12" fmla="*/ 989 w 1290"/>
                <a:gd name="T13" fmla="*/ 599 h 600"/>
                <a:gd name="T14" fmla="*/ 1289 w 1290"/>
                <a:gd name="T15" fmla="*/ 300 h 600"/>
                <a:gd name="T16" fmla="*/ 989 w 129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0" h="600">
                  <a:moveTo>
                    <a:pt x="989" y="0"/>
                  </a:moveTo>
                  <a:lnTo>
                    <a:pt x="300" y="0"/>
                  </a:lnTo>
                  <a:lnTo>
                    <a:pt x="300" y="0"/>
                  </a:lnTo>
                  <a:cubicBezTo>
                    <a:pt x="134" y="0"/>
                    <a:pt x="0" y="134"/>
                    <a:pt x="0" y="300"/>
                  </a:cubicBezTo>
                  <a:cubicBezTo>
                    <a:pt x="0" y="465"/>
                    <a:pt x="134" y="599"/>
                    <a:pt x="300" y="599"/>
                  </a:cubicBezTo>
                  <a:lnTo>
                    <a:pt x="300" y="599"/>
                  </a:lnTo>
                  <a:lnTo>
                    <a:pt x="989" y="599"/>
                  </a:lnTo>
                  <a:cubicBezTo>
                    <a:pt x="1154" y="599"/>
                    <a:pt x="1289" y="465"/>
                    <a:pt x="1289" y="300"/>
                  </a:cubicBezTo>
                  <a:cubicBezTo>
                    <a:pt x="1289" y="134"/>
                    <a:pt x="1155" y="0"/>
                    <a:pt x="989"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77" name="Text Box 71"/>
            <p:cNvSpPr txBox="1">
              <a:spLocks noChangeArrowheads="1"/>
            </p:cNvSpPr>
            <p:nvPr/>
          </p:nvSpPr>
          <p:spPr bwMode="auto">
            <a:xfrm>
              <a:off x="3012827" y="4702225"/>
              <a:ext cx="260350" cy="2255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buNone/>
              </a:pPr>
              <a:r>
                <a:rPr lang="en-US" sz="700" dirty="0">
                  <a:solidFill>
                    <a:srgbClr val="BE1839"/>
                  </a:solidFill>
                  <a:latin typeface="Arial"/>
                  <a:ea typeface="'ArialMT'" pitchFamily="32" charset="0"/>
                  <a:cs typeface="Arial"/>
                </a:rPr>
                <a:t>Textile</a:t>
              </a:r>
            </a:p>
          </p:txBody>
        </p:sp>
        <p:grpSp>
          <p:nvGrpSpPr>
            <p:cNvPr id="178" name="Group 183"/>
            <p:cNvGrpSpPr/>
            <p:nvPr/>
          </p:nvGrpSpPr>
          <p:grpSpPr>
            <a:xfrm>
              <a:off x="2911227" y="4740325"/>
              <a:ext cx="80962" cy="142875"/>
              <a:chOff x="2911227" y="4740325"/>
              <a:chExt cx="80962" cy="142875"/>
            </a:xfrm>
          </p:grpSpPr>
          <p:sp>
            <p:nvSpPr>
              <p:cNvPr id="179" name="Freeform 72"/>
              <p:cNvSpPr>
                <a:spLocks noChangeArrowheads="1"/>
              </p:cNvSpPr>
              <p:nvPr/>
            </p:nvSpPr>
            <p:spPr bwMode="auto">
              <a:xfrm>
                <a:off x="2930277" y="4740325"/>
                <a:ext cx="42862" cy="17462"/>
              </a:xfrm>
              <a:custGeom>
                <a:avLst/>
                <a:gdLst>
                  <a:gd name="T0" fmla="*/ 0 w 118"/>
                  <a:gd name="T1" fmla="*/ 48 h 49"/>
                  <a:gd name="T2" fmla="*/ 0 w 118"/>
                  <a:gd name="T3" fmla="*/ 15 h 49"/>
                  <a:gd name="T4" fmla="*/ 15 w 118"/>
                  <a:gd name="T5" fmla="*/ 0 h 49"/>
                  <a:gd name="T6" fmla="*/ 101 w 118"/>
                  <a:gd name="T7" fmla="*/ 0 h 49"/>
                  <a:gd name="T8" fmla="*/ 117 w 118"/>
                  <a:gd name="T9" fmla="*/ 15 h 49"/>
                  <a:gd name="T10" fmla="*/ 117 w 118"/>
                  <a:gd name="T11" fmla="*/ 48 h 49"/>
                  <a:gd name="T12" fmla="*/ 0 w 118"/>
                  <a:gd name="T13" fmla="*/ 48 h 49"/>
                </a:gdLst>
                <a:ahLst/>
                <a:cxnLst>
                  <a:cxn ang="0">
                    <a:pos x="T0" y="T1"/>
                  </a:cxn>
                  <a:cxn ang="0">
                    <a:pos x="T2" y="T3"/>
                  </a:cxn>
                  <a:cxn ang="0">
                    <a:pos x="T4" y="T5"/>
                  </a:cxn>
                  <a:cxn ang="0">
                    <a:pos x="T6" y="T7"/>
                  </a:cxn>
                  <a:cxn ang="0">
                    <a:pos x="T8" y="T9"/>
                  </a:cxn>
                  <a:cxn ang="0">
                    <a:pos x="T10" y="T11"/>
                  </a:cxn>
                  <a:cxn ang="0">
                    <a:pos x="T12" y="T13"/>
                  </a:cxn>
                </a:cxnLst>
                <a:rect l="0" t="0" r="r" b="b"/>
                <a:pathLst>
                  <a:path w="118" h="49">
                    <a:moveTo>
                      <a:pt x="0" y="48"/>
                    </a:moveTo>
                    <a:lnTo>
                      <a:pt x="0" y="15"/>
                    </a:lnTo>
                    <a:cubicBezTo>
                      <a:pt x="0" y="7"/>
                      <a:pt x="7" y="0"/>
                      <a:pt x="15" y="0"/>
                    </a:cubicBezTo>
                    <a:lnTo>
                      <a:pt x="101" y="0"/>
                    </a:lnTo>
                    <a:cubicBezTo>
                      <a:pt x="110" y="0"/>
                      <a:pt x="117" y="7"/>
                      <a:pt x="117" y="15"/>
                    </a:cubicBezTo>
                    <a:lnTo>
                      <a:pt x="117" y="48"/>
                    </a:lnTo>
                    <a:lnTo>
                      <a:pt x="0" y="48"/>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0" name="Freeform 73"/>
              <p:cNvSpPr>
                <a:spLocks noChangeArrowheads="1"/>
              </p:cNvSpPr>
              <p:nvPr/>
            </p:nvSpPr>
            <p:spPr bwMode="auto">
              <a:xfrm>
                <a:off x="2930277" y="4865737"/>
                <a:ext cx="42862" cy="17463"/>
              </a:xfrm>
              <a:custGeom>
                <a:avLst/>
                <a:gdLst>
                  <a:gd name="T0" fmla="*/ 117 w 118"/>
                  <a:gd name="T1" fmla="*/ 0 h 49"/>
                  <a:gd name="T2" fmla="*/ 117 w 118"/>
                  <a:gd name="T3" fmla="*/ 33 h 49"/>
                  <a:gd name="T4" fmla="*/ 101 w 118"/>
                  <a:gd name="T5" fmla="*/ 48 h 49"/>
                  <a:gd name="T6" fmla="*/ 15 w 118"/>
                  <a:gd name="T7" fmla="*/ 48 h 49"/>
                  <a:gd name="T8" fmla="*/ 0 w 118"/>
                  <a:gd name="T9" fmla="*/ 33 h 49"/>
                  <a:gd name="T10" fmla="*/ 0 w 118"/>
                  <a:gd name="T11" fmla="*/ 0 h 49"/>
                  <a:gd name="T12" fmla="*/ 117 w 118"/>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118" h="49">
                    <a:moveTo>
                      <a:pt x="117" y="0"/>
                    </a:moveTo>
                    <a:lnTo>
                      <a:pt x="117" y="33"/>
                    </a:lnTo>
                    <a:cubicBezTo>
                      <a:pt x="117" y="41"/>
                      <a:pt x="110" y="48"/>
                      <a:pt x="101" y="48"/>
                    </a:cubicBezTo>
                    <a:lnTo>
                      <a:pt x="15" y="48"/>
                    </a:lnTo>
                    <a:cubicBezTo>
                      <a:pt x="7" y="48"/>
                      <a:pt x="0" y="41"/>
                      <a:pt x="0" y="33"/>
                    </a:cubicBezTo>
                    <a:lnTo>
                      <a:pt x="0" y="0"/>
                    </a:lnTo>
                    <a:lnTo>
                      <a:pt x="117" y="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1" name="Freeform 74"/>
              <p:cNvSpPr>
                <a:spLocks noChangeArrowheads="1"/>
              </p:cNvSpPr>
              <p:nvPr/>
            </p:nvSpPr>
            <p:spPr bwMode="auto">
              <a:xfrm>
                <a:off x="2920752" y="4756200"/>
                <a:ext cx="11112" cy="11112"/>
              </a:xfrm>
              <a:custGeom>
                <a:avLst/>
                <a:gdLst>
                  <a:gd name="T0" fmla="*/ 2 w 32"/>
                  <a:gd name="T1" fmla="*/ 4 h 33"/>
                  <a:gd name="T2" fmla="*/ 6 w 32"/>
                  <a:gd name="T3" fmla="*/ 0 h 33"/>
                  <a:gd name="T4" fmla="*/ 31 w 32"/>
                  <a:gd name="T5" fmla="*/ 0 h 33"/>
                  <a:gd name="T6" fmla="*/ 0 w 32"/>
                  <a:gd name="T7" fmla="*/ 32 h 33"/>
                  <a:gd name="T8" fmla="*/ 2 w 32"/>
                  <a:gd name="T9" fmla="*/ 4 h 33"/>
                </a:gdLst>
                <a:ahLst/>
                <a:cxnLst>
                  <a:cxn ang="0">
                    <a:pos x="T0" y="T1"/>
                  </a:cxn>
                  <a:cxn ang="0">
                    <a:pos x="T2" y="T3"/>
                  </a:cxn>
                  <a:cxn ang="0">
                    <a:pos x="T4" y="T5"/>
                  </a:cxn>
                  <a:cxn ang="0">
                    <a:pos x="T6" y="T7"/>
                  </a:cxn>
                  <a:cxn ang="0">
                    <a:pos x="T8" y="T9"/>
                  </a:cxn>
                </a:cxnLst>
                <a:rect l="0" t="0" r="r" b="b"/>
                <a:pathLst>
                  <a:path w="32" h="33">
                    <a:moveTo>
                      <a:pt x="2" y="4"/>
                    </a:moveTo>
                    <a:lnTo>
                      <a:pt x="6" y="0"/>
                    </a:lnTo>
                    <a:lnTo>
                      <a:pt x="31" y="0"/>
                    </a:lnTo>
                    <a:lnTo>
                      <a:pt x="0" y="32"/>
                    </a:lnTo>
                    <a:lnTo>
                      <a:pt x="2" y="4"/>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2" name="Freeform 75"/>
              <p:cNvSpPr>
                <a:spLocks noChangeArrowheads="1"/>
              </p:cNvSpPr>
              <p:nvPr/>
            </p:nvSpPr>
            <p:spPr bwMode="auto">
              <a:xfrm>
                <a:off x="2919164" y="4756200"/>
                <a:ext cx="28575" cy="28575"/>
              </a:xfrm>
              <a:custGeom>
                <a:avLst/>
                <a:gdLst>
                  <a:gd name="T0" fmla="*/ 3 w 81"/>
                  <a:gd name="T1" fmla="*/ 53 h 81"/>
                  <a:gd name="T2" fmla="*/ 55 w 81"/>
                  <a:gd name="T3" fmla="*/ 0 h 81"/>
                  <a:gd name="T4" fmla="*/ 80 w 81"/>
                  <a:gd name="T5" fmla="*/ 0 h 81"/>
                  <a:gd name="T6" fmla="*/ 0 w 81"/>
                  <a:gd name="T7" fmla="*/ 80 h 81"/>
                  <a:gd name="T8" fmla="*/ 3 w 81"/>
                  <a:gd name="T9" fmla="*/ 53 h 81"/>
                </a:gdLst>
                <a:ahLst/>
                <a:cxnLst>
                  <a:cxn ang="0">
                    <a:pos x="T0" y="T1"/>
                  </a:cxn>
                  <a:cxn ang="0">
                    <a:pos x="T2" y="T3"/>
                  </a:cxn>
                  <a:cxn ang="0">
                    <a:pos x="T4" y="T5"/>
                  </a:cxn>
                  <a:cxn ang="0">
                    <a:pos x="T6" y="T7"/>
                  </a:cxn>
                  <a:cxn ang="0">
                    <a:pos x="T8" y="T9"/>
                  </a:cxn>
                </a:cxnLst>
                <a:rect l="0" t="0" r="r" b="b"/>
                <a:pathLst>
                  <a:path w="81" h="81">
                    <a:moveTo>
                      <a:pt x="3" y="53"/>
                    </a:moveTo>
                    <a:lnTo>
                      <a:pt x="55" y="0"/>
                    </a:lnTo>
                    <a:lnTo>
                      <a:pt x="80" y="0"/>
                    </a:lnTo>
                    <a:lnTo>
                      <a:pt x="0" y="80"/>
                    </a:lnTo>
                    <a:lnTo>
                      <a:pt x="3" y="53"/>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3" name="Freeform 76"/>
              <p:cNvSpPr>
                <a:spLocks noChangeArrowheads="1"/>
              </p:cNvSpPr>
              <p:nvPr/>
            </p:nvSpPr>
            <p:spPr bwMode="auto">
              <a:xfrm>
                <a:off x="2917577" y="4756200"/>
                <a:ext cx="46037" cy="46037"/>
              </a:xfrm>
              <a:custGeom>
                <a:avLst/>
                <a:gdLst>
                  <a:gd name="T0" fmla="*/ 3 w 129"/>
                  <a:gd name="T1" fmla="*/ 101 h 129"/>
                  <a:gd name="T2" fmla="*/ 103 w 129"/>
                  <a:gd name="T3" fmla="*/ 0 h 129"/>
                  <a:gd name="T4" fmla="*/ 128 w 129"/>
                  <a:gd name="T5" fmla="*/ 0 h 129"/>
                  <a:gd name="T6" fmla="*/ 0 w 129"/>
                  <a:gd name="T7" fmla="*/ 128 h 129"/>
                  <a:gd name="T8" fmla="*/ 3 w 129"/>
                  <a:gd name="T9" fmla="*/ 101 h 129"/>
                </a:gdLst>
                <a:ahLst/>
                <a:cxnLst>
                  <a:cxn ang="0">
                    <a:pos x="T0" y="T1"/>
                  </a:cxn>
                  <a:cxn ang="0">
                    <a:pos x="T2" y="T3"/>
                  </a:cxn>
                  <a:cxn ang="0">
                    <a:pos x="T4" y="T5"/>
                  </a:cxn>
                  <a:cxn ang="0">
                    <a:pos x="T6" y="T7"/>
                  </a:cxn>
                  <a:cxn ang="0">
                    <a:pos x="T8" y="T9"/>
                  </a:cxn>
                </a:cxnLst>
                <a:rect l="0" t="0" r="r" b="b"/>
                <a:pathLst>
                  <a:path w="129" h="129">
                    <a:moveTo>
                      <a:pt x="3" y="101"/>
                    </a:moveTo>
                    <a:lnTo>
                      <a:pt x="103" y="0"/>
                    </a:lnTo>
                    <a:lnTo>
                      <a:pt x="128" y="0"/>
                    </a:lnTo>
                    <a:lnTo>
                      <a:pt x="0" y="128"/>
                    </a:lnTo>
                    <a:lnTo>
                      <a:pt x="3" y="101"/>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4" name="Freeform 77"/>
              <p:cNvSpPr>
                <a:spLocks noChangeArrowheads="1"/>
              </p:cNvSpPr>
              <p:nvPr/>
            </p:nvSpPr>
            <p:spPr bwMode="auto">
              <a:xfrm>
                <a:off x="2915989" y="4756200"/>
                <a:ext cx="63500" cy="63500"/>
              </a:xfrm>
              <a:custGeom>
                <a:avLst/>
                <a:gdLst>
                  <a:gd name="T0" fmla="*/ 2 w 177"/>
                  <a:gd name="T1" fmla="*/ 150 h 177"/>
                  <a:gd name="T2" fmla="*/ 151 w 177"/>
                  <a:gd name="T3" fmla="*/ 0 h 177"/>
                  <a:gd name="T4" fmla="*/ 176 w 177"/>
                  <a:gd name="T5" fmla="*/ 0 h 177"/>
                  <a:gd name="T6" fmla="*/ 0 w 177"/>
                  <a:gd name="T7" fmla="*/ 176 h 177"/>
                  <a:gd name="T8" fmla="*/ 2 w 177"/>
                  <a:gd name="T9" fmla="*/ 150 h 177"/>
                </a:gdLst>
                <a:ahLst/>
                <a:cxnLst>
                  <a:cxn ang="0">
                    <a:pos x="T0" y="T1"/>
                  </a:cxn>
                  <a:cxn ang="0">
                    <a:pos x="T2" y="T3"/>
                  </a:cxn>
                  <a:cxn ang="0">
                    <a:pos x="T4" y="T5"/>
                  </a:cxn>
                  <a:cxn ang="0">
                    <a:pos x="T6" y="T7"/>
                  </a:cxn>
                  <a:cxn ang="0">
                    <a:pos x="T8" y="T9"/>
                  </a:cxn>
                </a:cxnLst>
                <a:rect l="0" t="0" r="r" b="b"/>
                <a:pathLst>
                  <a:path w="177" h="177">
                    <a:moveTo>
                      <a:pt x="2" y="150"/>
                    </a:moveTo>
                    <a:lnTo>
                      <a:pt x="151" y="0"/>
                    </a:lnTo>
                    <a:lnTo>
                      <a:pt x="176" y="0"/>
                    </a:lnTo>
                    <a:lnTo>
                      <a:pt x="0" y="176"/>
                    </a:lnTo>
                    <a:lnTo>
                      <a:pt x="2" y="15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5" name="Freeform 78"/>
              <p:cNvSpPr>
                <a:spLocks noChangeArrowheads="1"/>
              </p:cNvSpPr>
              <p:nvPr/>
            </p:nvSpPr>
            <p:spPr bwMode="auto">
              <a:xfrm>
                <a:off x="2974727" y="4756200"/>
                <a:ext cx="7937" cy="9525"/>
              </a:xfrm>
              <a:custGeom>
                <a:avLst/>
                <a:gdLst>
                  <a:gd name="T0" fmla="*/ 18 w 21"/>
                  <a:gd name="T1" fmla="*/ 0 h 27"/>
                  <a:gd name="T2" fmla="*/ 20 w 21"/>
                  <a:gd name="T3" fmla="*/ 26 h 27"/>
                  <a:gd name="T4" fmla="*/ 0 w 21"/>
                  <a:gd name="T5" fmla="*/ 5 h 27"/>
                  <a:gd name="T6" fmla="*/ 4 w 21"/>
                  <a:gd name="T7" fmla="*/ 0 h 27"/>
                  <a:gd name="T8" fmla="*/ 18 w 21"/>
                  <a:gd name="T9" fmla="*/ 0 h 27"/>
                </a:gdLst>
                <a:ahLst/>
                <a:cxnLst>
                  <a:cxn ang="0">
                    <a:pos x="T0" y="T1"/>
                  </a:cxn>
                  <a:cxn ang="0">
                    <a:pos x="T2" y="T3"/>
                  </a:cxn>
                  <a:cxn ang="0">
                    <a:pos x="T4" y="T5"/>
                  </a:cxn>
                  <a:cxn ang="0">
                    <a:pos x="T6" y="T7"/>
                  </a:cxn>
                  <a:cxn ang="0">
                    <a:pos x="T8" y="T9"/>
                  </a:cxn>
                </a:cxnLst>
                <a:rect l="0" t="0" r="r" b="b"/>
                <a:pathLst>
                  <a:path w="21" h="27">
                    <a:moveTo>
                      <a:pt x="18" y="0"/>
                    </a:moveTo>
                    <a:lnTo>
                      <a:pt x="20" y="26"/>
                    </a:lnTo>
                    <a:lnTo>
                      <a:pt x="0" y="5"/>
                    </a:lnTo>
                    <a:lnTo>
                      <a:pt x="4" y="0"/>
                    </a:lnTo>
                    <a:lnTo>
                      <a:pt x="18" y="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6" name="Freeform 79"/>
              <p:cNvSpPr>
                <a:spLocks noChangeArrowheads="1"/>
              </p:cNvSpPr>
              <p:nvPr/>
            </p:nvSpPr>
            <p:spPr bwMode="auto">
              <a:xfrm>
                <a:off x="2966789" y="4762550"/>
                <a:ext cx="17463" cy="22225"/>
              </a:xfrm>
              <a:custGeom>
                <a:avLst/>
                <a:gdLst>
                  <a:gd name="T0" fmla="*/ 46 w 47"/>
                  <a:gd name="T1" fmla="*/ 59 h 60"/>
                  <a:gd name="T2" fmla="*/ 0 w 47"/>
                  <a:gd name="T3" fmla="*/ 12 h 60"/>
                  <a:gd name="T4" fmla="*/ 12 w 47"/>
                  <a:gd name="T5" fmla="*/ 0 h 60"/>
                  <a:gd name="T6" fmla="*/ 44 w 47"/>
                  <a:gd name="T7" fmla="*/ 32 h 60"/>
                  <a:gd name="T8" fmla="*/ 46 w 47"/>
                  <a:gd name="T9" fmla="*/ 59 h 60"/>
                </a:gdLst>
                <a:ahLst/>
                <a:cxnLst>
                  <a:cxn ang="0">
                    <a:pos x="T0" y="T1"/>
                  </a:cxn>
                  <a:cxn ang="0">
                    <a:pos x="T2" y="T3"/>
                  </a:cxn>
                  <a:cxn ang="0">
                    <a:pos x="T4" y="T5"/>
                  </a:cxn>
                  <a:cxn ang="0">
                    <a:pos x="T6" y="T7"/>
                  </a:cxn>
                  <a:cxn ang="0">
                    <a:pos x="T8" y="T9"/>
                  </a:cxn>
                </a:cxnLst>
                <a:rect l="0" t="0" r="r" b="b"/>
                <a:pathLst>
                  <a:path w="47" h="60">
                    <a:moveTo>
                      <a:pt x="46" y="59"/>
                    </a:moveTo>
                    <a:lnTo>
                      <a:pt x="0" y="12"/>
                    </a:lnTo>
                    <a:lnTo>
                      <a:pt x="12" y="0"/>
                    </a:lnTo>
                    <a:lnTo>
                      <a:pt x="44" y="32"/>
                    </a:lnTo>
                    <a:lnTo>
                      <a:pt x="46" y="59"/>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7" name="Freeform 80"/>
              <p:cNvSpPr>
                <a:spLocks noChangeArrowheads="1"/>
              </p:cNvSpPr>
              <p:nvPr/>
            </p:nvSpPr>
            <p:spPr bwMode="auto">
              <a:xfrm>
                <a:off x="2958852" y="4770487"/>
                <a:ext cx="26987" cy="31750"/>
              </a:xfrm>
              <a:custGeom>
                <a:avLst/>
                <a:gdLst>
                  <a:gd name="T0" fmla="*/ 72 w 73"/>
                  <a:gd name="T1" fmla="*/ 85 h 86"/>
                  <a:gd name="T2" fmla="*/ 0 w 73"/>
                  <a:gd name="T3" fmla="*/ 12 h 86"/>
                  <a:gd name="T4" fmla="*/ 12 w 73"/>
                  <a:gd name="T5" fmla="*/ 0 h 86"/>
                  <a:gd name="T6" fmla="*/ 70 w 73"/>
                  <a:gd name="T7" fmla="*/ 58 h 86"/>
                  <a:gd name="T8" fmla="*/ 72 w 73"/>
                  <a:gd name="T9" fmla="*/ 85 h 86"/>
                </a:gdLst>
                <a:ahLst/>
                <a:cxnLst>
                  <a:cxn ang="0">
                    <a:pos x="T0" y="T1"/>
                  </a:cxn>
                  <a:cxn ang="0">
                    <a:pos x="T2" y="T3"/>
                  </a:cxn>
                  <a:cxn ang="0">
                    <a:pos x="T4" y="T5"/>
                  </a:cxn>
                  <a:cxn ang="0">
                    <a:pos x="T6" y="T7"/>
                  </a:cxn>
                  <a:cxn ang="0">
                    <a:pos x="T8" y="T9"/>
                  </a:cxn>
                </a:cxnLst>
                <a:rect l="0" t="0" r="r" b="b"/>
                <a:pathLst>
                  <a:path w="73" h="86">
                    <a:moveTo>
                      <a:pt x="72" y="85"/>
                    </a:moveTo>
                    <a:lnTo>
                      <a:pt x="0" y="12"/>
                    </a:lnTo>
                    <a:lnTo>
                      <a:pt x="12" y="0"/>
                    </a:lnTo>
                    <a:lnTo>
                      <a:pt x="70" y="58"/>
                    </a:lnTo>
                    <a:lnTo>
                      <a:pt x="72" y="85"/>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8" name="Freeform 81"/>
              <p:cNvSpPr>
                <a:spLocks noChangeArrowheads="1"/>
              </p:cNvSpPr>
              <p:nvPr/>
            </p:nvSpPr>
            <p:spPr bwMode="auto">
              <a:xfrm>
                <a:off x="2914402" y="4778425"/>
                <a:ext cx="53975" cy="58737"/>
              </a:xfrm>
              <a:custGeom>
                <a:avLst/>
                <a:gdLst>
                  <a:gd name="T0" fmla="*/ 2 w 151"/>
                  <a:gd name="T1" fmla="*/ 135 h 164"/>
                  <a:gd name="T2" fmla="*/ 137 w 151"/>
                  <a:gd name="T3" fmla="*/ 0 h 164"/>
                  <a:gd name="T4" fmla="*/ 150 w 151"/>
                  <a:gd name="T5" fmla="*/ 13 h 164"/>
                  <a:gd name="T6" fmla="*/ 0 w 151"/>
                  <a:gd name="T7" fmla="*/ 163 h 164"/>
                  <a:gd name="T8" fmla="*/ 2 w 151"/>
                  <a:gd name="T9" fmla="*/ 135 h 164"/>
                </a:gdLst>
                <a:ahLst/>
                <a:cxnLst>
                  <a:cxn ang="0">
                    <a:pos x="T0" y="T1"/>
                  </a:cxn>
                  <a:cxn ang="0">
                    <a:pos x="T2" y="T3"/>
                  </a:cxn>
                  <a:cxn ang="0">
                    <a:pos x="T4" y="T5"/>
                  </a:cxn>
                  <a:cxn ang="0">
                    <a:pos x="T6" y="T7"/>
                  </a:cxn>
                  <a:cxn ang="0">
                    <a:pos x="T8" y="T9"/>
                  </a:cxn>
                </a:cxnLst>
                <a:rect l="0" t="0" r="r" b="b"/>
                <a:pathLst>
                  <a:path w="151" h="164">
                    <a:moveTo>
                      <a:pt x="2" y="135"/>
                    </a:moveTo>
                    <a:lnTo>
                      <a:pt x="137" y="0"/>
                    </a:lnTo>
                    <a:lnTo>
                      <a:pt x="150" y="13"/>
                    </a:lnTo>
                    <a:lnTo>
                      <a:pt x="0" y="163"/>
                    </a:lnTo>
                    <a:lnTo>
                      <a:pt x="2" y="135"/>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89" name="Freeform 82"/>
              <p:cNvSpPr>
                <a:spLocks noChangeArrowheads="1"/>
              </p:cNvSpPr>
              <p:nvPr/>
            </p:nvSpPr>
            <p:spPr bwMode="auto">
              <a:xfrm>
                <a:off x="2912814" y="4786362"/>
                <a:ext cx="63500" cy="68263"/>
              </a:xfrm>
              <a:custGeom>
                <a:avLst/>
                <a:gdLst>
                  <a:gd name="T0" fmla="*/ 3 w 178"/>
                  <a:gd name="T1" fmla="*/ 162 h 190"/>
                  <a:gd name="T2" fmla="*/ 164 w 178"/>
                  <a:gd name="T3" fmla="*/ 0 h 190"/>
                  <a:gd name="T4" fmla="*/ 177 w 178"/>
                  <a:gd name="T5" fmla="*/ 13 h 190"/>
                  <a:gd name="T6" fmla="*/ 0 w 178"/>
                  <a:gd name="T7" fmla="*/ 189 h 190"/>
                  <a:gd name="T8" fmla="*/ 3 w 178"/>
                  <a:gd name="T9" fmla="*/ 162 h 190"/>
                </a:gdLst>
                <a:ahLst/>
                <a:cxnLst>
                  <a:cxn ang="0">
                    <a:pos x="T0" y="T1"/>
                  </a:cxn>
                  <a:cxn ang="0">
                    <a:pos x="T2" y="T3"/>
                  </a:cxn>
                  <a:cxn ang="0">
                    <a:pos x="T4" y="T5"/>
                  </a:cxn>
                  <a:cxn ang="0">
                    <a:pos x="T6" y="T7"/>
                  </a:cxn>
                  <a:cxn ang="0">
                    <a:pos x="T8" y="T9"/>
                  </a:cxn>
                </a:cxnLst>
                <a:rect l="0" t="0" r="r" b="b"/>
                <a:pathLst>
                  <a:path w="178" h="190">
                    <a:moveTo>
                      <a:pt x="3" y="162"/>
                    </a:moveTo>
                    <a:lnTo>
                      <a:pt x="164" y="0"/>
                    </a:lnTo>
                    <a:lnTo>
                      <a:pt x="177" y="13"/>
                    </a:lnTo>
                    <a:lnTo>
                      <a:pt x="0" y="189"/>
                    </a:lnTo>
                    <a:lnTo>
                      <a:pt x="3" y="162"/>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0" name="Freeform 83"/>
              <p:cNvSpPr>
                <a:spLocks noChangeArrowheads="1"/>
              </p:cNvSpPr>
              <p:nvPr/>
            </p:nvSpPr>
            <p:spPr bwMode="auto">
              <a:xfrm>
                <a:off x="2911227" y="4794300"/>
                <a:ext cx="73025" cy="73025"/>
              </a:xfrm>
              <a:custGeom>
                <a:avLst/>
                <a:gdLst>
                  <a:gd name="T0" fmla="*/ 0 w 203"/>
                  <a:gd name="T1" fmla="*/ 200 h 201"/>
                  <a:gd name="T2" fmla="*/ 2 w 203"/>
                  <a:gd name="T3" fmla="*/ 188 h 201"/>
                  <a:gd name="T4" fmla="*/ 189 w 203"/>
                  <a:gd name="T5" fmla="*/ 0 h 201"/>
                  <a:gd name="T6" fmla="*/ 202 w 203"/>
                  <a:gd name="T7" fmla="*/ 13 h 201"/>
                  <a:gd name="T8" fmla="*/ 14 w 203"/>
                  <a:gd name="T9" fmla="*/ 200 h 201"/>
                  <a:gd name="T10" fmla="*/ 0 w 203"/>
                  <a:gd name="T11" fmla="*/ 200 h 201"/>
                </a:gdLst>
                <a:ahLst/>
                <a:cxnLst>
                  <a:cxn ang="0">
                    <a:pos x="T0" y="T1"/>
                  </a:cxn>
                  <a:cxn ang="0">
                    <a:pos x="T2" y="T3"/>
                  </a:cxn>
                  <a:cxn ang="0">
                    <a:pos x="T4" y="T5"/>
                  </a:cxn>
                  <a:cxn ang="0">
                    <a:pos x="T6" y="T7"/>
                  </a:cxn>
                  <a:cxn ang="0">
                    <a:pos x="T8" y="T9"/>
                  </a:cxn>
                  <a:cxn ang="0">
                    <a:pos x="T10" y="T11"/>
                  </a:cxn>
                </a:cxnLst>
                <a:rect l="0" t="0" r="r" b="b"/>
                <a:pathLst>
                  <a:path w="203" h="201">
                    <a:moveTo>
                      <a:pt x="0" y="200"/>
                    </a:moveTo>
                    <a:lnTo>
                      <a:pt x="2" y="188"/>
                    </a:lnTo>
                    <a:lnTo>
                      <a:pt x="189" y="0"/>
                    </a:lnTo>
                    <a:lnTo>
                      <a:pt x="202" y="13"/>
                    </a:lnTo>
                    <a:lnTo>
                      <a:pt x="14" y="200"/>
                    </a:lnTo>
                    <a:lnTo>
                      <a:pt x="0" y="20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1" name="Freeform 84"/>
              <p:cNvSpPr>
                <a:spLocks noChangeArrowheads="1"/>
              </p:cNvSpPr>
              <p:nvPr/>
            </p:nvSpPr>
            <p:spPr bwMode="auto">
              <a:xfrm>
                <a:off x="2923927" y="4803825"/>
                <a:ext cx="63500" cy="61912"/>
              </a:xfrm>
              <a:custGeom>
                <a:avLst/>
                <a:gdLst>
                  <a:gd name="T0" fmla="*/ 0 w 176"/>
                  <a:gd name="T1" fmla="*/ 173 h 174"/>
                  <a:gd name="T2" fmla="*/ 173 w 176"/>
                  <a:gd name="T3" fmla="*/ 0 h 174"/>
                  <a:gd name="T4" fmla="*/ 175 w 176"/>
                  <a:gd name="T5" fmla="*/ 24 h 174"/>
                  <a:gd name="T6" fmla="*/ 25 w 176"/>
                  <a:gd name="T7" fmla="*/ 173 h 174"/>
                  <a:gd name="T8" fmla="*/ 0 w 176"/>
                  <a:gd name="T9" fmla="*/ 173 h 174"/>
                </a:gdLst>
                <a:ahLst/>
                <a:cxnLst>
                  <a:cxn ang="0">
                    <a:pos x="T0" y="T1"/>
                  </a:cxn>
                  <a:cxn ang="0">
                    <a:pos x="T2" y="T3"/>
                  </a:cxn>
                  <a:cxn ang="0">
                    <a:pos x="T4" y="T5"/>
                  </a:cxn>
                  <a:cxn ang="0">
                    <a:pos x="T6" y="T7"/>
                  </a:cxn>
                  <a:cxn ang="0">
                    <a:pos x="T8" y="T9"/>
                  </a:cxn>
                </a:cxnLst>
                <a:rect l="0" t="0" r="r" b="b"/>
                <a:pathLst>
                  <a:path w="176" h="174">
                    <a:moveTo>
                      <a:pt x="0" y="173"/>
                    </a:moveTo>
                    <a:lnTo>
                      <a:pt x="173" y="0"/>
                    </a:lnTo>
                    <a:lnTo>
                      <a:pt x="175" y="24"/>
                    </a:lnTo>
                    <a:lnTo>
                      <a:pt x="25" y="173"/>
                    </a:lnTo>
                    <a:lnTo>
                      <a:pt x="0" y="173"/>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2" name="Freeform 85"/>
              <p:cNvSpPr>
                <a:spLocks noChangeArrowheads="1"/>
              </p:cNvSpPr>
              <p:nvPr/>
            </p:nvSpPr>
            <p:spPr bwMode="auto">
              <a:xfrm>
                <a:off x="2982664" y="4810175"/>
                <a:ext cx="3175" cy="7937"/>
              </a:xfrm>
              <a:custGeom>
                <a:avLst/>
                <a:gdLst>
                  <a:gd name="T0" fmla="*/ 10 w 11"/>
                  <a:gd name="T1" fmla="*/ 20 h 21"/>
                  <a:gd name="T2" fmla="*/ 0 w 11"/>
                  <a:gd name="T3" fmla="*/ 9 h 21"/>
                  <a:gd name="T4" fmla="*/ 9 w 11"/>
                  <a:gd name="T5" fmla="*/ 0 h 21"/>
                  <a:gd name="T6" fmla="*/ 10 w 11"/>
                  <a:gd name="T7" fmla="*/ 20 h 21"/>
                </a:gdLst>
                <a:ahLst/>
                <a:cxnLst>
                  <a:cxn ang="0">
                    <a:pos x="T0" y="T1"/>
                  </a:cxn>
                  <a:cxn ang="0">
                    <a:pos x="T2" y="T3"/>
                  </a:cxn>
                  <a:cxn ang="0">
                    <a:pos x="T4" y="T5"/>
                  </a:cxn>
                  <a:cxn ang="0">
                    <a:pos x="T6" y="T7"/>
                  </a:cxn>
                </a:cxnLst>
                <a:rect l="0" t="0" r="r" b="b"/>
                <a:pathLst>
                  <a:path w="11" h="21">
                    <a:moveTo>
                      <a:pt x="10" y="20"/>
                    </a:moveTo>
                    <a:lnTo>
                      <a:pt x="0" y="9"/>
                    </a:lnTo>
                    <a:lnTo>
                      <a:pt x="9" y="0"/>
                    </a:lnTo>
                    <a:lnTo>
                      <a:pt x="10" y="2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3" name="Freeform 86"/>
              <p:cNvSpPr>
                <a:spLocks noChangeArrowheads="1"/>
              </p:cNvSpPr>
              <p:nvPr/>
            </p:nvSpPr>
            <p:spPr bwMode="auto">
              <a:xfrm>
                <a:off x="2974727" y="4816525"/>
                <a:ext cx="14287" cy="17462"/>
              </a:xfrm>
              <a:custGeom>
                <a:avLst/>
                <a:gdLst>
                  <a:gd name="T0" fmla="*/ 37 w 38"/>
                  <a:gd name="T1" fmla="*/ 49 h 50"/>
                  <a:gd name="T2" fmla="*/ 0 w 38"/>
                  <a:gd name="T3" fmla="*/ 12 h 50"/>
                  <a:gd name="T4" fmla="*/ 12 w 38"/>
                  <a:gd name="T5" fmla="*/ 0 h 50"/>
                  <a:gd name="T6" fmla="*/ 34 w 38"/>
                  <a:gd name="T7" fmla="*/ 23 h 50"/>
                  <a:gd name="T8" fmla="*/ 37 w 38"/>
                  <a:gd name="T9" fmla="*/ 49 h 50"/>
                </a:gdLst>
                <a:ahLst/>
                <a:cxnLst>
                  <a:cxn ang="0">
                    <a:pos x="T0" y="T1"/>
                  </a:cxn>
                  <a:cxn ang="0">
                    <a:pos x="T2" y="T3"/>
                  </a:cxn>
                  <a:cxn ang="0">
                    <a:pos x="T4" y="T5"/>
                  </a:cxn>
                  <a:cxn ang="0">
                    <a:pos x="T6" y="T7"/>
                  </a:cxn>
                  <a:cxn ang="0">
                    <a:pos x="T8" y="T9"/>
                  </a:cxn>
                </a:cxnLst>
                <a:rect l="0" t="0" r="r" b="b"/>
                <a:pathLst>
                  <a:path w="38" h="50">
                    <a:moveTo>
                      <a:pt x="37" y="49"/>
                    </a:moveTo>
                    <a:lnTo>
                      <a:pt x="0" y="12"/>
                    </a:lnTo>
                    <a:lnTo>
                      <a:pt x="12" y="0"/>
                    </a:lnTo>
                    <a:lnTo>
                      <a:pt x="34" y="23"/>
                    </a:lnTo>
                    <a:lnTo>
                      <a:pt x="37" y="49"/>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4" name="Freeform 87"/>
              <p:cNvSpPr>
                <a:spLocks noChangeArrowheads="1"/>
              </p:cNvSpPr>
              <p:nvPr/>
            </p:nvSpPr>
            <p:spPr bwMode="auto">
              <a:xfrm>
                <a:off x="2966789" y="4824462"/>
                <a:ext cx="23813" cy="26988"/>
              </a:xfrm>
              <a:custGeom>
                <a:avLst/>
                <a:gdLst>
                  <a:gd name="T0" fmla="*/ 64 w 65"/>
                  <a:gd name="T1" fmla="*/ 76 h 77"/>
                  <a:gd name="T2" fmla="*/ 0 w 65"/>
                  <a:gd name="T3" fmla="*/ 12 h 77"/>
                  <a:gd name="T4" fmla="*/ 13 w 65"/>
                  <a:gd name="T5" fmla="*/ 0 h 77"/>
                  <a:gd name="T6" fmla="*/ 62 w 65"/>
                  <a:gd name="T7" fmla="*/ 49 h 77"/>
                  <a:gd name="T8" fmla="*/ 64 w 65"/>
                  <a:gd name="T9" fmla="*/ 76 h 77"/>
                </a:gdLst>
                <a:ahLst/>
                <a:cxnLst>
                  <a:cxn ang="0">
                    <a:pos x="T0" y="T1"/>
                  </a:cxn>
                  <a:cxn ang="0">
                    <a:pos x="T2" y="T3"/>
                  </a:cxn>
                  <a:cxn ang="0">
                    <a:pos x="T4" y="T5"/>
                  </a:cxn>
                  <a:cxn ang="0">
                    <a:pos x="T6" y="T7"/>
                  </a:cxn>
                  <a:cxn ang="0">
                    <a:pos x="T8" y="T9"/>
                  </a:cxn>
                </a:cxnLst>
                <a:rect l="0" t="0" r="r" b="b"/>
                <a:pathLst>
                  <a:path w="65" h="77">
                    <a:moveTo>
                      <a:pt x="64" y="76"/>
                    </a:moveTo>
                    <a:lnTo>
                      <a:pt x="0" y="12"/>
                    </a:lnTo>
                    <a:lnTo>
                      <a:pt x="13" y="0"/>
                    </a:lnTo>
                    <a:lnTo>
                      <a:pt x="62" y="49"/>
                    </a:lnTo>
                    <a:lnTo>
                      <a:pt x="64" y="76"/>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5" name="Freeform 88"/>
              <p:cNvSpPr>
                <a:spLocks noChangeArrowheads="1"/>
              </p:cNvSpPr>
              <p:nvPr/>
            </p:nvSpPr>
            <p:spPr bwMode="auto">
              <a:xfrm>
                <a:off x="2958852" y="4832400"/>
                <a:ext cx="33337" cy="33337"/>
              </a:xfrm>
              <a:custGeom>
                <a:avLst/>
                <a:gdLst>
                  <a:gd name="T0" fmla="*/ 90 w 91"/>
                  <a:gd name="T1" fmla="*/ 93 h 94"/>
                  <a:gd name="T2" fmla="*/ 81 w 91"/>
                  <a:gd name="T3" fmla="*/ 93 h 94"/>
                  <a:gd name="T4" fmla="*/ 0 w 91"/>
                  <a:gd name="T5" fmla="*/ 12 h 94"/>
                  <a:gd name="T6" fmla="*/ 13 w 91"/>
                  <a:gd name="T7" fmla="*/ 0 h 94"/>
                  <a:gd name="T8" fmla="*/ 88 w 91"/>
                  <a:gd name="T9" fmla="*/ 75 h 94"/>
                  <a:gd name="T10" fmla="*/ 90 w 91"/>
                  <a:gd name="T11" fmla="*/ 93 h 94"/>
                </a:gdLst>
                <a:ahLst/>
                <a:cxnLst>
                  <a:cxn ang="0">
                    <a:pos x="T0" y="T1"/>
                  </a:cxn>
                  <a:cxn ang="0">
                    <a:pos x="T2" y="T3"/>
                  </a:cxn>
                  <a:cxn ang="0">
                    <a:pos x="T4" y="T5"/>
                  </a:cxn>
                  <a:cxn ang="0">
                    <a:pos x="T6" y="T7"/>
                  </a:cxn>
                  <a:cxn ang="0">
                    <a:pos x="T8" y="T9"/>
                  </a:cxn>
                  <a:cxn ang="0">
                    <a:pos x="T10" y="T11"/>
                  </a:cxn>
                </a:cxnLst>
                <a:rect l="0" t="0" r="r" b="b"/>
                <a:pathLst>
                  <a:path w="91" h="94">
                    <a:moveTo>
                      <a:pt x="90" y="93"/>
                    </a:moveTo>
                    <a:lnTo>
                      <a:pt x="81" y="93"/>
                    </a:lnTo>
                    <a:lnTo>
                      <a:pt x="0" y="12"/>
                    </a:lnTo>
                    <a:lnTo>
                      <a:pt x="13" y="0"/>
                    </a:lnTo>
                    <a:lnTo>
                      <a:pt x="88" y="75"/>
                    </a:lnTo>
                    <a:lnTo>
                      <a:pt x="90" y="93"/>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6" name="Freeform 89"/>
              <p:cNvSpPr>
                <a:spLocks noChangeArrowheads="1"/>
              </p:cNvSpPr>
              <p:nvPr/>
            </p:nvSpPr>
            <p:spPr bwMode="auto">
              <a:xfrm>
                <a:off x="2938214" y="4840337"/>
                <a:ext cx="30163" cy="25400"/>
              </a:xfrm>
              <a:custGeom>
                <a:avLst/>
                <a:gdLst>
                  <a:gd name="T0" fmla="*/ 0 w 84"/>
                  <a:gd name="T1" fmla="*/ 70 h 71"/>
                  <a:gd name="T2" fmla="*/ 70 w 84"/>
                  <a:gd name="T3" fmla="*/ 0 h 71"/>
                  <a:gd name="T4" fmla="*/ 83 w 84"/>
                  <a:gd name="T5" fmla="*/ 13 h 71"/>
                  <a:gd name="T6" fmla="*/ 25 w 84"/>
                  <a:gd name="T7" fmla="*/ 70 h 71"/>
                  <a:gd name="T8" fmla="*/ 0 w 84"/>
                  <a:gd name="T9" fmla="*/ 70 h 71"/>
                </a:gdLst>
                <a:ahLst/>
                <a:cxnLst>
                  <a:cxn ang="0">
                    <a:pos x="T0" y="T1"/>
                  </a:cxn>
                  <a:cxn ang="0">
                    <a:pos x="T2" y="T3"/>
                  </a:cxn>
                  <a:cxn ang="0">
                    <a:pos x="T4" y="T5"/>
                  </a:cxn>
                  <a:cxn ang="0">
                    <a:pos x="T6" y="T7"/>
                  </a:cxn>
                  <a:cxn ang="0">
                    <a:pos x="T8" y="T9"/>
                  </a:cxn>
                </a:cxnLst>
                <a:rect l="0" t="0" r="r" b="b"/>
                <a:pathLst>
                  <a:path w="84" h="71">
                    <a:moveTo>
                      <a:pt x="0" y="70"/>
                    </a:moveTo>
                    <a:lnTo>
                      <a:pt x="70" y="0"/>
                    </a:lnTo>
                    <a:lnTo>
                      <a:pt x="83" y="13"/>
                    </a:lnTo>
                    <a:lnTo>
                      <a:pt x="25" y="70"/>
                    </a:lnTo>
                    <a:lnTo>
                      <a:pt x="0" y="7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7" name="Freeform 90"/>
              <p:cNvSpPr>
                <a:spLocks noChangeArrowheads="1"/>
              </p:cNvSpPr>
              <p:nvPr/>
            </p:nvSpPr>
            <p:spPr bwMode="auto">
              <a:xfrm>
                <a:off x="2954089" y="4848275"/>
                <a:ext cx="22225" cy="17462"/>
              </a:xfrm>
              <a:custGeom>
                <a:avLst/>
                <a:gdLst>
                  <a:gd name="T0" fmla="*/ 0 w 62"/>
                  <a:gd name="T1" fmla="*/ 48 h 49"/>
                  <a:gd name="T2" fmla="*/ 48 w 62"/>
                  <a:gd name="T3" fmla="*/ 0 h 49"/>
                  <a:gd name="T4" fmla="*/ 61 w 62"/>
                  <a:gd name="T5" fmla="*/ 13 h 49"/>
                  <a:gd name="T6" fmla="*/ 25 w 62"/>
                  <a:gd name="T7" fmla="*/ 48 h 49"/>
                  <a:gd name="T8" fmla="*/ 0 w 62"/>
                  <a:gd name="T9" fmla="*/ 48 h 49"/>
                </a:gdLst>
                <a:ahLst/>
                <a:cxnLst>
                  <a:cxn ang="0">
                    <a:pos x="T0" y="T1"/>
                  </a:cxn>
                  <a:cxn ang="0">
                    <a:pos x="T2" y="T3"/>
                  </a:cxn>
                  <a:cxn ang="0">
                    <a:pos x="T4" y="T5"/>
                  </a:cxn>
                  <a:cxn ang="0">
                    <a:pos x="T6" y="T7"/>
                  </a:cxn>
                  <a:cxn ang="0">
                    <a:pos x="T8" y="T9"/>
                  </a:cxn>
                </a:cxnLst>
                <a:rect l="0" t="0" r="r" b="b"/>
                <a:pathLst>
                  <a:path w="62" h="49">
                    <a:moveTo>
                      <a:pt x="0" y="48"/>
                    </a:moveTo>
                    <a:lnTo>
                      <a:pt x="48" y="0"/>
                    </a:lnTo>
                    <a:lnTo>
                      <a:pt x="61" y="13"/>
                    </a:lnTo>
                    <a:lnTo>
                      <a:pt x="25" y="48"/>
                    </a:lnTo>
                    <a:lnTo>
                      <a:pt x="0" y="48"/>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8" name="Freeform 91"/>
              <p:cNvSpPr>
                <a:spLocks noChangeArrowheads="1"/>
              </p:cNvSpPr>
              <p:nvPr/>
            </p:nvSpPr>
            <p:spPr bwMode="auto">
              <a:xfrm>
                <a:off x="2969964" y="4856212"/>
                <a:ext cx="14288" cy="9525"/>
              </a:xfrm>
              <a:custGeom>
                <a:avLst/>
                <a:gdLst>
                  <a:gd name="T0" fmla="*/ 0 w 40"/>
                  <a:gd name="T1" fmla="*/ 26 h 27"/>
                  <a:gd name="T2" fmla="*/ 26 w 40"/>
                  <a:gd name="T3" fmla="*/ 0 h 27"/>
                  <a:gd name="T4" fmla="*/ 39 w 40"/>
                  <a:gd name="T5" fmla="*/ 12 h 27"/>
                  <a:gd name="T6" fmla="*/ 25 w 40"/>
                  <a:gd name="T7" fmla="*/ 26 h 27"/>
                  <a:gd name="T8" fmla="*/ 0 w 40"/>
                  <a:gd name="T9" fmla="*/ 26 h 27"/>
                </a:gdLst>
                <a:ahLst/>
                <a:cxnLst>
                  <a:cxn ang="0">
                    <a:pos x="T0" y="T1"/>
                  </a:cxn>
                  <a:cxn ang="0">
                    <a:pos x="T2" y="T3"/>
                  </a:cxn>
                  <a:cxn ang="0">
                    <a:pos x="T4" y="T5"/>
                  </a:cxn>
                  <a:cxn ang="0">
                    <a:pos x="T6" y="T7"/>
                  </a:cxn>
                  <a:cxn ang="0">
                    <a:pos x="T8" y="T9"/>
                  </a:cxn>
                </a:cxnLst>
                <a:rect l="0" t="0" r="r" b="b"/>
                <a:pathLst>
                  <a:path w="40" h="27">
                    <a:moveTo>
                      <a:pt x="0" y="26"/>
                    </a:moveTo>
                    <a:lnTo>
                      <a:pt x="26" y="0"/>
                    </a:lnTo>
                    <a:lnTo>
                      <a:pt x="39" y="12"/>
                    </a:lnTo>
                    <a:lnTo>
                      <a:pt x="25" y="26"/>
                    </a:lnTo>
                    <a:lnTo>
                      <a:pt x="0" y="26"/>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199" name="Freeform 92"/>
              <p:cNvSpPr>
                <a:spLocks noChangeArrowheads="1"/>
              </p:cNvSpPr>
              <p:nvPr/>
            </p:nvSpPr>
            <p:spPr bwMode="auto">
              <a:xfrm>
                <a:off x="2985839" y="4864150"/>
                <a:ext cx="3175" cy="1587"/>
              </a:xfrm>
              <a:custGeom>
                <a:avLst/>
                <a:gdLst>
                  <a:gd name="T0" fmla="*/ 0 w 9"/>
                  <a:gd name="T1" fmla="*/ 4 h 5"/>
                  <a:gd name="T2" fmla="*/ 4 w 9"/>
                  <a:gd name="T3" fmla="*/ 0 h 5"/>
                  <a:gd name="T4" fmla="*/ 8 w 9"/>
                  <a:gd name="T5" fmla="*/ 4 h 5"/>
                  <a:gd name="T6" fmla="*/ 0 w 9"/>
                  <a:gd name="T7" fmla="*/ 4 h 5"/>
                </a:gdLst>
                <a:ahLst/>
                <a:cxnLst>
                  <a:cxn ang="0">
                    <a:pos x="T0" y="T1"/>
                  </a:cxn>
                  <a:cxn ang="0">
                    <a:pos x="T2" y="T3"/>
                  </a:cxn>
                  <a:cxn ang="0">
                    <a:pos x="T4" y="T5"/>
                  </a:cxn>
                  <a:cxn ang="0">
                    <a:pos x="T6" y="T7"/>
                  </a:cxn>
                </a:cxnLst>
                <a:rect l="0" t="0" r="r" b="b"/>
                <a:pathLst>
                  <a:path w="9" h="5">
                    <a:moveTo>
                      <a:pt x="0" y="4"/>
                    </a:moveTo>
                    <a:lnTo>
                      <a:pt x="4" y="0"/>
                    </a:lnTo>
                    <a:lnTo>
                      <a:pt x="8" y="4"/>
                    </a:lnTo>
                    <a:lnTo>
                      <a:pt x="0" y="4"/>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grpSp>
      </p:grpSp>
      <p:grpSp>
        <p:nvGrpSpPr>
          <p:cNvPr id="200" name="Group 3086"/>
          <p:cNvGrpSpPr/>
          <p:nvPr/>
        </p:nvGrpSpPr>
        <p:grpSpPr>
          <a:xfrm>
            <a:off x="4388549" y="4978401"/>
            <a:ext cx="578948" cy="215900"/>
            <a:chOff x="2864549" y="4978401"/>
            <a:chExt cx="578948" cy="215900"/>
          </a:xfrm>
        </p:grpSpPr>
        <p:sp>
          <p:nvSpPr>
            <p:cNvPr id="201" name="Freeform 1"/>
            <p:cNvSpPr>
              <a:spLocks noChangeArrowheads="1"/>
            </p:cNvSpPr>
            <p:nvPr/>
          </p:nvSpPr>
          <p:spPr bwMode="auto">
            <a:xfrm>
              <a:off x="2864549" y="4978401"/>
              <a:ext cx="565150" cy="215900"/>
            </a:xfrm>
            <a:custGeom>
              <a:avLst/>
              <a:gdLst>
                <a:gd name="T0" fmla="*/ 1271 w 1572"/>
                <a:gd name="T1" fmla="*/ 0 h 600"/>
                <a:gd name="T2" fmla="*/ 300 w 1572"/>
                <a:gd name="T3" fmla="*/ 0 h 600"/>
                <a:gd name="T4" fmla="*/ 300 w 1572"/>
                <a:gd name="T5" fmla="*/ 0 h 600"/>
                <a:gd name="T6" fmla="*/ 0 w 1572"/>
                <a:gd name="T7" fmla="*/ 299 h 600"/>
                <a:gd name="T8" fmla="*/ 300 w 1572"/>
                <a:gd name="T9" fmla="*/ 599 h 600"/>
                <a:gd name="T10" fmla="*/ 300 w 1572"/>
                <a:gd name="T11" fmla="*/ 599 h 600"/>
                <a:gd name="T12" fmla="*/ 1271 w 1572"/>
                <a:gd name="T13" fmla="*/ 599 h 600"/>
                <a:gd name="T14" fmla="*/ 1571 w 1572"/>
                <a:gd name="T15" fmla="*/ 299 h 600"/>
                <a:gd name="T16" fmla="*/ 1271 w 1572"/>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2" h="600">
                  <a:moveTo>
                    <a:pt x="1271" y="0"/>
                  </a:moveTo>
                  <a:lnTo>
                    <a:pt x="300" y="0"/>
                  </a:lnTo>
                  <a:lnTo>
                    <a:pt x="300" y="0"/>
                  </a:lnTo>
                  <a:cubicBezTo>
                    <a:pt x="135" y="0"/>
                    <a:pt x="0" y="134"/>
                    <a:pt x="0" y="299"/>
                  </a:cubicBezTo>
                  <a:cubicBezTo>
                    <a:pt x="0" y="465"/>
                    <a:pt x="135" y="599"/>
                    <a:pt x="300" y="599"/>
                  </a:cubicBezTo>
                  <a:lnTo>
                    <a:pt x="300" y="599"/>
                  </a:lnTo>
                  <a:lnTo>
                    <a:pt x="1271" y="599"/>
                  </a:lnTo>
                  <a:cubicBezTo>
                    <a:pt x="1436" y="599"/>
                    <a:pt x="1571" y="465"/>
                    <a:pt x="1571" y="299"/>
                  </a:cubicBezTo>
                  <a:cubicBezTo>
                    <a:pt x="1571" y="134"/>
                    <a:pt x="1436" y="0"/>
                    <a:pt x="1271"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02" name="Text Box 2"/>
            <p:cNvSpPr txBox="1">
              <a:spLocks noChangeArrowheads="1"/>
            </p:cNvSpPr>
            <p:nvPr/>
          </p:nvSpPr>
          <p:spPr bwMode="auto">
            <a:xfrm>
              <a:off x="3075686" y="5038726"/>
              <a:ext cx="367811" cy="908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buNone/>
              </a:pPr>
              <a:r>
                <a:rPr lang="en-US" sz="700" dirty="0">
                  <a:solidFill>
                    <a:srgbClr val="BE1839"/>
                  </a:solidFill>
                  <a:latin typeface="Arial"/>
                  <a:ea typeface="'ArialMT'" pitchFamily="32" charset="0"/>
                  <a:cs typeface="Arial"/>
                </a:rPr>
                <a:t>Lighters</a:t>
              </a:r>
            </a:p>
          </p:txBody>
        </p:sp>
        <p:grpSp>
          <p:nvGrpSpPr>
            <p:cNvPr id="203" name="Group 207"/>
            <p:cNvGrpSpPr/>
            <p:nvPr/>
          </p:nvGrpSpPr>
          <p:grpSpPr>
            <a:xfrm>
              <a:off x="2910586" y="5018088"/>
              <a:ext cx="130175" cy="142875"/>
              <a:chOff x="2910586" y="5018088"/>
              <a:chExt cx="130175" cy="142875"/>
            </a:xfrm>
          </p:grpSpPr>
          <p:sp>
            <p:nvSpPr>
              <p:cNvPr id="204" name="Freeform 3"/>
              <p:cNvSpPr>
                <a:spLocks noChangeArrowheads="1"/>
              </p:cNvSpPr>
              <p:nvPr/>
            </p:nvSpPr>
            <p:spPr bwMode="auto">
              <a:xfrm>
                <a:off x="2978849" y="5018088"/>
                <a:ext cx="47625" cy="85725"/>
              </a:xfrm>
              <a:custGeom>
                <a:avLst/>
                <a:gdLst>
                  <a:gd name="T0" fmla="*/ 65 w 132"/>
                  <a:gd name="T1" fmla="*/ 0 h 239"/>
                  <a:gd name="T2" fmla="*/ 0 w 132"/>
                  <a:gd name="T3" fmla="*/ 119 h 239"/>
                  <a:gd name="T4" fmla="*/ 65 w 132"/>
                  <a:gd name="T5" fmla="*/ 238 h 239"/>
                  <a:gd name="T6" fmla="*/ 131 w 132"/>
                  <a:gd name="T7" fmla="*/ 119 h 239"/>
                  <a:gd name="T8" fmla="*/ 65 w 132"/>
                  <a:gd name="T9" fmla="*/ 0 h 239"/>
                  <a:gd name="T10" fmla="*/ 65 w 132"/>
                  <a:gd name="T11" fmla="*/ 210 h 239"/>
                  <a:gd name="T12" fmla="*/ 38 w 132"/>
                  <a:gd name="T13" fmla="*/ 162 h 239"/>
                  <a:gd name="T14" fmla="*/ 65 w 132"/>
                  <a:gd name="T15" fmla="*/ 114 h 239"/>
                  <a:gd name="T16" fmla="*/ 91 w 132"/>
                  <a:gd name="T17" fmla="*/ 162 h 239"/>
                  <a:gd name="T18" fmla="*/ 65 w 132"/>
                  <a:gd name="T19" fmla="*/ 21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39">
                    <a:moveTo>
                      <a:pt x="65" y="0"/>
                    </a:moveTo>
                    <a:cubicBezTo>
                      <a:pt x="35" y="27"/>
                      <a:pt x="0" y="67"/>
                      <a:pt x="0" y="119"/>
                    </a:cubicBezTo>
                    <a:cubicBezTo>
                      <a:pt x="0" y="171"/>
                      <a:pt x="27" y="215"/>
                      <a:pt x="65" y="238"/>
                    </a:cubicBezTo>
                    <a:cubicBezTo>
                      <a:pt x="104" y="215"/>
                      <a:pt x="131" y="171"/>
                      <a:pt x="131" y="119"/>
                    </a:cubicBezTo>
                    <a:cubicBezTo>
                      <a:pt x="131" y="67"/>
                      <a:pt x="91" y="22"/>
                      <a:pt x="65" y="0"/>
                    </a:cubicBezTo>
                    <a:close/>
                    <a:moveTo>
                      <a:pt x="65" y="210"/>
                    </a:moveTo>
                    <a:cubicBezTo>
                      <a:pt x="49" y="201"/>
                      <a:pt x="38" y="183"/>
                      <a:pt x="38" y="162"/>
                    </a:cubicBezTo>
                    <a:cubicBezTo>
                      <a:pt x="38" y="141"/>
                      <a:pt x="52" y="125"/>
                      <a:pt x="65" y="114"/>
                    </a:cubicBezTo>
                    <a:cubicBezTo>
                      <a:pt x="75" y="123"/>
                      <a:pt x="91" y="141"/>
                      <a:pt x="91" y="162"/>
                    </a:cubicBezTo>
                    <a:cubicBezTo>
                      <a:pt x="91" y="183"/>
                      <a:pt x="80" y="201"/>
                      <a:pt x="65" y="210"/>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05" name="Freeform 4"/>
              <p:cNvSpPr>
                <a:spLocks noChangeArrowheads="1"/>
              </p:cNvSpPr>
              <p:nvPr/>
            </p:nvSpPr>
            <p:spPr bwMode="auto">
              <a:xfrm>
                <a:off x="2966149" y="5100638"/>
                <a:ext cx="74612" cy="60325"/>
              </a:xfrm>
              <a:custGeom>
                <a:avLst/>
                <a:gdLst>
                  <a:gd name="T0" fmla="*/ 207 w 208"/>
                  <a:gd name="T1" fmla="*/ 0 h 169"/>
                  <a:gd name="T2" fmla="*/ 207 w 208"/>
                  <a:gd name="T3" fmla="*/ 141 h 169"/>
                  <a:gd name="T4" fmla="*/ 179 w 208"/>
                  <a:gd name="T5" fmla="*/ 168 h 169"/>
                  <a:gd name="T6" fmla="*/ 28 w 208"/>
                  <a:gd name="T7" fmla="*/ 168 h 169"/>
                  <a:gd name="T8" fmla="*/ 0 w 208"/>
                  <a:gd name="T9" fmla="*/ 141 h 169"/>
                  <a:gd name="T10" fmla="*/ 0 w 208"/>
                  <a:gd name="T11" fmla="*/ 0 h 169"/>
                  <a:gd name="T12" fmla="*/ 207 w 208"/>
                  <a:gd name="T13" fmla="*/ 0 h 169"/>
                </a:gdLst>
                <a:ahLst/>
                <a:cxnLst>
                  <a:cxn ang="0">
                    <a:pos x="T0" y="T1"/>
                  </a:cxn>
                  <a:cxn ang="0">
                    <a:pos x="T2" y="T3"/>
                  </a:cxn>
                  <a:cxn ang="0">
                    <a:pos x="T4" y="T5"/>
                  </a:cxn>
                  <a:cxn ang="0">
                    <a:pos x="T6" y="T7"/>
                  </a:cxn>
                  <a:cxn ang="0">
                    <a:pos x="T8" y="T9"/>
                  </a:cxn>
                  <a:cxn ang="0">
                    <a:pos x="T10" y="T11"/>
                  </a:cxn>
                  <a:cxn ang="0">
                    <a:pos x="T12" y="T13"/>
                  </a:cxn>
                </a:cxnLst>
                <a:rect l="0" t="0" r="r" b="b"/>
                <a:pathLst>
                  <a:path w="208" h="169">
                    <a:moveTo>
                      <a:pt x="207" y="0"/>
                    </a:moveTo>
                    <a:lnTo>
                      <a:pt x="207" y="141"/>
                    </a:lnTo>
                    <a:cubicBezTo>
                      <a:pt x="207" y="156"/>
                      <a:pt x="194" y="168"/>
                      <a:pt x="179" y="168"/>
                    </a:cubicBezTo>
                    <a:lnTo>
                      <a:pt x="28" y="168"/>
                    </a:lnTo>
                    <a:cubicBezTo>
                      <a:pt x="13" y="168"/>
                      <a:pt x="0" y="156"/>
                      <a:pt x="0" y="141"/>
                    </a:cubicBezTo>
                    <a:lnTo>
                      <a:pt x="0" y="0"/>
                    </a:lnTo>
                    <a:lnTo>
                      <a:pt x="207" y="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06" name="Freeform 5"/>
              <p:cNvSpPr>
                <a:spLocks noChangeArrowheads="1"/>
              </p:cNvSpPr>
              <p:nvPr/>
            </p:nvSpPr>
            <p:spPr bwMode="auto">
              <a:xfrm>
                <a:off x="2910586" y="5033963"/>
                <a:ext cx="60325" cy="80963"/>
              </a:xfrm>
              <a:custGeom>
                <a:avLst/>
                <a:gdLst>
                  <a:gd name="T0" fmla="*/ 168 w 169"/>
                  <a:gd name="T1" fmla="*/ 191 h 226"/>
                  <a:gd name="T2" fmla="*/ 100 w 169"/>
                  <a:gd name="T3" fmla="*/ 219 h 226"/>
                  <a:gd name="T4" fmla="*/ 64 w 169"/>
                  <a:gd name="T5" fmla="*/ 204 h 226"/>
                  <a:gd name="T6" fmla="*/ 6 w 169"/>
                  <a:gd name="T7" fmla="*/ 65 h 226"/>
                  <a:gd name="T8" fmla="*/ 21 w 169"/>
                  <a:gd name="T9" fmla="*/ 29 h 226"/>
                  <a:gd name="T10" fmla="*/ 89 w 169"/>
                  <a:gd name="T11" fmla="*/ 0 h 226"/>
                  <a:gd name="T12" fmla="*/ 168 w 169"/>
                  <a:gd name="T13" fmla="*/ 191 h 226"/>
                </a:gdLst>
                <a:ahLst/>
                <a:cxnLst>
                  <a:cxn ang="0">
                    <a:pos x="T0" y="T1"/>
                  </a:cxn>
                  <a:cxn ang="0">
                    <a:pos x="T2" y="T3"/>
                  </a:cxn>
                  <a:cxn ang="0">
                    <a:pos x="T4" y="T5"/>
                  </a:cxn>
                  <a:cxn ang="0">
                    <a:pos x="T6" y="T7"/>
                  </a:cxn>
                  <a:cxn ang="0">
                    <a:pos x="T8" y="T9"/>
                  </a:cxn>
                  <a:cxn ang="0">
                    <a:pos x="T10" y="T11"/>
                  </a:cxn>
                  <a:cxn ang="0">
                    <a:pos x="T12" y="T13"/>
                  </a:cxn>
                </a:cxnLst>
                <a:rect l="0" t="0" r="r" b="b"/>
                <a:pathLst>
                  <a:path w="169" h="226">
                    <a:moveTo>
                      <a:pt x="168" y="191"/>
                    </a:moveTo>
                    <a:lnTo>
                      <a:pt x="100" y="219"/>
                    </a:lnTo>
                    <a:cubicBezTo>
                      <a:pt x="86" y="225"/>
                      <a:pt x="69" y="218"/>
                      <a:pt x="64" y="204"/>
                    </a:cubicBezTo>
                    <a:lnTo>
                      <a:pt x="6" y="65"/>
                    </a:lnTo>
                    <a:cubicBezTo>
                      <a:pt x="0" y="51"/>
                      <a:pt x="7" y="35"/>
                      <a:pt x="21" y="29"/>
                    </a:cubicBezTo>
                    <a:lnTo>
                      <a:pt x="89" y="0"/>
                    </a:lnTo>
                    <a:lnTo>
                      <a:pt x="168" y="191"/>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grpSp>
      </p:grpSp>
      <p:grpSp>
        <p:nvGrpSpPr>
          <p:cNvPr id="207" name="Group 3085"/>
          <p:cNvGrpSpPr/>
          <p:nvPr/>
        </p:nvGrpSpPr>
        <p:grpSpPr>
          <a:xfrm>
            <a:off x="3905949" y="4978401"/>
            <a:ext cx="450850" cy="215900"/>
            <a:chOff x="2381949" y="4978401"/>
            <a:chExt cx="450850" cy="215900"/>
          </a:xfrm>
        </p:grpSpPr>
        <p:sp>
          <p:nvSpPr>
            <p:cNvPr id="208" name="Freeform 6"/>
            <p:cNvSpPr>
              <a:spLocks noChangeArrowheads="1"/>
            </p:cNvSpPr>
            <p:nvPr/>
          </p:nvSpPr>
          <p:spPr bwMode="auto">
            <a:xfrm>
              <a:off x="2381949" y="4978401"/>
              <a:ext cx="450850" cy="215900"/>
            </a:xfrm>
            <a:custGeom>
              <a:avLst/>
              <a:gdLst>
                <a:gd name="T0" fmla="*/ 954 w 1254"/>
                <a:gd name="T1" fmla="*/ 0 h 600"/>
                <a:gd name="T2" fmla="*/ 300 w 1254"/>
                <a:gd name="T3" fmla="*/ 0 h 600"/>
                <a:gd name="T4" fmla="*/ 300 w 1254"/>
                <a:gd name="T5" fmla="*/ 0 h 600"/>
                <a:gd name="T6" fmla="*/ 0 w 1254"/>
                <a:gd name="T7" fmla="*/ 299 h 600"/>
                <a:gd name="T8" fmla="*/ 300 w 1254"/>
                <a:gd name="T9" fmla="*/ 599 h 600"/>
                <a:gd name="T10" fmla="*/ 300 w 1254"/>
                <a:gd name="T11" fmla="*/ 599 h 600"/>
                <a:gd name="T12" fmla="*/ 954 w 1254"/>
                <a:gd name="T13" fmla="*/ 599 h 600"/>
                <a:gd name="T14" fmla="*/ 1253 w 1254"/>
                <a:gd name="T15" fmla="*/ 299 h 600"/>
                <a:gd name="T16" fmla="*/ 954 w 1254"/>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4" h="600">
                  <a:moveTo>
                    <a:pt x="954" y="0"/>
                  </a:moveTo>
                  <a:lnTo>
                    <a:pt x="300" y="0"/>
                  </a:lnTo>
                  <a:lnTo>
                    <a:pt x="300" y="0"/>
                  </a:lnTo>
                  <a:cubicBezTo>
                    <a:pt x="134" y="0"/>
                    <a:pt x="0" y="134"/>
                    <a:pt x="0" y="299"/>
                  </a:cubicBezTo>
                  <a:cubicBezTo>
                    <a:pt x="0" y="465"/>
                    <a:pt x="134" y="599"/>
                    <a:pt x="300" y="599"/>
                  </a:cubicBezTo>
                  <a:lnTo>
                    <a:pt x="300" y="599"/>
                  </a:lnTo>
                  <a:lnTo>
                    <a:pt x="954" y="599"/>
                  </a:lnTo>
                  <a:cubicBezTo>
                    <a:pt x="1119" y="599"/>
                    <a:pt x="1253" y="465"/>
                    <a:pt x="1253" y="299"/>
                  </a:cubicBezTo>
                  <a:cubicBezTo>
                    <a:pt x="1253" y="134"/>
                    <a:pt x="1119" y="0"/>
                    <a:pt x="954"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09" name="Text Box 7"/>
            <p:cNvSpPr txBox="1">
              <a:spLocks noChangeArrowheads="1"/>
            </p:cNvSpPr>
            <p:nvPr/>
          </p:nvSpPr>
          <p:spPr bwMode="auto">
            <a:xfrm>
              <a:off x="2586736" y="5038726"/>
              <a:ext cx="201613" cy="98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buNone/>
              </a:pPr>
              <a:r>
                <a:rPr lang="en-US" sz="700" dirty="0">
                  <a:solidFill>
                    <a:srgbClr val="BE1839"/>
                  </a:solidFill>
                  <a:latin typeface="Arial"/>
                  <a:ea typeface="'ArialMT'" pitchFamily="32" charset="0"/>
                  <a:cs typeface="Arial"/>
                </a:rPr>
                <a:t>Food</a:t>
              </a:r>
            </a:p>
          </p:txBody>
        </p:sp>
        <p:grpSp>
          <p:nvGrpSpPr>
            <p:cNvPr id="210" name="Group 213"/>
            <p:cNvGrpSpPr/>
            <p:nvPr/>
          </p:nvGrpSpPr>
          <p:grpSpPr>
            <a:xfrm>
              <a:off x="2439099" y="5011738"/>
              <a:ext cx="150812" cy="153988"/>
              <a:chOff x="2439099" y="5011738"/>
              <a:chExt cx="150812" cy="153988"/>
            </a:xfrm>
          </p:grpSpPr>
          <p:sp>
            <p:nvSpPr>
              <p:cNvPr id="211" name="Freeform 8"/>
              <p:cNvSpPr>
                <a:spLocks noChangeArrowheads="1"/>
              </p:cNvSpPr>
              <p:nvPr/>
            </p:nvSpPr>
            <p:spPr bwMode="auto">
              <a:xfrm>
                <a:off x="2439099" y="5053013"/>
                <a:ext cx="107950" cy="112713"/>
              </a:xfrm>
              <a:custGeom>
                <a:avLst/>
                <a:gdLst>
                  <a:gd name="T0" fmla="*/ 281 w 302"/>
                  <a:gd name="T1" fmla="*/ 50 h 315"/>
                  <a:gd name="T2" fmla="*/ 286 w 302"/>
                  <a:gd name="T3" fmla="*/ 21 h 315"/>
                  <a:gd name="T4" fmla="*/ 264 w 302"/>
                  <a:gd name="T5" fmla="*/ 28 h 315"/>
                  <a:gd name="T6" fmla="*/ 265 w 302"/>
                  <a:gd name="T7" fmla="*/ 10 h 315"/>
                  <a:gd name="T8" fmla="*/ 248 w 302"/>
                  <a:gd name="T9" fmla="*/ 23 h 315"/>
                  <a:gd name="T10" fmla="*/ 240 w 302"/>
                  <a:gd name="T11" fmla="*/ 0 h 315"/>
                  <a:gd name="T12" fmla="*/ 229 w 302"/>
                  <a:gd name="T13" fmla="*/ 18 h 315"/>
                  <a:gd name="T14" fmla="*/ 63 w 302"/>
                  <a:gd name="T15" fmla="*/ 94 h 315"/>
                  <a:gd name="T16" fmla="*/ 49 w 302"/>
                  <a:gd name="T17" fmla="*/ 261 h 315"/>
                  <a:gd name="T18" fmla="*/ 237 w 302"/>
                  <a:gd name="T19" fmla="*/ 249 h 315"/>
                  <a:gd name="T20" fmla="*/ 288 w 302"/>
                  <a:gd name="T21" fmla="*/ 68 h 315"/>
                  <a:gd name="T22" fmla="*/ 301 w 302"/>
                  <a:gd name="T23" fmla="*/ 56 h 315"/>
                  <a:gd name="T24" fmla="*/ 281 w 302"/>
                  <a:gd name="T25" fmla="*/ 5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15">
                    <a:moveTo>
                      <a:pt x="281" y="50"/>
                    </a:moveTo>
                    <a:cubicBezTo>
                      <a:pt x="275" y="47"/>
                      <a:pt x="289" y="25"/>
                      <a:pt x="286" y="21"/>
                    </a:cubicBezTo>
                    <a:cubicBezTo>
                      <a:pt x="283" y="19"/>
                      <a:pt x="278" y="34"/>
                      <a:pt x="264" y="28"/>
                    </a:cubicBezTo>
                    <a:cubicBezTo>
                      <a:pt x="264" y="18"/>
                      <a:pt x="270" y="12"/>
                      <a:pt x="265" y="10"/>
                    </a:cubicBezTo>
                    <a:cubicBezTo>
                      <a:pt x="262" y="11"/>
                      <a:pt x="251" y="26"/>
                      <a:pt x="248" y="23"/>
                    </a:cubicBezTo>
                    <a:cubicBezTo>
                      <a:pt x="244" y="18"/>
                      <a:pt x="254" y="5"/>
                      <a:pt x="240" y="0"/>
                    </a:cubicBezTo>
                    <a:cubicBezTo>
                      <a:pt x="241" y="9"/>
                      <a:pt x="231" y="18"/>
                      <a:pt x="229" y="18"/>
                    </a:cubicBezTo>
                    <a:cubicBezTo>
                      <a:pt x="186" y="24"/>
                      <a:pt x="105" y="51"/>
                      <a:pt x="63" y="94"/>
                    </a:cubicBezTo>
                    <a:cubicBezTo>
                      <a:pt x="0" y="159"/>
                      <a:pt x="13" y="226"/>
                      <a:pt x="49" y="261"/>
                    </a:cubicBezTo>
                    <a:cubicBezTo>
                      <a:pt x="85" y="295"/>
                      <a:pt x="174" y="314"/>
                      <a:pt x="237" y="249"/>
                    </a:cubicBezTo>
                    <a:cubicBezTo>
                      <a:pt x="280" y="204"/>
                      <a:pt x="285" y="112"/>
                      <a:pt x="288" y="68"/>
                    </a:cubicBezTo>
                    <a:cubicBezTo>
                      <a:pt x="289" y="62"/>
                      <a:pt x="293" y="58"/>
                      <a:pt x="301" y="56"/>
                    </a:cubicBezTo>
                    <a:cubicBezTo>
                      <a:pt x="296" y="46"/>
                      <a:pt x="285" y="51"/>
                      <a:pt x="281" y="5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12" name="Freeform 9"/>
              <p:cNvSpPr>
                <a:spLocks noChangeArrowheads="1"/>
              </p:cNvSpPr>
              <p:nvPr/>
            </p:nvSpPr>
            <p:spPr bwMode="auto">
              <a:xfrm>
                <a:off x="2532761" y="5011738"/>
                <a:ext cx="57150" cy="55563"/>
              </a:xfrm>
              <a:custGeom>
                <a:avLst/>
                <a:gdLst>
                  <a:gd name="T0" fmla="*/ 144 w 158"/>
                  <a:gd name="T1" fmla="*/ 47 h 156"/>
                  <a:gd name="T2" fmla="*/ 118 w 158"/>
                  <a:gd name="T3" fmla="*/ 37 h 156"/>
                  <a:gd name="T4" fmla="*/ 108 w 158"/>
                  <a:gd name="T5" fmla="*/ 12 h 156"/>
                  <a:gd name="T6" fmla="*/ 74 w 158"/>
                  <a:gd name="T7" fmla="*/ 4 h 156"/>
                  <a:gd name="T8" fmla="*/ 60 w 158"/>
                  <a:gd name="T9" fmla="*/ 13 h 156"/>
                  <a:gd name="T10" fmla="*/ 55 w 158"/>
                  <a:gd name="T11" fmla="*/ 54 h 156"/>
                  <a:gd name="T12" fmla="*/ 0 w 158"/>
                  <a:gd name="T13" fmla="*/ 111 h 156"/>
                  <a:gd name="T14" fmla="*/ 1 w 158"/>
                  <a:gd name="T15" fmla="*/ 122 h 156"/>
                  <a:gd name="T16" fmla="*/ 0 w 158"/>
                  <a:gd name="T17" fmla="*/ 124 h 156"/>
                  <a:gd name="T18" fmla="*/ 3 w 158"/>
                  <a:gd name="T19" fmla="*/ 122 h 156"/>
                  <a:gd name="T20" fmla="*/ 8 w 158"/>
                  <a:gd name="T21" fmla="*/ 117 h 156"/>
                  <a:gd name="T22" fmla="*/ 10 w 158"/>
                  <a:gd name="T23" fmla="*/ 115 h 156"/>
                  <a:gd name="T24" fmla="*/ 14 w 158"/>
                  <a:gd name="T25" fmla="*/ 113 h 156"/>
                  <a:gd name="T26" fmla="*/ 16 w 158"/>
                  <a:gd name="T27" fmla="*/ 113 h 156"/>
                  <a:gd name="T28" fmla="*/ 19 w 158"/>
                  <a:gd name="T29" fmla="*/ 115 h 156"/>
                  <a:gd name="T30" fmla="*/ 21 w 158"/>
                  <a:gd name="T31" fmla="*/ 119 h 156"/>
                  <a:gd name="T32" fmla="*/ 20 w 158"/>
                  <a:gd name="T33" fmla="*/ 124 h 156"/>
                  <a:gd name="T34" fmla="*/ 19 w 158"/>
                  <a:gd name="T35" fmla="*/ 131 h 156"/>
                  <a:gd name="T36" fmla="*/ 26 w 158"/>
                  <a:gd name="T37" fmla="*/ 129 h 156"/>
                  <a:gd name="T38" fmla="*/ 30 w 158"/>
                  <a:gd name="T39" fmla="*/ 125 h 156"/>
                  <a:gd name="T40" fmla="*/ 32 w 158"/>
                  <a:gd name="T41" fmla="*/ 123 h 156"/>
                  <a:gd name="T42" fmla="*/ 38 w 158"/>
                  <a:gd name="T43" fmla="*/ 124 h 156"/>
                  <a:gd name="T44" fmla="*/ 39 w 158"/>
                  <a:gd name="T45" fmla="*/ 125 h 156"/>
                  <a:gd name="T46" fmla="*/ 39 w 158"/>
                  <a:gd name="T47" fmla="*/ 125 h 156"/>
                  <a:gd name="T48" fmla="*/ 40 w 158"/>
                  <a:gd name="T49" fmla="*/ 130 h 156"/>
                  <a:gd name="T50" fmla="*/ 39 w 158"/>
                  <a:gd name="T51" fmla="*/ 135 h 156"/>
                  <a:gd name="T52" fmla="*/ 36 w 158"/>
                  <a:gd name="T53" fmla="*/ 144 h 156"/>
                  <a:gd name="T54" fmla="*/ 34 w 158"/>
                  <a:gd name="T55" fmla="*/ 152 h 156"/>
                  <a:gd name="T56" fmla="*/ 40 w 158"/>
                  <a:gd name="T57" fmla="*/ 152 h 156"/>
                  <a:gd name="T58" fmla="*/ 51 w 158"/>
                  <a:gd name="T59" fmla="*/ 155 h 156"/>
                  <a:gd name="T60" fmla="*/ 104 w 158"/>
                  <a:gd name="T61" fmla="*/ 100 h 156"/>
                  <a:gd name="T62" fmla="*/ 145 w 158"/>
                  <a:gd name="T63" fmla="*/ 94 h 156"/>
                  <a:gd name="T64" fmla="*/ 144 w 158"/>
                  <a:gd name="T65"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8" h="156">
                    <a:moveTo>
                      <a:pt x="144" y="47"/>
                    </a:moveTo>
                    <a:cubicBezTo>
                      <a:pt x="136" y="40"/>
                      <a:pt x="127" y="37"/>
                      <a:pt x="118" y="37"/>
                    </a:cubicBezTo>
                    <a:cubicBezTo>
                      <a:pt x="118" y="28"/>
                      <a:pt x="115" y="19"/>
                      <a:pt x="108" y="12"/>
                    </a:cubicBezTo>
                    <a:cubicBezTo>
                      <a:pt x="98" y="3"/>
                      <a:pt x="85" y="0"/>
                      <a:pt x="74" y="4"/>
                    </a:cubicBezTo>
                    <a:cubicBezTo>
                      <a:pt x="69" y="6"/>
                      <a:pt x="64" y="9"/>
                      <a:pt x="60" y="13"/>
                    </a:cubicBezTo>
                    <a:cubicBezTo>
                      <a:pt x="49" y="24"/>
                      <a:pt x="48" y="41"/>
                      <a:pt x="55" y="54"/>
                    </a:cubicBezTo>
                    <a:lnTo>
                      <a:pt x="0" y="111"/>
                    </a:lnTo>
                    <a:cubicBezTo>
                      <a:pt x="2" y="115"/>
                      <a:pt x="1" y="119"/>
                      <a:pt x="1" y="122"/>
                    </a:cubicBezTo>
                    <a:cubicBezTo>
                      <a:pt x="1" y="123"/>
                      <a:pt x="1" y="123"/>
                      <a:pt x="0" y="124"/>
                    </a:cubicBezTo>
                    <a:cubicBezTo>
                      <a:pt x="1" y="123"/>
                      <a:pt x="2" y="123"/>
                      <a:pt x="3" y="122"/>
                    </a:cubicBezTo>
                    <a:cubicBezTo>
                      <a:pt x="5" y="120"/>
                      <a:pt x="6" y="118"/>
                      <a:pt x="8" y="117"/>
                    </a:cubicBezTo>
                    <a:cubicBezTo>
                      <a:pt x="9" y="116"/>
                      <a:pt x="10" y="115"/>
                      <a:pt x="10" y="115"/>
                    </a:cubicBezTo>
                    <a:cubicBezTo>
                      <a:pt x="11" y="114"/>
                      <a:pt x="12" y="113"/>
                      <a:pt x="14" y="113"/>
                    </a:cubicBezTo>
                    <a:cubicBezTo>
                      <a:pt x="14" y="113"/>
                      <a:pt x="15" y="113"/>
                      <a:pt x="16" y="113"/>
                    </a:cubicBezTo>
                    <a:cubicBezTo>
                      <a:pt x="17" y="113"/>
                      <a:pt x="18" y="114"/>
                      <a:pt x="19" y="115"/>
                    </a:cubicBezTo>
                    <a:cubicBezTo>
                      <a:pt x="20" y="116"/>
                      <a:pt x="21" y="118"/>
                      <a:pt x="21" y="119"/>
                    </a:cubicBezTo>
                    <a:cubicBezTo>
                      <a:pt x="21" y="121"/>
                      <a:pt x="21" y="122"/>
                      <a:pt x="20" y="124"/>
                    </a:cubicBezTo>
                    <a:cubicBezTo>
                      <a:pt x="20" y="126"/>
                      <a:pt x="19" y="129"/>
                      <a:pt x="19" y="131"/>
                    </a:cubicBezTo>
                    <a:cubicBezTo>
                      <a:pt x="22" y="131"/>
                      <a:pt x="24" y="131"/>
                      <a:pt x="26" y="129"/>
                    </a:cubicBezTo>
                    <a:cubicBezTo>
                      <a:pt x="27" y="128"/>
                      <a:pt x="28" y="127"/>
                      <a:pt x="30" y="125"/>
                    </a:cubicBezTo>
                    <a:cubicBezTo>
                      <a:pt x="30" y="125"/>
                      <a:pt x="31" y="124"/>
                      <a:pt x="32" y="123"/>
                    </a:cubicBezTo>
                    <a:cubicBezTo>
                      <a:pt x="34" y="123"/>
                      <a:pt x="36" y="123"/>
                      <a:pt x="38" y="124"/>
                    </a:cubicBezTo>
                    <a:cubicBezTo>
                      <a:pt x="38" y="124"/>
                      <a:pt x="39" y="124"/>
                      <a:pt x="39" y="125"/>
                    </a:cubicBezTo>
                    <a:lnTo>
                      <a:pt x="39" y="125"/>
                    </a:lnTo>
                    <a:cubicBezTo>
                      <a:pt x="41" y="127"/>
                      <a:pt x="41" y="129"/>
                      <a:pt x="40" y="130"/>
                    </a:cubicBezTo>
                    <a:cubicBezTo>
                      <a:pt x="40" y="132"/>
                      <a:pt x="40" y="133"/>
                      <a:pt x="39" y="135"/>
                    </a:cubicBezTo>
                    <a:cubicBezTo>
                      <a:pt x="38" y="138"/>
                      <a:pt x="37" y="141"/>
                      <a:pt x="36" y="144"/>
                    </a:cubicBezTo>
                    <a:cubicBezTo>
                      <a:pt x="35" y="147"/>
                      <a:pt x="34" y="150"/>
                      <a:pt x="34" y="152"/>
                    </a:cubicBezTo>
                    <a:cubicBezTo>
                      <a:pt x="35" y="152"/>
                      <a:pt x="37" y="152"/>
                      <a:pt x="40" y="152"/>
                    </a:cubicBezTo>
                    <a:cubicBezTo>
                      <a:pt x="44" y="152"/>
                      <a:pt x="47" y="153"/>
                      <a:pt x="51" y="155"/>
                    </a:cubicBezTo>
                    <a:lnTo>
                      <a:pt x="104" y="100"/>
                    </a:lnTo>
                    <a:cubicBezTo>
                      <a:pt x="117" y="108"/>
                      <a:pt x="134" y="106"/>
                      <a:pt x="145" y="94"/>
                    </a:cubicBezTo>
                    <a:cubicBezTo>
                      <a:pt x="157" y="81"/>
                      <a:pt x="157" y="60"/>
                      <a:pt x="144" y="47"/>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grpSp>
      </p:grpSp>
      <p:grpSp>
        <p:nvGrpSpPr>
          <p:cNvPr id="213" name="Group 3091"/>
          <p:cNvGrpSpPr/>
          <p:nvPr/>
        </p:nvGrpSpPr>
        <p:grpSpPr>
          <a:xfrm>
            <a:off x="5093399" y="5254701"/>
            <a:ext cx="590550" cy="215900"/>
            <a:chOff x="3569399" y="5243513"/>
            <a:chExt cx="590550" cy="215900"/>
          </a:xfrm>
        </p:grpSpPr>
        <p:sp>
          <p:nvSpPr>
            <p:cNvPr id="214" name="Freeform 10"/>
            <p:cNvSpPr>
              <a:spLocks noChangeArrowheads="1"/>
            </p:cNvSpPr>
            <p:nvPr/>
          </p:nvSpPr>
          <p:spPr bwMode="auto">
            <a:xfrm>
              <a:off x="3569399" y="5243513"/>
              <a:ext cx="590550" cy="215900"/>
            </a:xfrm>
            <a:custGeom>
              <a:avLst/>
              <a:gdLst>
                <a:gd name="T0" fmla="*/ 1341 w 1641"/>
                <a:gd name="T1" fmla="*/ 0 h 600"/>
                <a:gd name="T2" fmla="*/ 299 w 1641"/>
                <a:gd name="T3" fmla="*/ 0 h 600"/>
                <a:gd name="T4" fmla="*/ 299 w 1641"/>
                <a:gd name="T5" fmla="*/ 0 h 600"/>
                <a:gd name="T6" fmla="*/ 0 w 1641"/>
                <a:gd name="T7" fmla="*/ 299 h 600"/>
                <a:gd name="T8" fmla="*/ 299 w 1641"/>
                <a:gd name="T9" fmla="*/ 599 h 600"/>
                <a:gd name="T10" fmla="*/ 299 w 1641"/>
                <a:gd name="T11" fmla="*/ 599 h 600"/>
                <a:gd name="T12" fmla="*/ 1341 w 1641"/>
                <a:gd name="T13" fmla="*/ 599 h 600"/>
                <a:gd name="T14" fmla="*/ 1640 w 1641"/>
                <a:gd name="T15" fmla="*/ 299 h 600"/>
                <a:gd name="T16" fmla="*/ 1341 w 1641"/>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1" h="600">
                  <a:moveTo>
                    <a:pt x="1341" y="0"/>
                  </a:moveTo>
                  <a:lnTo>
                    <a:pt x="299" y="0"/>
                  </a:lnTo>
                  <a:lnTo>
                    <a:pt x="299" y="0"/>
                  </a:lnTo>
                  <a:cubicBezTo>
                    <a:pt x="134" y="0"/>
                    <a:pt x="0" y="134"/>
                    <a:pt x="0" y="299"/>
                  </a:cubicBezTo>
                  <a:cubicBezTo>
                    <a:pt x="0" y="464"/>
                    <a:pt x="134" y="599"/>
                    <a:pt x="299" y="599"/>
                  </a:cubicBezTo>
                  <a:lnTo>
                    <a:pt x="299" y="599"/>
                  </a:lnTo>
                  <a:lnTo>
                    <a:pt x="1341" y="599"/>
                  </a:lnTo>
                  <a:cubicBezTo>
                    <a:pt x="1506" y="599"/>
                    <a:pt x="1640" y="464"/>
                    <a:pt x="1640" y="299"/>
                  </a:cubicBezTo>
                  <a:cubicBezTo>
                    <a:pt x="1640" y="134"/>
                    <a:pt x="1506" y="0"/>
                    <a:pt x="1341"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15" name="Text Box 11"/>
            <p:cNvSpPr txBox="1">
              <a:spLocks noChangeArrowheads="1"/>
            </p:cNvSpPr>
            <p:nvPr/>
          </p:nvSpPr>
          <p:spPr bwMode="auto">
            <a:xfrm>
              <a:off x="3738372" y="5243513"/>
              <a:ext cx="400242" cy="2158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buNone/>
              </a:pPr>
              <a:r>
                <a:rPr lang="en-US" sz="700" dirty="0">
                  <a:solidFill>
                    <a:srgbClr val="BE1839"/>
                  </a:solidFill>
                  <a:latin typeface="Arial"/>
                  <a:ea typeface="'ArialMT'" pitchFamily="32" charset="0"/>
                  <a:cs typeface="Arial"/>
                </a:rPr>
                <a:t>Luggage</a:t>
              </a:r>
            </a:p>
          </p:txBody>
        </p:sp>
        <p:sp>
          <p:nvSpPr>
            <p:cNvPr id="216" name="Freeform 12"/>
            <p:cNvSpPr>
              <a:spLocks noChangeArrowheads="1"/>
            </p:cNvSpPr>
            <p:nvPr/>
          </p:nvSpPr>
          <p:spPr bwMode="auto">
            <a:xfrm>
              <a:off x="3635896" y="5267326"/>
              <a:ext cx="87313" cy="161925"/>
            </a:xfrm>
            <a:custGeom>
              <a:avLst/>
              <a:gdLst>
                <a:gd name="T0" fmla="*/ 192 w 242"/>
                <a:gd name="T1" fmla="*/ 115 h 450"/>
                <a:gd name="T2" fmla="*/ 160 w 242"/>
                <a:gd name="T3" fmla="*/ 9 h 450"/>
                <a:gd name="T4" fmla="*/ 160 w 242"/>
                <a:gd name="T5" fmla="*/ 0 h 450"/>
                <a:gd name="T6" fmla="*/ 81 w 242"/>
                <a:gd name="T7" fmla="*/ 9 h 450"/>
                <a:gd name="T8" fmla="*/ 49 w 242"/>
                <a:gd name="T9" fmla="*/ 41 h 450"/>
                <a:gd name="T10" fmla="*/ 33 w 242"/>
                <a:gd name="T11" fmla="*/ 115 h 450"/>
                <a:gd name="T12" fmla="*/ 0 w 242"/>
                <a:gd name="T13" fmla="*/ 256 h 450"/>
                <a:gd name="T14" fmla="*/ 0 w 242"/>
                <a:gd name="T15" fmla="*/ 382 h 450"/>
                <a:gd name="T16" fmla="*/ 45 w 242"/>
                <a:gd name="T17" fmla="*/ 414 h 450"/>
                <a:gd name="T18" fmla="*/ 61 w 242"/>
                <a:gd name="T19" fmla="*/ 449 h 450"/>
                <a:gd name="T20" fmla="*/ 78 w 242"/>
                <a:gd name="T21" fmla="*/ 414 h 450"/>
                <a:gd name="T22" fmla="*/ 163 w 242"/>
                <a:gd name="T23" fmla="*/ 432 h 450"/>
                <a:gd name="T24" fmla="*/ 197 w 242"/>
                <a:gd name="T25" fmla="*/ 432 h 450"/>
                <a:gd name="T26" fmla="*/ 208 w 242"/>
                <a:gd name="T27" fmla="*/ 414 h 450"/>
                <a:gd name="T28" fmla="*/ 241 w 242"/>
                <a:gd name="T29" fmla="*/ 272 h 450"/>
                <a:gd name="T30" fmla="*/ 241 w 242"/>
                <a:gd name="T31" fmla="*/ 147 h 450"/>
                <a:gd name="T32" fmla="*/ 193 w 242"/>
                <a:gd name="T33" fmla="*/ 364 h 450"/>
                <a:gd name="T34" fmla="*/ 174 w 242"/>
                <a:gd name="T35" fmla="*/ 364 h 450"/>
                <a:gd name="T36" fmla="*/ 183 w 242"/>
                <a:gd name="T37" fmla="*/ 159 h 450"/>
                <a:gd name="T38" fmla="*/ 193 w 242"/>
                <a:gd name="T39" fmla="*/ 364 h 450"/>
                <a:gd name="T40" fmla="*/ 81 w 242"/>
                <a:gd name="T41" fmla="*/ 28 h 450"/>
                <a:gd name="T42" fmla="*/ 81 w 242"/>
                <a:gd name="T43" fmla="*/ 33 h 450"/>
                <a:gd name="T44" fmla="*/ 160 w 242"/>
                <a:gd name="T45" fmla="*/ 28 h 450"/>
                <a:gd name="T46" fmla="*/ 173 w 242"/>
                <a:gd name="T47" fmla="*/ 40 h 450"/>
                <a:gd name="T48" fmla="*/ 69 w 242"/>
                <a:gd name="T49" fmla="*/ 115 h 450"/>
                <a:gd name="T50" fmla="*/ 49 w 242"/>
                <a:gd name="T51" fmla="*/ 168 h 450"/>
                <a:gd name="T52" fmla="*/ 67 w 242"/>
                <a:gd name="T53" fmla="*/ 168 h 450"/>
                <a:gd name="T54" fmla="*/ 58 w 242"/>
                <a:gd name="T55" fmla="*/ 373 h 450"/>
                <a:gd name="T56" fmla="*/ 49 w 242"/>
                <a:gd name="T57" fmla="*/ 168 h 450"/>
                <a:gd name="T58" fmla="*/ 121 w 242"/>
                <a:gd name="T59" fmla="*/ 373 h 450"/>
                <a:gd name="T60" fmla="*/ 112 w 242"/>
                <a:gd name="T61" fmla="*/ 168 h 450"/>
                <a:gd name="T62" fmla="*/ 130 w 242"/>
                <a:gd name="T63" fmla="*/ 16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2" h="450">
                  <a:moveTo>
                    <a:pt x="209" y="115"/>
                  </a:moveTo>
                  <a:lnTo>
                    <a:pt x="192" y="115"/>
                  </a:lnTo>
                  <a:lnTo>
                    <a:pt x="192" y="41"/>
                  </a:lnTo>
                  <a:cubicBezTo>
                    <a:pt x="192" y="23"/>
                    <a:pt x="178" y="9"/>
                    <a:pt x="160" y="9"/>
                  </a:cubicBezTo>
                  <a:lnTo>
                    <a:pt x="160" y="9"/>
                  </a:lnTo>
                  <a:lnTo>
                    <a:pt x="160" y="0"/>
                  </a:lnTo>
                  <a:lnTo>
                    <a:pt x="81" y="0"/>
                  </a:lnTo>
                  <a:lnTo>
                    <a:pt x="81" y="9"/>
                  </a:lnTo>
                  <a:lnTo>
                    <a:pt x="81" y="9"/>
                  </a:lnTo>
                  <a:cubicBezTo>
                    <a:pt x="63" y="9"/>
                    <a:pt x="49" y="23"/>
                    <a:pt x="49" y="41"/>
                  </a:cubicBezTo>
                  <a:lnTo>
                    <a:pt x="49" y="115"/>
                  </a:lnTo>
                  <a:lnTo>
                    <a:pt x="33" y="115"/>
                  </a:lnTo>
                  <a:cubicBezTo>
                    <a:pt x="15" y="115"/>
                    <a:pt x="0" y="129"/>
                    <a:pt x="0" y="147"/>
                  </a:cubicBezTo>
                  <a:lnTo>
                    <a:pt x="0" y="256"/>
                  </a:lnTo>
                  <a:lnTo>
                    <a:pt x="0" y="272"/>
                  </a:lnTo>
                  <a:lnTo>
                    <a:pt x="0" y="382"/>
                  </a:lnTo>
                  <a:cubicBezTo>
                    <a:pt x="0" y="400"/>
                    <a:pt x="15" y="414"/>
                    <a:pt x="33" y="414"/>
                  </a:cubicBezTo>
                  <a:lnTo>
                    <a:pt x="45" y="414"/>
                  </a:lnTo>
                  <a:lnTo>
                    <a:pt x="45" y="432"/>
                  </a:lnTo>
                  <a:cubicBezTo>
                    <a:pt x="45" y="442"/>
                    <a:pt x="52" y="449"/>
                    <a:pt x="61" y="449"/>
                  </a:cubicBezTo>
                  <a:cubicBezTo>
                    <a:pt x="71" y="449"/>
                    <a:pt x="78" y="442"/>
                    <a:pt x="78" y="432"/>
                  </a:cubicBezTo>
                  <a:lnTo>
                    <a:pt x="78" y="414"/>
                  </a:lnTo>
                  <a:lnTo>
                    <a:pt x="163" y="414"/>
                  </a:lnTo>
                  <a:lnTo>
                    <a:pt x="163" y="432"/>
                  </a:lnTo>
                  <a:cubicBezTo>
                    <a:pt x="163" y="442"/>
                    <a:pt x="170" y="449"/>
                    <a:pt x="180" y="449"/>
                  </a:cubicBezTo>
                  <a:cubicBezTo>
                    <a:pt x="189" y="449"/>
                    <a:pt x="197" y="442"/>
                    <a:pt x="197" y="432"/>
                  </a:cubicBezTo>
                  <a:lnTo>
                    <a:pt x="197" y="414"/>
                  </a:lnTo>
                  <a:lnTo>
                    <a:pt x="208" y="414"/>
                  </a:lnTo>
                  <a:cubicBezTo>
                    <a:pt x="226" y="414"/>
                    <a:pt x="241" y="400"/>
                    <a:pt x="241" y="382"/>
                  </a:cubicBezTo>
                  <a:lnTo>
                    <a:pt x="241" y="272"/>
                  </a:lnTo>
                  <a:lnTo>
                    <a:pt x="241" y="256"/>
                  </a:lnTo>
                  <a:lnTo>
                    <a:pt x="241" y="147"/>
                  </a:lnTo>
                  <a:cubicBezTo>
                    <a:pt x="241" y="129"/>
                    <a:pt x="226" y="115"/>
                    <a:pt x="209" y="115"/>
                  </a:cubicBezTo>
                  <a:close/>
                  <a:moveTo>
                    <a:pt x="193" y="364"/>
                  </a:moveTo>
                  <a:cubicBezTo>
                    <a:pt x="193" y="369"/>
                    <a:pt x="188" y="373"/>
                    <a:pt x="183" y="373"/>
                  </a:cubicBezTo>
                  <a:cubicBezTo>
                    <a:pt x="178" y="373"/>
                    <a:pt x="174" y="369"/>
                    <a:pt x="174" y="364"/>
                  </a:cubicBezTo>
                  <a:lnTo>
                    <a:pt x="174" y="168"/>
                  </a:lnTo>
                  <a:cubicBezTo>
                    <a:pt x="174" y="163"/>
                    <a:pt x="178" y="159"/>
                    <a:pt x="183" y="159"/>
                  </a:cubicBezTo>
                  <a:cubicBezTo>
                    <a:pt x="188" y="159"/>
                    <a:pt x="193" y="163"/>
                    <a:pt x="193" y="168"/>
                  </a:cubicBezTo>
                  <a:lnTo>
                    <a:pt x="193" y="364"/>
                  </a:lnTo>
                  <a:close/>
                  <a:moveTo>
                    <a:pt x="69" y="40"/>
                  </a:moveTo>
                  <a:cubicBezTo>
                    <a:pt x="69" y="34"/>
                    <a:pt x="74" y="28"/>
                    <a:pt x="81" y="28"/>
                  </a:cubicBezTo>
                  <a:lnTo>
                    <a:pt x="81" y="28"/>
                  </a:lnTo>
                  <a:lnTo>
                    <a:pt x="81" y="33"/>
                  </a:lnTo>
                  <a:lnTo>
                    <a:pt x="160" y="33"/>
                  </a:lnTo>
                  <a:lnTo>
                    <a:pt x="160" y="28"/>
                  </a:lnTo>
                  <a:lnTo>
                    <a:pt x="160" y="28"/>
                  </a:lnTo>
                  <a:cubicBezTo>
                    <a:pt x="167" y="28"/>
                    <a:pt x="173" y="34"/>
                    <a:pt x="173" y="40"/>
                  </a:cubicBezTo>
                  <a:lnTo>
                    <a:pt x="173" y="115"/>
                  </a:lnTo>
                  <a:lnTo>
                    <a:pt x="69" y="115"/>
                  </a:lnTo>
                  <a:lnTo>
                    <a:pt x="69" y="40"/>
                  </a:lnTo>
                  <a:close/>
                  <a:moveTo>
                    <a:pt x="49" y="168"/>
                  </a:moveTo>
                  <a:cubicBezTo>
                    <a:pt x="49" y="163"/>
                    <a:pt x="53" y="159"/>
                    <a:pt x="58" y="159"/>
                  </a:cubicBezTo>
                  <a:cubicBezTo>
                    <a:pt x="63" y="159"/>
                    <a:pt x="67" y="163"/>
                    <a:pt x="67" y="168"/>
                  </a:cubicBezTo>
                  <a:lnTo>
                    <a:pt x="67" y="364"/>
                  </a:lnTo>
                  <a:cubicBezTo>
                    <a:pt x="67" y="369"/>
                    <a:pt x="63" y="373"/>
                    <a:pt x="58" y="373"/>
                  </a:cubicBezTo>
                  <a:cubicBezTo>
                    <a:pt x="53" y="373"/>
                    <a:pt x="49" y="369"/>
                    <a:pt x="49" y="364"/>
                  </a:cubicBezTo>
                  <a:lnTo>
                    <a:pt x="49" y="168"/>
                  </a:lnTo>
                  <a:close/>
                  <a:moveTo>
                    <a:pt x="130" y="364"/>
                  </a:moveTo>
                  <a:cubicBezTo>
                    <a:pt x="130" y="369"/>
                    <a:pt x="126" y="373"/>
                    <a:pt x="121" y="373"/>
                  </a:cubicBezTo>
                  <a:cubicBezTo>
                    <a:pt x="116" y="373"/>
                    <a:pt x="112" y="369"/>
                    <a:pt x="112" y="364"/>
                  </a:cubicBezTo>
                  <a:lnTo>
                    <a:pt x="112" y="168"/>
                  </a:lnTo>
                  <a:cubicBezTo>
                    <a:pt x="112" y="163"/>
                    <a:pt x="116" y="159"/>
                    <a:pt x="121" y="159"/>
                  </a:cubicBezTo>
                  <a:cubicBezTo>
                    <a:pt x="126" y="159"/>
                    <a:pt x="130" y="163"/>
                    <a:pt x="130" y="168"/>
                  </a:cubicBezTo>
                  <a:lnTo>
                    <a:pt x="130" y="364"/>
                  </a:ln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grpSp>
      <p:grpSp>
        <p:nvGrpSpPr>
          <p:cNvPr id="217" name="Group 3079"/>
          <p:cNvGrpSpPr/>
          <p:nvPr/>
        </p:nvGrpSpPr>
        <p:grpSpPr>
          <a:xfrm>
            <a:off x="3029649" y="4680705"/>
            <a:ext cx="679450" cy="216026"/>
            <a:chOff x="1505649" y="4711701"/>
            <a:chExt cx="679450" cy="216026"/>
          </a:xfrm>
        </p:grpSpPr>
        <p:sp>
          <p:nvSpPr>
            <p:cNvPr id="218" name="Freeform 13"/>
            <p:cNvSpPr>
              <a:spLocks noChangeArrowheads="1"/>
            </p:cNvSpPr>
            <p:nvPr/>
          </p:nvSpPr>
          <p:spPr bwMode="auto">
            <a:xfrm>
              <a:off x="1505649" y="4711701"/>
              <a:ext cx="679450" cy="215900"/>
            </a:xfrm>
            <a:custGeom>
              <a:avLst/>
              <a:gdLst>
                <a:gd name="T0" fmla="*/ 1588 w 1888"/>
                <a:gd name="T1" fmla="*/ 0 h 600"/>
                <a:gd name="T2" fmla="*/ 300 w 1888"/>
                <a:gd name="T3" fmla="*/ 0 h 600"/>
                <a:gd name="T4" fmla="*/ 300 w 1888"/>
                <a:gd name="T5" fmla="*/ 0 h 600"/>
                <a:gd name="T6" fmla="*/ 0 w 1888"/>
                <a:gd name="T7" fmla="*/ 300 h 600"/>
                <a:gd name="T8" fmla="*/ 300 w 1888"/>
                <a:gd name="T9" fmla="*/ 599 h 600"/>
                <a:gd name="T10" fmla="*/ 300 w 1888"/>
                <a:gd name="T11" fmla="*/ 599 h 600"/>
                <a:gd name="T12" fmla="*/ 1588 w 1888"/>
                <a:gd name="T13" fmla="*/ 599 h 600"/>
                <a:gd name="T14" fmla="*/ 1887 w 1888"/>
                <a:gd name="T15" fmla="*/ 300 h 600"/>
                <a:gd name="T16" fmla="*/ 1588 w 1888"/>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8" h="600">
                  <a:moveTo>
                    <a:pt x="1588" y="0"/>
                  </a:moveTo>
                  <a:lnTo>
                    <a:pt x="300" y="0"/>
                  </a:lnTo>
                  <a:lnTo>
                    <a:pt x="300" y="0"/>
                  </a:lnTo>
                  <a:cubicBezTo>
                    <a:pt x="134" y="0"/>
                    <a:pt x="0" y="134"/>
                    <a:pt x="0" y="300"/>
                  </a:cubicBezTo>
                  <a:cubicBezTo>
                    <a:pt x="0" y="465"/>
                    <a:pt x="134" y="599"/>
                    <a:pt x="300" y="599"/>
                  </a:cubicBezTo>
                  <a:lnTo>
                    <a:pt x="300" y="599"/>
                  </a:lnTo>
                  <a:lnTo>
                    <a:pt x="1588" y="599"/>
                  </a:lnTo>
                  <a:cubicBezTo>
                    <a:pt x="1753" y="599"/>
                    <a:pt x="1887" y="465"/>
                    <a:pt x="1887" y="300"/>
                  </a:cubicBezTo>
                  <a:cubicBezTo>
                    <a:pt x="1887" y="134"/>
                    <a:pt x="1753" y="0"/>
                    <a:pt x="1588"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19" name="Text Box 14"/>
            <p:cNvSpPr txBox="1">
              <a:spLocks noChangeArrowheads="1"/>
            </p:cNvSpPr>
            <p:nvPr/>
          </p:nvSpPr>
          <p:spPr bwMode="auto">
            <a:xfrm>
              <a:off x="1761009" y="4711701"/>
              <a:ext cx="396875" cy="2160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7938" rIns="0" bIns="0" anchor="ctr"/>
            <a:lstStyle/>
            <a:p>
              <a:pPr>
                <a:buNone/>
              </a:pPr>
              <a:r>
                <a:rPr lang="en-US" sz="700" dirty="0">
                  <a:solidFill>
                    <a:srgbClr val="BE1839"/>
                  </a:solidFill>
                  <a:latin typeface="Arial"/>
                  <a:ea typeface="'ArialMT'" pitchFamily="32" charset="0"/>
                  <a:cs typeface="Arial"/>
                </a:rPr>
                <a:t>Apparel</a:t>
              </a:r>
            </a:p>
          </p:txBody>
        </p:sp>
        <p:sp>
          <p:nvSpPr>
            <p:cNvPr id="220" name="Freeform 15"/>
            <p:cNvSpPr>
              <a:spLocks noChangeArrowheads="1"/>
            </p:cNvSpPr>
            <p:nvPr/>
          </p:nvSpPr>
          <p:spPr bwMode="auto">
            <a:xfrm>
              <a:off x="1570736" y="4756151"/>
              <a:ext cx="142875" cy="136525"/>
            </a:xfrm>
            <a:custGeom>
              <a:avLst/>
              <a:gdLst>
                <a:gd name="T0" fmla="*/ 372 w 395"/>
                <a:gd name="T1" fmla="*/ 32 h 380"/>
                <a:gd name="T2" fmla="*/ 334 w 395"/>
                <a:gd name="T3" fmla="*/ 0 h 380"/>
                <a:gd name="T4" fmla="*/ 271 w 395"/>
                <a:gd name="T5" fmla="*/ 0 h 380"/>
                <a:gd name="T6" fmla="*/ 197 w 395"/>
                <a:gd name="T7" fmla="*/ 69 h 380"/>
                <a:gd name="T8" fmla="*/ 123 w 395"/>
                <a:gd name="T9" fmla="*/ 0 h 380"/>
                <a:gd name="T10" fmla="*/ 60 w 395"/>
                <a:gd name="T11" fmla="*/ 0 h 380"/>
                <a:gd name="T12" fmla="*/ 22 w 395"/>
                <a:gd name="T13" fmla="*/ 32 h 380"/>
                <a:gd name="T14" fmla="*/ 0 w 395"/>
                <a:gd name="T15" fmla="*/ 166 h 380"/>
                <a:gd name="T16" fmla="*/ 57 w 395"/>
                <a:gd name="T17" fmla="*/ 186 h 380"/>
                <a:gd name="T18" fmla="*/ 72 w 395"/>
                <a:gd name="T19" fmla="*/ 148 h 380"/>
                <a:gd name="T20" fmla="*/ 97 w 395"/>
                <a:gd name="T21" fmla="*/ 235 h 380"/>
                <a:gd name="T22" fmla="*/ 72 w 395"/>
                <a:gd name="T23" fmla="*/ 353 h 380"/>
                <a:gd name="T24" fmla="*/ 72 w 395"/>
                <a:gd name="T25" fmla="*/ 379 h 380"/>
                <a:gd name="T26" fmla="*/ 197 w 395"/>
                <a:gd name="T27" fmla="*/ 379 h 380"/>
                <a:gd name="T28" fmla="*/ 321 w 395"/>
                <a:gd name="T29" fmla="*/ 379 h 380"/>
                <a:gd name="T30" fmla="*/ 321 w 395"/>
                <a:gd name="T31" fmla="*/ 353 h 380"/>
                <a:gd name="T32" fmla="*/ 297 w 395"/>
                <a:gd name="T33" fmla="*/ 235 h 380"/>
                <a:gd name="T34" fmla="*/ 321 w 395"/>
                <a:gd name="T35" fmla="*/ 148 h 380"/>
                <a:gd name="T36" fmla="*/ 337 w 395"/>
                <a:gd name="T37" fmla="*/ 186 h 380"/>
                <a:gd name="T38" fmla="*/ 394 w 395"/>
                <a:gd name="T39" fmla="*/ 166 h 380"/>
                <a:gd name="T40" fmla="*/ 372 w 395"/>
                <a:gd name="T41" fmla="*/ 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5" h="380">
                  <a:moveTo>
                    <a:pt x="372" y="32"/>
                  </a:moveTo>
                  <a:cubicBezTo>
                    <a:pt x="372" y="32"/>
                    <a:pt x="375" y="5"/>
                    <a:pt x="334" y="0"/>
                  </a:cubicBezTo>
                  <a:lnTo>
                    <a:pt x="271" y="0"/>
                  </a:lnTo>
                  <a:cubicBezTo>
                    <a:pt x="271" y="0"/>
                    <a:pt x="286" y="69"/>
                    <a:pt x="197" y="69"/>
                  </a:cubicBezTo>
                  <a:cubicBezTo>
                    <a:pt x="108" y="69"/>
                    <a:pt x="123" y="0"/>
                    <a:pt x="123" y="0"/>
                  </a:cubicBezTo>
                  <a:lnTo>
                    <a:pt x="60" y="0"/>
                  </a:lnTo>
                  <a:cubicBezTo>
                    <a:pt x="19" y="5"/>
                    <a:pt x="22" y="32"/>
                    <a:pt x="22" y="32"/>
                  </a:cubicBezTo>
                  <a:lnTo>
                    <a:pt x="0" y="166"/>
                  </a:lnTo>
                  <a:lnTo>
                    <a:pt x="57" y="186"/>
                  </a:lnTo>
                  <a:lnTo>
                    <a:pt x="72" y="148"/>
                  </a:lnTo>
                  <a:cubicBezTo>
                    <a:pt x="72" y="148"/>
                    <a:pt x="94" y="180"/>
                    <a:pt x="97" y="235"/>
                  </a:cubicBezTo>
                  <a:cubicBezTo>
                    <a:pt x="100" y="290"/>
                    <a:pt x="72" y="353"/>
                    <a:pt x="72" y="353"/>
                  </a:cubicBezTo>
                  <a:lnTo>
                    <a:pt x="72" y="379"/>
                  </a:lnTo>
                  <a:lnTo>
                    <a:pt x="197" y="379"/>
                  </a:lnTo>
                  <a:lnTo>
                    <a:pt x="321" y="379"/>
                  </a:lnTo>
                  <a:lnTo>
                    <a:pt x="321" y="353"/>
                  </a:lnTo>
                  <a:cubicBezTo>
                    <a:pt x="321" y="353"/>
                    <a:pt x="294" y="290"/>
                    <a:pt x="297" y="235"/>
                  </a:cubicBezTo>
                  <a:cubicBezTo>
                    <a:pt x="300" y="180"/>
                    <a:pt x="321" y="148"/>
                    <a:pt x="321" y="148"/>
                  </a:cubicBezTo>
                  <a:lnTo>
                    <a:pt x="337" y="186"/>
                  </a:lnTo>
                  <a:lnTo>
                    <a:pt x="394" y="166"/>
                  </a:lnTo>
                  <a:lnTo>
                    <a:pt x="372" y="32"/>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grpSp>
      <p:grpSp>
        <p:nvGrpSpPr>
          <p:cNvPr id="221" name="Group 3083"/>
          <p:cNvGrpSpPr/>
          <p:nvPr/>
        </p:nvGrpSpPr>
        <p:grpSpPr>
          <a:xfrm>
            <a:off x="2639124" y="4978401"/>
            <a:ext cx="704850" cy="215900"/>
            <a:chOff x="1115124" y="4978401"/>
            <a:chExt cx="704850" cy="215900"/>
          </a:xfrm>
        </p:grpSpPr>
        <p:sp>
          <p:nvSpPr>
            <p:cNvPr id="222" name="Freeform 16"/>
            <p:cNvSpPr>
              <a:spLocks noChangeArrowheads="1"/>
            </p:cNvSpPr>
            <p:nvPr/>
          </p:nvSpPr>
          <p:spPr bwMode="auto">
            <a:xfrm>
              <a:off x="1115124" y="4978401"/>
              <a:ext cx="704850" cy="215900"/>
            </a:xfrm>
            <a:custGeom>
              <a:avLst/>
              <a:gdLst>
                <a:gd name="T0" fmla="*/ 1656 w 1956"/>
                <a:gd name="T1" fmla="*/ 0 h 600"/>
                <a:gd name="T2" fmla="*/ 299 w 1956"/>
                <a:gd name="T3" fmla="*/ 0 h 600"/>
                <a:gd name="T4" fmla="*/ 299 w 1956"/>
                <a:gd name="T5" fmla="*/ 0 h 600"/>
                <a:gd name="T6" fmla="*/ 0 w 1956"/>
                <a:gd name="T7" fmla="*/ 299 h 600"/>
                <a:gd name="T8" fmla="*/ 299 w 1956"/>
                <a:gd name="T9" fmla="*/ 599 h 600"/>
                <a:gd name="T10" fmla="*/ 683 w 1956"/>
                <a:gd name="T11" fmla="*/ 599 h 600"/>
                <a:gd name="T12" fmla="*/ 1656 w 1956"/>
                <a:gd name="T13" fmla="*/ 599 h 600"/>
                <a:gd name="T14" fmla="*/ 1955 w 1956"/>
                <a:gd name="T15" fmla="*/ 299 h 600"/>
                <a:gd name="T16" fmla="*/ 1656 w 1956"/>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6" h="600">
                  <a:moveTo>
                    <a:pt x="1656" y="0"/>
                  </a:moveTo>
                  <a:lnTo>
                    <a:pt x="299" y="0"/>
                  </a:lnTo>
                  <a:lnTo>
                    <a:pt x="299" y="0"/>
                  </a:lnTo>
                  <a:cubicBezTo>
                    <a:pt x="134" y="0"/>
                    <a:pt x="0" y="134"/>
                    <a:pt x="0" y="299"/>
                  </a:cubicBezTo>
                  <a:cubicBezTo>
                    <a:pt x="0" y="465"/>
                    <a:pt x="134" y="599"/>
                    <a:pt x="299" y="599"/>
                  </a:cubicBezTo>
                  <a:lnTo>
                    <a:pt x="683" y="599"/>
                  </a:lnTo>
                  <a:lnTo>
                    <a:pt x="1656" y="599"/>
                  </a:lnTo>
                  <a:cubicBezTo>
                    <a:pt x="1821" y="599"/>
                    <a:pt x="1955" y="465"/>
                    <a:pt x="1955" y="299"/>
                  </a:cubicBezTo>
                  <a:cubicBezTo>
                    <a:pt x="1955" y="134"/>
                    <a:pt x="1821" y="0"/>
                    <a:pt x="1656"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23" name="Text Box 17"/>
            <p:cNvSpPr txBox="1">
              <a:spLocks noChangeArrowheads="1"/>
            </p:cNvSpPr>
            <p:nvPr/>
          </p:nvSpPr>
          <p:spPr bwMode="auto">
            <a:xfrm>
              <a:off x="1340321" y="5029201"/>
              <a:ext cx="460375" cy="127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7938" rIns="0" bIns="0" anchor="ctr"/>
            <a:lstStyle/>
            <a:p>
              <a:pPr>
                <a:buNone/>
              </a:pPr>
              <a:r>
                <a:rPr lang="en-US" sz="700" dirty="0">
                  <a:solidFill>
                    <a:srgbClr val="BE1839"/>
                  </a:solidFill>
                  <a:latin typeface="Arial"/>
                  <a:ea typeface="'ArialMT'" pitchFamily="32" charset="0"/>
                  <a:cs typeface="Arial"/>
                </a:rPr>
                <a:t>Furniture</a:t>
              </a:r>
            </a:p>
          </p:txBody>
        </p:sp>
        <p:sp>
          <p:nvSpPr>
            <p:cNvPr id="224" name="Freeform 18"/>
            <p:cNvSpPr>
              <a:spLocks noChangeArrowheads="1"/>
            </p:cNvSpPr>
            <p:nvPr/>
          </p:nvSpPr>
          <p:spPr bwMode="auto">
            <a:xfrm>
              <a:off x="1180211" y="5011738"/>
              <a:ext cx="109538" cy="144463"/>
            </a:xfrm>
            <a:custGeom>
              <a:avLst/>
              <a:gdLst>
                <a:gd name="T0" fmla="*/ 298 w 305"/>
                <a:gd name="T1" fmla="*/ 207 h 403"/>
                <a:gd name="T2" fmla="*/ 293 w 305"/>
                <a:gd name="T3" fmla="*/ 202 h 403"/>
                <a:gd name="T4" fmla="*/ 283 w 305"/>
                <a:gd name="T5" fmla="*/ 202 h 403"/>
                <a:gd name="T6" fmla="*/ 278 w 305"/>
                <a:gd name="T7" fmla="*/ 207 h 403"/>
                <a:gd name="T8" fmla="*/ 278 w 305"/>
                <a:gd name="T9" fmla="*/ 211 h 403"/>
                <a:gd name="T10" fmla="*/ 255 w 305"/>
                <a:gd name="T11" fmla="*/ 198 h 403"/>
                <a:gd name="T12" fmla="*/ 250 w 305"/>
                <a:gd name="T13" fmla="*/ 171 h 403"/>
                <a:gd name="T14" fmla="*/ 249 w 305"/>
                <a:gd name="T15" fmla="*/ 139 h 403"/>
                <a:gd name="T16" fmla="*/ 265 w 305"/>
                <a:gd name="T17" fmla="*/ 114 h 403"/>
                <a:gd name="T18" fmla="*/ 265 w 305"/>
                <a:gd name="T19" fmla="*/ 50 h 403"/>
                <a:gd name="T20" fmla="*/ 222 w 305"/>
                <a:gd name="T21" fmla="*/ 7 h 403"/>
                <a:gd name="T22" fmla="*/ 81 w 305"/>
                <a:gd name="T23" fmla="*/ 7 h 403"/>
                <a:gd name="T24" fmla="*/ 39 w 305"/>
                <a:gd name="T25" fmla="*/ 50 h 403"/>
                <a:gd name="T26" fmla="*/ 39 w 305"/>
                <a:gd name="T27" fmla="*/ 114 h 403"/>
                <a:gd name="T28" fmla="*/ 56 w 305"/>
                <a:gd name="T29" fmla="*/ 139 h 403"/>
                <a:gd name="T30" fmla="*/ 55 w 305"/>
                <a:gd name="T31" fmla="*/ 171 h 403"/>
                <a:gd name="T32" fmla="*/ 50 w 305"/>
                <a:gd name="T33" fmla="*/ 198 h 403"/>
                <a:gd name="T34" fmla="*/ 26 w 305"/>
                <a:gd name="T35" fmla="*/ 210 h 403"/>
                <a:gd name="T36" fmla="*/ 26 w 305"/>
                <a:gd name="T37" fmla="*/ 207 h 403"/>
                <a:gd name="T38" fmla="*/ 21 w 305"/>
                <a:gd name="T39" fmla="*/ 202 h 403"/>
                <a:gd name="T40" fmla="*/ 11 w 305"/>
                <a:gd name="T41" fmla="*/ 202 h 403"/>
                <a:gd name="T42" fmla="*/ 5 w 305"/>
                <a:gd name="T43" fmla="*/ 207 h 403"/>
                <a:gd name="T44" fmla="*/ 0 w 305"/>
                <a:gd name="T45" fmla="*/ 398 h 403"/>
                <a:gd name="T46" fmla="*/ 6 w 305"/>
                <a:gd name="T47" fmla="*/ 402 h 403"/>
                <a:gd name="T48" fmla="*/ 16 w 305"/>
                <a:gd name="T49" fmla="*/ 402 h 403"/>
                <a:gd name="T50" fmla="*/ 21 w 305"/>
                <a:gd name="T51" fmla="*/ 397 h 403"/>
                <a:gd name="T52" fmla="*/ 24 w 305"/>
                <a:gd name="T53" fmla="*/ 272 h 403"/>
                <a:gd name="T54" fmla="*/ 27 w 305"/>
                <a:gd name="T55" fmla="*/ 386 h 403"/>
                <a:gd name="T56" fmla="*/ 26 w 305"/>
                <a:gd name="T57" fmla="*/ 387 h 403"/>
                <a:gd name="T58" fmla="*/ 26 w 305"/>
                <a:gd name="T59" fmla="*/ 387 h 403"/>
                <a:gd name="T60" fmla="*/ 28 w 305"/>
                <a:gd name="T61" fmla="*/ 393 h 403"/>
                <a:gd name="T62" fmla="*/ 44 w 305"/>
                <a:gd name="T63" fmla="*/ 393 h 403"/>
                <a:gd name="T64" fmla="*/ 45 w 305"/>
                <a:gd name="T65" fmla="*/ 387 h 403"/>
                <a:gd name="T66" fmla="*/ 45 w 305"/>
                <a:gd name="T67" fmla="*/ 387 h 403"/>
                <a:gd name="T68" fmla="*/ 44 w 305"/>
                <a:gd name="T69" fmla="*/ 386 h 403"/>
                <a:gd name="T70" fmla="*/ 44 w 305"/>
                <a:gd name="T71" fmla="*/ 386 h 403"/>
                <a:gd name="T72" fmla="*/ 44 w 305"/>
                <a:gd name="T73" fmla="*/ 385 h 403"/>
                <a:gd name="T74" fmla="*/ 41 w 305"/>
                <a:gd name="T75" fmla="*/ 261 h 403"/>
                <a:gd name="T76" fmla="*/ 57 w 305"/>
                <a:gd name="T77" fmla="*/ 265 h 403"/>
                <a:gd name="T78" fmla="*/ 246 w 305"/>
                <a:gd name="T79" fmla="*/ 265 h 403"/>
                <a:gd name="T80" fmla="*/ 262 w 305"/>
                <a:gd name="T81" fmla="*/ 261 h 403"/>
                <a:gd name="T82" fmla="*/ 260 w 305"/>
                <a:gd name="T83" fmla="*/ 385 h 403"/>
                <a:gd name="T84" fmla="*/ 260 w 305"/>
                <a:gd name="T85" fmla="*/ 386 h 403"/>
                <a:gd name="T86" fmla="*/ 260 w 305"/>
                <a:gd name="T87" fmla="*/ 386 h 403"/>
                <a:gd name="T88" fmla="*/ 259 w 305"/>
                <a:gd name="T89" fmla="*/ 387 h 403"/>
                <a:gd name="T90" fmla="*/ 259 w 305"/>
                <a:gd name="T91" fmla="*/ 387 h 403"/>
                <a:gd name="T92" fmla="*/ 260 w 305"/>
                <a:gd name="T93" fmla="*/ 393 h 403"/>
                <a:gd name="T94" fmla="*/ 276 w 305"/>
                <a:gd name="T95" fmla="*/ 393 h 403"/>
                <a:gd name="T96" fmla="*/ 278 w 305"/>
                <a:gd name="T97" fmla="*/ 387 h 403"/>
                <a:gd name="T98" fmla="*/ 278 w 305"/>
                <a:gd name="T99" fmla="*/ 387 h 403"/>
                <a:gd name="T100" fmla="*/ 277 w 305"/>
                <a:gd name="T101" fmla="*/ 386 h 403"/>
                <a:gd name="T102" fmla="*/ 280 w 305"/>
                <a:gd name="T103" fmla="*/ 272 h 403"/>
                <a:gd name="T104" fmla="*/ 283 w 305"/>
                <a:gd name="T105" fmla="*/ 397 h 403"/>
                <a:gd name="T106" fmla="*/ 288 w 305"/>
                <a:gd name="T107" fmla="*/ 402 h 403"/>
                <a:gd name="T108" fmla="*/ 298 w 305"/>
                <a:gd name="T109" fmla="*/ 402 h 403"/>
                <a:gd name="T110" fmla="*/ 303 w 305"/>
                <a:gd name="T111" fmla="*/ 398 h 403"/>
                <a:gd name="T112" fmla="*/ 298 w 305"/>
                <a:gd name="T113" fmla="*/ 207 h 403"/>
                <a:gd name="T114" fmla="*/ 230 w 305"/>
                <a:gd name="T115" fmla="*/ 141 h 403"/>
                <a:gd name="T116" fmla="*/ 234 w 305"/>
                <a:gd name="T117" fmla="*/ 199 h 403"/>
                <a:gd name="T118" fmla="*/ 71 w 305"/>
                <a:gd name="T119" fmla="*/ 199 h 403"/>
                <a:gd name="T120" fmla="*/ 75 w 305"/>
                <a:gd name="T121" fmla="*/ 141 h 403"/>
                <a:gd name="T122" fmla="*/ 230 w 305"/>
                <a:gd name="T123" fmla="*/ 14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5" h="403">
                  <a:moveTo>
                    <a:pt x="298" y="207"/>
                  </a:moveTo>
                  <a:cubicBezTo>
                    <a:pt x="298" y="204"/>
                    <a:pt x="296" y="201"/>
                    <a:pt x="293" y="202"/>
                  </a:cubicBezTo>
                  <a:lnTo>
                    <a:pt x="283" y="202"/>
                  </a:lnTo>
                  <a:cubicBezTo>
                    <a:pt x="280" y="202"/>
                    <a:pt x="278" y="205"/>
                    <a:pt x="278" y="207"/>
                  </a:cubicBezTo>
                  <a:lnTo>
                    <a:pt x="278" y="211"/>
                  </a:lnTo>
                  <a:cubicBezTo>
                    <a:pt x="275" y="205"/>
                    <a:pt x="269" y="198"/>
                    <a:pt x="255" y="198"/>
                  </a:cubicBezTo>
                  <a:cubicBezTo>
                    <a:pt x="252" y="191"/>
                    <a:pt x="251" y="182"/>
                    <a:pt x="250" y="171"/>
                  </a:cubicBezTo>
                  <a:cubicBezTo>
                    <a:pt x="249" y="161"/>
                    <a:pt x="249" y="149"/>
                    <a:pt x="249" y="139"/>
                  </a:cubicBezTo>
                  <a:cubicBezTo>
                    <a:pt x="261" y="136"/>
                    <a:pt x="265" y="132"/>
                    <a:pt x="265" y="114"/>
                  </a:cubicBezTo>
                  <a:lnTo>
                    <a:pt x="265" y="50"/>
                  </a:lnTo>
                  <a:cubicBezTo>
                    <a:pt x="265" y="27"/>
                    <a:pt x="245" y="12"/>
                    <a:pt x="222" y="7"/>
                  </a:cubicBezTo>
                  <a:cubicBezTo>
                    <a:pt x="185" y="0"/>
                    <a:pt x="124" y="1"/>
                    <a:pt x="81" y="7"/>
                  </a:cubicBezTo>
                  <a:cubicBezTo>
                    <a:pt x="58" y="11"/>
                    <a:pt x="39" y="27"/>
                    <a:pt x="39" y="50"/>
                  </a:cubicBezTo>
                  <a:lnTo>
                    <a:pt x="39" y="114"/>
                  </a:lnTo>
                  <a:cubicBezTo>
                    <a:pt x="39" y="133"/>
                    <a:pt x="43" y="137"/>
                    <a:pt x="56" y="139"/>
                  </a:cubicBezTo>
                  <a:cubicBezTo>
                    <a:pt x="56" y="150"/>
                    <a:pt x="56" y="161"/>
                    <a:pt x="55" y="171"/>
                  </a:cubicBezTo>
                  <a:cubicBezTo>
                    <a:pt x="55" y="182"/>
                    <a:pt x="53" y="191"/>
                    <a:pt x="50" y="198"/>
                  </a:cubicBezTo>
                  <a:cubicBezTo>
                    <a:pt x="36" y="198"/>
                    <a:pt x="29" y="204"/>
                    <a:pt x="26" y="210"/>
                  </a:cubicBezTo>
                  <a:lnTo>
                    <a:pt x="26" y="207"/>
                  </a:lnTo>
                  <a:cubicBezTo>
                    <a:pt x="26" y="205"/>
                    <a:pt x="24" y="202"/>
                    <a:pt x="21" y="202"/>
                  </a:cubicBezTo>
                  <a:lnTo>
                    <a:pt x="11" y="202"/>
                  </a:lnTo>
                  <a:cubicBezTo>
                    <a:pt x="8" y="201"/>
                    <a:pt x="5" y="204"/>
                    <a:pt x="5" y="207"/>
                  </a:cubicBezTo>
                  <a:lnTo>
                    <a:pt x="0" y="398"/>
                  </a:lnTo>
                  <a:cubicBezTo>
                    <a:pt x="0" y="401"/>
                    <a:pt x="3" y="401"/>
                    <a:pt x="6" y="402"/>
                  </a:cubicBezTo>
                  <a:lnTo>
                    <a:pt x="16" y="402"/>
                  </a:lnTo>
                  <a:cubicBezTo>
                    <a:pt x="20" y="401"/>
                    <a:pt x="21" y="399"/>
                    <a:pt x="21" y="397"/>
                  </a:cubicBezTo>
                  <a:lnTo>
                    <a:pt x="24" y="272"/>
                  </a:lnTo>
                  <a:lnTo>
                    <a:pt x="27" y="386"/>
                  </a:lnTo>
                  <a:cubicBezTo>
                    <a:pt x="27" y="386"/>
                    <a:pt x="26" y="386"/>
                    <a:pt x="26" y="387"/>
                  </a:cubicBezTo>
                  <a:lnTo>
                    <a:pt x="26" y="387"/>
                  </a:lnTo>
                  <a:cubicBezTo>
                    <a:pt x="26" y="388"/>
                    <a:pt x="25" y="393"/>
                    <a:pt x="28" y="393"/>
                  </a:cubicBezTo>
                  <a:lnTo>
                    <a:pt x="44" y="393"/>
                  </a:lnTo>
                  <a:cubicBezTo>
                    <a:pt x="46" y="393"/>
                    <a:pt x="46" y="390"/>
                    <a:pt x="45" y="387"/>
                  </a:cubicBezTo>
                  <a:lnTo>
                    <a:pt x="45" y="387"/>
                  </a:lnTo>
                  <a:cubicBezTo>
                    <a:pt x="45" y="386"/>
                    <a:pt x="45" y="386"/>
                    <a:pt x="44" y="386"/>
                  </a:cubicBezTo>
                  <a:lnTo>
                    <a:pt x="44" y="386"/>
                  </a:lnTo>
                  <a:lnTo>
                    <a:pt x="44" y="385"/>
                  </a:lnTo>
                  <a:lnTo>
                    <a:pt x="41" y="261"/>
                  </a:lnTo>
                  <a:cubicBezTo>
                    <a:pt x="46" y="262"/>
                    <a:pt x="51" y="263"/>
                    <a:pt x="57" y="265"/>
                  </a:cubicBezTo>
                  <a:cubicBezTo>
                    <a:pt x="112" y="275"/>
                    <a:pt x="181" y="275"/>
                    <a:pt x="246" y="265"/>
                  </a:cubicBezTo>
                  <a:cubicBezTo>
                    <a:pt x="253" y="264"/>
                    <a:pt x="258" y="262"/>
                    <a:pt x="262" y="261"/>
                  </a:cubicBezTo>
                  <a:lnTo>
                    <a:pt x="260" y="385"/>
                  </a:lnTo>
                  <a:lnTo>
                    <a:pt x="260" y="386"/>
                  </a:lnTo>
                  <a:lnTo>
                    <a:pt x="260" y="386"/>
                  </a:lnTo>
                  <a:cubicBezTo>
                    <a:pt x="259" y="386"/>
                    <a:pt x="259" y="386"/>
                    <a:pt x="259" y="387"/>
                  </a:cubicBezTo>
                  <a:lnTo>
                    <a:pt x="259" y="387"/>
                  </a:lnTo>
                  <a:cubicBezTo>
                    <a:pt x="258" y="390"/>
                    <a:pt x="258" y="393"/>
                    <a:pt x="260" y="393"/>
                  </a:cubicBezTo>
                  <a:lnTo>
                    <a:pt x="276" y="393"/>
                  </a:lnTo>
                  <a:cubicBezTo>
                    <a:pt x="279" y="393"/>
                    <a:pt x="278" y="388"/>
                    <a:pt x="278" y="387"/>
                  </a:cubicBezTo>
                  <a:lnTo>
                    <a:pt x="278" y="387"/>
                  </a:lnTo>
                  <a:cubicBezTo>
                    <a:pt x="278" y="386"/>
                    <a:pt x="277" y="386"/>
                    <a:pt x="277" y="386"/>
                  </a:cubicBezTo>
                  <a:lnTo>
                    <a:pt x="280" y="272"/>
                  </a:lnTo>
                  <a:lnTo>
                    <a:pt x="283" y="397"/>
                  </a:lnTo>
                  <a:cubicBezTo>
                    <a:pt x="283" y="399"/>
                    <a:pt x="284" y="401"/>
                    <a:pt x="288" y="402"/>
                  </a:cubicBezTo>
                  <a:lnTo>
                    <a:pt x="298" y="402"/>
                  </a:lnTo>
                  <a:cubicBezTo>
                    <a:pt x="301" y="401"/>
                    <a:pt x="304" y="401"/>
                    <a:pt x="303" y="398"/>
                  </a:cubicBezTo>
                  <a:lnTo>
                    <a:pt x="298" y="207"/>
                  </a:lnTo>
                  <a:close/>
                  <a:moveTo>
                    <a:pt x="230" y="141"/>
                  </a:moveTo>
                  <a:cubicBezTo>
                    <a:pt x="230" y="167"/>
                    <a:pt x="232" y="186"/>
                    <a:pt x="234" y="199"/>
                  </a:cubicBezTo>
                  <a:cubicBezTo>
                    <a:pt x="188" y="201"/>
                    <a:pt x="118" y="201"/>
                    <a:pt x="71" y="199"/>
                  </a:cubicBezTo>
                  <a:cubicBezTo>
                    <a:pt x="73" y="186"/>
                    <a:pt x="75" y="167"/>
                    <a:pt x="75" y="141"/>
                  </a:cubicBezTo>
                  <a:cubicBezTo>
                    <a:pt x="123" y="147"/>
                    <a:pt x="182" y="147"/>
                    <a:pt x="230" y="141"/>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grpSp>
      <p:grpSp>
        <p:nvGrpSpPr>
          <p:cNvPr id="225" name="Group 3090"/>
          <p:cNvGrpSpPr/>
          <p:nvPr/>
        </p:nvGrpSpPr>
        <p:grpSpPr>
          <a:xfrm>
            <a:off x="4257475" y="5254701"/>
            <a:ext cx="813327" cy="225376"/>
            <a:chOff x="2747074" y="5234037"/>
            <a:chExt cx="813327" cy="225376"/>
          </a:xfrm>
        </p:grpSpPr>
        <p:sp>
          <p:nvSpPr>
            <p:cNvPr id="226" name="Freeform 22"/>
            <p:cNvSpPr>
              <a:spLocks noChangeArrowheads="1"/>
            </p:cNvSpPr>
            <p:nvPr/>
          </p:nvSpPr>
          <p:spPr bwMode="auto">
            <a:xfrm>
              <a:off x="2747074" y="5243513"/>
              <a:ext cx="793750" cy="215900"/>
            </a:xfrm>
            <a:custGeom>
              <a:avLst/>
              <a:gdLst>
                <a:gd name="T0" fmla="*/ 1903 w 2203"/>
                <a:gd name="T1" fmla="*/ 0 h 600"/>
                <a:gd name="T2" fmla="*/ 299 w 2203"/>
                <a:gd name="T3" fmla="*/ 0 h 600"/>
                <a:gd name="T4" fmla="*/ 299 w 2203"/>
                <a:gd name="T5" fmla="*/ 0 h 600"/>
                <a:gd name="T6" fmla="*/ 0 w 2203"/>
                <a:gd name="T7" fmla="*/ 299 h 600"/>
                <a:gd name="T8" fmla="*/ 299 w 2203"/>
                <a:gd name="T9" fmla="*/ 599 h 600"/>
                <a:gd name="T10" fmla="*/ 683 w 2203"/>
                <a:gd name="T11" fmla="*/ 599 h 600"/>
                <a:gd name="T12" fmla="*/ 1903 w 2203"/>
                <a:gd name="T13" fmla="*/ 599 h 600"/>
                <a:gd name="T14" fmla="*/ 2202 w 2203"/>
                <a:gd name="T15" fmla="*/ 299 h 600"/>
                <a:gd name="T16" fmla="*/ 1903 w 2203"/>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3" h="600">
                  <a:moveTo>
                    <a:pt x="1903" y="0"/>
                  </a:moveTo>
                  <a:lnTo>
                    <a:pt x="299" y="0"/>
                  </a:lnTo>
                  <a:lnTo>
                    <a:pt x="299" y="0"/>
                  </a:lnTo>
                  <a:cubicBezTo>
                    <a:pt x="134" y="0"/>
                    <a:pt x="0" y="134"/>
                    <a:pt x="0" y="299"/>
                  </a:cubicBezTo>
                  <a:cubicBezTo>
                    <a:pt x="0" y="464"/>
                    <a:pt x="134" y="599"/>
                    <a:pt x="299" y="599"/>
                  </a:cubicBezTo>
                  <a:lnTo>
                    <a:pt x="683" y="599"/>
                  </a:lnTo>
                  <a:lnTo>
                    <a:pt x="1903" y="599"/>
                  </a:lnTo>
                  <a:cubicBezTo>
                    <a:pt x="2068" y="599"/>
                    <a:pt x="2202" y="464"/>
                    <a:pt x="2202" y="299"/>
                  </a:cubicBezTo>
                  <a:cubicBezTo>
                    <a:pt x="2202" y="134"/>
                    <a:pt x="2068" y="0"/>
                    <a:pt x="1903"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27" name="Text Box 23"/>
            <p:cNvSpPr txBox="1">
              <a:spLocks noChangeArrowheads="1"/>
            </p:cNvSpPr>
            <p:nvPr/>
          </p:nvSpPr>
          <p:spPr bwMode="auto">
            <a:xfrm>
              <a:off x="3082564" y="5234037"/>
              <a:ext cx="477837" cy="2253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7938" rIns="0" bIns="0" anchor="ctr"/>
            <a:lstStyle/>
            <a:p>
              <a:pPr>
                <a:buNone/>
              </a:pPr>
              <a:r>
                <a:rPr lang="en-US" sz="700" dirty="0">
                  <a:solidFill>
                    <a:srgbClr val="BE1839"/>
                  </a:solidFill>
                  <a:latin typeface="Arial"/>
                  <a:ea typeface="'ArialMT'" pitchFamily="32" charset="0"/>
                  <a:cs typeface="Arial"/>
                </a:rPr>
                <a:t>Footwear</a:t>
              </a:r>
            </a:p>
          </p:txBody>
        </p:sp>
        <p:grpSp>
          <p:nvGrpSpPr>
            <p:cNvPr id="228" name="Group 230"/>
            <p:cNvGrpSpPr/>
            <p:nvPr/>
          </p:nvGrpSpPr>
          <p:grpSpPr>
            <a:xfrm>
              <a:off x="2812161" y="5283201"/>
              <a:ext cx="180975" cy="115887"/>
              <a:chOff x="2812161" y="5283201"/>
              <a:chExt cx="180975" cy="115887"/>
            </a:xfrm>
          </p:grpSpPr>
          <p:sp>
            <p:nvSpPr>
              <p:cNvPr id="229" name="Freeform 24"/>
              <p:cNvSpPr>
                <a:spLocks noChangeArrowheads="1"/>
              </p:cNvSpPr>
              <p:nvPr/>
            </p:nvSpPr>
            <p:spPr bwMode="auto">
              <a:xfrm>
                <a:off x="2812161" y="5378451"/>
                <a:ext cx="177800" cy="20637"/>
              </a:xfrm>
              <a:custGeom>
                <a:avLst/>
                <a:gdLst>
                  <a:gd name="T0" fmla="*/ 431 w 493"/>
                  <a:gd name="T1" fmla="*/ 0 h 58"/>
                  <a:gd name="T2" fmla="*/ 342 w 493"/>
                  <a:gd name="T3" fmla="*/ 5 h 58"/>
                  <a:gd name="T4" fmla="*/ 331 w 493"/>
                  <a:gd name="T5" fmla="*/ 7 h 58"/>
                  <a:gd name="T6" fmla="*/ 308 w 493"/>
                  <a:gd name="T7" fmla="*/ 13 h 58"/>
                  <a:gd name="T8" fmla="*/ 115 w 493"/>
                  <a:gd name="T9" fmla="*/ 30 h 58"/>
                  <a:gd name="T10" fmla="*/ 13 w 493"/>
                  <a:gd name="T11" fmla="*/ 27 h 58"/>
                  <a:gd name="T12" fmla="*/ 4 w 493"/>
                  <a:gd name="T13" fmla="*/ 26 h 58"/>
                  <a:gd name="T14" fmla="*/ 0 w 493"/>
                  <a:gd name="T15" fmla="*/ 42 h 58"/>
                  <a:gd name="T16" fmla="*/ 1 w 493"/>
                  <a:gd name="T17" fmla="*/ 47 h 58"/>
                  <a:gd name="T18" fmla="*/ 5 w 493"/>
                  <a:gd name="T19" fmla="*/ 49 h 58"/>
                  <a:gd name="T20" fmla="*/ 195 w 493"/>
                  <a:gd name="T21" fmla="*/ 57 h 58"/>
                  <a:gd name="T22" fmla="*/ 285 w 493"/>
                  <a:gd name="T23" fmla="*/ 48 h 58"/>
                  <a:gd name="T24" fmla="*/ 354 w 493"/>
                  <a:gd name="T25" fmla="*/ 26 h 58"/>
                  <a:gd name="T26" fmla="*/ 357 w 493"/>
                  <a:gd name="T27" fmla="*/ 49 h 58"/>
                  <a:gd name="T28" fmla="*/ 362 w 493"/>
                  <a:gd name="T29" fmla="*/ 54 h 58"/>
                  <a:gd name="T30" fmla="*/ 485 w 493"/>
                  <a:gd name="T31" fmla="*/ 49 h 58"/>
                  <a:gd name="T32" fmla="*/ 490 w 493"/>
                  <a:gd name="T33" fmla="*/ 44 h 58"/>
                  <a:gd name="T34" fmla="*/ 489 w 493"/>
                  <a:gd name="T35" fmla="*/ 1 h 58"/>
                  <a:gd name="T36" fmla="*/ 484 w 493"/>
                  <a:gd name="T37" fmla="*/ 1 h 58"/>
                  <a:gd name="T38" fmla="*/ 431 w 493"/>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3" h="58">
                    <a:moveTo>
                      <a:pt x="431" y="0"/>
                    </a:moveTo>
                    <a:cubicBezTo>
                      <a:pt x="395" y="0"/>
                      <a:pt x="365" y="2"/>
                      <a:pt x="342" y="5"/>
                    </a:cubicBezTo>
                    <a:lnTo>
                      <a:pt x="331" y="7"/>
                    </a:lnTo>
                    <a:cubicBezTo>
                      <a:pt x="322" y="9"/>
                      <a:pt x="314" y="11"/>
                      <a:pt x="308" y="13"/>
                    </a:cubicBezTo>
                    <a:cubicBezTo>
                      <a:pt x="280" y="24"/>
                      <a:pt x="210" y="30"/>
                      <a:pt x="115" y="30"/>
                    </a:cubicBezTo>
                    <a:cubicBezTo>
                      <a:pt x="77" y="30"/>
                      <a:pt x="41" y="29"/>
                      <a:pt x="13" y="27"/>
                    </a:cubicBezTo>
                    <a:lnTo>
                      <a:pt x="4" y="26"/>
                    </a:lnTo>
                    <a:lnTo>
                      <a:pt x="0" y="42"/>
                    </a:lnTo>
                    <a:cubicBezTo>
                      <a:pt x="0" y="44"/>
                      <a:pt x="0" y="45"/>
                      <a:pt x="1" y="47"/>
                    </a:cubicBezTo>
                    <a:cubicBezTo>
                      <a:pt x="2" y="48"/>
                      <a:pt x="3" y="49"/>
                      <a:pt x="5" y="49"/>
                    </a:cubicBezTo>
                    <a:cubicBezTo>
                      <a:pt x="6" y="49"/>
                      <a:pt x="113" y="57"/>
                      <a:pt x="195" y="57"/>
                    </a:cubicBezTo>
                    <a:cubicBezTo>
                      <a:pt x="244" y="57"/>
                      <a:pt x="273" y="54"/>
                      <a:pt x="285" y="48"/>
                    </a:cubicBezTo>
                    <a:cubicBezTo>
                      <a:pt x="313" y="35"/>
                      <a:pt x="343" y="28"/>
                      <a:pt x="354" y="26"/>
                    </a:cubicBezTo>
                    <a:lnTo>
                      <a:pt x="357" y="49"/>
                    </a:lnTo>
                    <a:cubicBezTo>
                      <a:pt x="357" y="52"/>
                      <a:pt x="359" y="54"/>
                      <a:pt x="362" y="54"/>
                    </a:cubicBezTo>
                    <a:lnTo>
                      <a:pt x="485" y="49"/>
                    </a:lnTo>
                    <a:cubicBezTo>
                      <a:pt x="488" y="49"/>
                      <a:pt x="490" y="47"/>
                      <a:pt x="490" y="44"/>
                    </a:cubicBezTo>
                    <a:cubicBezTo>
                      <a:pt x="492" y="29"/>
                      <a:pt x="490" y="12"/>
                      <a:pt x="489" y="1"/>
                    </a:cubicBezTo>
                    <a:lnTo>
                      <a:pt x="484" y="1"/>
                    </a:lnTo>
                    <a:cubicBezTo>
                      <a:pt x="476" y="1"/>
                      <a:pt x="456" y="0"/>
                      <a:pt x="431" y="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30" name="Freeform 25"/>
              <p:cNvSpPr>
                <a:spLocks noChangeArrowheads="1"/>
              </p:cNvSpPr>
              <p:nvPr/>
            </p:nvSpPr>
            <p:spPr bwMode="auto">
              <a:xfrm>
                <a:off x="2815336" y="5283201"/>
                <a:ext cx="177800" cy="100012"/>
              </a:xfrm>
              <a:custGeom>
                <a:avLst/>
                <a:gdLst>
                  <a:gd name="T0" fmla="*/ 294 w 492"/>
                  <a:gd name="T1" fmla="*/ 261 h 278"/>
                  <a:gd name="T2" fmla="*/ 331 w 492"/>
                  <a:gd name="T3" fmla="*/ 252 h 278"/>
                  <a:gd name="T4" fmla="*/ 476 w 492"/>
                  <a:gd name="T5" fmla="*/ 248 h 278"/>
                  <a:gd name="T6" fmla="*/ 474 w 492"/>
                  <a:gd name="T7" fmla="*/ 80 h 278"/>
                  <a:gd name="T8" fmla="*/ 434 w 492"/>
                  <a:gd name="T9" fmla="*/ 76 h 278"/>
                  <a:gd name="T10" fmla="*/ 309 w 492"/>
                  <a:gd name="T11" fmla="*/ 63 h 278"/>
                  <a:gd name="T12" fmla="*/ 304 w 492"/>
                  <a:gd name="T13" fmla="*/ 16 h 278"/>
                  <a:gd name="T14" fmla="*/ 274 w 492"/>
                  <a:gd name="T15" fmla="*/ 0 h 278"/>
                  <a:gd name="T16" fmla="*/ 255 w 492"/>
                  <a:gd name="T17" fmla="*/ 59 h 278"/>
                  <a:gd name="T18" fmla="*/ 198 w 492"/>
                  <a:gd name="T19" fmla="*/ 59 h 278"/>
                  <a:gd name="T20" fmla="*/ 236 w 492"/>
                  <a:gd name="T21" fmla="*/ 87 h 278"/>
                  <a:gd name="T22" fmla="*/ 200 w 492"/>
                  <a:gd name="T23" fmla="*/ 108 h 278"/>
                  <a:gd name="T24" fmla="*/ 170 w 492"/>
                  <a:gd name="T25" fmla="*/ 89 h 278"/>
                  <a:gd name="T26" fmla="*/ 198 w 492"/>
                  <a:gd name="T27" fmla="*/ 118 h 278"/>
                  <a:gd name="T28" fmla="*/ 250 w 492"/>
                  <a:gd name="T29" fmla="*/ 103 h 278"/>
                  <a:gd name="T30" fmla="*/ 238 w 492"/>
                  <a:gd name="T31" fmla="*/ 112 h 278"/>
                  <a:gd name="T32" fmla="*/ 237 w 492"/>
                  <a:gd name="T33" fmla="*/ 121 h 278"/>
                  <a:gd name="T34" fmla="*/ 218 w 492"/>
                  <a:gd name="T35" fmla="*/ 133 h 278"/>
                  <a:gd name="T36" fmla="*/ 216 w 492"/>
                  <a:gd name="T37" fmla="*/ 145 h 278"/>
                  <a:gd name="T38" fmla="*/ 198 w 492"/>
                  <a:gd name="T39" fmla="*/ 159 h 278"/>
                  <a:gd name="T40" fmla="*/ 195 w 492"/>
                  <a:gd name="T41" fmla="*/ 167 h 278"/>
                  <a:gd name="T42" fmla="*/ 134 w 492"/>
                  <a:gd name="T43" fmla="*/ 213 h 278"/>
                  <a:gd name="T44" fmla="*/ 126 w 492"/>
                  <a:gd name="T45" fmla="*/ 217 h 278"/>
                  <a:gd name="T46" fmla="*/ 122 w 492"/>
                  <a:gd name="T47" fmla="*/ 219 h 278"/>
                  <a:gd name="T48" fmla="*/ 115 w 492"/>
                  <a:gd name="T49" fmla="*/ 222 h 278"/>
                  <a:gd name="T50" fmla="*/ 111 w 492"/>
                  <a:gd name="T51" fmla="*/ 224 h 278"/>
                  <a:gd name="T52" fmla="*/ 105 w 492"/>
                  <a:gd name="T53" fmla="*/ 225 h 278"/>
                  <a:gd name="T54" fmla="*/ 100 w 492"/>
                  <a:gd name="T55" fmla="*/ 227 h 278"/>
                  <a:gd name="T56" fmla="*/ 95 w 492"/>
                  <a:gd name="T57" fmla="*/ 228 h 278"/>
                  <a:gd name="T58" fmla="*/ 90 w 492"/>
                  <a:gd name="T59" fmla="*/ 229 h 278"/>
                  <a:gd name="T60" fmla="*/ 84 w 492"/>
                  <a:gd name="T61" fmla="*/ 230 h 278"/>
                  <a:gd name="T62" fmla="*/ 11 w 492"/>
                  <a:gd name="T63" fmla="*/ 254 h 278"/>
                  <a:gd name="T64" fmla="*/ 6 w 492"/>
                  <a:gd name="T65" fmla="*/ 274 h 278"/>
                  <a:gd name="T66" fmla="*/ 261 w 492"/>
                  <a:gd name="T67" fmla="*/ 16 h 278"/>
                  <a:gd name="T68" fmla="*/ 278 w 492"/>
                  <a:gd name="T69" fmla="*/ 11 h 278"/>
                  <a:gd name="T70" fmla="*/ 279 w 492"/>
                  <a:gd name="T71" fmla="*/ 66 h 278"/>
                  <a:gd name="T72" fmla="*/ 274 w 492"/>
                  <a:gd name="T73" fmla="*/ 71 h 278"/>
                  <a:gd name="T74" fmla="*/ 261 w 492"/>
                  <a:gd name="T75" fmla="*/ 16 h 278"/>
                  <a:gd name="T76" fmla="*/ 207 w 492"/>
                  <a:gd name="T77" fmla="*/ 70 h 278"/>
                  <a:gd name="T78" fmla="*/ 219 w 492"/>
                  <a:gd name="T79" fmla="*/ 56 h 278"/>
                  <a:gd name="T80" fmla="*/ 262 w 492"/>
                  <a:gd name="T81"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2" h="278">
                    <a:moveTo>
                      <a:pt x="107" y="277"/>
                    </a:moveTo>
                    <a:cubicBezTo>
                      <a:pt x="198" y="277"/>
                      <a:pt x="268" y="271"/>
                      <a:pt x="294" y="261"/>
                    </a:cubicBezTo>
                    <a:cubicBezTo>
                      <a:pt x="301" y="258"/>
                      <a:pt x="310" y="256"/>
                      <a:pt x="320" y="254"/>
                    </a:cubicBezTo>
                    <a:lnTo>
                      <a:pt x="331" y="252"/>
                    </a:lnTo>
                    <a:cubicBezTo>
                      <a:pt x="355" y="249"/>
                      <a:pt x="386" y="247"/>
                      <a:pt x="423" y="247"/>
                    </a:cubicBezTo>
                    <a:cubicBezTo>
                      <a:pt x="448" y="247"/>
                      <a:pt x="468" y="248"/>
                      <a:pt x="476" y="248"/>
                    </a:cubicBezTo>
                    <a:lnTo>
                      <a:pt x="481" y="248"/>
                    </a:lnTo>
                    <a:cubicBezTo>
                      <a:pt x="491" y="182"/>
                      <a:pt x="475" y="84"/>
                      <a:pt x="474" y="80"/>
                    </a:cubicBezTo>
                    <a:cubicBezTo>
                      <a:pt x="473" y="77"/>
                      <a:pt x="471" y="75"/>
                      <a:pt x="469" y="76"/>
                    </a:cubicBezTo>
                    <a:cubicBezTo>
                      <a:pt x="468" y="76"/>
                      <a:pt x="453" y="76"/>
                      <a:pt x="434" y="76"/>
                    </a:cubicBezTo>
                    <a:cubicBezTo>
                      <a:pt x="409" y="76"/>
                      <a:pt x="376" y="75"/>
                      <a:pt x="355" y="69"/>
                    </a:cubicBezTo>
                    <a:cubicBezTo>
                      <a:pt x="341" y="65"/>
                      <a:pt x="325" y="63"/>
                      <a:pt x="309" y="63"/>
                    </a:cubicBezTo>
                    <a:cubicBezTo>
                      <a:pt x="303" y="63"/>
                      <a:pt x="297" y="63"/>
                      <a:pt x="292" y="63"/>
                    </a:cubicBezTo>
                    <a:cubicBezTo>
                      <a:pt x="301" y="48"/>
                      <a:pt x="309" y="30"/>
                      <a:pt x="304" y="16"/>
                    </a:cubicBezTo>
                    <a:cubicBezTo>
                      <a:pt x="300" y="7"/>
                      <a:pt x="292" y="2"/>
                      <a:pt x="280" y="1"/>
                    </a:cubicBezTo>
                    <a:cubicBezTo>
                      <a:pt x="278" y="0"/>
                      <a:pt x="276" y="0"/>
                      <a:pt x="274" y="0"/>
                    </a:cubicBezTo>
                    <a:cubicBezTo>
                      <a:pt x="261" y="0"/>
                      <a:pt x="255" y="6"/>
                      <a:pt x="252" y="11"/>
                    </a:cubicBezTo>
                    <a:cubicBezTo>
                      <a:pt x="245" y="23"/>
                      <a:pt x="250" y="42"/>
                      <a:pt x="255" y="59"/>
                    </a:cubicBezTo>
                    <a:cubicBezTo>
                      <a:pt x="244" y="52"/>
                      <a:pt x="231" y="45"/>
                      <a:pt x="219" y="45"/>
                    </a:cubicBezTo>
                    <a:cubicBezTo>
                      <a:pt x="209" y="45"/>
                      <a:pt x="202" y="50"/>
                      <a:pt x="198" y="59"/>
                    </a:cubicBezTo>
                    <a:cubicBezTo>
                      <a:pt x="195" y="67"/>
                      <a:pt x="196" y="73"/>
                      <a:pt x="198" y="76"/>
                    </a:cubicBezTo>
                    <a:cubicBezTo>
                      <a:pt x="204" y="83"/>
                      <a:pt x="216" y="87"/>
                      <a:pt x="236" y="87"/>
                    </a:cubicBezTo>
                    <a:cubicBezTo>
                      <a:pt x="244" y="87"/>
                      <a:pt x="251" y="87"/>
                      <a:pt x="258" y="86"/>
                    </a:cubicBezTo>
                    <a:cubicBezTo>
                      <a:pt x="243" y="97"/>
                      <a:pt x="219" y="111"/>
                      <a:pt x="200" y="108"/>
                    </a:cubicBezTo>
                    <a:cubicBezTo>
                      <a:pt x="190" y="106"/>
                      <a:pt x="183" y="101"/>
                      <a:pt x="177" y="91"/>
                    </a:cubicBezTo>
                    <a:cubicBezTo>
                      <a:pt x="175" y="88"/>
                      <a:pt x="172" y="88"/>
                      <a:pt x="170" y="89"/>
                    </a:cubicBezTo>
                    <a:cubicBezTo>
                      <a:pt x="168" y="90"/>
                      <a:pt x="167" y="93"/>
                      <a:pt x="168" y="96"/>
                    </a:cubicBezTo>
                    <a:cubicBezTo>
                      <a:pt x="175" y="108"/>
                      <a:pt x="186" y="116"/>
                      <a:pt x="198" y="118"/>
                    </a:cubicBezTo>
                    <a:cubicBezTo>
                      <a:pt x="201" y="118"/>
                      <a:pt x="203" y="118"/>
                      <a:pt x="205" y="118"/>
                    </a:cubicBezTo>
                    <a:cubicBezTo>
                      <a:pt x="221" y="118"/>
                      <a:pt x="237" y="111"/>
                      <a:pt x="250" y="103"/>
                    </a:cubicBezTo>
                    <a:cubicBezTo>
                      <a:pt x="248" y="106"/>
                      <a:pt x="246" y="109"/>
                      <a:pt x="243" y="113"/>
                    </a:cubicBezTo>
                    <a:cubicBezTo>
                      <a:pt x="242" y="112"/>
                      <a:pt x="240" y="111"/>
                      <a:pt x="238" y="112"/>
                    </a:cubicBezTo>
                    <a:cubicBezTo>
                      <a:pt x="236" y="113"/>
                      <a:pt x="234" y="116"/>
                      <a:pt x="236" y="119"/>
                    </a:cubicBezTo>
                    <a:cubicBezTo>
                      <a:pt x="236" y="119"/>
                      <a:pt x="236" y="120"/>
                      <a:pt x="237" y="121"/>
                    </a:cubicBezTo>
                    <a:cubicBezTo>
                      <a:pt x="233" y="126"/>
                      <a:pt x="228" y="131"/>
                      <a:pt x="224" y="136"/>
                    </a:cubicBezTo>
                    <a:cubicBezTo>
                      <a:pt x="223" y="134"/>
                      <a:pt x="220" y="133"/>
                      <a:pt x="218" y="133"/>
                    </a:cubicBezTo>
                    <a:cubicBezTo>
                      <a:pt x="215" y="134"/>
                      <a:pt x="213" y="136"/>
                      <a:pt x="214" y="139"/>
                    </a:cubicBezTo>
                    <a:cubicBezTo>
                      <a:pt x="214" y="141"/>
                      <a:pt x="215" y="143"/>
                      <a:pt x="216" y="145"/>
                    </a:cubicBezTo>
                    <a:cubicBezTo>
                      <a:pt x="212" y="150"/>
                      <a:pt x="207" y="155"/>
                      <a:pt x="203" y="159"/>
                    </a:cubicBezTo>
                    <a:cubicBezTo>
                      <a:pt x="201" y="158"/>
                      <a:pt x="199" y="158"/>
                      <a:pt x="198" y="159"/>
                    </a:cubicBezTo>
                    <a:cubicBezTo>
                      <a:pt x="195" y="160"/>
                      <a:pt x="194" y="163"/>
                      <a:pt x="195" y="165"/>
                    </a:cubicBezTo>
                    <a:cubicBezTo>
                      <a:pt x="195" y="166"/>
                      <a:pt x="195" y="166"/>
                      <a:pt x="195" y="167"/>
                    </a:cubicBezTo>
                    <a:cubicBezTo>
                      <a:pt x="177" y="185"/>
                      <a:pt x="156" y="201"/>
                      <a:pt x="134" y="213"/>
                    </a:cubicBezTo>
                    <a:lnTo>
                      <a:pt x="134" y="213"/>
                    </a:lnTo>
                    <a:cubicBezTo>
                      <a:pt x="132" y="215"/>
                      <a:pt x="129" y="216"/>
                      <a:pt x="127" y="217"/>
                    </a:cubicBezTo>
                    <a:cubicBezTo>
                      <a:pt x="127" y="217"/>
                      <a:pt x="127" y="217"/>
                      <a:pt x="126" y="217"/>
                    </a:cubicBezTo>
                    <a:cubicBezTo>
                      <a:pt x="126" y="217"/>
                      <a:pt x="125" y="218"/>
                      <a:pt x="124" y="218"/>
                    </a:cubicBezTo>
                    <a:cubicBezTo>
                      <a:pt x="123" y="218"/>
                      <a:pt x="122" y="219"/>
                      <a:pt x="122" y="219"/>
                    </a:cubicBezTo>
                    <a:cubicBezTo>
                      <a:pt x="121" y="220"/>
                      <a:pt x="120" y="220"/>
                      <a:pt x="120" y="220"/>
                    </a:cubicBezTo>
                    <a:cubicBezTo>
                      <a:pt x="118" y="221"/>
                      <a:pt x="117" y="221"/>
                      <a:pt x="115" y="222"/>
                    </a:cubicBezTo>
                    <a:lnTo>
                      <a:pt x="115" y="222"/>
                    </a:lnTo>
                    <a:cubicBezTo>
                      <a:pt x="113" y="223"/>
                      <a:pt x="112" y="223"/>
                      <a:pt x="111" y="224"/>
                    </a:cubicBezTo>
                    <a:cubicBezTo>
                      <a:pt x="110" y="224"/>
                      <a:pt x="110" y="224"/>
                      <a:pt x="109" y="224"/>
                    </a:cubicBezTo>
                    <a:cubicBezTo>
                      <a:pt x="108" y="225"/>
                      <a:pt x="107" y="225"/>
                      <a:pt x="105" y="225"/>
                    </a:cubicBezTo>
                    <a:lnTo>
                      <a:pt x="105" y="226"/>
                    </a:lnTo>
                    <a:cubicBezTo>
                      <a:pt x="103" y="226"/>
                      <a:pt x="101" y="227"/>
                      <a:pt x="100" y="227"/>
                    </a:cubicBezTo>
                    <a:cubicBezTo>
                      <a:pt x="100" y="227"/>
                      <a:pt x="100" y="227"/>
                      <a:pt x="99" y="227"/>
                    </a:cubicBezTo>
                    <a:cubicBezTo>
                      <a:pt x="98" y="227"/>
                      <a:pt x="96" y="228"/>
                      <a:pt x="95" y="228"/>
                    </a:cubicBezTo>
                    <a:lnTo>
                      <a:pt x="94" y="228"/>
                    </a:lnTo>
                    <a:cubicBezTo>
                      <a:pt x="93" y="229"/>
                      <a:pt x="92" y="229"/>
                      <a:pt x="90" y="229"/>
                    </a:cubicBezTo>
                    <a:lnTo>
                      <a:pt x="89" y="229"/>
                    </a:lnTo>
                    <a:cubicBezTo>
                      <a:pt x="88" y="229"/>
                      <a:pt x="86" y="230"/>
                      <a:pt x="84" y="230"/>
                    </a:cubicBezTo>
                    <a:cubicBezTo>
                      <a:pt x="80" y="230"/>
                      <a:pt x="77" y="229"/>
                      <a:pt x="73" y="229"/>
                    </a:cubicBezTo>
                    <a:cubicBezTo>
                      <a:pt x="38" y="229"/>
                      <a:pt x="20" y="243"/>
                      <a:pt x="11" y="254"/>
                    </a:cubicBezTo>
                    <a:cubicBezTo>
                      <a:pt x="4" y="261"/>
                      <a:pt x="1" y="269"/>
                      <a:pt x="0" y="273"/>
                    </a:cubicBezTo>
                    <a:lnTo>
                      <a:pt x="6" y="274"/>
                    </a:lnTo>
                    <a:cubicBezTo>
                      <a:pt x="34" y="276"/>
                      <a:pt x="69" y="277"/>
                      <a:pt x="107" y="277"/>
                    </a:cubicBezTo>
                    <a:close/>
                    <a:moveTo>
                      <a:pt x="261" y="16"/>
                    </a:moveTo>
                    <a:cubicBezTo>
                      <a:pt x="264" y="12"/>
                      <a:pt x="268" y="11"/>
                      <a:pt x="274" y="11"/>
                    </a:cubicBezTo>
                    <a:cubicBezTo>
                      <a:pt x="275" y="11"/>
                      <a:pt x="277" y="11"/>
                      <a:pt x="278" y="11"/>
                    </a:cubicBezTo>
                    <a:cubicBezTo>
                      <a:pt x="287" y="12"/>
                      <a:pt x="292" y="15"/>
                      <a:pt x="294" y="20"/>
                    </a:cubicBezTo>
                    <a:cubicBezTo>
                      <a:pt x="299" y="31"/>
                      <a:pt x="288" y="51"/>
                      <a:pt x="279" y="66"/>
                    </a:cubicBezTo>
                    <a:cubicBezTo>
                      <a:pt x="278" y="66"/>
                      <a:pt x="277" y="66"/>
                      <a:pt x="277" y="67"/>
                    </a:cubicBezTo>
                    <a:cubicBezTo>
                      <a:pt x="276" y="68"/>
                      <a:pt x="275" y="69"/>
                      <a:pt x="274" y="71"/>
                    </a:cubicBezTo>
                    <a:cubicBezTo>
                      <a:pt x="273" y="70"/>
                      <a:pt x="272" y="70"/>
                      <a:pt x="270" y="69"/>
                    </a:cubicBezTo>
                    <a:cubicBezTo>
                      <a:pt x="262" y="50"/>
                      <a:pt x="255" y="26"/>
                      <a:pt x="261" y="16"/>
                    </a:cubicBezTo>
                    <a:close/>
                    <a:moveTo>
                      <a:pt x="236" y="77"/>
                    </a:moveTo>
                    <a:cubicBezTo>
                      <a:pt x="214" y="77"/>
                      <a:pt x="208" y="72"/>
                      <a:pt x="207" y="70"/>
                    </a:cubicBezTo>
                    <a:cubicBezTo>
                      <a:pt x="207" y="70"/>
                      <a:pt x="205" y="68"/>
                      <a:pt x="207" y="63"/>
                    </a:cubicBezTo>
                    <a:cubicBezTo>
                      <a:pt x="210" y="58"/>
                      <a:pt x="213" y="56"/>
                      <a:pt x="219" y="56"/>
                    </a:cubicBezTo>
                    <a:cubicBezTo>
                      <a:pt x="232" y="56"/>
                      <a:pt x="250" y="67"/>
                      <a:pt x="262" y="75"/>
                    </a:cubicBezTo>
                    <a:lnTo>
                      <a:pt x="262" y="75"/>
                    </a:lnTo>
                    <a:cubicBezTo>
                      <a:pt x="255" y="76"/>
                      <a:pt x="246" y="77"/>
                      <a:pt x="236" y="77"/>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grpSp>
      </p:grpSp>
      <p:grpSp>
        <p:nvGrpSpPr>
          <p:cNvPr id="231" name="Group 3087"/>
          <p:cNvGrpSpPr/>
          <p:nvPr/>
        </p:nvGrpSpPr>
        <p:grpSpPr>
          <a:xfrm>
            <a:off x="4983861" y="4978401"/>
            <a:ext cx="514350" cy="215900"/>
            <a:chOff x="3459861" y="4978401"/>
            <a:chExt cx="514350" cy="215900"/>
          </a:xfrm>
        </p:grpSpPr>
        <p:sp>
          <p:nvSpPr>
            <p:cNvPr id="232" name="Freeform 26"/>
            <p:cNvSpPr>
              <a:spLocks noChangeArrowheads="1"/>
            </p:cNvSpPr>
            <p:nvPr/>
          </p:nvSpPr>
          <p:spPr bwMode="auto">
            <a:xfrm>
              <a:off x="3459861" y="4978401"/>
              <a:ext cx="514350" cy="215900"/>
            </a:xfrm>
            <a:custGeom>
              <a:avLst/>
              <a:gdLst>
                <a:gd name="T0" fmla="*/ 1127 w 1428"/>
                <a:gd name="T1" fmla="*/ 0 h 600"/>
                <a:gd name="T2" fmla="*/ 299 w 1428"/>
                <a:gd name="T3" fmla="*/ 0 h 600"/>
                <a:gd name="T4" fmla="*/ 299 w 1428"/>
                <a:gd name="T5" fmla="*/ 0 h 600"/>
                <a:gd name="T6" fmla="*/ 0 w 1428"/>
                <a:gd name="T7" fmla="*/ 299 h 600"/>
                <a:gd name="T8" fmla="*/ 299 w 1428"/>
                <a:gd name="T9" fmla="*/ 599 h 600"/>
                <a:gd name="T10" fmla="*/ 299 w 1428"/>
                <a:gd name="T11" fmla="*/ 599 h 600"/>
                <a:gd name="T12" fmla="*/ 1127 w 1428"/>
                <a:gd name="T13" fmla="*/ 599 h 600"/>
                <a:gd name="T14" fmla="*/ 1427 w 1428"/>
                <a:gd name="T15" fmla="*/ 299 h 600"/>
                <a:gd name="T16" fmla="*/ 1127 w 1428"/>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8" h="600">
                  <a:moveTo>
                    <a:pt x="1127" y="0"/>
                  </a:moveTo>
                  <a:lnTo>
                    <a:pt x="299" y="0"/>
                  </a:lnTo>
                  <a:lnTo>
                    <a:pt x="299" y="0"/>
                  </a:lnTo>
                  <a:cubicBezTo>
                    <a:pt x="134" y="0"/>
                    <a:pt x="0" y="134"/>
                    <a:pt x="0" y="299"/>
                  </a:cubicBezTo>
                  <a:cubicBezTo>
                    <a:pt x="0" y="465"/>
                    <a:pt x="134" y="599"/>
                    <a:pt x="299" y="599"/>
                  </a:cubicBezTo>
                  <a:lnTo>
                    <a:pt x="299" y="599"/>
                  </a:lnTo>
                  <a:lnTo>
                    <a:pt x="1127" y="599"/>
                  </a:lnTo>
                  <a:cubicBezTo>
                    <a:pt x="1293" y="599"/>
                    <a:pt x="1427" y="465"/>
                    <a:pt x="1427" y="299"/>
                  </a:cubicBezTo>
                  <a:cubicBezTo>
                    <a:pt x="1427" y="134"/>
                    <a:pt x="1293" y="0"/>
                    <a:pt x="1127"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33" name="Text Box 27"/>
            <p:cNvSpPr txBox="1">
              <a:spLocks noChangeArrowheads="1"/>
            </p:cNvSpPr>
            <p:nvPr/>
          </p:nvSpPr>
          <p:spPr bwMode="auto">
            <a:xfrm>
              <a:off x="3686874" y="5033963"/>
              <a:ext cx="223837" cy="103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6173" rIns="0" bIns="0" anchor="ctr"/>
            <a:lstStyle/>
            <a:p>
              <a:pPr>
                <a:buNone/>
              </a:pPr>
              <a:r>
                <a:rPr lang="en-US" sz="700" dirty="0">
                  <a:solidFill>
                    <a:srgbClr val="BE1839"/>
                  </a:solidFill>
                  <a:latin typeface="Arial"/>
                  <a:ea typeface="'ArialMT'" pitchFamily="32" charset="0"/>
                  <a:cs typeface="Arial"/>
                </a:rPr>
                <a:t>Tools</a:t>
              </a:r>
            </a:p>
          </p:txBody>
        </p:sp>
        <p:grpSp>
          <p:nvGrpSpPr>
            <p:cNvPr id="234" name="Group 235"/>
            <p:cNvGrpSpPr/>
            <p:nvPr/>
          </p:nvGrpSpPr>
          <p:grpSpPr>
            <a:xfrm>
              <a:off x="3505899" y="5026026"/>
              <a:ext cx="150812" cy="128587"/>
              <a:chOff x="3505899" y="5026026"/>
              <a:chExt cx="150812" cy="128587"/>
            </a:xfrm>
          </p:grpSpPr>
          <p:sp>
            <p:nvSpPr>
              <p:cNvPr id="235" name="Freeform 28"/>
              <p:cNvSpPr>
                <a:spLocks noChangeArrowheads="1"/>
              </p:cNvSpPr>
              <p:nvPr/>
            </p:nvSpPr>
            <p:spPr bwMode="auto">
              <a:xfrm>
                <a:off x="3545586" y="5026026"/>
                <a:ext cx="111125" cy="128587"/>
              </a:xfrm>
              <a:custGeom>
                <a:avLst/>
                <a:gdLst>
                  <a:gd name="T0" fmla="*/ 297 w 308"/>
                  <a:gd name="T1" fmla="*/ 40 h 358"/>
                  <a:gd name="T2" fmla="*/ 271 w 308"/>
                  <a:gd name="T3" fmla="*/ 73 h 358"/>
                  <a:gd name="T4" fmla="*/ 242 w 308"/>
                  <a:gd name="T5" fmla="*/ 67 h 358"/>
                  <a:gd name="T6" fmla="*/ 230 w 308"/>
                  <a:gd name="T7" fmla="*/ 40 h 358"/>
                  <a:gd name="T8" fmla="*/ 256 w 308"/>
                  <a:gd name="T9" fmla="*/ 7 h 358"/>
                  <a:gd name="T10" fmla="*/ 253 w 308"/>
                  <a:gd name="T11" fmla="*/ 5 h 358"/>
                  <a:gd name="T12" fmla="*/ 191 w 308"/>
                  <a:gd name="T13" fmla="*/ 27 h 358"/>
                  <a:gd name="T14" fmla="*/ 181 w 308"/>
                  <a:gd name="T15" fmla="*/ 87 h 358"/>
                  <a:gd name="T16" fmla="*/ 181 w 308"/>
                  <a:gd name="T17" fmla="*/ 88 h 358"/>
                  <a:gd name="T18" fmla="*/ 181 w 308"/>
                  <a:gd name="T19" fmla="*/ 87 h 358"/>
                  <a:gd name="T20" fmla="*/ 177 w 308"/>
                  <a:gd name="T21" fmla="*/ 92 h 358"/>
                  <a:gd name="T22" fmla="*/ 177 w 308"/>
                  <a:gd name="T23" fmla="*/ 93 h 358"/>
                  <a:gd name="T24" fmla="*/ 6 w 308"/>
                  <a:gd name="T25" fmla="*/ 308 h 358"/>
                  <a:gd name="T26" fmla="*/ 23 w 308"/>
                  <a:gd name="T27" fmla="*/ 342 h 358"/>
                  <a:gd name="T28" fmla="*/ 59 w 308"/>
                  <a:gd name="T29" fmla="*/ 350 h 358"/>
                  <a:gd name="T30" fmla="*/ 235 w 308"/>
                  <a:gd name="T31" fmla="*/ 129 h 358"/>
                  <a:gd name="T32" fmla="*/ 290 w 308"/>
                  <a:gd name="T33" fmla="*/ 105 h 358"/>
                  <a:gd name="T34" fmla="*/ 297 w 308"/>
                  <a:gd name="T35" fmla="*/ 40 h 358"/>
                  <a:gd name="T36" fmla="*/ 50 w 308"/>
                  <a:gd name="T37" fmla="*/ 323 h 358"/>
                  <a:gd name="T38" fmla="*/ 34 w 308"/>
                  <a:gd name="T39" fmla="*/ 326 h 358"/>
                  <a:gd name="T40" fmla="*/ 34 w 308"/>
                  <a:gd name="T41" fmla="*/ 311 h 358"/>
                  <a:gd name="T42" fmla="*/ 49 w 308"/>
                  <a:gd name="T43" fmla="*/ 308 h 358"/>
                  <a:gd name="T44" fmla="*/ 47 w 308"/>
                  <a:gd name="T45" fmla="*/ 307 h 358"/>
                  <a:gd name="T46" fmla="*/ 39 w 308"/>
                  <a:gd name="T47" fmla="*/ 305 h 358"/>
                  <a:gd name="T48" fmla="*/ 48 w 308"/>
                  <a:gd name="T49" fmla="*/ 307 h 358"/>
                  <a:gd name="T50" fmla="*/ 50 w 308"/>
                  <a:gd name="T51" fmla="*/ 323 h 358"/>
                  <a:gd name="T52" fmla="*/ 242 w 308"/>
                  <a:gd name="T53" fmla="*/ 100 h 358"/>
                  <a:gd name="T54" fmla="*/ 227 w 308"/>
                  <a:gd name="T55" fmla="*/ 101 h 358"/>
                  <a:gd name="T56" fmla="*/ 210 w 308"/>
                  <a:gd name="T57" fmla="*/ 87 h 358"/>
                  <a:gd name="T58" fmla="*/ 208 w 308"/>
                  <a:gd name="T59" fmla="*/ 73 h 358"/>
                  <a:gd name="T60" fmla="*/ 222 w 308"/>
                  <a:gd name="T61" fmla="*/ 72 h 358"/>
                  <a:gd name="T62" fmla="*/ 239 w 308"/>
                  <a:gd name="T63" fmla="*/ 85 h 358"/>
                  <a:gd name="T64" fmla="*/ 242 w 308"/>
                  <a:gd name="T65" fmla="*/ 10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358">
                    <a:moveTo>
                      <a:pt x="297" y="40"/>
                    </a:moveTo>
                    <a:lnTo>
                      <a:pt x="271" y="73"/>
                    </a:lnTo>
                    <a:cubicBezTo>
                      <a:pt x="267" y="79"/>
                      <a:pt x="254" y="76"/>
                      <a:pt x="242" y="67"/>
                    </a:cubicBezTo>
                    <a:cubicBezTo>
                      <a:pt x="231" y="58"/>
                      <a:pt x="225" y="46"/>
                      <a:pt x="230" y="40"/>
                    </a:cubicBezTo>
                    <a:lnTo>
                      <a:pt x="256" y="7"/>
                    </a:lnTo>
                    <a:cubicBezTo>
                      <a:pt x="254" y="7"/>
                      <a:pt x="254" y="5"/>
                      <a:pt x="253" y="5"/>
                    </a:cubicBezTo>
                    <a:cubicBezTo>
                      <a:pt x="230" y="0"/>
                      <a:pt x="206" y="8"/>
                      <a:pt x="191" y="27"/>
                    </a:cubicBezTo>
                    <a:cubicBezTo>
                      <a:pt x="177" y="45"/>
                      <a:pt x="174" y="68"/>
                      <a:pt x="181" y="87"/>
                    </a:cubicBezTo>
                    <a:lnTo>
                      <a:pt x="181" y="88"/>
                    </a:lnTo>
                    <a:cubicBezTo>
                      <a:pt x="181" y="87"/>
                      <a:pt x="181" y="87"/>
                      <a:pt x="181" y="87"/>
                    </a:cubicBezTo>
                    <a:lnTo>
                      <a:pt x="177" y="92"/>
                    </a:lnTo>
                    <a:cubicBezTo>
                      <a:pt x="177" y="93"/>
                      <a:pt x="177" y="93"/>
                      <a:pt x="177" y="93"/>
                    </a:cubicBezTo>
                    <a:lnTo>
                      <a:pt x="6" y="308"/>
                    </a:lnTo>
                    <a:cubicBezTo>
                      <a:pt x="0" y="315"/>
                      <a:pt x="8" y="330"/>
                      <a:pt x="23" y="342"/>
                    </a:cubicBezTo>
                    <a:cubicBezTo>
                      <a:pt x="37" y="353"/>
                      <a:pt x="54" y="357"/>
                      <a:pt x="59" y="350"/>
                    </a:cubicBezTo>
                    <a:lnTo>
                      <a:pt x="235" y="129"/>
                    </a:lnTo>
                    <a:cubicBezTo>
                      <a:pt x="255" y="130"/>
                      <a:pt x="276" y="122"/>
                      <a:pt x="290" y="105"/>
                    </a:cubicBezTo>
                    <a:cubicBezTo>
                      <a:pt x="305" y="86"/>
                      <a:pt x="307" y="61"/>
                      <a:pt x="297" y="40"/>
                    </a:cubicBezTo>
                    <a:close/>
                    <a:moveTo>
                      <a:pt x="50" y="323"/>
                    </a:moveTo>
                    <a:cubicBezTo>
                      <a:pt x="46" y="328"/>
                      <a:pt x="39" y="329"/>
                      <a:pt x="34" y="326"/>
                    </a:cubicBezTo>
                    <a:cubicBezTo>
                      <a:pt x="31" y="322"/>
                      <a:pt x="31" y="316"/>
                      <a:pt x="34" y="311"/>
                    </a:cubicBezTo>
                    <a:cubicBezTo>
                      <a:pt x="38" y="307"/>
                      <a:pt x="44" y="306"/>
                      <a:pt x="49" y="308"/>
                    </a:cubicBezTo>
                    <a:cubicBezTo>
                      <a:pt x="48" y="308"/>
                      <a:pt x="48" y="307"/>
                      <a:pt x="47" y="307"/>
                    </a:cubicBezTo>
                    <a:cubicBezTo>
                      <a:pt x="45" y="305"/>
                      <a:pt x="42" y="304"/>
                      <a:pt x="39" y="305"/>
                    </a:cubicBezTo>
                    <a:cubicBezTo>
                      <a:pt x="42" y="304"/>
                      <a:pt x="45" y="305"/>
                      <a:pt x="48" y="307"/>
                    </a:cubicBezTo>
                    <a:cubicBezTo>
                      <a:pt x="53" y="311"/>
                      <a:pt x="54" y="318"/>
                      <a:pt x="50" y="323"/>
                    </a:cubicBezTo>
                    <a:close/>
                    <a:moveTo>
                      <a:pt x="242" y="100"/>
                    </a:moveTo>
                    <a:cubicBezTo>
                      <a:pt x="238" y="104"/>
                      <a:pt x="232" y="105"/>
                      <a:pt x="227" y="101"/>
                    </a:cubicBezTo>
                    <a:lnTo>
                      <a:pt x="210" y="87"/>
                    </a:lnTo>
                    <a:cubicBezTo>
                      <a:pt x="205" y="84"/>
                      <a:pt x="204" y="77"/>
                      <a:pt x="208" y="73"/>
                    </a:cubicBezTo>
                    <a:cubicBezTo>
                      <a:pt x="211" y="69"/>
                      <a:pt x="218" y="68"/>
                      <a:pt x="222" y="72"/>
                    </a:cubicBezTo>
                    <a:lnTo>
                      <a:pt x="239" y="85"/>
                    </a:lnTo>
                    <a:cubicBezTo>
                      <a:pt x="244" y="89"/>
                      <a:pt x="245" y="96"/>
                      <a:pt x="242" y="100"/>
                    </a:cubicBezTo>
                    <a:close/>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236" name="Freeform 29"/>
              <p:cNvSpPr>
                <a:spLocks noChangeArrowheads="1"/>
              </p:cNvSpPr>
              <p:nvPr/>
            </p:nvSpPr>
            <p:spPr bwMode="auto">
              <a:xfrm>
                <a:off x="3505899" y="5026026"/>
                <a:ext cx="142875" cy="128587"/>
              </a:xfrm>
              <a:custGeom>
                <a:avLst/>
                <a:gdLst>
                  <a:gd name="T0" fmla="*/ 13 w 398"/>
                  <a:gd name="T1" fmla="*/ 109 h 355"/>
                  <a:gd name="T2" fmla="*/ 49 w 398"/>
                  <a:gd name="T3" fmla="*/ 88 h 355"/>
                  <a:gd name="T4" fmla="*/ 71 w 398"/>
                  <a:gd name="T5" fmla="*/ 47 h 355"/>
                  <a:gd name="T6" fmla="*/ 137 w 398"/>
                  <a:gd name="T7" fmla="*/ 11 h 355"/>
                  <a:gd name="T8" fmla="*/ 240 w 398"/>
                  <a:gd name="T9" fmla="*/ 19 h 355"/>
                  <a:gd name="T10" fmla="*/ 239 w 398"/>
                  <a:gd name="T11" fmla="*/ 33 h 355"/>
                  <a:gd name="T12" fmla="*/ 195 w 398"/>
                  <a:gd name="T13" fmla="*/ 33 h 355"/>
                  <a:gd name="T14" fmla="*/ 146 w 398"/>
                  <a:gd name="T15" fmla="*/ 54 h 355"/>
                  <a:gd name="T16" fmla="*/ 152 w 398"/>
                  <a:gd name="T17" fmla="*/ 89 h 355"/>
                  <a:gd name="T18" fmla="*/ 150 w 398"/>
                  <a:gd name="T19" fmla="*/ 92 h 355"/>
                  <a:gd name="T20" fmla="*/ 211 w 398"/>
                  <a:gd name="T21" fmla="*/ 148 h 355"/>
                  <a:gd name="T22" fmla="*/ 220 w 398"/>
                  <a:gd name="T23" fmla="*/ 148 h 355"/>
                  <a:gd name="T24" fmla="*/ 270 w 398"/>
                  <a:gd name="T25" fmla="*/ 186 h 355"/>
                  <a:gd name="T26" fmla="*/ 318 w 398"/>
                  <a:gd name="T27" fmla="*/ 236 h 355"/>
                  <a:gd name="T28" fmla="*/ 329 w 398"/>
                  <a:gd name="T29" fmla="*/ 250 h 355"/>
                  <a:gd name="T30" fmla="*/ 383 w 398"/>
                  <a:gd name="T31" fmla="*/ 295 h 355"/>
                  <a:gd name="T32" fmla="*/ 387 w 398"/>
                  <a:gd name="T33" fmla="*/ 317 h 355"/>
                  <a:gd name="T34" fmla="*/ 359 w 398"/>
                  <a:gd name="T35" fmla="*/ 344 h 355"/>
                  <a:gd name="T36" fmla="*/ 334 w 398"/>
                  <a:gd name="T37" fmla="*/ 345 h 355"/>
                  <a:gd name="T38" fmla="*/ 287 w 398"/>
                  <a:gd name="T39" fmla="*/ 294 h 355"/>
                  <a:gd name="T40" fmla="*/ 223 w 398"/>
                  <a:gd name="T41" fmla="*/ 237 h 355"/>
                  <a:gd name="T42" fmla="*/ 184 w 398"/>
                  <a:gd name="T43" fmla="*/ 188 h 355"/>
                  <a:gd name="T44" fmla="*/ 184 w 398"/>
                  <a:gd name="T45" fmla="*/ 177 h 355"/>
                  <a:gd name="T46" fmla="*/ 125 w 398"/>
                  <a:gd name="T47" fmla="*/ 117 h 355"/>
                  <a:gd name="T48" fmla="*/ 124 w 398"/>
                  <a:gd name="T49" fmla="*/ 117 h 355"/>
                  <a:gd name="T50" fmla="*/ 124 w 398"/>
                  <a:gd name="T51" fmla="*/ 117 h 355"/>
                  <a:gd name="T52" fmla="*/ 124 w 398"/>
                  <a:gd name="T53" fmla="*/ 118 h 355"/>
                  <a:gd name="T54" fmla="*/ 89 w 398"/>
                  <a:gd name="T55" fmla="*/ 110 h 355"/>
                  <a:gd name="T56" fmla="*/ 70 w 398"/>
                  <a:gd name="T57" fmla="*/ 124 h 355"/>
                  <a:gd name="T58" fmla="*/ 61 w 398"/>
                  <a:gd name="T59" fmla="*/ 148 h 355"/>
                  <a:gd name="T60" fmla="*/ 52 w 398"/>
                  <a:gd name="T61" fmla="*/ 157 h 355"/>
                  <a:gd name="T62" fmla="*/ 46 w 398"/>
                  <a:gd name="T63" fmla="*/ 161 h 355"/>
                  <a:gd name="T64" fmla="*/ 33 w 398"/>
                  <a:gd name="T65" fmla="*/ 158 h 355"/>
                  <a:gd name="T66" fmla="*/ 7 w 398"/>
                  <a:gd name="T67" fmla="*/ 131 h 355"/>
                  <a:gd name="T68" fmla="*/ 13 w 398"/>
                  <a:gd name="T69" fmla="*/ 109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8" h="355">
                    <a:moveTo>
                      <a:pt x="13" y="109"/>
                    </a:moveTo>
                    <a:cubicBezTo>
                      <a:pt x="20" y="102"/>
                      <a:pt x="37" y="101"/>
                      <a:pt x="49" y="88"/>
                    </a:cubicBezTo>
                    <a:cubicBezTo>
                      <a:pt x="62" y="75"/>
                      <a:pt x="54" y="64"/>
                      <a:pt x="71" y="47"/>
                    </a:cubicBezTo>
                    <a:cubicBezTo>
                      <a:pt x="88" y="31"/>
                      <a:pt x="106" y="21"/>
                      <a:pt x="137" y="11"/>
                    </a:cubicBezTo>
                    <a:cubicBezTo>
                      <a:pt x="169" y="0"/>
                      <a:pt x="240" y="19"/>
                      <a:pt x="240" y="19"/>
                    </a:cubicBezTo>
                    <a:cubicBezTo>
                      <a:pt x="254" y="23"/>
                      <a:pt x="251" y="33"/>
                      <a:pt x="239" y="33"/>
                    </a:cubicBezTo>
                    <a:cubicBezTo>
                      <a:pt x="232" y="33"/>
                      <a:pt x="195" y="33"/>
                      <a:pt x="195" y="33"/>
                    </a:cubicBezTo>
                    <a:cubicBezTo>
                      <a:pt x="160" y="34"/>
                      <a:pt x="153" y="42"/>
                      <a:pt x="146" y="54"/>
                    </a:cubicBezTo>
                    <a:cubicBezTo>
                      <a:pt x="140" y="66"/>
                      <a:pt x="152" y="89"/>
                      <a:pt x="152" y="89"/>
                    </a:cubicBezTo>
                    <a:cubicBezTo>
                      <a:pt x="152" y="89"/>
                      <a:pt x="151" y="90"/>
                      <a:pt x="150" y="92"/>
                    </a:cubicBezTo>
                    <a:lnTo>
                      <a:pt x="211" y="148"/>
                    </a:lnTo>
                    <a:cubicBezTo>
                      <a:pt x="213" y="147"/>
                      <a:pt x="216" y="145"/>
                      <a:pt x="220" y="148"/>
                    </a:cubicBezTo>
                    <a:cubicBezTo>
                      <a:pt x="226" y="152"/>
                      <a:pt x="257" y="177"/>
                      <a:pt x="270" y="186"/>
                    </a:cubicBezTo>
                    <a:cubicBezTo>
                      <a:pt x="282" y="195"/>
                      <a:pt x="318" y="236"/>
                      <a:pt x="318" y="236"/>
                    </a:cubicBezTo>
                    <a:lnTo>
                      <a:pt x="329" y="250"/>
                    </a:lnTo>
                    <a:cubicBezTo>
                      <a:pt x="341" y="263"/>
                      <a:pt x="369" y="286"/>
                      <a:pt x="383" y="295"/>
                    </a:cubicBezTo>
                    <a:cubicBezTo>
                      <a:pt x="397" y="304"/>
                      <a:pt x="392" y="309"/>
                      <a:pt x="387" y="317"/>
                    </a:cubicBezTo>
                    <a:cubicBezTo>
                      <a:pt x="382" y="324"/>
                      <a:pt x="370" y="335"/>
                      <a:pt x="359" y="344"/>
                    </a:cubicBezTo>
                    <a:cubicBezTo>
                      <a:pt x="349" y="354"/>
                      <a:pt x="340" y="354"/>
                      <a:pt x="334" y="345"/>
                    </a:cubicBezTo>
                    <a:cubicBezTo>
                      <a:pt x="328" y="336"/>
                      <a:pt x="293" y="301"/>
                      <a:pt x="287" y="294"/>
                    </a:cubicBezTo>
                    <a:cubicBezTo>
                      <a:pt x="280" y="287"/>
                      <a:pt x="234" y="247"/>
                      <a:pt x="223" y="237"/>
                    </a:cubicBezTo>
                    <a:cubicBezTo>
                      <a:pt x="213" y="227"/>
                      <a:pt x="190" y="195"/>
                      <a:pt x="184" y="188"/>
                    </a:cubicBezTo>
                    <a:cubicBezTo>
                      <a:pt x="181" y="185"/>
                      <a:pt x="182" y="181"/>
                      <a:pt x="184" y="177"/>
                    </a:cubicBezTo>
                    <a:lnTo>
                      <a:pt x="125" y="117"/>
                    </a:lnTo>
                    <a:cubicBezTo>
                      <a:pt x="125" y="117"/>
                      <a:pt x="125" y="117"/>
                      <a:pt x="124" y="117"/>
                    </a:cubicBezTo>
                    <a:lnTo>
                      <a:pt x="124" y="117"/>
                    </a:lnTo>
                    <a:cubicBezTo>
                      <a:pt x="124" y="118"/>
                      <a:pt x="124" y="118"/>
                      <a:pt x="124" y="118"/>
                    </a:cubicBezTo>
                    <a:cubicBezTo>
                      <a:pt x="109" y="109"/>
                      <a:pt x="97" y="108"/>
                      <a:pt x="89" y="110"/>
                    </a:cubicBezTo>
                    <a:cubicBezTo>
                      <a:pt x="79" y="113"/>
                      <a:pt x="73" y="120"/>
                      <a:pt x="70" y="124"/>
                    </a:cubicBezTo>
                    <a:cubicBezTo>
                      <a:pt x="64" y="130"/>
                      <a:pt x="66" y="143"/>
                      <a:pt x="61" y="148"/>
                    </a:cubicBezTo>
                    <a:cubicBezTo>
                      <a:pt x="56" y="153"/>
                      <a:pt x="61" y="148"/>
                      <a:pt x="52" y="157"/>
                    </a:cubicBezTo>
                    <a:cubicBezTo>
                      <a:pt x="50" y="159"/>
                      <a:pt x="48" y="161"/>
                      <a:pt x="46" y="161"/>
                    </a:cubicBezTo>
                    <a:cubicBezTo>
                      <a:pt x="39" y="164"/>
                      <a:pt x="33" y="158"/>
                      <a:pt x="33" y="158"/>
                    </a:cubicBezTo>
                    <a:cubicBezTo>
                      <a:pt x="33" y="158"/>
                      <a:pt x="13" y="138"/>
                      <a:pt x="7" y="131"/>
                    </a:cubicBezTo>
                    <a:cubicBezTo>
                      <a:pt x="0" y="125"/>
                      <a:pt x="6" y="116"/>
                      <a:pt x="13" y="109"/>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grpSp>
      </p:grpSp>
      <p:grpSp>
        <p:nvGrpSpPr>
          <p:cNvPr id="237" name="Group 364"/>
          <p:cNvGrpSpPr/>
          <p:nvPr/>
        </p:nvGrpSpPr>
        <p:grpSpPr>
          <a:xfrm>
            <a:off x="5378450" y="4127500"/>
            <a:ext cx="903288" cy="215900"/>
            <a:chOff x="3854450" y="4127500"/>
            <a:chExt cx="903288" cy="215900"/>
          </a:xfrm>
        </p:grpSpPr>
        <p:sp>
          <p:nvSpPr>
            <p:cNvPr id="238" name="Freeform 5"/>
            <p:cNvSpPr>
              <a:spLocks noChangeArrowheads="1"/>
            </p:cNvSpPr>
            <p:nvPr/>
          </p:nvSpPr>
          <p:spPr bwMode="auto">
            <a:xfrm>
              <a:off x="3854450" y="4127500"/>
              <a:ext cx="903288" cy="215900"/>
            </a:xfrm>
            <a:custGeom>
              <a:avLst/>
              <a:gdLst>
                <a:gd name="T0" fmla="*/ 2208 w 2509"/>
                <a:gd name="T1" fmla="*/ 0 h 600"/>
                <a:gd name="T2" fmla="*/ 300 w 2509"/>
                <a:gd name="T3" fmla="*/ 0 h 600"/>
                <a:gd name="T4" fmla="*/ 300 w 2509"/>
                <a:gd name="T5" fmla="*/ 0 h 600"/>
                <a:gd name="T6" fmla="*/ 0 w 2509"/>
                <a:gd name="T7" fmla="*/ 300 h 600"/>
                <a:gd name="T8" fmla="*/ 300 w 2509"/>
                <a:gd name="T9" fmla="*/ 599 h 600"/>
                <a:gd name="T10" fmla="*/ 300 w 2509"/>
                <a:gd name="T11" fmla="*/ 599 h 600"/>
                <a:gd name="T12" fmla="*/ 2208 w 2509"/>
                <a:gd name="T13" fmla="*/ 599 h 600"/>
                <a:gd name="T14" fmla="*/ 2508 w 2509"/>
                <a:gd name="T15" fmla="*/ 300 h 600"/>
                <a:gd name="T16" fmla="*/ 2208 w 2509"/>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9" h="600">
                  <a:moveTo>
                    <a:pt x="2208" y="0"/>
                  </a:moveTo>
                  <a:lnTo>
                    <a:pt x="300" y="0"/>
                  </a:lnTo>
                  <a:lnTo>
                    <a:pt x="300" y="0"/>
                  </a:lnTo>
                  <a:cubicBezTo>
                    <a:pt x="134" y="0"/>
                    <a:pt x="0" y="134"/>
                    <a:pt x="0" y="300"/>
                  </a:cubicBezTo>
                  <a:cubicBezTo>
                    <a:pt x="0" y="465"/>
                    <a:pt x="134" y="599"/>
                    <a:pt x="300" y="599"/>
                  </a:cubicBezTo>
                  <a:lnTo>
                    <a:pt x="300" y="599"/>
                  </a:lnTo>
                  <a:lnTo>
                    <a:pt x="2208" y="599"/>
                  </a:lnTo>
                  <a:cubicBezTo>
                    <a:pt x="2374" y="599"/>
                    <a:pt x="2508" y="465"/>
                    <a:pt x="2508" y="300"/>
                  </a:cubicBezTo>
                  <a:cubicBezTo>
                    <a:pt x="2508" y="134"/>
                    <a:pt x="2374" y="0"/>
                    <a:pt x="2208"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39" name="Text Box 6"/>
            <p:cNvSpPr txBox="1">
              <a:spLocks noChangeArrowheads="1"/>
            </p:cNvSpPr>
            <p:nvPr/>
          </p:nvSpPr>
          <p:spPr bwMode="auto">
            <a:xfrm>
              <a:off x="4049713" y="4135440"/>
              <a:ext cx="658812" cy="206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chemeClr val="tx1">
                      <a:lumMod val="75000"/>
                      <a:lumOff val="25000"/>
                    </a:schemeClr>
                  </a:solidFill>
                  <a:latin typeface="Arial"/>
                  <a:ea typeface="'ArialMT'" pitchFamily="32" charset="0"/>
                  <a:cs typeface="Arial"/>
                </a:rPr>
                <a:t>Battery / Energy Storage Solution</a:t>
              </a:r>
            </a:p>
          </p:txBody>
        </p:sp>
        <p:sp>
          <p:nvSpPr>
            <p:cNvPr id="240" name="Freeform 8"/>
            <p:cNvSpPr>
              <a:spLocks noChangeArrowheads="1"/>
            </p:cNvSpPr>
            <p:nvPr/>
          </p:nvSpPr>
          <p:spPr bwMode="auto">
            <a:xfrm>
              <a:off x="3927475" y="4159250"/>
              <a:ext cx="80963" cy="144462"/>
            </a:xfrm>
            <a:custGeom>
              <a:avLst/>
              <a:gdLst>
                <a:gd name="T0" fmla="*/ 203 w 225"/>
                <a:gd name="T1" fmla="*/ 31 h 400"/>
                <a:gd name="T2" fmla="*/ 152 w 225"/>
                <a:gd name="T3" fmla="*/ 31 h 400"/>
                <a:gd name="T4" fmla="*/ 152 w 225"/>
                <a:gd name="T5" fmla="*/ 0 h 400"/>
                <a:gd name="T6" fmla="*/ 72 w 225"/>
                <a:gd name="T7" fmla="*/ 0 h 400"/>
                <a:gd name="T8" fmla="*/ 72 w 225"/>
                <a:gd name="T9" fmla="*/ 31 h 400"/>
                <a:gd name="T10" fmla="*/ 20 w 225"/>
                <a:gd name="T11" fmla="*/ 31 h 400"/>
                <a:gd name="T12" fmla="*/ 0 w 225"/>
                <a:gd name="T13" fmla="*/ 31 h 400"/>
                <a:gd name="T14" fmla="*/ 0 w 225"/>
                <a:gd name="T15" fmla="*/ 399 h 400"/>
                <a:gd name="T16" fmla="*/ 20 w 225"/>
                <a:gd name="T17" fmla="*/ 399 h 400"/>
                <a:gd name="T18" fmla="*/ 203 w 225"/>
                <a:gd name="T19" fmla="*/ 399 h 400"/>
                <a:gd name="T20" fmla="*/ 224 w 225"/>
                <a:gd name="T21" fmla="*/ 399 h 400"/>
                <a:gd name="T22" fmla="*/ 224 w 225"/>
                <a:gd name="T23" fmla="*/ 31 h 400"/>
                <a:gd name="T24" fmla="*/ 203 w 225"/>
                <a:gd name="T25" fmla="*/ 31 h 400"/>
                <a:gd name="T26" fmla="*/ 41 w 225"/>
                <a:gd name="T27" fmla="*/ 341 h 400"/>
                <a:gd name="T28" fmla="*/ 111 w 225"/>
                <a:gd name="T29" fmla="*/ 209 h 400"/>
                <a:gd name="T30" fmla="*/ 54 w 225"/>
                <a:gd name="T31" fmla="*/ 190 h 400"/>
                <a:gd name="T32" fmla="*/ 162 w 225"/>
                <a:gd name="T33" fmla="*/ 79 h 400"/>
                <a:gd name="T34" fmla="*/ 123 w 225"/>
                <a:gd name="T35" fmla="*/ 164 h 400"/>
                <a:gd name="T36" fmla="*/ 183 w 225"/>
                <a:gd name="T37" fmla="*/ 190 h 400"/>
                <a:gd name="T38" fmla="*/ 41 w 225"/>
                <a:gd name="T39" fmla="*/ 341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5" h="400">
                  <a:moveTo>
                    <a:pt x="203" y="31"/>
                  </a:moveTo>
                  <a:lnTo>
                    <a:pt x="152" y="31"/>
                  </a:lnTo>
                  <a:lnTo>
                    <a:pt x="152" y="0"/>
                  </a:lnTo>
                  <a:lnTo>
                    <a:pt x="72" y="0"/>
                  </a:lnTo>
                  <a:lnTo>
                    <a:pt x="72" y="31"/>
                  </a:lnTo>
                  <a:lnTo>
                    <a:pt x="20" y="31"/>
                  </a:lnTo>
                  <a:lnTo>
                    <a:pt x="0" y="31"/>
                  </a:lnTo>
                  <a:lnTo>
                    <a:pt x="0" y="399"/>
                  </a:lnTo>
                  <a:lnTo>
                    <a:pt x="20" y="399"/>
                  </a:lnTo>
                  <a:lnTo>
                    <a:pt x="203" y="399"/>
                  </a:lnTo>
                  <a:lnTo>
                    <a:pt x="224" y="399"/>
                  </a:lnTo>
                  <a:lnTo>
                    <a:pt x="224" y="31"/>
                  </a:lnTo>
                  <a:lnTo>
                    <a:pt x="203" y="31"/>
                  </a:lnTo>
                  <a:close/>
                  <a:moveTo>
                    <a:pt x="41" y="341"/>
                  </a:moveTo>
                  <a:lnTo>
                    <a:pt x="111" y="209"/>
                  </a:lnTo>
                  <a:lnTo>
                    <a:pt x="54" y="190"/>
                  </a:lnTo>
                  <a:lnTo>
                    <a:pt x="162" y="79"/>
                  </a:lnTo>
                  <a:lnTo>
                    <a:pt x="123" y="164"/>
                  </a:lnTo>
                  <a:lnTo>
                    <a:pt x="183" y="190"/>
                  </a:lnTo>
                  <a:lnTo>
                    <a:pt x="41" y="341"/>
                  </a:lnTo>
                  <a:close/>
                </a:path>
              </a:pathLst>
            </a:custGeom>
            <a:solidFill>
              <a:schemeClr val="tx1">
                <a:lumMod val="75000"/>
                <a:lumOff val="2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grpSp>
      <p:grpSp>
        <p:nvGrpSpPr>
          <p:cNvPr id="241" name="Group 366"/>
          <p:cNvGrpSpPr/>
          <p:nvPr/>
        </p:nvGrpSpPr>
        <p:grpSpPr>
          <a:xfrm>
            <a:off x="5402264" y="3865562"/>
            <a:ext cx="1381125" cy="215900"/>
            <a:chOff x="3878263" y="3865562"/>
            <a:chExt cx="1381125" cy="215900"/>
          </a:xfrm>
        </p:grpSpPr>
        <p:sp>
          <p:nvSpPr>
            <p:cNvPr id="242" name="Freeform 22"/>
            <p:cNvSpPr>
              <a:spLocks noChangeArrowheads="1"/>
            </p:cNvSpPr>
            <p:nvPr/>
          </p:nvSpPr>
          <p:spPr bwMode="auto">
            <a:xfrm>
              <a:off x="3878263" y="3865562"/>
              <a:ext cx="1381125" cy="215900"/>
            </a:xfrm>
            <a:custGeom>
              <a:avLst/>
              <a:gdLst>
                <a:gd name="T0" fmla="*/ 3536 w 3836"/>
                <a:gd name="T1" fmla="*/ 0 h 600"/>
                <a:gd name="T2" fmla="*/ 299 w 3836"/>
                <a:gd name="T3" fmla="*/ 0 h 600"/>
                <a:gd name="T4" fmla="*/ 299 w 3836"/>
                <a:gd name="T5" fmla="*/ 0 h 600"/>
                <a:gd name="T6" fmla="*/ 0 w 3836"/>
                <a:gd name="T7" fmla="*/ 299 h 600"/>
                <a:gd name="T8" fmla="*/ 299 w 3836"/>
                <a:gd name="T9" fmla="*/ 599 h 600"/>
                <a:gd name="T10" fmla="*/ 299 w 3836"/>
                <a:gd name="T11" fmla="*/ 599 h 600"/>
                <a:gd name="T12" fmla="*/ 3536 w 3836"/>
                <a:gd name="T13" fmla="*/ 599 h 600"/>
                <a:gd name="T14" fmla="*/ 3835 w 3836"/>
                <a:gd name="T15" fmla="*/ 299 h 600"/>
                <a:gd name="T16" fmla="*/ 3536 w 3836"/>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6" h="600">
                  <a:moveTo>
                    <a:pt x="3536" y="0"/>
                  </a:moveTo>
                  <a:lnTo>
                    <a:pt x="299" y="0"/>
                  </a:lnTo>
                  <a:lnTo>
                    <a:pt x="299" y="0"/>
                  </a:lnTo>
                  <a:cubicBezTo>
                    <a:pt x="134" y="0"/>
                    <a:pt x="0" y="134"/>
                    <a:pt x="0" y="299"/>
                  </a:cubicBezTo>
                  <a:cubicBezTo>
                    <a:pt x="0" y="465"/>
                    <a:pt x="134" y="599"/>
                    <a:pt x="299" y="599"/>
                  </a:cubicBezTo>
                  <a:lnTo>
                    <a:pt x="299" y="599"/>
                  </a:lnTo>
                  <a:lnTo>
                    <a:pt x="3536" y="599"/>
                  </a:lnTo>
                  <a:cubicBezTo>
                    <a:pt x="3701" y="599"/>
                    <a:pt x="3835" y="465"/>
                    <a:pt x="3835" y="299"/>
                  </a:cubicBezTo>
                  <a:cubicBezTo>
                    <a:pt x="3835" y="134"/>
                    <a:pt x="3701" y="0"/>
                    <a:pt x="3536"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43" name="Text Box 23"/>
            <p:cNvSpPr txBox="1">
              <a:spLocks noChangeArrowheads="1"/>
            </p:cNvSpPr>
            <p:nvPr/>
          </p:nvSpPr>
          <p:spPr bwMode="auto">
            <a:xfrm>
              <a:off x="4257675" y="3912500"/>
              <a:ext cx="923925" cy="1482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7938" rIns="0" bIns="0"/>
            <a:lstStyle>
              <a:lvl1pPr>
                <a:tabLst>
                  <a:tab pos="723900" algn="l"/>
                </a:tabLst>
                <a:defRPr>
                  <a:solidFill>
                    <a:srgbClr val="000000"/>
                  </a:solidFill>
                  <a:latin typeface="Arial" charset="0"/>
                  <a:ea typeface="微软雅黑" charset="0"/>
                  <a:cs typeface="微软雅黑" charset="0"/>
                </a:defRPr>
              </a:lvl1pPr>
              <a:lvl2pPr>
                <a:tabLst>
                  <a:tab pos="723900" algn="l"/>
                </a:tabLst>
                <a:defRPr>
                  <a:solidFill>
                    <a:srgbClr val="000000"/>
                  </a:solidFill>
                  <a:latin typeface="Arial" charset="0"/>
                  <a:ea typeface="微软雅黑" charset="0"/>
                  <a:cs typeface="微软雅黑" charset="0"/>
                </a:defRPr>
              </a:lvl2pPr>
              <a:lvl3pPr>
                <a:tabLst>
                  <a:tab pos="723900" algn="l"/>
                </a:tabLst>
                <a:defRPr>
                  <a:solidFill>
                    <a:srgbClr val="000000"/>
                  </a:solidFill>
                  <a:latin typeface="Arial" charset="0"/>
                  <a:ea typeface="微软雅黑" charset="0"/>
                  <a:cs typeface="微软雅黑" charset="0"/>
                </a:defRPr>
              </a:lvl3pPr>
              <a:lvl4pPr>
                <a:tabLst>
                  <a:tab pos="723900" algn="l"/>
                </a:tabLst>
                <a:defRPr>
                  <a:solidFill>
                    <a:srgbClr val="000000"/>
                  </a:solidFill>
                  <a:latin typeface="Arial" charset="0"/>
                  <a:ea typeface="微软雅黑" charset="0"/>
                  <a:cs typeface="微软雅黑" charset="0"/>
                </a:defRPr>
              </a:lvl4pPr>
              <a:lvl5pPr>
                <a:tabLst>
                  <a:tab pos="723900" algn="l"/>
                </a:tabLst>
                <a:defRPr>
                  <a:solidFill>
                    <a:srgbClr val="000000"/>
                  </a:solidFill>
                  <a:latin typeface="Arial" charset="0"/>
                  <a:ea typeface="微软雅黑" charset="0"/>
                  <a:cs typeface="微软雅黑"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9pPr>
            </a:lstStyle>
            <a:p>
              <a:pPr algn="ctr">
                <a:lnSpc>
                  <a:spcPts val="700"/>
                </a:lnSpc>
              </a:pPr>
              <a:r>
                <a:rPr lang="en-US" sz="700" dirty="0">
                  <a:solidFill>
                    <a:schemeClr val="tx1">
                      <a:lumMod val="75000"/>
                      <a:lumOff val="25000"/>
                    </a:schemeClr>
                  </a:solidFill>
                  <a:latin typeface="Arial"/>
                  <a:ea typeface="'ArialMT'" pitchFamily="32" charset="0"/>
                  <a:cs typeface="Arial"/>
                </a:rPr>
                <a:t>AV / IT Equipment</a:t>
              </a:r>
            </a:p>
          </p:txBody>
        </p:sp>
        <p:grpSp>
          <p:nvGrpSpPr>
            <p:cNvPr id="244" name="Group 258"/>
            <p:cNvGrpSpPr/>
            <p:nvPr/>
          </p:nvGrpSpPr>
          <p:grpSpPr>
            <a:xfrm>
              <a:off x="3951288" y="3903662"/>
              <a:ext cx="260350" cy="146050"/>
              <a:chOff x="3951288" y="3960939"/>
              <a:chExt cx="260350" cy="146050"/>
            </a:xfrm>
            <a:solidFill>
              <a:schemeClr val="tx1">
                <a:lumMod val="75000"/>
                <a:lumOff val="25000"/>
              </a:schemeClr>
            </a:solidFill>
          </p:grpSpPr>
          <p:sp>
            <p:nvSpPr>
              <p:cNvPr id="245" name="Freeform 24"/>
              <p:cNvSpPr>
                <a:spLocks noChangeArrowheads="1"/>
              </p:cNvSpPr>
              <p:nvPr/>
            </p:nvSpPr>
            <p:spPr bwMode="auto">
              <a:xfrm>
                <a:off x="3951288" y="3960939"/>
                <a:ext cx="206375" cy="144463"/>
              </a:xfrm>
              <a:custGeom>
                <a:avLst/>
                <a:gdLst>
                  <a:gd name="T0" fmla="*/ 0 w 572"/>
                  <a:gd name="T1" fmla="*/ 59 h 401"/>
                  <a:gd name="T2" fmla="*/ 0 w 572"/>
                  <a:gd name="T3" fmla="*/ 274 h 401"/>
                  <a:gd name="T4" fmla="*/ 0 w 572"/>
                  <a:gd name="T5" fmla="*/ 332 h 401"/>
                  <a:gd name="T6" fmla="*/ 248 w 572"/>
                  <a:gd name="T7" fmla="*/ 332 h 401"/>
                  <a:gd name="T8" fmla="*/ 248 w 572"/>
                  <a:gd name="T9" fmla="*/ 372 h 401"/>
                  <a:gd name="T10" fmla="*/ 248 w 572"/>
                  <a:gd name="T11" fmla="*/ 372 h 401"/>
                  <a:gd name="T12" fmla="*/ 120 w 572"/>
                  <a:gd name="T13" fmla="*/ 400 h 401"/>
                  <a:gd name="T14" fmla="*/ 451 w 572"/>
                  <a:gd name="T15" fmla="*/ 400 h 401"/>
                  <a:gd name="T16" fmla="*/ 322 w 572"/>
                  <a:gd name="T17" fmla="*/ 372 h 401"/>
                  <a:gd name="T18" fmla="*/ 323 w 572"/>
                  <a:gd name="T19" fmla="*/ 372 h 401"/>
                  <a:gd name="T20" fmla="*/ 323 w 572"/>
                  <a:gd name="T21" fmla="*/ 332 h 401"/>
                  <a:gd name="T22" fmla="*/ 571 w 572"/>
                  <a:gd name="T23" fmla="*/ 332 h 401"/>
                  <a:gd name="T24" fmla="*/ 571 w 572"/>
                  <a:gd name="T25" fmla="*/ 274 h 401"/>
                  <a:gd name="T26" fmla="*/ 571 w 572"/>
                  <a:gd name="T27" fmla="*/ 59 h 401"/>
                  <a:gd name="T28" fmla="*/ 571 w 572"/>
                  <a:gd name="T29" fmla="*/ 0 h 401"/>
                  <a:gd name="T30" fmla="*/ 0 w 572"/>
                  <a:gd name="T31" fmla="*/ 0 h 401"/>
                  <a:gd name="T32" fmla="*/ 0 w 572"/>
                  <a:gd name="T33" fmla="*/ 59 h 401"/>
                  <a:gd name="T34" fmla="*/ 513 w 572"/>
                  <a:gd name="T35" fmla="*/ 297 h 401"/>
                  <a:gd name="T36" fmla="*/ 50 w 572"/>
                  <a:gd name="T37" fmla="*/ 297 h 401"/>
                  <a:gd name="T38" fmla="*/ 50 w 572"/>
                  <a:gd name="T39" fmla="*/ 36 h 401"/>
                  <a:gd name="T40" fmla="*/ 513 w 572"/>
                  <a:gd name="T41" fmla="*/ 36 h 401"/>
                  <a:gd name="T42" fmla="*/ 513 w 572"/>
                  <a:gd name="T43" fmla="*/ 29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2" h="401">
                    <a:moveTo>
                      <a:pt x="0" y="59"/>
                    </a:moveTo>
                    <a:lnTo>
                      <a:pt x="0" y="274"/>
                    </a:lnTo>
                    <a:lnTo>
                      <a:pt x="0" y="332"/>
                    </a:lnTo>
                    <a:lnTo>
                      <a:pt x="248" y="332"/>
                    </a:lnTo>
                    <a:lnTo>
                      <a:pt x="248" y="372"/>
                    </a:lnTo>
                    <a:lnTo>
                      <a:pt x="248" y="372"/>
                    </a:lnTo>
                    <a:cubicBezTo>
                      <a:pt x="159" y="375"/>
                      <a:pt x="120" y="386"/>
                      <a:pt x="120" y="400"/>
                    </a:cubicBezTo>
                    <a:lnTo>
                      <a:pt x="451" y="400"/>
                    </a:lnTo>
                    <a:cubicBezTo>
                      <a:pt x="451" y="386"/>
                      <a:pt x="412" y="375"/>
                      <a:pt x="322" y="372"/>
                    </a:cubicBezTo>
                    <a:cubicBezTo>
                      <a:pt x="323" y="372"/>
                      <a:pt x="323" y="372"/>
                      <a:pt x="323" y="372"/>
                    </a:cubicBezTo>
                    <a:lnTo>
                      <a:pt x="323" y="332"/>
                    </a:lnTo>
                    <a:lnTo>
                      <a:pt x="571" y="332"/>
                    </a:lnTo>
                    <a:lnTo>
                      <a:pt x="571" y="274"/>
                    </a:lnTo>
                    <a:lnTo>
                      <a:pt x="571" y="59"/>
                    </a:lnTo>
                    <a:lnTo>
                      <a:pt x="571" y="0"/>
                    </a:lnTo>
                    <a:lnTo>
                      <a:pt x="0" y="0"/>
                    </a:lnTo>
                    <a:lnTo>
                      <a:pt x="0" y="59"/>
                    </a:lnTo>
                    <a:close/>
                    <a:moveTo>
                      <a:pt x="513" y="297"/>
                    </a:moveTo>
                    <a:lnTo>
                      <a:pt x="50" y="297"/>
                    </a:lnTo>
                    <a:lnTo>
                      <a:pt x="50" y="36"/>
                    </a:lnTo>
                    <a:lnTo>
                      <a:pt x="513" y="36"/>
                    </a:lnTo>
                    <a:lnTo>
                      <a:pt x="513" y="29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sp>
            <p:nvSpPr>
              <p:cNvPr id="246" name="Freeform 25"/>
              <p:cNvSpPr>
                <a:spLocks noChangeArrowheads="1"/>
              </p:cNvSpPr>
              <p:nvPr/>
            </p:nvSpPr>
            <p:spPr bwMode="auto">
              <a:xfrm>
                <a:off x="4037013" y="3999039"/>
                <a:ext cx="38100" cy="44450"/>
              </a:xfrm>
              <a:custGeom>
                <a:avLst/>
                <a:gdLst>
                  <a:gd name="T0" fmla="*/ 0 w 107"/>
                  <a:gd name="T1" fmla="*/ 0 h 123"/>
                  <a:gd name="T2" fmla="*/ 106 w 107"/>
                  <a:gd name="T3" fmla="*/ 61 h 123"/>
                  <a:gd name="T4" fmla="*/ 0 w 107"/>
                  <a:gd name="T5" fmla="*/ 122 h 123"/>
                  <a:gd name="T6" fmla="*/ 0 w 107"/>
                  <a:gd name="T7" fmla="*/ 0 h 123"/>
                </a:gdLst>
                <a:ahLst/>
                <a:cxnLst>
                  <a:cxn ang="0">
                    <a:pos x="T0" y="T1"/>
                  </a:cxn>
                  <a:cxn ang="0">
                    <a:pos x="T2" y="T3"/>
                  </a:cxn>
                  <a:cxn ang="0">
                    <a:pos x="T4" y="T5"/>
                  </a:cxn>
                  <a:cxn ang="0">
                    <a:pos x="T6" y="T7"/>
                  </a:cxn>
                </a:cxnLst>
                <a:rect l="0" t="0" r="r" b="b"/>
                <a:pathLst>
                  <a:path w="107" h="123">
                    <a:moveTo>
                      <a:pt x="0" y="0"/>
                    </a:moveTo>
                    <a:lnTo>
                      <a:pt x="106" y="61"/>
                    </a:lnTo>
                    <a:lnTo>
                      <a:pt x="0" y="12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sp>
            <p:nvSpPr>
              <p:cNvPr id="247" name="Freeform 26"/>
              <p:cNvSpPr>
                <a:spLocks noChangeArrowheads="1"/>
              </p:cNvSpPr>
              <p:nvPr/>
            </p:nvSpPr>
            <p:spPr bwMode="auto">
              <a:xfrm>
                <a:off x="4113213" y="4095877"/>
                <a:ext cx="98425" cy="11112"/>
              </a:xfrm>
              <a:custGeom>
                <a:avLst/>
                <a:gdLst>
                  <a:gd name="T0" fmla="*/ 273 w 275"/>
                  <a:gd name="T1" fmla="*/ 0 h 29"/>
                  <a:gd name="T2" fmla="*/ 1 w 275"/>
                  <a:gd name="T3" fmla="*/ 0 h 29"/>
                  <a:gd name="T4" fmla="*/ 0 w 275"/>
                  <a:gd name="T5" fmla="*/ 1 h 29"/>
                  <a:gd name="T6" fmla="*/ 0 w 275"/>
                  <a:gd name="T7" fmla="*/ 2 h 29"/>
                  <a:gd name="T8" fmla="*/ 36 w 275"/>
                  <a:gd name="T9" fmla="*/ 28 h 29"/>
                  <a:gd name="T10" fmla="*/ 238 w 275"/>
                  <a:gd name="T11" fmla="*/ 28 h 29"/>
                  <a:gd name="T12" fmla="*/ 274 w 275"/>
                  <a:gd name="T13" fmla="*/ 2 h 29"/>
                  <a:gd name="T14" fmla="*/ 274 w 275"/>
                  <a:gd name="T15" fmla="*/ 1 h 29"/>
                  <a:gd name="T16" fmla="*/ 273 w 275"/>
                  <a:gd name="T17" fmla="*/ 0 h 29"/>
                  <a:gd name="T18" fmla="*/ 157 w 275"/>
                  <a:gd name="T19" fmla="*/ 19 h 29"/>
                  <a:gd name="T20" fmla="*/ 117 w 275"/>
                  <a:gd name="T21" fmla="*/ 19 h 29"/>
                  <a:gd name="T22" fmla="*/ 117 w 275"/>
                  <a:gd name="T23" fmla="*/ 9 h 29"/>
                  <a:gd name="T24" fmla="*/ 157 w 275"/>
                  <a:gd name="T25" fmla="*/ 9 h 29"/>
                  <a:gd name="T26" fmla="*/ 157 w 27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
                    <a:moveTo>
                      <a:pt x="273" y="0"/>
                    </a:moveTo>
                    <a:lnTo>
                      <a:pt x="1" y="0"/>
                    </a:lnTo>
                    <a:cubicBezTo>
                      <a:pt x="1" y="0"/>
                      <a:pt x="0" y="0"/>
                      <a:pt x="0" y="1"/>
                    </a:cubicBezTo>
                    <a:cubicBezTo>
                      <a:pt x="0" y="1"/>
                      <a:pt x="0" y="1"/>
                      <a:pt x="0" y="2"/>
                    </a:cubicBezTo>
                    <a:cubicBezTo>
                      <a:pt x="0" y="2"/>
                      <a:pt x="4" y="28"/>
                      <a:pt x="36" y="28"/>
                    </a:cubicBezTo>
                    <a:lnTo>
                      <a:pt x="238" y="28"/>
                    </a:lnTo>
                    <a:cubicBezTo>
                      <a:pt x="270" y="28"/>
                      <a:pt x="274" y="2"/>
                      <a:pt x="274" y="2"/>
                    </a:cubicBezTo>
                    <a:cubicBezTo>
                      <a:pt x="274" y="1"/>
                      <a:pt x="274" y="1"/>
                      <a:pt x="274" y="1"/>
                    </a:cubicBezTo>
                    <a:cubicBezTo>
                      <a:pt x="274" y="0"/>
                      <a:pt x="273" y="0"/>
                      <a:pt x="273" y="0"/>
                    </a:cubicBezTo>
                    <a:close/>
                    <a:moveTo>
                      <a:pt x="157" y="19"/>
                    </a:moveTo>
                    <a:lnTo>
                      <a:pt x="117" y="19"/>
                    </a:lnTo>
                    <a:lnTo>
                      <a:pt x="117" y="9"/>
                    </a:lnTo>
                    <a:lnTo>
                      <a:pt x="157" y="9"/>
                    </a:lnTo>
                    <a:lnTo>
                      <a:pt x="157" y="1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sp>
            <p:nvSpPr>
              <p:cNvPr id="248" name="Freeform 27"/>
              <p:cNvSpPr>
                <a:spLocks noChangeArrowheads="1"/>
              </p:cNvSpPr>
              <p:nvPr/>
            </p:nvSpPr>
            <p:spPr bwMode="auto">
              <a:xfrm>
                <a:off x="4121150" y="4038727"/>
                <a:ext cx="80963" cy="52387"/>
              </a:xfrm>
              <a:custGeom>
                <a:avLst/>
                <a:gdLst>
                  <a:gd name="T0" fmla="*/ 5 w 227"/>
                  <a:gd name="T1" fmla="*/ 0 h 147"/>
                  <a:gd name="T2" fmla="*/ 0 w 227"/>
                  <a:gd name="T3" fmla="*/ 6 h 147"/>
                  <a:gd name="T4" fmla="*/ 0 w 227"/>
                  <a:gd name="T5" fmla="*/ 140 h 147"/>
                  <a:gd name="T6" fmla="*/ 5 w 227"/>
                  <a:gd name="T7" fmla="*/ 146 h 147"/>
                  <a:gd name="T8" fmla="*/ 221 w 227"/>
                  <a:gd name="T9" fmla="*/ 146 h 147"/>
                  <a:gd name="T10" fmla="*/ 226 w 227"/>
                  <a:gd name="T11" fmla="*/ 140 h 147"/>
                  <a:gd name="T12" fmla="*/ 226 w 227"/>
                  <a:gd name="T13" fmla="*/ 6 h 147"/>
                  <a:gd name="T14" fmla="*/ 221 w 227"/>
                  <a:gd name="T15" fmla="*/ 0 h 147"/>
                  <a:gd name="T16" fmla="*/ 5 w 227"/>
                  <a:gd name="T17" fmla="*/ 0 h 147"/>
                  <a:gd name="T18" fmla="*/ 207 w 227"/>
                  <a:gd name="T19" fmla="*/ 126 h 147"/>
                  <a:gd name="T20" fmla="*/ 19 w 227"/>
                  <a:gd name="T21" fmla="*/ 126 h 147"/>
                  <a:gd name="T22" fmla="*/ 19 w 227"/>
                  <a:gd name="T23" fmla="*/ 20 h 147"/>
                  <a:gd name="T24" fmla="*/ 207 w 227"/>
                  <a:gd name="T25" fmla="*/ 20 h 147"/>
                  <a:gd name="T26" fmla="*/ 207 w 227"/>
                  <a:gd name="T27" fmla="*/ 12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147">
                    <a:moveTo>
                      <a:pt x="5" y="0"/>
                    </a:moveTo>
                    <a:cubicBezTo>
                      <a:pt x="2" y="0"/>
                      <a:pt x="0" y="3"/>
                      <a:pt x="0" y="6"/>
                    </a:cubicBezTo>
                    <a:lnTo>
                      <a:pt x="0" y="140"/>
                    </a:lnTo>
                    <a:cubicBezTo>
                      <a:pt x="0" y="144"/>
                      <a:pt x="2" y="146"/>
                      <a:pt x="5" y="146"/>
                    </a:cubicBezTo>
                    <a:lnTo>
                      <a:pt x="221" y="146"/>
                    </a:lnTo>
                    <a:cubicBezTo>
                      <a:pt x="224" y="146"/>
                      <a:pt x="226" y="144"/>
                      <a:pt x="226" y="140"/>
                    </a:cubicBezTo>
                    <a:lnTo>
                      <a:pt x="226" y="6"/>
                    </a:lnTo>
                    <a:cubicBezTo>
                      <a:pt x="226" y="3"/>
                      <a:pt x="224" y="0"/>
                      <a:pt x="221" y="0"/>
                    </a:cubicBezTo>
                    <a:lnTo>
                      <a:pt x="5" y="0"/>
                    </a:lnTo>
                    <a:close/>
                    <a:moveTo>
                      <a:pt x="207" y="126"/>
                    </a:moveTo>
                    <a:lnTo>
                      <a:pt x="19" y="126"/>
                    </a:lnTo>
                    <a:lnTo>
                      <a:pt x="19" y="20"/>
                    </a:lnTo>
                    <a:lnTo>
                      <a:pt x="207" y="20"/>
                    </a:lnTo>
                    <a:lnTo>
                      <a:pt x="207" y="12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sp>
            <p:nvSpPr>
              <p:cNvPr id="249" name="Freeform 28"/>
              <p:cNvSpPr>
                <a:spLocks noChangeArrowheads="1"/>
              </p:cNvSpPr>
              <p:nvPr/>
            </p:nvSpPr>
            <p:spPr bwMode="auto">
              <a:xfrm>
                <a:off x="4127500" y="4046664"/>
                <a:ext cx="68263" cy="38100"/>
              </a:xfrm>
              <a:custGeom>
                <a:avLst/>
                <a:gdLst>
                  <a:gd name="T0" fmla="*/ 94 w 189"/>
                  <a:gd name="T1" fmla="*/ 106 h 107"/>
                  <a:gd name="T2" fmla="*/ 0 w 189"/>
                  <a:gd name="T3" fmla="*/ 106 h 107"/>
                  <a:gd name="T4" fmla="*/ 0 w 189"/>
                  <a:gd name="T5" fmla="*/ 0 h 107"/>
                  <a:gd name="T6" fmla="*/ 188 w 189"/>
                  <a:gd name="T7" fmla="*/ 0 h 107"/>
                  <a:gd name="T8" fmla="*/ 188 w 189"/>
                  <a:gd name="T9" fmla="*/ 106 h 107"/>
                  <a:gd name="T10" fmla="*/ 94 w 189"/>
                  <a:gd name="T11" fmla="*/ 106 h 107"/>
                </a:gdLst>
                <a:ahLst/>
                <a:cxnLst>
                  <a:cxn ang="0">
                    <a:pos x="T0" y="T1"/>
                  </a:cxn>
                  <a:cxn ang="0">
                    <a:pos x="T2" y="T3"/>
                  </a:cxn>
                  <a:cxn ang="0">
                    <a:pos x="T4" y="T5"/>
                  </a:cxn>
                  <a:cxn ang="0">
                    <a:pos x="T6" y="T7"/>
                  </a:cxn>
                  <a:cxn ang="0">
                    <a:pos x="T8" y="T9"/>
                  </a:cxn>
                  <a:cxn ang="0">
                    <a:pos x="T10" y="T11"/>
                  </a:cxn>
                </a:cxnLst>
                <a:rect l="0" t="0" r="r" b="b"/>
                <a:pathLst>
                  <a:path w="189" h="107">
                    <a:moveTo>
                      <a:pt x="94" y="106"/>
                    </a:moveTo>
                    <a:lnTo>
                      <a:pt x="0" y="106"/>
                    </a:lnTo>
                    <a:lnTo>
                      <a:pt x="0" y="0"/>
                    </a:lnTo>
                    <a:lnTo>
                      <a:pt x="188" y="0"/>
                    </a:lnTo>
                    <a:lnTo>
                      <a:pt x="188" y="106"/>
                    </a:lnTo>
                    <a:lnTo>
                      <a:pt x="94" y="1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grpSp>
      </p:grpSp>
      <p:grpSp>
        <p:nvGrpSpPr>
          <p:cNvPr id="250" name="Group 369"/>
          <p:cNvGrpSpPr/>
          <p:nvPr/>
        </p:nvGrpSpPr>
        <p:grpSpPr>
          <a:xfrm>
            <a:off x="5457826" y="4446714"/>
            <a:ext cx="517525" cy="215900"/>
            <a:chOff x="3933825" y="4446714"/>
            <a:chExt cx="517525" cy="215900"/>
          </a:xfrm>
        </p:grpSpPr>
        <p:sp>
          <p:nvSpPr>
            <p:cNvPr id="251" name="Freeform 29"/>
            <p:cNvSpPr>
              <a:spLocks noChangeArrowheads="1"/>
            </p:cNvSpPr>
            <p:nvPr/>
          </p:nvSpPr>
          <p:spPr bwMode="auto">
            <a:xfrm>
              <a:off x="3933825" y="4446714"/>
              <a:ext cx="517525" cy="215900"/>
            </a:xfrm>
            <a:custGeom>
              <a:avLst/>
              <a:gdLst>
                <a:gd name="T0" fmla="*/ 1136 w 1437"/>
                <a:gd name="T1" fmla="*/ 0 h 600"/>
                <a:gd name="T2" fmla="*/ 300 w 1437"/>
                <a:gd name="T3" fmla="*/ 0 h 600"/>
                <a:gd name="T4" fmla="*/ 300 w 1437"/>
                <a:gd name="T5" fmla="*/ 0 h 600"/>
                <a:gd name="T6" fmla="*/ 0 w 1437"/>
                <a:gd name="T7" fmla="*/ 300 h 600"/>
                <a:gd name="T8" fmla="*/ 300 w 1437"/>
                <a:gd name="T9" fmla="*/ 599 h 600"/>
                <a:gd name="T10" fmla="*/ 300 w 1437"/>
                <a:gd name="T11" fmla="*/ 599 h 600"/>
                <a:gd name="T12" fmla="*/ 1136 w 1437"/>
                <a:gd name="T13" fmla="*/ 599 h 600"/>
                <a:gd name="T14" fmla="*/ 1436 w 1437"/>
                <a:gd name="T15" fmla="*/ 300 h 600"/>
                <a:gd name="T16" fmla="*/ 1136 w 1437"/>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7" h="600">
                  <a:moveTo>
                    <a:pt x="1136" y="0"/>
                  </a:moveTo>
                  <a:lnTo>
                    <a:pt x="300" y="0"/>
                  </a:lnTo>
                  <a:lnTo>
                    <a:pt x="300" y="0"/>
                  </a:lnTo>
                  <a:cubicBezTo>
                    <a:pt x="134" y="0"/>
                    <a:pt x="0" y="134"/>
                    <a:pt x="0" y="300"/>
                  </a:cubicBezTo>
                  <a:cubicBezTo>
                    <a:pt x="0" y="465"/>
                    <a:pt x="134" y="599"/>
                    <a:pt x="300" y="599"/>
                  </a:cubicBezTo>
                  <a:lnTo>
                    <a:pt x="300" y="599"/>
                  </a:lnTo>
                  <a:lnTo>
                    <a:pt x="1136" y="599"/>
                  </a:lnTo>
                  <a:cubicBezTo>
                    <a:pt x="1302" y="599"/>
                    <a:pt x="1436" y="465"/>
                    <a:pt x="1436" y="300"/>
                  </a:cubicBezTo>
                  <a:cubicBezTo>
                    <a:pt x="1436" y="134"/>
                    <a:pt x="1302" y="0"/>
                    <a:pt x="1136"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52" name="Text Box 30"/>
            <p:cNvSpPr txBox="1">
              <a:spLocks noChangeArrowheads="1"/>
            </p:cNvSpPr>
            <p:nvPr/>
          </p:nvSpPr>
          <p:spPr bwMode="auto">
            <a:xfrm>
              <a:off x="4083051" y="4467274"/>
              <a:ext cx="334963" cy="1953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chemeClr val="tx1">
                      <a:lumMod val="75000"/>
                      <a:lumOff val="25000"/>
                    </a:schemeClr>
                  </a:solidFill>
                  <a:latin typeface="Arial"/>
                  <a:ea typeface="'ArialMT'" pitchFamily="32" charset="0"/>
                  <a:cs typeface="Arial"/>
                </a:rPr>
                <a:t>Lighting </a:t>
              </a:r>
            </a:p>
          </p:txBody>
        </p:sp>
        <p:grpSp>
          <p:nvGrpSpPr>
            <p:cNvPr id="253" name="Group 266"/>
            <p:cNvGrpSpPr/>
            <p:nvPr/>
          </p:nvGrpSpPr>
          <p:grpSpPr>
            <a:xfrm>
              <a:off x="3984625" y="4480052"/>
              <a:ext cx="90488" cy="144462"/>
              <a:chOff x="3984625" y="4480052"/>
              <a:chExt cx="90488" cy="144462"/>
            </a:xfrm>
            <a:solidFill>
              <a:schemeClr val="tx1">
                <a:lumMod val="75000"/>
                <a:lumOff val="25000"/>
              </a:schemeClr>
            </a:solidFill>
          </p:grpSpPr>
          <p:sp>
            <p:nvSpPr>
              <p:cNvPr id="254" name="Freeform 32"/>
              <p:cNvSpPr>
                <a:spLocks noChangeArrowheads="1"/>
              </p:cNvSpPr>
              <p:nvPr/>
            </p:nvSpPr>
            <p:spPr bwMode="auto">
              <a:xfrm>
                <a:off x="3984625" y="4480052"/>
                <a:ext cx="90488" cy="112712"/>
              </a:xfrm>
              <a:custGeom>
                <a:avLst/>
                <a:gdLst>
                  <a:gd name="T0" fmla="*/ 124 w 252"/>
                  <a:gd name="T1" fmla="*/ 1 h 313"/>
                  <a:gd name="T2" fmla="*/ 1 w 252"/>
                  <a:gd name="T3" fmla="*/ 127 h 313"/>
                  <a:gd name="T4" fmla="*/ 27 w 252"/>
                  <a:gd name="T5" fmla="*/ 202 h 313"/>
                  <a:gd name="T6" fmla="*/ 27 w 252"/>
                  <a:gd name="T7" fmla="*/ 202 h 313"/>
                  <a:gd name="T8" fmla="*/ 27 w 252"/>
                  <a:gd name="T9" fmla="*/ 202 h 313"/>
                  <a:gd name="T10" fmla="*/ 67 w 252"/>
                  <a:gd name="T11" fmla="*/ 299 h 313"/>
                  <a:gd name="T12" fmla="*/ 67 w 252"/>
                  <a:gd name="T13" fmla="*/ 312 h 313"/>
                  <a:gd name="T14" fmla="*/ 189 w 252"/>
                  <a:gd name="T15" fmla="*/ 312 h 313"/>
                  <a:gd name="T16" fmla="*/ 189 w 252"/>
                  <a:gd name="T17" fmla="*/ 297 h 313"/>
                  <a:gd name="T18" fmla="*/ 226 w 252"/>
                  <a:gd name="T19" fmla="*/ 200 h 313"/>
                  <a:gd name="T20" fmla="*/ 226 w 252"/>
                  <a:gd name="T21" fmla="*/ 199 h 313"/>
                  <a:gd name="T22" fmla="*/ 226 w 252"/>
                  <a:gd name="T23" fmla="*/ 199 h 313"/>
                  <a:gd name="T24" fmla="*/ 250 w 252"/>
                  <a:gd name="T25" fmla="*/ 124 h 313"/>
                  <a:gd name="T26" fmla="*/ 124 w 252"/>
                  <a:gd name="T27" fmla="*/ 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2" h="313">
                    <a:moveTo>
                      <a:pt x="124" y="1"/>
                    </a:moveTo>
                    <a:cubicBezTo>
                      <a:pt x="55" y="2"/>
                      <a:pt x="0" y="59"/>
                      <a:pt x="1" y="127"/>
                    </a:cubicBezTo>
                    <a:cubicBezTo>
                      <a:pt x="1" y="155"/>
                      <a:pt x="11" y="181"/>
                      <a:pt x="27" y="202"/>
                    </a:cubicBezTo>
                    <a:lnTo>
                      <a:pt x="27" y="202"/>
                    </a:lnTo>
                    <a:lnTo>
                      <a:pt x="27" y="202"/>
                    </a:lnTo>
                    <a:cubicBezTo>
                      <a:pt x="32" y="209"/>
                      <a:pt x="66" y="254"/>
                      <a:pt x="67" y="299"/>
                    </a:cubicBezTo>
                    <a:lnTo>
                      <a:pt x="67" y="312"/>
                    </a:lnTo>
                    <a:lnTo>
                      <a:pt x="189" y="312"/>
                    </a:lnTo>
                    <a:lnTo>
                      <a:pt x="189" y="297"/>
                    </a:lnTo>
                    <a:cubicBezTo>
                      <a:pt x="188" y="253"/>
                      <a:pt x="221" y="206"/>
                      <a:pt x="226" y="200"/>
                    </a:cubicBezTo>
                    <a:cubicBezTo>
                      <a:pt x="226" y="199"/>
                      <a:pt x="226" y="199"/>
                      <a:pt x="226" y="199"/>
                    </a:cubicBezTo>
                    <a:lnTo>
                      <a:pt x="226" y="199"/>
                    </a:lnTo>
                    <a:cubicBezTo>
                      <a:pt x="242" y="178"/>
                      <a:pt x="251" y="152"/>
                      <a:pt x="250" y="124"/>
                    </a:cubicBezTo>
                    <a:cubicBezTo>
                      <a:pt x="249" y="55"/>
                      <a:pt x="193" y="0"/>
                      <a:pt x="124" y="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sp>
            <p:nvSpPr>
              <p:cNvPr id="255" name="Freeform 33"/>
              <p:cNvSpPr>
                <a:spLocks noChangeArrowheads="1"/>
              </p:cNvSpPr>
              <p:nvPr/>
            </p:nvSpPr>
            <p:spPr bwMode="auto">
              <a:xfrm>
                <a:off x="4008438" y="4599114"/>
                <a:ext cx="44450" cy="25400"/>
              </a:xfrm>
              <a:custGeom>
                <a:avLst/>
                <a:gdLst>
                  <a:gd name="T0" fmla="*/ 1 w 124"/>
                  <a:gd name="T1" fmla="*/ 33 h 70"/>
                  <a:gd name="T2" fmla="*/ 26 w 124"/>
                  <a:gd name="T3" fmla="*/ 57 h 70"/>
                  <a:gd name="T4" fmla="*/ 35 w 124"/>
                  <a:gd name="T5" fmla="*/ 57 h 70"/>
                  <a:gd name="T6" fmla="*/ 44 w 124"/>
                  <a:gd name="T7" fmla="*/ 69 h 70"/>
                  <a:gd name="T8" fmla="*/ 80 w 124"/>
                  <a:gd name="T9" fmla="*/ 69 h 70"/>
                  <a:gd name="T10" fmla="*/ 89 w 124"/>
                  <a:gd name="T11" fmla="*/ 56 h 70"/>
                  <a:gd name="T12" fmla="*/ 98 w 124"/>
                  <a:gd name="T13" fmla="*/ 56 h 70"/>
                  <a:gd name="T14" fmla="*/ 122 w 124"/>
                  <a:gd name="T15" fmla="*/ 31 h 70"/>
                  <a:gd name="T16" fmla="*/ 122 w 124"/>
                  <a:gd name="T17" fmla="*/ 0 h 70"/>
                  <a:gd name="T18" fmla="*/ 0 w 124"/>
                  <a:gd name="T19" fmla="*/ 0 h 70"/>
                  <a:gd name="T20" fmla="*/ 1 w 124"/>
                  <a:gd name="T2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70">
                    <a:moveTo>
                      <a:pt x="1" y="33"/>
                    </a:moveTo>
                    <a:cubicBezTo>
                      <a:pt x="1" y="47"/>
                      <a:pt x="12" y="57"/>
                      <a:pt x="26" y="57"/>
                    </a:cubicBezTo>
                    <a:lnTo>
                      <a:pt x="35" y="57"/>
                    </a:lnTo>
                    <a:lnTo>
                      <a:pt x="44" y="69"/>
                    </a:lnTo>
                    <a:lnTo>
                      <a:pt x="80" y="69"/>
                    </a:lnTo>
                    <a:lnTo>
                      <a:pt x="89" y="56"/>
                    </a:lnTo>
                    <a:lnTo>
                      <a:pt x="98" y="56"/>
                    </a:lnTo>
                    <a:cubicBezTo>
                      <a:pt x="112" y="56"/>
                      <a:pt x="123" y="45"/>
                      <a:pt x="122" y="31"/>
                    </a:cubicBezTo>
                    <a:lnTo>
                      <a:pt x="122" y="0"/>
                    </a:lnTo>
                    <a:lnTo>
                      <a:pt x="0" y="0"/>
                    </a:lnTo>
                    <a:lnTo>
                      <a:pt x="1" y="3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grpSp>
      </p:grpSp>
      <p:grpSp>
        <p:nvGrpSpPr>
          <p:cNvPr id="256" name="Group 374"/>
          <p:cNvGrpSpPr/>
          <p:nvPr/>
        </p:nvGrpSpPr>
        <p:grpSpPr>
          <a:xfrm>
            <a:off x="7748034" y="5505640"/>
            <a:ext cx="669925" cy="215951"/>
            <a:chOff x="6224033" y="5505639"/>
            <a:chExt cx="669925" cy="215951"/>
          </a:xfrm>
        </p:grpSpPr>
        <p:sp>
          <p:nvSpPr>
            <p:cNvPr id="257" name="Freeform 3"/>
            <p:cNvSpPr>
              <a:spLocks noChangeArrowheads="1"/>
            </p:cNvSpPr>
            <p:nvPr/>
          </p:nvSpPr>
          <p:spPr bwMode="auto">
            <a:xfrm>
              <a:off x="6224033" y="5505639"/>
              <a:ext cx="669925" cy="215900"/>
            </a:xfrm>
            <a:custGeom>
              <a:avLst/>
              <a:gdLst>
                <a:gd name="T0" fmla="*/ 1559 w 1859"/>
                <a:gd name="T1" fmla="*/ 0 h 600"/>
                <a:gd name="T2" fmla="*/ 300 w 1859"/>
                <a:gd name="T3" fmla="*/ 0 h 600"/>
                <a:gd name="T4" fmla="*/ 300 w 1859"/>
                <a:gd name="T5" fmla="*/ 0 h 600"/>
                <a:gd name="T6" fmla="*/ 0 w 1859"/>
                <a:gd name="T7" fmla="*/ 300 h 600"/>
                <a:gd name="T8" fmla="*/ 300 w 1859"/>
                <a:gd name="T9" fmla="*/ 599 h 600"/>
                <a:gd name="T10" fmla="*/ 300 w 1859"/>
                <a:gd name="T11" fmla="*/ 599 h 600"/>
                <a:gd name="T12" fmla="*/ 1559 w 1859"/>
                <a:gd name="T13" fmla="*/ 599 h 600"/>
                <a:gd name="T14" fmla="*/ 1858 w 1859"/>
                <a:gd name="T15" fmla="*/ 300 h 600"/>
                <a:gd name="T16" fmla="*/ 1559 w 1859"/>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9" h="600">
                  <a:moveTo>
                    <a:pt x="1559" y="0"/>
                  </a:moveTo>
                  <a:lnTo>
                    <a:pt x="300" y="0"/>
                  </a:lnTo>
                  <a:lnTo>
                    <a:pt x="300" y="0"/>
                  </a:lnTo>
                  <a:cubicBezTo>
                    <a:pt x="134" y="0"/>
                    <a:pt x="0" y="134"/>
                    <a:pt x="0" y="300"/>
                  </a:cubicBezTo>
                  <a:cubicBezTo>
                    <a:pt x="0" y="465"/>
                    <a:pt x="134" y="599"/>
                    <a:pt x="300" y="599"/>
                  </a:cubicBezTo>
                  <a:lnTo>
                    <a:pt x="300" y="599"/>
                  </a:lnTo>
                  <a:lnTo>
                    <a:pt x="1559" y="599"/>
                  </a:lnTo>
                  <a:cubicBezTo>
                    <a:pt x="1724" y="599"/>
                    <a:pt x="1858" y="465"/>
                    <a:pt x="1858" y="300"/>
                  </a:cubicBezTo>
                  <a:cubicBezTo>
                    <a:pt x="1858" y="134"/>
                    <a:pt x="1724" y="0"/>
                    <a:pt x="1559"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58" name="Text Box 4"/>
            <p:cNvSpPr txBox="1">
              <a:spLocks noChangeArrowheads="1"/>
            </p:cNvSpPr>
            <p:nvPr/>
          </p:nvSpPr>
          <p:spPr bwMode="auto">
            <a:xfrm>
              <a:off x="6499759" y="5505690"/>
              <a:ext cx="345484"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5C8B76"/>
                  </a:solidFill>
                  <a:latin typeface="Arial"/>
                  <a:ea typeface="'ArialMT'" pitchFamily="32" charset="0"/>
                  <a:cs typeface="Arial"/>
                </a:rPr>
                <a:t>Router</a:t>
              </a:r>
            </a:p>
          </p:txBody>
        </p:sp>
        <p:grpSp>
          <p:nvGrpSpPr>
            <p:cNvPr id="259" name="Group 273"/>
            <p:cNvGrpSpPr/>
            <p:nvPr/>
          </p:nvGrpSpPr>
          <p:grpSpPr>
            <a:xfrm>
              <a:off x="6309758" y="5538977"/>
              <a:ext cx="187325" cy="142875"/>
              <a:chOff x="7732216" y="4479926"/>
              <a:chExt cx="187325" cy="142875"/>
            </a:xfrm>
          </p:grpSpPr>
          <p:sp>
            <p:nvSpPr>
              <p:cNvPr id="260" name="Freeform 5"/>
              <p:cNvSpPr>
                <a:spLocks noChangeArrowheads="1"/>
              </p:cNvSpPr>
              <p:nvPr/>
            </p:nvSpPr>
            <p:spPr bwMode="auto">
              <a:xfrm>
                <a:off x="7817941" y="4521201"/>
                <a:ext cx="15875" cy="69850"/>
              </a:xfrm>
              <a:custGeom>
                <a:avLst/>
                <a:gdLst>
                  <a:gd name="T0" fmla="*/ 42 w 43"/>
                  <a:gd name="T1" fmla="*/ 171 h 192"/>
                  <a:gd name="T2" fmla="*/ 21 w 43"/>
                  <a:gd name="T3" fmla="*/ 191 h 192"/>
                  <a:gd name="T4" fmla="*/ 20 w 43"/>
                  <a:gd name="T5" fmla="*/ 191 h 192"/>
                  <a:gd name="T6" fmla="*/ 0 w 43"/>
                  <a:gd name="T7" fmla="*/ 171 h 192"/>
                  <a:gd name="T8" fmla="*/ 0 w 43"/>
                  <a:gd name="T9" fmla="*/ 20 h 192"/>
                  <a:gd name="T10" fmla="*/ 20 w 43"/>
                  <a:gd name="T11" fmla="*/ 0 h 192"/>
                  <a:gd name="T12" fmla="*/ 21 w 43"/>
                  <a:gd name="T13" fmla="*/ 0 h 192"/>
                  <a:gd name="T14" fmla="*/ 42 w 43"/>
                  <a:gd name="T15" fmla="*/ 20 h 192"/>
                  <a:gd name="T16" fmla="*/ 42 w 43"/>
                  <a:gd name="T17"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92">
                    <a:moveTo>
                      <a:pt x="42" y="171"/>
                    </a:moveTo>
                    <a:cubicBezTo>
                      <a:pt x="42" y="182"/>
                      <a:pt x="32" y="191"/>
                      <a:pt x="21" y="191"/>
                    </a:cubicBezTo>
                    <a:lnTo>
                      <a:pt x="20" y="191"/>
                    </a:lnTo>
                    <a:cubicBezTo>
                      <a:pt x="9" y="191"/>
                      <a:pt x="0" y="182"/>
                      <a:pt x="0" y="171"/>
                    </a:cubicBezTo>
                    <a:lnTo>
                      <a:pt x="0" y="20"/>
                    </a:lnTo>
                    <a:cubicBezTo>
                      <a:pt x="0" y="9"/>
                      <a:pt x="9" y="0"/>
                      <a:pt x="20" y="0"/>
                    </a:cubicBezTo>
                    <a:lnTo>
                      <a:pt x="21" y="0"/>
                    </a:lnTo>
                    <a:cubicBezTo>
                      <a:pt x="32" y="0"/>
                      <a:pt x="42" y="9"/>
                      <a:pt x="42" y="20"/>
                    </a:cubicBezTo>
                    <a:lnTo>
                      <a:pt x="42" y="171"/>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61" name="Freeform 6"/>
              <p:cNvSpPr>
                <a:spLocks noChangeArrowheads="1"/>
              </p:cNvSpPr>
              <p:nvPr/>
            </p:nvSpPr>
            <p:spPr bwMode="auto">
              <a:xfrm>
                <a:off x="7822703" y="4479926"/>
                <a:ext cx="6350" cy="47625"/>
              </a:xfrm>
              <a:custGeom>
                <a:avLst/>
                <a:gdLst>
                  <a:gd name="T0" fmla="*/ 18 w 19"/>
                  <a:gd name="T1" fmla="*/ 124 h 134"/>
                  <a:gd name="T2" fmla="*/ 9 w 19"/>
                  <a:gd name="T3" fmla="*/ 133 h 134"/>
                  <a:gd name="T4" fmla="*/ 9 w 19"/>
                  <a:gd name="T5" fmla="*/ 133 h 134"/>
                  <a:gd name="T6" fmla="*/ 0 w 19"/>
                  <a:gd name="T7" fmla="*/ 124 h 134"/>
                  <a:gd name="T8" fmla="*/ 0 w 19"/>
                  <a:gd name="T9" fmla="*/ 9 h 134"/>
                  <a:gd name="T10" fmla="*/ 9 w 19"/>
                  <a:gd name="T11" fmla="*/ 0 h 134"/>
                  <a:gd name="T12" fmla="*/ 9 w 19"/>
                  <a:gd name="T13" fmla="*/ 0 h 134"/>
                  <a:gd name="T14" fmla="*/ 18 w 19"/>
                  <a:gd name="T15" fmla="*/ 9 h 134"/>
                  <a:gd name="T16" fmla="*/ 18 w 19"/>
                  <a:gd name="T17" fmla="*/ 12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4">
                    <a:moveTo>
                      <a:pt x="18" y="124"/>
                    </a:moveTo>
                    <a:cubicBezTo>
                      <a:pt x="18" y="129"/>
                      <a:pt x="14" y="133"/>
                      <a:pt x="9" y="133"/>
                    </a:cubicBezTo>
                    <a:lnTo>
                      <a:pt x="9" y="133"/>
                    </a:lnTo>
                    <a:cubicBezTo>
                      <a:pt x="4" y="133"/>
                      <a:pt x="0" y="129"/>
                      <a:pt x="0" y="124"/>
                    </a:cubicBezTo>
                    <a:lnTo>
                      <a:pt x="0" y="9"/>
                    </a:lnTo>
                    <a:cubicBezTo>
                      <a:pt x="0" y="4"/>
                      <a:pt x="4" y="0"/>
                      <a:pt x="9" y="0"/>
                    </a:cubicBezTo>
                    <a:lnTo>
                      <a:pt x="9" y="0"/>
                    </a:lnTo>
                    <a:cubicBezTo>
                      <a:pt x="14" y="0"/>
                      <a:pt x="18" y="4"/>
                      <a:pt x="18" y="9"/>
                    </a:cubicBezTo>
                    <a:lnTo>
                      <a:pt x="18" y="124"/>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62" name="Freeform 7"/>
              <p:cNvSpPr>
                <a:spLocks noChangeArrowheads="1"/>
              </p:cNvSpPr>
              <p:nvPr/>
            </p:nvSpPr>
            <p:spPr bwMode="auto">
              <a:xfrm>
                <a:off x="7732216" y="4491038"/>
                <a:ext cx="50800" cy="106363"/>
              </a:xfrm>
              <a:custGeom>
                <a:avLst/>
                <a:gdLst>
                  <a:gd name="T0" fmla="*/ 134 w 140"/>
                  <a:gd name="T1" fmla="*/ 262 h 294"/>
                  <a:gd name="T2" fmla="*/ 78 w 140"/>
                  <a:gd name="T3" fmla="*/ 122 h 294"/>
                  <a:gd name="T4" fmla="*/ 60 w 140"/>
                  <a:gd name="T5" fmla="*/ 109 h 294"/>
                  <a:gd name="T6" fmla="*/ 19 w 140"/>
                  <a:gd name="T7" fmla="*/ 7 h 294"/>
                  <a:gd name="T8" fmla="*/ 7 w 140"/>
                  <a:gd name="T9" fmla="*/ 2 h 294"/>
                  <a:gd name="T10" fmla="*/ 7 w 140"/>
                  <a:gd name="T11" fmla="*/ 2 h 294"/>
                  <a:gd name="T12" fmla="*/ 2 w 140"/>
                  <a:gd name="T13" fmla="*/ 13 h 294"/>
                  <a:gd name="T14" fmla="*/ 43 w 140"/>
                  <a:gd name="T15" fmla="*/ 116 h 294"/>
                  <a:gd name="T16" fmla="*/ 39 w 140"/>
                  <a:gd name="T17" fmla="*/ 137 h 294"/>
                  <a:gd name="T18" fmla="*/ 96 w 140"/>
                  <a:gd name="T19" fmla="*/ 277 h 294"/>
                  <a:gd name="T20" fmla="*/ 122 w 140"/>
                  <a:gd name="T21" fmla="*/ 289 h 294"/>
                  <a:gd name="T22" fmla="*/ 123 w 140"/>
                  <a:gd name="T23" fmla="*/ 288 h 294"/>
                  <a:gd name="T24" fmla="*/ 134 w 140"/>
                  <a:gd name="T25" fmla="*/ 26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94">
                    <a:moveTo>
                      <a:pt x="134" y="262"/>
                    </a:moveTo>
                    <a:lnTo>
                      <a:pt x="78" y="122"/>
                    </a:lnTo>
                    <a:cubicBezTo>
                      <a:pt x="75" y="114"/>
                      <a:pt x="68" y="110"/>
                      <a:pt x="60" y="109"/>
                    </a:cubicBezTo>
                    <a:lnTo>
                      <a:pt x="19" y="7"/>
                    </a:lnTo>
                    <a:cubicBezTo>
                      <a:pt x="17" y="2"/>
                      <a:pt x="12" y="0"/>
                      <a:pt x="7" y="2"/>
                    </a:cubicBezTo>
                    <a:lnTo>
                      <a:pt x="7" y="2"/>
                    </a:lnTo>
                    <a:cubicBezTo>
                      <a:pt x="2" y="4"/>
                      <a:pt x="0" y="9"/>
                      <a:pt x="2" y="13"/>
                    </a:cubicBezTo>
                    <a:lnTo>
                      <a:pt x="43" y="116"/>
                    </a:lnTo>
                    <a:cubicBezTo>
                      <a:pt x="38" y="121"/>
                      <a:pt x="36" y="130"/>
                      <a:pt x="39" y="137"/>
                    </a:cubicBezTo>
                    <a:lnTo>
                      <a:pt x="96" y="277"/>
                    </a:lnTo>
                    <a:cubicBezTo>
                      <a:pt x="100" y="288"/>
                      <a:pt x="112" y="293"/>
                      <a:pt x="122" y="289"/>
                    </a:cubicBezTo>
                    <a:lnTo>
                      <a:pt x="123" y="288"/>
                    </a:lnTo>
                    <a:cubicBezTo>
                      <a:pt x="134" y="284"/>
                      <a:pt x="139" y="272"/>
                      <a:pt x="134" y="262"/>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63" name="Freeform 8"/>
              <p:cNvSpPr>
                <a:spLocks noChangeArrowheads="1"/>
              </p:cNvSpPr>
              <p:nvPr/>
            </p:nvSpPr>
            <p:spPr bwMode="auto">
              <a:xfrm>
                <a:off x="7868741" y="4491038"/>
                <a:ext cx="50800" cy="106363"/>
              </a:xfrm>
              <a:custGeom>
                <a:avLst/>
                <a:gdLst>
                  <a:gd name="T0" fmla="*/ 137 w 139"/>
                  <a:gd name="T1" fmla="*/ 13 h 294"/>
                  <a:gd name="T2" fmla="*/ 132 w 139"/>
                  <a:gd name="T3" fmla="*/ 2 h 294"/>
                  <a:gd name="T4" fmla="*/ 131 w 139"/>
                  <a:gd name="T5" fmla="*/ 2 h 294"/>
                  <a:gd name="T6" fmla="*/ 120 w 139"/>
                  <a:gd name="T7" fmla="*/ 7 h 294"/>
                  <a:gd name="T8" fmla="*/ 78 w 139"/>
                  <a:gd name="T9" fmla="*/ 109 h 294"/>
                  <a:gd name="T10" fmla="*/ 61 w 139"/>
                  <a:gd name="T11" fmla="*/ 122 h 294"/>
                  <a:gd name="T12" fmla="*/ 4 w 139"/>
                  <a:gd name="T13" fmla="*/ 262 h 294"/>
                  <a:gd name="T14" fmla="*/ 16 w 139"/>
                  <a:gd name="T15" fmla="*/ 288 h 294"/>
                  <a:gd name="T16" fmla="*/ 16 w 139"/>
                  <a:gd name="T17" fmla="*/ 289 h 294"/>
                  <a:gd name="T18" fmla="*/ 43 w 139"/>
                  <a:gd name="T19" fmla="*/ 277 h 294"/>
                  <a:gd name="T20" fmla="*/ 99 w 139"/>
                  <a:gd name="T21" fmla="*/ 137 h 294"/>
                  <a:gd name="T22" fmla="*/ 95 w 139"/>
                  <a:gd name="T23" fmla="*/ 116 h 294"/>
                  <a:gd name="T24" fmla="*/ 137 w 139"/>
                  <a:gd name="T25" fmla="*/ 1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294">
                    <a:moveTo>
                      <a:pt x="137" y="13"/>
                    </a:moveTo>
                    <a:cubicBezTo>
                      <a:pt x="138" y="9"/>
                      <a:pt x="136" y="4"/>
                      <a:pt x="132" y="2"/>
                    </a:cubicBezTo>
                    <a:lnTo>
                      <a:pt x="131" y="2"/>
                    </a:lnTo>
                    <a:cubicBezTo>
                      <a:pt x="127" y="0"/>
                      <a:pt x="122" y="2"/>
                      <a:pt x="120" y="7"/>
                    </a:cubicBezTo>
                    <a:lnTo>
                      <a:pt x="78" y="109"/>
                    </a:lnTo>
                    <a:cubicBezTo>
                      <a:pt x="71" y="110"/>
                      <a:pt x="64" y="114"/>
                      <a:pt x="61" y="122"/>
                    </a:cubicBezTo>
                    <a:lnTo>
                      <a:pt x="4" y="262"/>
                    </a:lnTo>
                    <a:cubicBezTo>
                      <a:pt x="0" y="272"/>
                      <a:pt x="5" y="284"/>
                      <a:pt x="16" y="288"/>
                    </a:cubicBezTo>
                    <a:lnTo>
                      <a:pt x="16" y="289"/>
                    </a:lnTo>
                    <a:cubicBezTo>
                      <a:pt x="27" y="293"/>
                      <a:pt x="38" y="288"/>
                      <a:pt x="43" y="277"/>
                    </a:cubicBezTo>
                    <a:lnTo>
                      <a:pt x="99" y="137"/>
                    </a:lnTo>
                    <a:cubicBezTo>
                      <a:pt x="102" y="130"/>
                      <a:pt x="100" y="122"/>
                      <a:pt x="95" y="116"/>
                    </a:cubicBezTo>
                    <a:lnTo>
                      <a:pt x="137" y="13"/>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64" name="Freeform 9"/>
              <p:cNvSpPr>
                <a:spLocks noChangeArrowheads="1"/>
              </p:cNvSpPr>
              <p:nvPr/>
            </p:nvSpPr>
            <p:spPr bwMode="auto">
              <a:xfrm>
                <a:off x="7746503" y="4578351"/>
                <a:ext cx="158750" cy="44450"/>
              </a:xfrm>
              <a:custGeom>
                <a:avLst/>
                <a:gdLst>
                  <a:gd name="T0" fmla="*/ 417 w 440"/>
                  <a:gd name="T1" fmla="*/ 0 h 124"/>
                  <a:gd name="T2" fmla="*/ 23 w 440"/>
                  <a:gd name="T3" fmla="*/ 0 h 124"/>
                  <a:gd name="T4" fmla="*/ 0 w 440"/>
                  <a:gd name="T5" fmla="*/ 23 h 124"/>
                  <a:gd name="T6" fmla="*/ 0 w 440"/>
                  <a:gd name="T7" fmla="*/ 100 h 124"/>
                  <a:gd name="T8" fmla="*/ 23 w 440"/>
                  <a:gd name="T9" fmla="*/ 123 h 124"/>
                  <a:gd name="T10" fmla="*/ 417 w 440"/>
                  <a:gd name="T11" fmla="*/ 123 h 124"/>
                  <a:gd name="T12" fmla="*/ 439 w 440"/>
                  <a:gd name="T13" fmla="*/ 100 h 124"/>
                  <a:gd name="T14" fmla="*/ 439 w 440"/>
                  <a:gd name="T15" fmla="*/ 23 h 124"/>
                  <a:gd name="T16" fmla="*/ 417 w 440"/>
                  <a:gd name="T17" fmla="*/ 0 h 124"/>
                  <a:gd name="T18" fmla="*/ 64 w 440"/>
                  <a:gd name="T19" fmla="*/ 74 h 124"/>
                  <a:gd name="T20" fmla="*/ 64 w 440"/>
                  <a:gd name="T21" fmla="*/ 80 h 124"/>
                  <a:gd name="T22" fmla="*/ 44 w 440"/>
                  <a:gd name="T23" fmla="*/ 80 h 124"/>
                  <a:gd name="T24" fmla="*/ 44 w 440"/>
                  <a:gd name="T25" fmla="*/ 74 h 124"/>
                  <a:gd name="T26" fmla="*/ 34 w 440"/>
                  <a:gd name="T27" fmla="*/ 74 h 124"/>
                  <a:gd name="T28" fmla="*/ 34 w 440"/>
                  <a:gd name="T29" fmla="*/ 47 h 124"/>
                  <a:gd name="T30" fmla="*/ 73 w 440"/>
                  <a:gd name="T31" fmla="*/ 47 h 124"/>
                  <a:gd name="T32" fmla="*/ 73 w 440"/>
                  <a:gd name="T33" fmla="*/ 74 h 124"/>
                  <a:gd name="T34" fmla="*/ 64 w 440"/>
                  <a:gd name="T35" fmla="*/ 74 h 124"/>
                  <a:gd name="T36" fmla="*/ 111 w 440"/>
                  <a:gd name="T37" fmla="*/ 74 h 124"/>
                  <a:gd name="T38" fmla="*/ 111 w 440"/>
                  <a:gd name="T39" fmla="*/ 80 h 124"/>
                  <a:gd name="T40" fmla="*/ 90 w 440"/>
                  <a:gd name="T41" fmla="*/ 80 h 124"/>
                  <a:gd name="T42" fmla="*/ 90 w 440"/>
                  <a:gd name="T43" fmla="*/ 74 h 124"/>
                  <a:gd name="T44" fmla="*/ 81 w 440"/>
                  <a:gd name="T45" fmla="*/ 74 h 124"/>
                  <a:gd name="T46" fmla="*/ 81 w 440"/>
                  <a:gd name="T47" fmla="*/ 47 h 124"/>
                  <a:gd name="T48" fmla="*/ 120 w 440"/>
                  <a:gd name="T49" fmla="*/ 47 h 124"/>
                  <a:gd name="T50" fmla="*/ 120 w 440"/>
                  <a:gd name="T51" fmla="*/ 74 h 124"/>
                  <a:gd name="T52" fmla="*/ 111 w 440"/>
                  <a:gd name="T53" fmla="*/ 74 h 124"/>
                  <a:gd name="T54" fmla="*/ 157 w 440"/>
                  <a:gd name="T55" fmla="*/ 74 h 124"/>
                  <a:gd name="T56" fmla="*/ 157 w 440"/>
                  <a:gd name="T57" fmla="*/ 80 h 124"/>
                  <a:gd name="T58" fmla="*/ 137 w 440"/>
                  <a:gd name="T59" fmla="*/ 80 h 124"/>
                  <a:gd name="T60" fmla="*/ 137 w 440"/>
                  <a:gd name="T61" fmla="*/ 74 h 124"/>
                  <a:gd name="T62" fmla="*/ 128 w 440"/>
                  <a:gd name="T63" fmla="*/ 74 h 124"/>
                  <a:gd name="T64" fmla="*/ 128 w 440"/>
                  <a:gd name="T65" fmla="*/ 47 h 124"/>
                  <a:gd name="T66" fmla="*/ 166 w 440"/>
                  <a:gd name="T67" fmla="*/ 47 h 124"/>
                  <a:gd name="T68" fmla="*/ 166 w 440"/>
                  <a:gd name="T69" fmla="*/ 74 h 124"/>
                  <a:gd name="T70" fmla="*/ 157 w 440"/>
                  <a:gd name="T71" fmla="*/ 74 h 124"/>
                  <a:gd name="T72" fmla="*/ 204 w 440"/>
                  <a:gd name="T73" fmla="*/ 74 h 124"/>
                  <a:gd name="T74" fmla="*/ 204 w 440"/>
                  <a:gd name="T75" fmla="*/ 80 h 124"/>
                  <a:gd name="T76" fmla="*/ 183 w 440"/>
                  <a:gd name="T77" fmla="*/ 80 h 124"/>
                  <a:gd name="T78" fmla="*/ 183 w 440"/>
                  <a:gd name="T79" fmla="*/ 74 h 124"/>
                  <a:gd name="T80" fmla="*/ 174 w 440"/>
                  <a:gd name="T81" fmla="*/ 74 h 124"/>
                  <a:gd name="T82" fmla="*/ 174 w 440"/>
                  <a:gd name="T83" fmla="*/ 47 h 124"/>
                  <a:gd name="T84" fmla="*/ 213 w 440"/>
                  <a:gd name="T85" fmla="*/ 47 h 124"/>
                  <a:gd name="T86" fmla="*/ 213 w 440"/>
                  <a:gd name="T87" fmla="*/ 74 h 124"/>
                  <a:gd name="T88" fmla="*/ 204 w 440"/>
                  <a:gd name="T89" fmla="*/ 74 h 124"/>
                  <a:gd name="T90" fmla="*/ 395 w 440"/>
                  <a:gd name="T91" fmla="*/ 74 h 124"/>
                  <a:gd name="T92" fmla="*/ 395 w 440"/>
                  <a:gd name="T93" fmla="*/ 80 h 124"/>
                  <a:gd name="T94" fmla="*/ 375 w 440"/>
                  <a:gd name="T95" fmla="*/ 80 h 124"/>
                  <a:gd name="T96" fmla="*/ 375 w 440"/>
                  <a:gd name="T97" fmla="*/ 74 h 124"/>
                  <a:gd name="T98" fmla="*/ 365 w 440"/>
                  <a:gd name="T99" fmla="*/ 74 h 124"/>
                  <a:gd name="T100" fmla="*/ 365 w 440"/>
                  <a:gd name="T101" fmla="*/ 47 h 124"/>
                  <a:gd name="T102" fmla="*/ 404 w 440"/>
                  <a:gd name="T103" fmla="*/ 47 h 124"/>
                  <a:gd name="T104" fmla="*/ 404 w 440"/>
                  <a:gd name="T105" fmla="*/ 74 h 124"/>
                  <a:gd name="T106" fmla="*/ 395 w 440"/>
                  <a:gd name="T107"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124">
                    <a:moveTo>
                      <a:pt x="417" y="0"/>
                    </a:moveTo>
                    <a:lnTo>
                      <a:pt x="23" y="0"/>
                    </a:lnTo>
                    <a:cubicBezTo>
                      <a:pt x="10" y="0"/>
                      <a:pt x="0" y="10"/>
                      <a:pt x="0" y="23"/>
                    </a:cubicBezTo>
                    <a:lnTo>
                      <a:pt x="0" y="100"/>
                    </a:lnTo>
                    <a:cubicBezTo>
                      <a:pt x="0" y="112"/>
                      <a:pt x="10" y="123"/>
                      <a:pt x="23" y="123"/>
                    </a:cubicBezTo>
                    <a:lnTo>
                      <a:pt x="417" y="123"/>
                    </a:lnTo>
                    <a:cubicBezTo>
                      <a:pt x="429" y="123"/>
                      <a:pt x="439" y="112"/>
                      <a:pt x="439" y="100"/>
                    </a:cubicBezTo>
                    <a:lnTo>
                      <a:pt x="439" y="23"/>
                    </a:lnTo>
                    <a:cubicBezTo>
                      <a:pt x="439" y="10"/>
                      <a:pt x="429" y="0"/>
                      <a:pt x="417" y="0"/>
                    </a:cubicBezTo>
                    <a:close/>
                    <a:moveTo>
                      <a:pt x="64" y="74"/>
                    </a:moveTo>
                    <a:lnTo>
                      <a:pt x="64" y="80"/>
                    </a:lnTo>
                    <a:lnTo>
                      <a:pt x="44" y="80"/>
                    </a:lnTo>
                    <a:lnTo>
                      <a:pt x="44" y="74"/>
                    </a:lnTo>
                    <a:lnTo>
                      <a:pt x="34" y="74"/>
                    </a:lnTo>
                    <a:lnTo>
                      <a:pt x="34" y="47"/>
                    </a:lnTo>
                    <a:lnTo>
                      <a:pt x="73" y="47"/>
                    </a:lnTo>
                    <a:lnTo>
                      <a:pt x="73" y="74"/>
                    </a:lnTo>
                    <a:lnTo>
                      <a:pt x="64" y="74"/>
                    </a:lnTo>
                    <a:close/>
                    <a:moveTo>
                      <a:pt x="111" y="74"/>
                    </a:moveTo>
                    <a:lnTo>
                      <a:pt x="111" y="80"/>
                    </a:lnTo>
                    <a:lnTo>
                      <a:pt x="90" y="80"/>
                    </a:lnTo>
                    <a:lnTo>
                      <a:pt x="90" y="74"/>
                    </a:lnTo>
                    <a:lnTo>
                      <a:pt x="81" y="74"/>
                    </a:lnTo>
                    <a:lnTo>
                      <a:pt x="81" y="47"/>
                    </a:lnTo>
                    <a:lnTo>
                      <a:pt x="120" y="47"/>
                    </a:lnTo>
                    <a:lnTo>
                      <a:pt x="120" y="74"/>
                    </a:lnTo>
                    <a:lnTo>
                      <a:pt x="111" y="74"/>
                    </a:lnTo>
                    <a:close/>
                    <a:moveTo>
                      <a:pt x="157" y="74"/>
                    </a:moveTo>
                    <a:lnTo>
                      <a:pt x="157" y="80"/>
                    </a:lnTo>
                    <a:lnTo>
                      <a:pt x="137" y="80"/>
                    </a:lnTo>
                    <a:lnTo>
                      <a:pt x="137" y="74"/>
                    </a:lnTo>
                    <a:lnTo>
                      <a:pt x="128" y="74"/>
                    </a:lnTo>
                    <a:lnTo>
                      <a:pt x="128" y="47"/>
                    </a:lnTo>
                    <a:lnTo>
                      <a:pt x="166" y="47"/>
                    </a:lnTo>
                    <a:lnTo>
                      <a:pt x="166" y="74"/>
                    </a:lnTo>
                    <a:lnTo>
                      <a:pt x="157" y="74"/>
                    </a:lnTo>
                    <a:close/>
                    <a:moveTo>
                      <a:pt x="204" y="74"/>
                    </a:moveTo>
                    <a:lnTo>
                      <a:pt x="204" y="80"/>
                    </a:lnTo>
                    <a:lnTo>
                      <a:pt x="183" y="80"/>
                    </a:lnTo>
                    <a:lnTo>
                      <a:pt x="183" y="74"/>
                    </a:lnTo>
                    <a:lnTo>
                      <a:pt x="174" y="74"/>
                    </a:lnTo>
                    <a:lnTo>
                      <a:pt x="174" y="47"/>
                    </a:lnTo>
                    <a:lnTo>
                      <a:pt x="213" y="47"/>
                    </a:lnTo>
                    <a:lnTo>
                      <a:pt x="213" y="74"/>
                    </a:lnTo>
                    <a:lnTo>
                      <a:pt x="204" y="74"/>
                    </a:lnTo>
                    <a:close/>
                    <a:moveTo>
                      <a:pt x="395" y="74"/>
                    </a:moveTo>
                    <a:lnTo>
                      <a:pt x="395" y="80"/>
                    </a:lnTo>
                    <a:lnTo>
                      <a:pt x="375" y="80"/>
                    </a:lnTo>
                    <a:lnTo>
                      <a:pt x="375" y="74"/>
                    </a:lnTo>
                    <a:lnTo>
                      <a:pt x="365" y="74"/>
                    </a:lnTo>
                    <a:lnTo>
                      <a:pt x="365" y="47"/>
                    </a:lnTo>
                    <a:lnTo>
                      <a:pt x="404" y="47"/>
                    </a:lnTo>
                    <a:lnTo>
                      <a:pt x="404" y="74"/>
                    </a:lnTo>
                    <a:lnTo>
                      <a:pt x="395" y="74"/>
                    </a:ln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grpSp>
      <p:grpSp>
        <p:nvGrpSpPr>
          <p:cNvPr id="265" name="Group 375"/>
          <p:cNvGrpSpPr/>
          <p:nvPr/>
        </p:nvGrpSpPr>
        <p:grpSpPr>
          <a:xfrm>
            <a:off x="8075117" y="5234037"/>
            <a:ext cx="1042987" cy="225376"/>
            <a:chOff x="6551116" y="5234037"/>
            <a:chExt cx="1042987" cy="225376"/>
          </a:xfrm>
        </p:grpSpPr>
        <p:sp>
          <p:nvSpPr>
            <p:cNvPr id="266" name="Freeform 12"/>
            <p:cNvSpPr>
              <a:spLocks noChangeArrowheads="1"/>
            </p:cNvSpPr>
            <p:nvPr/>
          </p:nvSpPr>
          <p:spPr bwMode="auto">
            <a:xfrm>
              <a:off x="6551116" y="5243513"/>
              <a:ext cx="1042987" cy="215900"/>
            </a:xfrm>
            <a:custGeom>
              <a:avLst/>
              <a:gdLst>
                <a:gd name="T0" fmla="*/ 2598 w 2898"/>
                <a:gd name="T1" fmla="*/ 0 h 600"/>
                <a:gd name="T2" fmla="*/ 299 w 2898"/>
                <a:gd name="T3" fmla="*/ 0 h 600"/>
                <a:gd name="T4" fmla="*/ 299 w 2898"/>
                <a:gd name="T5" fmla="*/ 0 h 600"/>
                <a:gd name="T6" fmla="*/ 0 w 2898"/>
                <a:gd name="T7" fmla="*/ 299 h 600"/>
                <a:gd name="T8" fmla="*/ 299 w 2898"/>
                <a:gd name="T9" fmla="*/ 599 h 600"/>
                <a:gd name="T10" fmla="*/ 299 w 2898"/>
                <a:gd name="T11" fmla="*/ 599 h 600"/>
                <a:gd name="T12" fmla="*/ 2598 w 2898"/>
                <a:gd name="T13" fmla="*/ 599 h 600"/>
                <a:gd name="T14" fmla="*/ 2897 w 2898"/>
                <a:gd name="T15" fmla="*/ 299 h 600"/>
                <a:gd name="T16" fmla="*/ 2598 w 2898"/>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8" h="600">
                  <a:moveTo>
                    <a:pt x="2598" y="0"/>
                  </a:moveTo>
                  <a:lnTo>
                    <a:pt x="299" y="0"/>
                  </a:lnTo>
                  <a:lnTo>
                    <a:pt x="299" y="0"/>
                  </a:lnTo>
                  <a:cubicBezTo>
                    <a:pt x="134" y="0"/>
                    <a:pt x="0" y="134"/>
                    <a:pt x="0" y="299"/>
                  </a:cubicBezTo>
                  <a:cubicBezTo>
                    <a:pt x="0" y="464"/>
                    <a:pt x="134" y="599"/>
                    <a:pt x="299" y="599"/>
                  </a:cubicBezTo>
                  <a:lnTo>
                    <a:pt x="299" y="599"/>
                  </a:lnTo>
                  <a:lnTo>
                    <a:pt x="2598" y="599"/>
                  </a:lnTo>
                  <a:cubicBezTo>
                    <a:pt x="2763" y="599"/>
                    <a:pt x="2897" y="464"/>
                    <a:pt x="2897" y="299"/>
                  </a:cubicBezTo>
                  <a:cubicBezTo>
                    <a:pt x="2897" y="134"/>
                    <a:pt x="2763" y="0"/>
                    <a:pt x="2598"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67" name="Text Box 13"/>
            <p:cNvSpPr txBox="1">
              <a:spLocks noChangeArrowheads="1"/>
            </p:cNvSpPr>
            <p:nvPr/>
          </p:nvSpPr>
          <p:spPr bwMode="auto">
            <a:xfrm>
              <a:off x="6957019" y="5234037"/>
              <a:ext cx="572494" cy="225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5C8B76"/>
                  </a:solidFill>
                  <a:latin typeface="Arial"/>
                  <a:ea typeface="'ArialMT'" pitchFamily="32" charset="0"/>
                  <a:cs typeface="Arial"/>
                </a:rPr>
                <a:t>Full Vehicles</a:t>
              </a:r>
            </a:p>
          </p:txBody>
        </p:sp>
        <p:grpSp>
          <p:nvGrpSpPr>
            <p:cNvPr id="268" name="Group 283"/>
            <p:cNvGrpSpPr/>
            <p:nvPr/>
          </p:nvGrpSpPr>
          <p:grpSpPr>
            <a:xfrm>
              <a:off x="6630491" y="5294313"/>
              <a:ext cx="287337" cy="125413"/>
              <a:chOff x="6630491" y="5294313"/>
              <a:chExt cx="287337" cy="125413"/>
            </a:xfrm>
          </p:grpSpPr>
          <p:sp>
            <p:nvSpPr>
              <p:cNvPr id="269" name="Freeform 14"/>
              <p:cNvSpPr>
                <a:spLocks noChangeArrowheads="1"/>
              </p:cNvSpPr>
              <p:nvPr/>
            </p:nvSpPr>
            <p:spPr bwMode="auto">
              <a:xfrm>
                <a:off x="6663828" y="5370513"/>
                <a:ext cx="50800" cy="49213"/>
              </a:xfrm>
              <a:custGeom>
                <a:avLst/>
                <a:gdLst>
                  <a:gd name="T0" fmla="*/ 71 w 143"/>
                  <a:gd name="T1" fmla="*/ 135 h 136"/>
                  <a:gd name="T2" fmla="*/ 0 w 143"/>
                  <a:gd name="T3" fmla="*/ 68 h 136"/>
                  <a:gd name="T4" fmla="*/ 71 w 143"/>
                  <a:gd name="T5" fmla="*/ 0 h 136"/>
                  <a:gd name="T6" fmla="*/ 142 w 143"/>
                  <a:gd name="T7" fmla="*/ 68 h 136"/>
                  <a:gd name="T8" fmla="*/ 71 w 143"/>
                  <a:gd name="T9" fmla="*/ 135 h 136"/>
                </a:gdLst>
                <a:ahLst/>
                <a:cxnLst>
                  <a:cxn ang="0">
                    <a:pos x="T0" y="T1"/>
                  </a:cxn>
                  <a:cxn ang="0">
                    <a:pos x="T2" y="T3"/>
                  </a:cxn>
                  <a:cxn ang="0">
                    <a:pos x="T4" y="T5"/>
                  </a:cxn>
                  <a:cxn ang="0">
                    <a:pos x="T6" y="T7"/>
                  </a:cxn>
                  <a:cxn ang="0">
                    <a:pos x="T8" y="T9"/>
                  </a:cxn>
                </a:cxnLst>
                <a:rect l="0" t="0" r="r" b="b"/>
                <a:pathLst>
                  <a:path w="143" h="136">
                    <a:moveTo>
                      <a:pt x="71" y="135"/>
                    </a:moveTo>
                    <a:cubicBezTo>
                      <a:pt x="32" y="135"/>
                      <a:pt x="0" y="105"/>
                      <a:pt x="0" y="68"/>
                    </a:cubicBezTo>
                    <a:cubicBezTo>
                      <a:pt x="0" y="30"/>
                      <a:pt x="32" y="0"/>
                      <a:pt x="71" y="0"/>
                    </a:cubicBezTo>
                    <a:cubicBezTo>
                      <a:pt x="110" y="0"/>
                      <a:pt x="142" y="30"/>
                      <a:pt x="142" y="68"/>
                    </a:cubicBezTo>
                    <a:cubicBezTo>
                      <a:pt x="142" y="105"/>
                      <a:pt x="110" y="135"/>
                      <a:pt x="71" y="135"/>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70" name="Freeform 15"/>
              <p:cNvSpPr>
                <a:spLocks noChangeArrowheads="1"/>
              </p:cNvSpPr>
              <p:nvPr/>
            </p:nvSpPr>
            <p:spPr bwMode="auto">
              <a:xfrm>
                <a:off x="6833691" y="5370513"/>
                <a:ext cx="50800" cy="49213"/>
              </a:xfrm>
              <a:custGeom>
                <a:avLst/>
                <a:gdLst>
                  <a:gd name="T0" fmla="*/ 71 w 143"/>
                  <a:gd name="T1" fmla="*/ 135 h 136"/>
                  <a:gd name="T2" fmla="*/ 0 w 143"/>
                  <a:gd name="T3" fmla="*/ 68 h 136"/>
                  <a:gd name="T4" fmla="*/ 71 w 143"/>
                  <a:gd name="T5" fmla="*/ 0 h 136"/>
                  <a:gd name="T6" fmla="*/ 142 w 143"/>
                  <a:gd name="T7" fmla="*/ 68 h 136"/>
                  <a:gd name="T8" fmla="*/ 71 w 143"/>
                  <a:gd name="T9" fmla="*/ 135 h 136"/>
                </a:gdLst>
                <a:ahLst/>
                <a:cxnLst>
                  <a:cxn ang="0">
                    <a:pos x="T0" y="T1"/>
                  </a:cxn>
                  <a:cxn ang="0">
                    <a:pos x="T2" y="T3"/>
                  </a:cxn>
                  <a:cxn ang="0">
                    <a:pos x="T4" y="T5"/>
                  </a:cxn>
                  <a:cxn ang="0">
                    <a:pos x="T6" y="T7"/>
                  </a:cxn>
                  <a:cxn ang="0">
                    <a:pos x="T8" y="T9"/>
                  </a:cxn>
                </a:cxnLst>
                <a:rect l="0" t="0" r="r" b="b"/>
                <a:pathLst>
                  <a:path w="143" h="136">
                    <a:moveTo>
                      <a:pt x="71" y="135"/>
                    </a:moveTo>
                    <a:cubicBezTo>
                      <a:pt x="32" y="135"/>
                      <a:pt x="0" y="105"/>
                      <a:pt x="0" y="68"/>
                    </a:cubicBezTo>
                    <a:cubicBezTo>
                      <a:pt x="0" y="30"/>
                      <a:pt x="32" y="0"/>
                      <a:pt x="71" y="0"/>
                    </a:cubicBezTo>
                    <a:cubicBezTo>
                      <a:pt x="110" y="0"/>
                      <a:pt x="142" y="30"/>
                      <a:pt x="142" y="68"/>
                    </a:cubicBezTo>
                    <a:cubicBezTo>
                      <a:pt x="142" y="105"/>
                      <a:pt x="110" y="135"/>
                      <a:pt x="71" y="135"/>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71" name="Freeform 16"/>
              <p:cNvSpPr>
                <a:spLocks noChangeArrowheads="1"/>
              </p:cNvSpPr>
              <p:nvPr/>
            </p:nvSpPr>
            <p:spPr bwMode="auto">
              <a:xfrm>
                <a:off x="6630491" y="5294313"/>
                <a:ext cx="287337" cy="103188"/>
              </a:xfrm>
              <a:custGeom>
                <a:avLst/>
                <a:gdLst>
                  <a:gd name="T0" fmla="*/ 788 w 796"/>
                  <a:gd name="T1" fmla="*/ 212 h 287"/>
                  <a:gd name="T2" fmla="*/ 783 w 796"/>
                  <a:gd name="T3" fmla="*/ 181 h 287"/>
                  <a:gd name="T4" fmla="*/ 779 w 796"/>
                  <a:gd name="T5" fmla="*/ 142 h 287"/>
                  <a:gd name="T6" fmla="*/ 760 w 796"/>
                  <a:gd name="T7" fmla="*/ 89 h 287"/>
                  <a:gd name="T8" fmla="*/ 737 w 796"/>
                  <a:gd name="T9" fmla="*/ 45 h 287"/>
                  <a:gd name="T10" fmla="*/ 702 w 796"/>
                  <a:gd name="T11" fmla="*/ 11 h 287"/>
                  <a:gd name="T12" fmla="*/ 666 w 796"/>
                  <a:gd name="T13" fmla="*/ 1 h 287"/>
                  <a:gd name="T14" fmla="*/ 461 w 796"/>
                  <a:gd name="T15" fmla="*/ 3 h 287"/>
                  <a:gd name="T16" fmla="*/ 417 w 796"/>
                  <a:gd name="T17" fmla="*/ 7 h 287"/>
                  <a:gd name="T18" fmla="*/ 379 w 796"/>
                  <a:gd name="T19" fmla="*/ 11 h 287"/>
                  <a:gd name="T20" fmla="*/ 346 w 796"/>
                  <a:gd name="T21" fmla="*/ 24 h 287"/>
                  <a:gd name="T22" fmla="*/ 285 w 796"/>
                  <a:gd name="T23" fmla="*/ 63 h 287"/>
                  <a:gd name="T24" fmla="*/ 231 w 796"/>
                  <a:gd name="T25" fmla="*/ 97 h 287"/>
                  <a:gd name="T26" fmla="*/ 154 w 796"/>
                  <a:gd name="T27" fmla="*/ 122 h 287"/>
                  <a:gd name="T28" fmla="*/ 71 w 796"/>
                  <a:gd name="T29" fmla="*/ 145 h 287"/>
                  <a:gd name="T30" fmla="*/ 30 w 796"/>
                  <a:gd name="T31" fmla="*/ 168 h 287"/>
                  <a:gd name="T32" fmla="*/ 48 w 796"/>
                  <a:gd name="T33" fmla="*/ 173 h 287"/>
                  <a:gd name="T34" fmla="*/ 54 w 796"/>
                  <a:gd name="T35" fmla="*/ 193 h 287"/>
                  <a:gd name="T36" fmla="*/ 23 w 796"/>
                  <a:gd name="T37" fmla="*/ 200 h 287"/>
                  <a:gd name="T38" fmla="*/ 21 w 796"/>
                  <a:gd name="T39" fmla="*/ 200 h 287"/>
                  <a:gd name="T40" fmla="*/ 7 w 796"/>
                  <a:gd name="T41" fmla="*/ 220 h 287"/>
                  <a:gd name="T42" fmla="*/ 1 w 796"/>
                  <a:gd name="T43" fmla="*/ 241 h 287"/>
                  <a:gd name="T44" fmla="*/ 6 w 796"/>
                  <a:gd name="T45" fmla="*/ 257 h 287"/>
                  <a:gd name="T46" fmla="*/ 39 w 796"/>
                  <a:gd name="T47" fmla="*/ 279 h 287"/>
                  <a:gd name="T48" fmla="*/ 66 w 796"/>
                  <a:gd name="T49" fmla="*/ 286 h 287"/>
                  <a:gd name="T50" fmla="*/ 86 w 796"/>
                  <a:gd name="T51" fmla="*/ 253 h 287"/>
                  <a:gd name="T52" fmla="*/ 98 w 796"/>
                  <a:gd name="T53" fmla="*/ 212 h 287"/>
                  <a:gd name="T54" fmla="*/ 121 w 796"/>
                  <a:gd name="T55" fmla="*/ 192 h 287"/>
                  <a:gd name="T56" fmla="*/ 163 w 796"/>
                  <a:gd name="T57" fmla="*/ 185 h 287"/>
                  <a:gd name="T58" fmla="*/ 201 w 796"/>
                  <a:gd name="T59" fmla="*/ 194 h 287"/>
                  <a:gd name="T60" fmla="*/ 230 w 796"/>
                  <a:gd name="T61" fmla="*/ 224 h 287"/>
                  <a:gd name="T62" fmla="*/ 245 w 796"/>
                  <a:gd name="T63" fmla="*/ 261 h 287"/>
                  <a:gd name="T64" fmla="*/ 292 w 796"/>
                  <a:gd name="T65" fmla="*/ 282 h 287"/>
                  <a:gd name="T66" fmla="*/ 328 w 796"/>
                  <a:gd name="T67" fmla="*/ 286 h 287"/>
                  <a:gd name="T68" fmla="*/ 554 w 796"/>
                  <a:gd name="T69" fmla="*/ 269 h 287"/>
                  <a:gd name="T70" fmla="*/ 569 w 796"/>
                  <a:gd name="T71" fmla="*/ 223 h 287"/>
                  <a:gd name="T72" fmla="*/ 589 w 796"/>
                  <a:gd name="T73" fmla="*/ 201 h 287"/>
                  <a:gd name="T74" fmla="*/ 641 w 796"/>
                  <a:gd name="T75" fmla="*/ 188 h 287"/>
                  <a:gd name="T76" fmla="*/ 690 w 796"/>
                  <a:gd name="T77" fmla="*/ 206 h 287"/>
                  <a:gd name="T78" fmla="*/ 708 w 796"/>
                  <a:gd name="T79" fmla="*/ 231 h 287"/>
                  <a:gd name="T80" fmla="*/ 722 w 796"/>
                  <a:gd name="T81" fmla="*/ 268 h 287"/>
                  <a:gd name="T82" fmla="*/ 761 w 796"/>
                  <a:gd name="T83" fmla="*/ 277 h 287"/>
                  <a:gd name="T84" fmla="*/ 782 w 796"/>
                  <a:gd name="T85" fmla="*/ 268 h 287"/>
                  <a:gd name="T86" fmla="*/ 794 w 796"/>
                  <a:gd name="T87" fmla="*/ 248 h 287"/>
                  <a:gd name="T88" fmla="*/ 465 w 796"/>
                  <a:gd name="T89" fmla="*/ 44 h 287"/>
                  <a:gd name="T90" fmla="*/ 462 w 796"/>
                  <a:gd name="T91" fmla="*/ 95 h 287"/>
                  <a:gd name="T92" fmla="*/ 446 w 796"/>
                  <a:gd name="T93" fmla="*/ 115 h 287"/>
                  <a:gd name="T94" fmla="*/ 365 w 796"/>
                  <a:gd name="T95" fmla="*/ 116 h 287"/>
                  <a:gd name="T96" fmla="*/ 320 w 796"/>
                  <a:gd name="T97" fmla="*/ 117 h 287"/>
                  <a:gd name="T98" fmla="*/ 298 w 796"/>
                  <a:gd name="T99" fmla="*/ 102 h 287"/>
                  <a:gd name="T100" fmla="*/ 306 w 796"/>
                  <a:gd name="T101" fmla="*/ 82 h 287"/>
                  <a:gd name="T102" fmla="*/ 370 w 796"/>
                  <a:gd name="T103" fmla="*/ 35 h 287"/>
                  <a:gd name="T104" fmla="*/ 416 w 796"/>
                  <a:gd name="T105" fmla="*/ 28 h 287"/>
                  <a:gd name="T106" fmla="*/ 451 w 796"/>
                  <a:gd name="T107" fmla="*/ 27 h 287"/>
                  <a:gd name="T108" fmla="*/ 465 w 796"/>
                  <a:gd name="T109" fmla="*/ 44 h 287"/>
                  <a:gd name="T110" fmla="*/ 516 w 796"/>
                  <a:gd name="T111" fmla="*/ 112 h 287"/>
                  <a:gd name="T112" fmla="*/ 503 w 796"/>
                  <a:gd name="T113" fmla="*/ 45 h 287"/>
                  <a:gd name="T114" fmla="*/ 669 w 796"/>
                  <a:gd name="T115" fmla="*/ 33 h 287"/>
                  <a:gd name="T116" fmla="*/ 688 w 796"/>
                  <a:gd name="T117" fmla="*/ 10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6" h="287">
                    <a:moveTo>
                      <a:pt x="795" y="228"/>
                    </a:moveTo>
                    <a:cubicBezTo>
                      <a:pt x="794" y="223"/>
                      <a:pt x="791" y="216"/>
                      <a:pt x="788" y="212"/>
                    </a:cubicBezTo>
                    <a:cubicBezTo>
                      <a:pt x="786" y="208"/>
                      <a:pt x="784" y="199"/>
                      <a:pt x="783" y="191"/>
                    </a:cubicBezTo>
                    <a:lnTo>
                      <a:pt x="783" y="181"/>
                    </a:lnTo>
                    <a:cubicBezTo>
                      <a:pt x="782" y="174"/>
                      <a:pt x="781" y="161"/>
                      <a:pt x="780" y="153"/>
                    </a:cubicBezTo>
                    <a:lnTo>
                      <a:pt x="779" y="142"/>
                    </a:lnTo>
                    <a:cubicBezTo>
                      <a:pt x="778" y="134"/>
                      <a:pt x="774" y="122"/>
                      <a:pt x="771" y="115"/>
                    </a:cubicBezTo>
                    <a:lnTo>
                      <a:pt x="760" y="89"/>
                    </a:lnTo>
                    <a:cubicBezTo>
                      <a:pt x="757" y="82"/>
                      <a:pt x="751" y="70"/>
                      <a:pt x="747" y="63"/>
                    </a:cubicBezTo>
                    <a:lnTo>
                      <a:pt x="737" y="45"/>
                    </a:lnTo>
                    <a:cubicBezTo>
                      <a:pt x="733" y="38"/>
                      <a:pt x="726" y="27"/>
                      <a:pt x="721" y="22"/>
                    </a:cubicBezTo>
                    <a:cubicBezTo>
                      <a:pt x="717" y="16"/>
                      <a:pt x="708" y="11"/>
                      <a:pt x="702" y="11"/>
                    </a:cubicBezTo>
                    <a:cubicBezTo>
                      <a:pt x="696" y="10"/>
                      <a:pt x="688" y="8"/>
                      <a:pt x="686" y="6"/>
                    </a:cubicBezTo>
                    <a:cubicBezTo>
                      <a:pt x="683" y="4"/>
                      <a:pt x="674" y="1"/>
                      <a:pt x="666" y="1"/>
                    </a:cubicBezTo>
                    <a:lnTo>
                      <a:pt x="490" y="0"/>
                    </a:lnTo>
                    <a:cubicBezTo>
                      <a:pt x="482" y="0"/>
                      <a:pt x="469" y="1"/>
                      <a:pt x="461" y="3"/>
                    </a:cubicBezTo>
                    <a:cubicBezTo>
                      <a:pt x="453" y="4"/>
                      <a:pt x="440" y="6"/>
                      <a:pt x="431" y="6"/>
                    </a:cubicBezTo>
                    <a:lnTo>
                      <a:pt x="417" y="7"/>
                    </a:lnTo>
                    <a:cubicBezTo>
                      <a:pt x="409" y="8"/>
                      <a:pt x="395" y="9"/>
                      <a:pt x="387" y="10"/>
                    </a:cubicBezTo>
                    <a:lnTo>
                      <a:pt x="379" y="11"/>
                    </a:lnTo>
                    <a:cubicBezTo>
                      <a:pt x="371" y="12"/>
                      <a:pt x="358" y="16"/>
                      <a:pt x="351" y="21"/>
                    </a:cubicBezTo>
                    <a:lnTo>
                      <a:pt x="346" y="24"/>
                    </a:lnTo>
                    <a:cubicBezTo>
                      <a:pt x="339" y="29"/>
                      <a:pt x="327" y="36"/>
                      <a:pt x="320" y="40"/>
                    </a:cubicBezTo>
                    <a:lnTo>
                      <a:pt x="285" y="63"/>
                    </a:lnTo>
                    <a:cubicBezTo>
                      <a:pt x="278" y="68"/>
                      <a:pt x="267" y="75"/>
                      <a:pt x="260" y="79"/>
                    </a:cubicBezTo>
                    <a:lnTo>
                      <a:pt x="231" y="97"/>
                    </a:lnTo>
                    <a:cubicBezTo>
                      <a:pt x="224" y="101"/>
                      <a:pt x="212" y="107"/>
                      <a:pt x="204" y="109"/>
                    </a:cubicBezTo>
                    <a:lnTo>
                      <a:pt x="154" y="122"/>
                    </a:lnTo>
                    <a:cubicBezTo>
                      <a:pt x="146" y="124"/>
                      <a:pt x="133" y="128"/>
                      <a:pt x="125" y="130"/>
                    </a:cubicBezTo>
                    <a:lnTo>
                      <a:pt x="71" y="145"/>
                    </a:lnTo>
                    <a:cubicBezTo>
                      <a:pt x="63" y="147"/>
                      <a:pt x="52" y="151"/>
                      <a:pt x="45" y="154"/>
                    </a:cubicBezTo>
                    <a:cubicBezTo>
                      <a:pt x="39" y="156"/>
                      <a:pt x="32" y="163"/>
                      <a:pt x="30" y="168"/>
                    </a:cubicBezTo>
                    <a:cubicBezTo>
                      <a:pt x="30" y="169"/>
                      <a:pt x="29" y="171"/>
                      <a:pt x="28" y="173"/>
                    </a:cubicBezTo>
                    <a:lnTo>
                      <a:pt x="48" y="173"/>
                    </a:lnTo>
                    <a:cubicBezTo>
                      <a:pt x="52" y="173"/>
                      <a:pt x="54" y="176"/>
                      <a:pt x="54" y="179"/>
                    </a:cubicBezTo>
                    <a:lnTo>
                      <a:pt x="54" y="193"/>
                    </a:lnTo>
                    <a:cubicBezTo>
                      <a:pt x="54" y="196"/>
                      <a:pt x="52" y="199"/>
                      <a:pt x="48" y="199"/>
                    </a:cubicBezTo>
                    <a:lnTo>
                      <a:pt x="23" y="200"/>
                    </a:lnTo>
                    <a:cubicBezTo>
                      <a:pt x="22" y="200"/>
                      <a:pt x="21" y="199"/>
                      <a:pt x="21" y="199"/>
                    </a:cubicBezTo>
                    <a:lnTo>
                      <a:pt x="21" y="200"/>
                    </a:lnTo>
                    <a:cubicBezTo>
                      <a:pt x="21" y="204"/>
                      <a:pt x="19" y="209"/>
                      <a:pt x="15" y="211"/>
                    </a:cubicBezTo>
                    <a:cubicBezTo>
                      <a:pt x="11" y="213"/>
                      <a:pt x="8" y="217"/>
                      <a:pt x="7" y="220"/>
                    </a:cubicBezTo>
                    <a:cubicBezTo>
                      <a:pt x="7" y="223"/>
                      <a:pt x="5" y="226"/>
                      <a:pt x="3" y="226"/>
                    </a:cubicBezTo>
                    <a:cubicBezTo>
                      <a:pt x="1" y="226"/>
                      <a:pt x="0" y="233"/>
                      <a:pt x="1" y="241"/>
                    </a:cubicBezTo>
                    <a:lnTo>
                      <a:pt x="1" y="241"/>
                    </a:lnTo>
                    <a:cubicBezTo>
                      <a:pt x="1" y="249"/>
                      <a:pt x="4" y="257"/>
                      <a:pt x="6" y="257"/>
                    </a:cubicBezTo>
                    <a:cubicBezTo>
                      <a:pt x="8" y="258"/>
                      <a:pt x="15" y="261"/>
                      <a:pt x="22" y="265"/>
                    </a:cubicBezTo>
                    <a:cubicBezTo>
                      <a:pt x="29" y="269"/>
                      <a:pt x="37" y="275"/>
                      <a:pt x="39" y="279"/>
                    </a:cubicBezTo>
                    <a:cubicBezTo>
                      <a:pt x="41" y="283"/>
                      <a:pt x="45" y="286"/>
                      <a:pt x="48" y="286"/>
                    </a:cubicBezTo>
                    <a:lnTo>
                      <a:pt x="66" y="286"/>
                    </a:lnTo>
                    <a:cubicBezTo>
                      <a:pt x="74" y="286"/>
                      <a:pt x="80" y="282"/>
                      <a:pt x="81" y="276"/>
                    </a:cubicBezTo>
                    <a:cubicBezTo>
                      <a:pt x="82" y="271"/>
                      <a:pt x="84" y="260"/>
                      <a:pt x="86" y="253"/>
                    </a:cubicBezTo>
                    <a:lnTo>
                      <a:pt x="89" y="236"/>
                    </a:lnTo>
                    <a:cubicBezTo>
                      <a:pt x="91" y="228"/>
                      <a:pt x="95" y="217"/>
                      <a:pt x="98" y="212"/>
                    </a:cubicBezTo>
                    <a:cubicBezTo>
                      <a:pt x="102" y="206"/>
                      <a:pt x="110" y="198"/>
                      <a:pt x="117" y="195"/>
                    </a:cubicBezTo>
                    <a:lnTo>
                      <a:pt x="121" y="192"/>
                    </a:lnTo>
                    <a:cubicBezTo>
                      <a:pt x="128" y="189"/>
                      <a:pt x="141" y="185"/>
                      <a:pt x="149" y="185"/>
                    </a:cubicBezTo>
                    <a:lnTo>
                      <a:pt x="163" y="185"/>
                    </a:lnTo>
                    <a:cubicBezTo>
                      <a:pt x="172" y="185"/>
                      <a:pt x="185" y="188"/>
                      <a:pt x="192" y="190"/>
                    </a:cubicBezTo>
                    <a:lnTo>
                      <a:pt x="201" y="194"/>
                    </a:lnTo>
                    <a:cubicBezTo>
                      <a:pt x="209" y="196"/>
                      <a:pt x="219" y="204"/>
                      <a:pt x="223" y="211"/>
                    </a:cubicBezTo>
                    <a:lnTo>
                      <a:pt x="230" y="224"/>
                    </a:lnTo>
                    <a:cubicBezTo>
                      <a:pt x="234" y="231"/>
                      <a:pt x="240" y="243"/>
                      <a:pt x="242" y="251"/>
                    </a:cubicBezTo>
                    <a:lnTo>
                      <a:pt x="245" y="261"/>
                    </a:lnTo>
                    <a:cubicBezTo>
                      <a:pt x="248" y="268"/>
                      <a:pt x="256" y="275"/>
                      <a:pt x="263" y="277"/>
                    </a:cubicBezTo>
                    <a:cubicBezTo>
                      <a:pt x="271" y="278"/>
                      <a:pt x="283" y="280"/>
                      <a:pt x="292" y="282"/>
                    </a:cubicBezTo>
                    <a:lnTo>
                      <a:pt x="298" y="283"/>
                    </a:lnTo>
                    <a:cubicBezTo>
                      <a:pt x="306" y="285"/>
                      <a:pt x="320" y="286"/>
                      <a:pt x="328" y="286"/>
                    </a:cubicBezTo>
                    <a:lnTo>
                      <a:pt x="535" y="282"/>
                    </a:lnTo>
                    <a:cubicBezTo>
                      <a:pt x="544" y="282"/>
                      <a:pt x="552" y="276"/>
                      <a:pt x="554" y="269"/>
                    </a:cubicBezTo>
                    <a:cubicBezTo>
                      <a:pt x="556" y="262"/>
                      <a:pt x="558" y="251"/>
                      <a:pt x="559" y="245"/>
                    </a:cubicBezTo>
                    <a:cubicBezTo>
                      <a:pt x="560" y="239"/>
                      <a:pt x="565" y="229"/>
                      <a:pt x="569" y="223"/>
                    </a:cubicBezTo>
                    <a:cubicBezTo>
                      <a:pt x="573" y="216"/>
                      <a:pt x="582" y="207"/>
                      <a:pt x="588" y="202"/>
                    </a:cubicBezTo>
                    <a:lnTo>
                      <a:pt x="589" y="201"/>
                    </a:lnTo>
                    <a:cubicBezTo>
                      <a:pt x="595" y="196"/>
                      <a:pt x="607" y="192"/>
                      <a:pt x="614" y="190"/>
                    </a:cubicBezTo>
                    <a:cubicBezTo>
                      <a:pt x="621" y="189"/>
                      <a:pt x="633" y="188"/>
                      <a:pt x="641" y="188"/>
                    </a:cubicBezTo>
                    <a:cubicBezTo>
                      <a:pt x="648" y="189"/>
                      <a:pt x="660" y="191"/>
                      <a:pt x="667" y="193"/>
                    </a:cubicBezTo>
                    <a:cubicBezTo>
                      <a:pt x="674" y="194"/>
                      <a:pt x="684" y="201"/>
                      <a:pt x="690" y="206"/>
                    </a:cubicBezTo>
                    <a:lnTo>
                      <a:pt x="691" y="208"/>
                    </a:lnTo>
                    <a:cubicBezTo>
                      <a:pt x="697" y="213"/>
                      <a:pt x="704" y="224"/>
                      <a:pt x="708" y="231"/>
                    </a:cubicBezTo>
                    <a:lnTo>
                      <a:pt x="713" y="244"/>
                    </a:lnTo>
                    <a:cubicBezTo>
                      <a:pt x="716" y="251"/>
                      <a:pt x="720" y="262"/>
                      <a:pt x="722" y="268"/>
                    </a:cubicBezTo>
                    <a:cubicBezTo>
                      <a:pt x="724" y="273"/>
                      <a:pt x="733" y="278"/>
                      <a:pt x="741" y="278"/>
                    </a:cubicBezTo>
                    <a:lnTo>
                      <a:pt x="761" y="277"/>
                    </a:lnTo>
                    <a:cubicBezTo>
                      <a:pt x="769" y="277"/>
                      <a:pt x="776" y="276"/>
                      <a:pt x="777" y="274"/>
                    </a:cubicBezTo>
                    <a:cubicBezTo>
                      <a:pt x="778" y="272"/>
                      <a:pt x="780" y="269"/>
                      <a:pt x="782" y="268"/>
                    </a:cubicBezTo>
                    <a:cubicBezTo>
                      <a:pt x="783" y="266"/>
                      <a:pt x="787" y="263"/>
                      <a:pt x="789" y="261"/>
                    </a:cubicBezTo>
                    <a:cubicBezTo>
                      <a:pt x="791" y="259"/>
                      <a:pt x="793" y="253"/>
                      <a:pt x="794" y="248"/>
                    </a:cubicBezTo>
                    <a:cubicBezTo>
                      <a:pt x="795" y="242"/>
                      <a:pt x="795" y="234"/>
                      <a:pt x="795" y="228"/>
                    </a:cubicBezTo>
                    <a:close/>
                    <a:moveTo>
                      <a:pt x="465" y="44"/>
                    </a:moveTo>
                    <a:cubicBezTo>
                      <a:pt x="465" y="50"/>
                      <a:pt x="464" y="61"/>
                      <a:pt x="464" y="69"/>
                    </a:cubicBezTo>
                    <a:lnTo>
                      <a:pt x="462" y="95"/>
                    </a:lnTo>
                    <a:cubicBezTo>
                      <a:pt x="462" y="103"/>
                      <a:pt x="461" y="110"/>
                      <a:pt x="460" y="112"/>
                    </a:cubicBezTo>
                    <a:cubicBezTo>
                      <a:pt x="460" y="113"/>
                      <a:pt x="453" y="114"/>
                      <a:pt x="446" y="115"/>
                    </a:cubicBezTo>
                    <a:cubicBezTo>
                      <a:pt x="439" y="115"/>
                      <a:pt x="426" y="115"/>
                      <a:pt x="418" y="115"/>
                    </a:cubicBezTo>
                    <a:lnTo>
                      <a:pt x="365" y="116"/>
                    </a:lnTo>
                    <a:cubicBezTo>
                      <a:pt x="357" y="116"/>
                      <a:pt x="343" y="117"/>
                      <a:pt x="335" y="117"/>
                    </a:cubicBezTo>
                    <a:lnTo>
                      <a:pt x="320" y="117"/>
                    </a:lnTo>
                    <a:cubicBezTo>
                      <a:pt x="312" y="117"/>
                      <a:pt x="304" y="114"/>
                      <a:pt x="303" y="111"/>
                    </a:cubicBezTo>
                    <a:cubicBezTo>
                      <a:pt x="303" y="107"/>
                      <a:pt x="300" y="104"/>
                      <a:pt x="298" y="102"/>
                    </a:cubicBezTo>
                    <a:cubicBezTo>
                      <a:pt x="296" y="101"/>
                      <a:pt x="294" y="97"/>
                      <a:pt x="294" y="95"/>
                    </a:cubicBezTo>
                    <a:cubicBezTo>
                      <a:pt x="294" y="93"/>
                      <a:pt x="300" y="87"/>
                      <a:pt x="306" y="82"/>
                    </a:cubicBezTo>
                    <a:lnTo>
                      <a:pt x="348" y="48"/>
                    </a:lnTo>
                    <a:cubicBezTo>
                      <a:pt x="355" y="43"/>
                      <a:pt x="364" y="37"/>
                      <a:pt x="370" y="35"/>
                    </a:cubicBezTo>
                    <a:cubicBezTo>
                      <a:pt x="375" y="33"/>
                      <a:pt x="384" y="31"/>
                      <a:pt x="390" y="31"/>
                    </a:cubicBezTo>
                    <a:cubicBezTo>
                      <a:pt x="396" y="30"/>
                      <a:pt x="407" y="29"/>
                      <a:pt x="416" y="28"/>
                    </a:cubicBezTo>
                    <a:lnTo>
                      <a:pt x="425" y="28"/>
                    </a:lnTo>
                    <a:cubicBezTo>
                      <a:pt x="433" y="27"/>
                      <a:pt x="445" y="27"/>
                      <a:pt x="451" y="27"/>
                    </a:cubicBezTo>
                    <a:cubicBezTo>
                      <a:pt x="457" y="27"/>
                      <a:pt x="463" y="28"/>
                      <a:pt x="464" y="30"/>
                    </a:cubicBezTo>
                    <a:cubicBezTo>
                      <a:pt x="465" y="32"/>
                      <a:pt x="466" y="39"/>
                      <a:pt x="465" y="44"/>
                    </a:cubicBezTo>
                    <a:close/>
                    <a:moveTo>
                      <a:pt x="676" y="112"/>
                    </a:moveTo>
                    <a:lnTo>
                      <a:pt x="516" y="112"/>
                    </a:lnTo>
                    <a:cubicBezTo>
                      <a:pt x="510" y="112"/>
                      <a:pt x="504" y="107"/>
                      <a:pt x="504" y="101"/>
                    </a:cubicBezTo>
                    <a:lnTo>
                      <a:pt x="503" y="45"/>
                    </a:lnTo>
                    <a:cubicBezTo>
                      <a:pt x="503" y="38"/>
                      <a:pt x="509" y="33"/>
                      <a:pt x="515" y="33"/>
                    </a:cubicBezTo>
                    <a:lnTo>
                      <a:pt x="669" y="33"/>
                    </a:lnTo>
                    <a:cubicBezTo>
                      <a:pt x="676" y="33"/>
                      <a:pt x="681" y="38"/>
                      <a:pt x="681" y="45"/>
                    </a:cubicBezTo>
                    <a:lnTo>
                      <a:pt x="688" y="101"/>
                    </a:lnTo>
                    <a:cubicBezTo>
                      <a:pt x="688" y="107"/>
                      <a:pt x="683" y="112"/>
                      <a:pt x="676" y="112"/>
                    </a:cubicBez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grpSp>
      <p:grpSp>
        <p:nvGrpSpPr>
          <p:cNvPr id="272" name="Group 379"/>
          <p:cNvGrpSpPr/>
          <p:nvPr/>
        </p:nvGrpSpPr>
        <p:grpSpPr>
          <a:xfrm>
            <a:off x="8635504" y="4711701"/>
            <a:ext cx="765175" cy="215900"/>
            <a:chOff x="7111503" y="4711701"/>
            <a:chExt cx="765175" cy="215900"/>
          </a:xfrm>
        </p:grpSpPr>
        <p:sp>
          <p:nvSpPr>
            <p:cNvPr id="273" name="Freeform 17"/>
            <p:cNvSpPr>
              <a:spLocks noChangeArrowheads="1"/>
            </p:cNvSpPr>
            <p:nvPr/>
          </p:nvSpPr>
          <p:spPr bwMode="auto">
            <a:xfrm>
              <a:off x="7111503" y="4711701"/>
              <a:ext cx="765175" cy="215900"/>
            </a:xfrm>
            <a:custGeom>
              <a:avLst/>
              <a:gdLst>
                <a:gd name="T0" fmla="*/ 1826 w 2127"/>
                <a:gd name="T1" fmla="*/ 0 h 600"/>
                <a:gd name="T2" fmla="*/ 300 w 2127"/>
                <a:gd name="T3" fmla="*/ 0 h 600"/>
                <a:gd name="T4" fmla="*/ 300 w 2127"/>
                <a:gd name="T5" fmla="*/ 0 h 600"/>
                <a:gd name="T6" fmla="*/ 0 w 2127"/>
                <a:gd name="T7" fmla="*/ 300 h 600"/>
                <a:gd name="T8" fmla="*/ 300 w 2127"/>
                <a:gd name="T9" fmla="*/ 599 h 600"/>
                <a:gd name="T10" fmla="*/ 300 w 2127"/>
                <a:gd name="T11" fmla="*/ 599 h 600"/>
                <a:gd name="T12" fmla="*/ 1826 w 2127"/>
                <a:gd name="T13" fmla="*/ 599 h 600"/>
                <a:gd name="T14" fmla="*/ 2126 w 2127"/>
                <a:gd name="T15" fmla="*/ 300 h 600"/>
                <a:gd name="T16" fmla="*/ 1826 w 2127"/>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7" h="600">
                  <a:moveTo>
                    <a:pt x="1826" y="0"/>
                  </a:moveTo>
                  <a:lnTo>
                    <a:pt x="300" y="0"/>
                  </a:lnTo>
                  <a:lnTo>
                    <a:pt x="300" y="0"/>
                  </a:lnTo>
                  <a:cubicBezTo>
                    <a:pt x="135" y="0"/>
                    <a:pt x="0" y="134"/>
                    <a:pt x="0" y="300"/>
                  </a:cubicBezTo>
                  <a:cubicBezTo>
                    <a:pt x="0" y="465"/>
                    <a:pt x="135" y="599"/>
                    <a:pt x="300" y="599"/>
                  </a:cubicBezTo>
                  <a:lnTo>
                    <a:pt x="300" y="599"/>
                  </a:lnTo>
                  <a:lnTo>
                    <a:pt x="1826" y="599"/>
                  </a:lnTo>
                  <a:cubicBezTo>
                    <a:pt x="1992" y="599"/>
                    <a:pt x="2126" y="466"/>
                    <a:pt x="2126" y="300"/>
                  </a:cubicBezTo>
                  <a:cubicBezTo>
                    <a:pt x="2126" y="135"/>
                    <a:pt x="1992" y="0"/>
                    <a:pt x="1826"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74" name="Text Box 18"/>
            <p:cNvSpPr txBox="1">
              <a:spLocks noChangeArrowheads="1"/>
            </p:cNvSpPr>
            <p:nvPr/>
          </p:nvSpPr>
          <p:spPr bwMode="auto">
            <a:xfrm>
              <a:off x="7445969" y="4716984"/>
              <a:ext cx="393106" cy="2106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5C8B76"/>
                  </a:solidFill>
                  <a:latin typeface="Arial"/>
                  <a:ea typeface="'ArialMT'" pitchFamily="32" charset="0"/>
                  <a:cs typeface="Arial"/>
                </a:rPr>
                <a:t>Tablets</a:t>
              </a:r>
            </a:p>
          </p:txBody>
        </p:sp>
        <p:sp>
          <p:nvSpPr>
            <p:cNvPr id="275" name="Freeform 19"/>
            <p:cNvSpPr>
              <a:spLocks noChangeArrowheads="1"/>
            </p:cNvSpPr>
            <p:nvPr/>
          </p:nvSpPr>
          <p:spPr bwMode="auto">
            <a:xfrm>
              <a:off x="7225803" y="4751388"/>
              <a:ext cx="217488" cy="144463"/>
            </a:xfrm>
            <a:custGeom>
              <a:avLst/>
              <a:gdLst>
                <a:gd name="T0" fmla="*/ 0 w 606"/>
                <a:gd name="T1" fmla="*/ 30 h 400"/>
                <a:gd name="T2" fmla="*/ 0 w 606"/>
                <a:gd name="T3" fmla="*/ 370 h 400"/>
                <a:gd name="T4" fmla="*/ 29 w 606"/>
                <a:gd name="T5" fmla="*/ 399 h 400"/>
                <a:gd name="T6" fmla="*/ 576 w 606"/>
                <a:gd name="T7" fmla="*/ 399 h 400"/>
                <a:gd name="T8" fmla="*/ 605 w 606"/>
                <a:gd name="T9" fmla="*/ 370 h 400"/>
                <a:gd name="T10" fmla="*/ 605 w 606"/>
                <a:gd name="T11" fmla="*/ 30 h 400"/>
                <a:gd name="T12" fmla="*/ 576 w 606"/>
                <a:gd name="T13" fmla="*/ 0 h 400"/>
                <a:gd name="T14" fmla="*/ 29 w 606"/>
                <a:gd name="T15" fmla="*/ 0 h 400"/>
                <a:gd name="T16" fmla="*/ 0 w 606"/>
                <a:gd name="T17" fmla="*/ 30 h 400"/>
                <a:gd name="T18" fmla="*/ 543 w 606"/>
                <a:gd name="T19" fmla="*/ 35 h 400"/>
                <a:gd name="T20" fmla="*/ 566 w 606"/>
                <a:gd name="T21" fmla="*/ 57 h 400"/>
                <a:gd name="T22" fmla="*/ 566 w 606"/>
                <a:gd name="T23" fmla="*/ 319 h 400"/>
                <a:gd name="T24" fmla="*/ 543 w 606"/>
                <a:gd name="T25" fmla="*/ 341 h 400"/>
                <a:gd name="T26" fmla="*/ 62 w 606"/>
                <a:gd name="T27" fmla="*/ 341 h 400"/>
                <a:gd name="T28" fmla="*/ 38 w 606"/>
                <a:gd name="T29" fmla="*/ 319 h 400"/>
                <a:gd name="T30" fmla="*/ 38 w 606"/>
                <a:gd name="T31" fmla="*/ 57 h 400"/>
                <a:gd name="T32" fmla="*/ 62 w 606"/>
                <a:gd name="T33" fmla="*/ 35 h 400"/>
                <a:gd name="T34" fmla="*/ 543 w 606"/>
                <a:gd name="T35" fmla="*/ 35 h 400"/>
                <a:gd name="T36" fmla="*/ 341 w 606"/>
                <a:gd name="T37" fmla="*/ 368 h 400"/>
                <a:gd name="T38" fmla="*/ 334 w 606"/>
                <a:gd name="T39" fmla="*/ 375 h 400"/>
                <a:gd name="T40" fmla="*/ 271 w 606"/>
                <a:gd name="T41" fmla="*/ 375 h 400"/>
                <a:gd name="T42" fmla="*/ 264 w 606"/>
                <a:gd name="T43" fmla="*/ 368 h 400"/>
                <a:gd name="T44" fmla="*/ 264 w 606"/>
                <a:gd name="T45" fmla="*/ 368 h 400"/>
                <a:gd name="T46" fmla="*/ 271 w 606"/>
                <a:gd name="T47" fmla="*/ 362 h 400"/>
                <a:gd name="T48" fmla="*/ 334 w 606"/>
                <a:gd name="T49" fmla="*/ 362 h 400"/>
                <a:gd name="T50" fmla="*/ 341 w 606"/>
                <a:gd name="T51" fmla="*/ 368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6" h="400">
                  <a:moveTo>
                    <a:pt x="0" y="30"/>
                  </a:moveTo>
                  <a:lnTo>
                    <a:pt x="0" y="370"/>
                  </a:lnTo>
                  <a:cubicBezTo>
                    <a:pt x="0" y="386"/>
                    <a:pt x="13" y="399"/>
                    <a:pt x="29" y="399"/>
                  </a:cubicBezTo>
                  <a:lnTo>
                    <a:pt x="576" y="399"/>
                  </a:lnTo>
                  <a:cubicBezTo>
                    <a:pt x="592" y="399"/>
                    <a:pt x="605" y="386"/>
                    <a:pt x="605" y="370"/>
                  </a:cubicBezTo>
                  <a:lnTo>
                    <a:pt x="605" y="30"/>
                  </a:lnTo>
                  <a:cubicBezTo>
                    <a:pt x="605" y="13"/>
                    <a:pt x="592" y="0"/>
                    <a:pt x="576" y="0"/>
                  </a:cubicBezTo>
                  <a:lnTo>
                    <a:pt x="29" y="0"/>
                  </a:lnTo>
                  <a:cubicBezTo>
                    <a:pt x="13" y="0"/>
                    <a:pt x="0" y="13"/>
                    <a:pt x="0" y="30"/>
                  </a:cubicBezTo>
                  <a:close/>
                  <a:moveTo>
                    <a:pt x="543" y="35"/>
                  </a:moveTo>
                  <a:cubicBezTo>
                    <a:pt x="556" y="35"/>
                    <a:pt x="566" y="45"/>
                    <a:pt x="566" y="57"/>
                  </a:cubicBezTo>
                  <a:lnTo>
                    <a:pt x="566" y="319"/>
                  </a:lnTo>
                  <a:cubicBezTo>
                    <a:pt x="566" y="331"/>
                    <a:pt x="556" y="341"/>
                    <a:pt x="543" y="341"/>
                  </a:cubicBezTo>
                  <a:lnTo>
                    <a:pt x="62" y="341"/>
                  </a:lnTo>
                  <a:cubicBezTo>
                    <a:pt x="49" y="341"/>
                    <a:pt x="38" y="331"/>
                    <a:pt x="38" y="319"/>
                  </a:cubicBezTo>
                  <a:lnTo>
                    <a:pt x="38" y="57"/>
                  </a:lnTo>
                  <a:cubicBezTo>
                    <a:pt x="38" y="45"/>
                    <a:pt x="49" y="35"/>
                    <a:pt x="62" y="35"/>
                  </a:cubicBezTo>
                  <a:lnTo>
                    <a:pt x="543" y="35"/>
                  </a:lnTo>
                  <a:close/>
                  <a:moveTo>
                    <a:pt x="341" y="368"/>
                  </a:moveTo>
                  <a:cubicBezTo>
                    <a:pt x="341" y="372"/>
                    <a:pt x="338" y="375"/>
                    <a:pt x="334" y="375"/>
                  </a:cubicBezTo>
                  <a:lnTo>
                    <a:pt x="271" y="375"/>
                  </a:lnTo>
                  <a:cubicBezTo>
                    <a:pt x="267" y="375"/>
                    <a:pt x="264" y="372"/>
                    <a:pt x="264" y="368"/>
                  </a:cubicBezTo>
                  <a:lnTo>
                    <a:pt x="264" y="368"/>
                  </a:lnTo>
                  <a:cubicBezTo>
                    <a:pt x="264" y="365"/>
                    <a:pt x="267" y="362"/>
                    <a:pt x="271" y="362"/>
                  </a:cubicBezTo>
                  <a:lnTo>
                    <a:pt x="334" y="362"/>
                  </a:lnTo>
                  <a:cubicBezTo>
                    <a:pt x="338" y="362"/>
                    <a:pt x="341" y="365"/>
                    <a:pt x="341" y="368"/>
                  </a:cubicBez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grpSp>
        <p:nvGrpSpPr>
          <p:cNvPr id="276" name="Group 378"/>
          <p:cNvGrpSpPr/>
          <p:nvPr/>
        </p:nvGrpSpPr>
        <p:grpSpPr>
          <a:xfrm>
            <a:off x="6921004" y="4978401"/>
            <a:ext cx="1154113" cy="215900"/>
            <a:chOff x="5397003" y="4978401"/>
            <a:chExt cx="1154113" cy="215900"/>
          </a:xfrm>
        </p:grpSpPr>
        <p:sp>
          <p:nvSpPr>
            <p:cNvPr id="277" name="Freeform 20"/>
            <p:cNvSpPr>
              <a:spLocks noChangeArrowheads="1"/>
            </p:cNvSpPr>
            <p:nvPr/>
          </p:nvSpPr>
          <p:spPr bwMode="auto">
            <a:xfrm>
              <a:off x="5397003" y="4978401"/>
              <a:ext cx="1154113" cy="215900"/>
            </a:xfrm>
            <a:custGeom>
              <a:avLst/>
              <a:gdLst>
                <a:gd name="T0" fmla="*/ 2903 w 3204"/>
                <a:gd name="T1" fmla="*/ 0 h 600"/>
                <a:gd name="T2" fmla="*/ 299 w 3204"/>
                <a:gd name="T3" fmla="*/ 0 h 600"/>
                <a:gd name="T4" fmla="*/ 299 w 3204"/>
                <a:gd name="T5" fmla="*/ 0 h 600"/>
                <a:gd name="T6" fmla="*/ 0 w 3204"/>
                <a:gd name="T7" fmla="*/ 299 h 600"/>
                <a:gd name="T8" fmla="*/ 299 w 3204"/>
                <a:gd name="T9" fmla="*/ 599 h 600"/>
                <a:gd name="T10" fmla="*/ 299 w 3204"/>
                <a:gd name="T11" fmla="*/ 599 h 600"/>
                <a:gd name="T12" fmla="*/ 2903 w 3204"/>
                <a:gd name="T13" fmla="*/ 599 h 600"/>
                <a:gd name="T14" fmla="*/ 3203 w 3204"/>
                <a:gd name="T15" fmla="*/ 299 h 600"/>
                <a:gd name="T16" fmla="*/ 2903 w 3204"/>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4" h="600">
                  <a:moveTo>
                    <a:pt x="2903" y="0"/>
                  </a:moveTo>
                  <a:lnTo>
                    <a:pt x="299" y="0"/>
                  </a:lnTo>
                  <a:lnTo>
                    <a:pt x="299" y="0"/>
                  </a:lnTo>
                  <a:cubicBezTo>
                    <a:pt x="134" y="0"/>
                    <a:pt x="0" y="134"/>
                    <a:pt x="0" y="299"/>
                  </a:cubicBezTo>
                  <a:cubicBezTo>
                    <a:pt x="0" y="465"/>
                    <a:pt x="134" y="599"/>
                    <a:pt x="299" y="599"/>
                  </a:cubicBezTo>
                  <a:lnTo>
                    <a:pt x="299" y="599"/>
                  </a:lnTo>
                  <a:lnTo>
                    <a:pt x="2903" y="599"/>
                  </a:lnTo>
                  <a:cubicBezTo>
                    <a:pt x="3068" y="599"/>
                    <a:pt x="3203" y="465"/>
                    <a:pt x="3203" y="299"/>
                  </a:cubicBezTo>
                  <a:cubicBezTo>
                    <a:pt x="3203" y="134"/>
                    <a:pt x="3068" y="0"/>
                    <a:pt x="2903"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78" name="Text Box 21"/>
            <p:cNvSpPr txBox="1">
              <a:spLocks noChangeArrowheads="1"/>
            </p:cNvSpPr>
            <p:nvPr/>
          </p:nvSpPr>
          <p:spPr bwMode="auto">
            <a:xfrm>
              <a:off x="5634631" y="4978401"/>
              <a:ext cx="885232" cy="2064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lvl1pPr>
                <a:tabLst>
                  <a:tab pos="723900" algn="l"/>
                </a:tabLst>
                <a:defRPr>
                  <a:solidFill>
                    <a:srgbClr val="000000"/>
                  </a:solidFill>
                  <a:latin typeface="Arial" charset="0"/>
                  <a:ea typeface="微软雅黑" charset="0"/>
                  <a:cs typeface="微软雅黑" charset="0"/>
                </a:defRPr>
              </a:lvl1pPr>
              <a:lvl2pPr>
                <a:tabLst>
                  <a:tab pos="723900" algn="l"/>
                </a:tabLst>
                <a:defRPr>
                  <a:solidFill>
                    <a:srgbClr val="000000"/>
                  </a:solidFill>
                  <a:latin typeface="Arial" charset="0"/>
                  <a:ea typeface="微软雅黑" charset="0"/>
                  <a:cs typeface="微软雅黑" charset="0"/>
                </a:defRPr>
              </a:lvl2pPr>
              <a:lvl3pPr>
                <a:tabLst>
                  <a:tab pos="723900" algn="l"/>
                </a:tabLst>
                <a:defRPr>
                  <a:solidFill>
                    <a:srgbClr val="000000"/>
                  </a:solidFill>
                  <a:latin typeface="Arial" charset="0"/>
                  <a:ea typeface="微软雅黑" charset="0"/>
                  <a:cs typeface="微软雅黑" charset="0"/>
                </a:defRPr>
              </a:lvl3pPr>
              <a:lvl4pPr>
                <a:tabLst>
                  <a:tab pos="723900" algn="l"/>
                </a:tabLst>
                <a:defRPr>
                  <a:solidFill>
                    <a:srgbClr val="000000"/>
                  </a:solidFill>
                  <a:latin typeface="Arial" charset="0"/>
                  <a:ea typeface="微软雅黑" charset="0"/>
                  <a:cs typeface="微软雅黑" charset="0"/>
                </a:defRPr>
              </a:lvl4pPr>
              <a:lvl5pPr>
                <a:tabLst>
                  <a:tab pos="723900" algn="l"/>
                </a:tabLst>
                <a:defRPr>
                  <a:solidFill>
                    <a:srgbClr val="000000"/>
                  </a:solidFill>
                  <a:latin typeface="Arial" charset="0"/>
                  <a:ea typeface="微软雅黑" charset="0"/>
                  <a:cs typeface="微软雅黑"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9pPr>
            </a:lstStyle>
            <a:p>
              <a:pPr algn="ctr">
                <a:lnSpc>
                  <a:spcPts val="700"/>
                </a:lnSpc>
              </a:pPr>
              <a:r>
                <a:rPr lang="en-US" sz="700" dirty="0">
                  <a:solidFill>
                    <a:srgbClr val="5C8B76"/>
                  </a:solidFill>
                  <a:latin typeface="Arial"/>
                  <a:ea typeface="'ArialMT'" pitchFamily="32" charset="0"/>
                  <a:cs typeface="Arial"/>
                </a:rPr>
                <a:t>Fixed Line Telecoms</a:t>
              </a:r>
            </a:p>
          </p:txBody>
        </p:sp>
        <p:grpSp>
          <p:nvGrpSpPr>
            <p:cNvPr id="279" name="Group 292"/>
            <p:cNvGrpSpPr/>
            <p:nvPr/>
          </p:nvGrpSpPr>
          <p:grpSpPr>
            <a:xfrm>
              <a:off x="5441453" y="5002213"/>
              <a:ext cx="187325" cy="161925"/>
              <a:chOff x="5441453" y="5002213"/>
              <a:chExt cx="187325" cy="161925"/>
            </a:xfrm>
          </p:grpSpPr>
          <p:sp>
            <p:nvSpPr>
              <p:cNvPr id="280" name="Freeform 22"/>
              <p:cNvSpPr>
                <a:spLocks noChangeArrowheads="1"/>
              </p:cNvSpPr>
              <p:nvPr/>
            </p:nvSpPr>
            <p:spPr bwMode="auto">
              <a:xfrm>
                <a:off x="5590678" y="5081588"/>
                <a:ext cx="38100" cy="34925"/>
              </a:xfrm>
              <a:custGeom>
                <a:avLst/>
                <a:gdLst>
                  <a:gd name="T0" fmla="*/ 31 w 106"/>
                  <a:gd name="T1" fmla="*/ 94 h 99"/>
                  <a:gd name="T2" fmla="*/ 41 w 106"/>
                  <a:gd name="T3" fmla="*/ 96 h 99"/>
                  <a:gd name="T4" fmla="*/ 40 w 106"/>
                  <a:gd name="T5" fmla="*/ 88 h 99"/>
                  <a:gd name="T6" fmla="*/ 47 w 106"/>
                  <a:gd name="T7" fmla="*/ 92 h 99"/>
                  <a:gd name="T8" fmla="*/ 47 w 106"/>
                  <a:gd name="T9" fmla="*/ 88 h 99"/>
                  <a:gd name="T10" fmla="*/ 52 w 106"/>
                  <a:gd name="T11" fmla="*/ 84 h 99"/>
                  <a:gd name="T12" fmla="*/ 56 w 106"/>
                  <a:gd name="T13" fmla="*/ 85 h 99"/>
                  <a:gd name="T14" fmla="*/ 55 w 106"/>
                  <a:gd name="T15" fmla="*/ 78 h 99"/>
                  <a:gd name="T16" fmla="*/ 62 w 106"/>
                  <a:gd name="T17" fmla="*/ 81 h 99"/>
                  <a:gd name="T18" fmla="*/ 62 w 106"/>
                  <a:gd name="T19" fmla="*/ 77 h 99"/>
                  <a:gd name="T20" fmla="*/ 67 w 106"/>
                  <a:gd name="T21" fmla="*/ 73 h 99"/>
                  <a:gd name="T22" fmla="*/ 72 w 106"/>
                  <a:gd name="T23" fmla="*/ 75 h 99"/>
                  <a:gd name="T24" fmla="*/ 70 w 106"/>
                  <a:gd name="T25" fmla="*/ 67 h 99"/>
                  <a:gd name="T26" fmla="*/ 77 w 106"/>
                  <a:gd name="T27" fmla="*/ 71 h 99"/>
                  <a:gd name="T28" fmla="*/ 77 w 106"/>
                  <a:gd name="T29" fmla="*/ 66 h 99"/>
                  <a:gd name="T30" fmla="*/ 83 w 106"/>
                  <a:gd name="T31" fmla="*/ 63 h 99"/>
                  <a:gd name="T32" fmla="*/ 87 w 106"/>
                  <a:gd name="T33" fmla="*/ 64 h 99"/>
                  <a:gd name="T34" fmla="*/ 86 w 106"/>
                  <a:gd name="T35" fmla="*/ 57 h 99"/>
                  <a:gd name="T36" fmla="*/ 92 w 106"/>
                  <a:gd name="T37" fmla="*/ 60 h 99"/>
                  <a:gd name="T38" fmla="*/ 92 w 106"/>
                  <a:gd name="T39" fmla="*/ 56 h 99"/>
                  <a:gd name="T40" fmla="*/ 98 w 106"/>
                  <a:gd name="T41" fmla="*/ 52 h 99"/>
                  <a:gd name="T42" fmla="*/ 101 w 106"/>
                  <a:gd name="T43" fmla="*/ 54 h 99"/>
                  <a:gd name="T44" fmla="*/ 72 w 106"/>
                  <a:gd name="T45" fmla="*/ 0 h 99"/>
                  <a:gd name="T46" fmla="*/ 39 w 106"/>
                  <a:gd name="T47" fmla="*/ 81 h 99"/>
                  <a:gd name="T48" fmla="*/ 33 w 106"/>
                  <a:gd name="T49" fmla="*/ 85 h 99"/>
                  <a:gd name="T50" fmla="*/ 30 w 106"/>
                  <a:gd name="T51" fmla="*/ 74 h 99"/>
                  <a:gd name="T52" fmla="*/ 39 w 106"/>
                  <a:gd name="T53" fmla="*/ 81 h 99"/>
                  <a:gd name="T54" fmla="*/ 46 w 106"/>
                  <a:gd name="T55" fmla="*/ 80 h 99"/>
                  <a:gd name="T56" fmla="*/ 37 w 106"/>
                  <a:gd name="T57" fmla="*/ 73 h 99"/>
                  <a:gd name="T58" fmla="*/ 42 w 106"/>
                  <a:gd name="T59" fmla="*/ 70 h 99"/>
                  <a:gd name="T60" fmla="*/ 54 w 106"/>
                  <a:gd name="T61" fmla="*/ 70 h 99"/>
                  <a:gd name="T62" fmla="*/ 49 w 106"/>
                  <a:gd name="T63" fmla="*/ 74 h 99"/>
                  <a:gd name="T64" fmla="*/ 45 w 106"/>
                  <a:gd name="T65" fmla="*/ 64 h 99"/>
                  <a:gd name="T66" fmla="*/ 54 w 106"/>
                  <a:gd name="T67" fmla="*/ 70 h 99"/>
                  <a:gd name="T68" fmla="*/ 61 w 106"/>
                  <a:gd name="T69" fmla="*/ 70 h 99"/>
                  <a:gd name="T70" fmla="*/ 52 w 106"/>
                  <a:gd name="T71" fmla="*/ 63 h 99"/>
                  <a:gd name="T72" fmla="*/ 58 w 106"/>
                  <a:gd name="T73" fmla="*/ 59 h 99"/>
                  <a:gd name="T74" fmla="*/ 69 w 106"/>
                  <a:gd name="T75" fmla="*/ 60 h 99"/>
                  <a:gd name="T76" fmla="*/ 64 w 106"/>
                  <a:gd name="T77" fmla="*/ 64 h 99"/>
                  <a:gd name="T78" fmla="*/ 61 w 106"/>
                  <a:gd name="T79" fmla="*/ 53 h 99"/>
                  <a:gd name="T80" fmla="*/ 69 w 106"/>
                  <a:gd name="T81" fmla="*/ 60 h 99"/>
                  <a:gd name="T82" fmla="*/ 76 w 106"/>
                  <a:gd name="T83" fmla="*/ 59 h 99"/>
                  <a:gd name="T84" fmla="*/ 67 w 106"/>
                  <a:gd name="T85" fmla="*/ 52 h 99"/>
                  <a:gd name="T86" fmla="*/ 73 w 106"/>
                  <a:gd name="T87" fmla="*/ 49 h 99"/>
                  <a:gd name="T88" fmla="*/ 85 w 106"/>
                  <a:gd name="T89" fmla="*/ 49 h 99"/>
                  <a:gd name="T90" fmla="*/ 79 w 106"/>
                  <a:gd name="T91" fmla="*/ 53 h 99"/>
                  <a:gd name="T92" fmla="*/ 76 w 106"/>
                  <a:gd name="T93" fmla="*/ 43 h 99"/>
                  <a:gd name="T94" fmla="*/ 85 w 106"/>
                  <a:gd name="T95" fmla="*/ 49 h 99"/>
                  <a:gd name="T96" fmla="*/ 91 w 106"/>
                  <a:gd name="T97" fmla="*/ 49 h 99"/>
                  <a:gd name="T98" fmla="*/ 83 w 106"/>
                  <a:gd name="T99" fmla="*/ 42 h 99"/>
                  <a:gd name="T100" fmla="*/ 88 w 106"/>
                  <a:gd name="T101" fmla="*/ 38 h 99"/>
                  <a:gd name="T102" fmla="*/ 83 w 106"/>
                  <a:gd name="T103" fmla="*/ 31 h 99"/>
                  <a:gd name="T104" fmla="*/ 12 w 106"/>
                  <a:gd name="T105" fmla="*/ 54 h 99"/>
                  <a:gd name="T106" fmla="*/ 83 w 106"/>
                  <a:gd name="T107" fmla="*/ 3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99">
                    <a:moveTo>
                      <a:pt x="0" y="50"/>
                    </a:moveTo>
                    <a:lnTo>
                      <a:pt x="31" y="94"/>
                    </a:lnTo>
                    <a:cubicBezTo>
                      <a:pt x="33" y="97"/>
                      <a:pt x="38" y="98"/>
                      <a:pt x="41" y="96"/>
                    </a:cubicBezTo>
                    <a:lnTo>
                      <a:pt x="41" y="96"/>
                    </a:lnTo>
                    <a:lnTo>
                      <a:pt x="39" y="93"/>
                    </a:lnTo>
                    <a:cubicBezTo>
                      <a:pt x="38" y="91"/>
                      <a:pt x="38" y="89"/>
                      <a:pt x="40" y="88"/>
                    </a:cubicBezTo>
                    <a:cubicBezTo>
                      <a:pt x="41" y="87"/>
                      <a:pt x="43" y="87"/>
                      <a:pt x="45" y="89"/>
                    </a:cubicBezTo>
                    <a:lnTo>
                      <a:pt x="47" y="92"/>
                    </a:lnTo>
                    <a:lnTo>
                      <a:pt x="49" y="91"/>
                    </a:lnTo>
                    <a:lnTo>
                      <a:pt x="47" y="88"/>
                    </a:lnTo>
                    <a:cubicBezTo>
                      <a:pt x="46" y="86"/>
                      <a:pt x="46" y="84"/>
                      <a:pt x="48" y="83"/>
                    </a:cubicBezTo>
                    <a:cubicBezTo>
                      <a:pt x="49" y="82"/>
                      <a:pt x="51" y="82"/>
                      <a:pt x="52" y="84"/>
                    </a:cubicBezTo>
                    <a:lnTo>
                      <a:pt x="54" y="87"/>
                    </a:lnTo>
                    <a:lnTo>
                      <a:pt x="56" y="85"/>
                    </a:lnTo>
                    <a:lnTo>
                      <a:pt x="54" y="82"/>
                    </a:lnTo>
                    <a:cubicBezTo>
                      <a:pt x="53" y="81"/>
                      <a:pt x="54" y="79"/>
                      <a:pt x="55" y="78"/>
                    </a:cubicBezTo>
                    <a:cubicBezTo>
                      <a:pt x="57" y="77"/>
                      <a:pt x="59" y="77"/>
                      <a:pt x="60" y="79"/>
                    </a:cubicBezTo>
                    <a:lnTo>
                      <a:pt x="62" y="81"/>
                    </a:lnTo>
                    <a:lnTo>
                      <a:pt x="64" y="80"/>
                    </a:lnTo>
                    <a:lnTo>
                      <a:pt x="62" y="77"/>
                    </a:lnTo>
                    <a:cubicBezTo>
                      <a:pt x="61" y="76"/>
                      <a:pt x="61" y="73"/>
                      <a:pt x="63" y="72"/>
                    </a:cubicBezTo>
                    <a:cubicBezTo>
                      <a:pt x="64" y="71"/>
                      <a:pt x="66" y="72"/>
                      <a:pt x="67" y="73"/>
                    </a:cubicBezTo>
                    <a:lnTo>
                      <a:pt x="69" y="76"/>
                    </a:lnTo>
                    <a:lnTo>
                      <a:pt x="72" y="75"/>
                    </a:lnTo>
                    <a:lnTo>
                      <a:pt x="70" y="72"/>
                    </a:lnTo>
                    <a:cubicBezTo>
                      <a:pt x="69" y="70"/>
                      <a:pt x="69" y="68"/>
                      <a:pt x="70" y="67"/>
                    </a:cubicBezTo>
                    <a:cubicBezTo>
                      <a:pt x="72" y="66"/>
                      <a:pt x="74" y="66"/>
                      <a:pt x="75" y="68"/>
                    </a:cubicBezTo>
                    <a:lnTo>
                      <a:pt x="77" y="71"/>
                    </a:lnTo>
                    <a:lnTo>
                      <a:pt x="79" y="70"/>
                    </a:lnTo>
                    <a:lnTo>
                      <a:pt x="77" y="66"/>
                    </a:lnTo>
                    <a:cubicBezTo>
                      <a:pt x="76" y="65"/>
                      <a:pt x="77" y="63"/>
                      <a:pt x="78" y="62"/>
                    </a:cubicBezTo>
                    <a:cubicBezTo>
                      <a:pt x="79" y="61"/>
                      <a:pt x="82" y="61"/>
                      <a:pt x="83" y="63"/>
                    </a:cubicBezTo>
                    <a:lnTo>
                      <a:pt x="85" y="66"/>
                    </a:lnTo>
                    <a:lnTo>
                      <a:pt x="87" y="64"/>
                    </a:lnTo>
                    <a:lnTo>
                      <a:pt x="85" y="61"/>
                    </a:lnTo>
                    <a:cubicBezTo>
                      <a:pt x="84" y="60"/>
                      <a:pt x="84" y="58"/>
                      <a:pt x="86" y="57"/>
                    </a:cubicBezTo>
                    <a:cubicBezTo>
                      <a:pt x="87" y="56"/>
                      <a:pt x="89" y="56"/>
                      <a:pt x="90" y="58"/>
                    </a:cubicBezTo>
                    <a:lnTo>
                      <a:pt x="92" y="60"/>
                    </a:lnTo>
                    <a:lnTo>
                      <a:pt x="94" y="59"/>
                    </a:lnTo>
                    <a:lnTo>
                      <a:pt x="92" y="56"/>
                    </a:lnTo>
                    <a:cubicBezTo>
                      <a:pt x="91" y="55"/>
                      <a:pt x="92" y="52"/>
                      <a:pt x="93" y="51"/>
                    </a:cubicBezTo>
                    <a:cubicBezTo>
                      <a:pt x="95" y="50"/>
                      <a:pt x="97" y="51"/>
                      <a:pt x="98" y="52"/>
                    </a:cubicBezTo>
                    <a:lnTo>
                      <a:pt x="100" y="55"/>
                    </a:lnTo>
                    <a:lnTo>
                      <a:pt x="101" y="54"/>
                    </a:lnTo>
                    <a:cubicBezTo>
                      <a:pt x="104" y="52"/>
                      <a:pt x="105" y="48"/>
                      <a:pt x="103" y="44"/>
                    </a:cubicBezTo>
                    <a:lnTo>
                      <a:pt x="72" y="0"/>
                    </a:lnTo>
                    <a:lnTo>
                      <a:pt x="0" y="50"/>
                    </a:lnTo>
                    <a:close/>
                    <a:moveTo>
                      <a:pt x="39" y="81"/>
                    </a:moveTo>
                    <a:cubicBezTo>
                      <a:pt x="40" y="82"/>
                      <a:pt x="40" y="84"/>
                      <a:pt x="38" y="85"/>
                    </a:cubicBezTo>
                    <a:cubicBezTo>
                      <a:pt x="36" y="86"/>
                      <a:pt x="34" y="86"/>
                      <a:pt x="33" y="85"/>
                    </a:cubicBezTo>
                    <a:lnTo>
                      <a:pt x="29" y="79"/>
                    </a:lnTo>
                    <a:cubicBezTo>
                      <a:pt x="28" y="77"/>
                      <a:pt x="29" y="75"/>
                      <a:pt x="30" y="74"/>
                    </a:cubicBezTo>
                    <a:cubicBezTo>
                      <a:pt x="32" y="73"/>
                      <a:pt x="34" y="73"/>
                      <a:pt x="35" y="75"/>
                    </a:cubicBezTo>
                    <a:lnTo>
                      <a:pt x="39" y="81"/>
                    </a:lnTo>
                    <a:close/>
                    <a:moveTo>
                      <a:pt x="46" y="76"/>
                    </a:moveTo>
                    <a:cubicBezTo>
                      <a:pt x="47" y="77"/>
                      <a:pt x="47" y="79"/>
                      <a:pt x="46" y="80"/>
                    </a:cubicBezTo>
                    <a:cubicBezTo>
                      <a:pt x="44" y="81"/>
                      <a:pt x="42" y="81"/>
                      <a:pt x="41" y="79"/>
                    </a:cubicBezTo>
                    <a:lnTo>
                      <a:pt x="37" y="73"/>
                    </a:lnTo>
                    <a:cubicBezTo>
                      <a:pt x="36" y="72"/>
                      <a:pt x="36" y="70"/>
                      <a:pt x="38" y="69"/>
                    </a:cubicBezTo>
                    <a:cubicBezTo>
                      <a:pt x="39" y="68"/>
                      <a:pt x="41" y="68"/>
                      <a:pt x="42" y="70"/>
                    </a:cubicBezTo>
                    <a:lnTo>
                      <a:pt x="46" y="76"/>
                    </a:lnTo>
                    <a:close/>
                    <a:moveTo>
                      <a:pt x="54" y="70"/>
                    </a:moveTo>
                    <a:cubicBezTo>
                      <a:pt x="55" y="72"/>
                      <a:pt x="55" y="74"/>
                      <a:pt x="53" y="75"/>
                    </a:cubicBezTo>
                    <a:cubicBezTo>
                      <a:pt x="52" y="76"/>
                      <a:pt x="50" y="76"/>
                      <a:pt x="49" y="74"/>
                    </a:cubicBezTo>
                    <a:lnTo>
                      <a:pt x="45" y="68"/>
                    </a:lnTo>
                    <a:cubicBezTo>
                      <a:pt x="44" y="67"/>
                      <a:pt x="44" y="65"/>
                      <a:pt x="45" y="64"/>
                    </a:cubicBezTo>
                    <a:cubicBezTo>
                      <a:pt x="47" y="62"/>
                      <a:pt x="49" y="63"/>
                      <a:pt x="50" y="64"/>
                    </a:cubicBezTo>
                    <a:lnTo>
                      <a:pt x="54" y="70"/>
                    </a:lnTo>
                    <a:close/>
                    <a:moveTo>
                      <a:pt x="62" y="65"/>
                    </a:moveTo>
                    <a:cubicBezTo>
                      <a:pt x="63" y="67"/>
                      <a:pt x="62" y="69"/>
                      <a:pt x="61" y="70"/>
                    </a:cubicBezTo>
                    <a:cubicBezTo>
                      <a:pt x="59" y="71"/>
                      <a:pt x="57" y="70"/>
                      <a:pt x="56" y="69"/>
                    </a:cubicBezTo>
                    <a:lnTo>
                      <a:pt x="52" y="63"/>
                    </a:lnTo>
                    <a:cubicBezTo>
                      <a:pt x="51" y="61"/>
                      <a:pt x="51" y="59"/>
                      <a:pt x="53" y="58"/>
                    </a:cubicBezTo>
                    <a:cubicBezTo>
                      <a:pt x="54" y="57"/>
                      <a:pt x="57" y="58"/>
                      <a:pt x="58" y="59"/>
                    </a:cubicBezTo>
                    <a:lnTo>
                      <a:pt x="62" y="65"/>
                    </a:lnTo>
                    <a:close/>
                    <a:moveTo>
                      <a:pt x="69" y="60"/>
                    </a:moveTo>
                    <a:cubicBezTo>
                      <a:pt x="70" y="61"/>
                      <a:pt x="70" y="63"/>
                      <a:pt x="68" y="64"/>
                    </a:cubicBezTo>
                    <a:cubicBezTo>
                      <a:pt x="67" y="65"/>
                      <a:pt x="65" y="65"/>
                      <a:pt x="64" y="64"/>
                    </a:cubicBezTo>
                    <a:lnTo>
                      <a:pt x="60" y="58"/>
                    </a:lnTo>
                    <a:cubicBezTo>
                      <a:pt x="59" y="56"/>
                      <a:pt x="59" y="54"/>
                      <a:pt x="61" y="53"/>
                    </a:cubicBezTo>
                    <a:cubicBezTo>
                      <a:pt x="62" y="52"/>
                      <a:pt x="64" y="52"/>
                      <a:pt x="65" y="54"/>
                    </a:cubicBezTo>
                    <a:lnTo>
                      <a:pt x="69" y="60"/>
                    </a:lnTo>
                    <a:close/>
                    <a:moveTo>
                      <a:pt x="77" y="55"/>
                    </a:moveTo>
                    <a:cubicBezTo>
                      <a:pt x="78" y="56"/>
                      <a:pt x="78" y="58"/>
                      <a:pt x="76" y="59"/>
                    </a:cubicBezTo>
                    <a:cubicBezTo>
                      <a:pt x="75" y="60"/>
                      <a:pt x="73" y="60"/>
                      <a:pt x="72" y="58"/>
                    </a:cubicBezTo>
                    <a:lnTo>
                      <a:pt x="67" y="52"/>
                    </a:lnTo>
                    <a:cubicBezTo>
                      <a:pt x="66" y="51"/>
                      <a:pt x="67" y="49"/>
                      <a:pt x="68" y="48"/>
                    </a:cubicBezTo>
                    <a:cubicBezTo>
                      <a:pt x="70" y="47"/>
                      <a:pt x="72" y="47"/>
                      <a:pt x="73" y="49"/>
                    </a:cubicBezTo>
                    <a:lnTo>
                      <a:pt x="77" y="55"/>
                    </a:lnTo>
                    <a:close/>
                    <a:moveTo>
                      <a:pt x="85" y="49"/>
                    </a:moveTo>
                    <a:cubicBezTo>
                      <a:pt x="86" y="51"/>
                      <a:pt x="85" y="53"/>
                      <a:pt x="84" y="54"/>
                    </a:cubicBezTo>
                    <a:cubicBezTo>
                      <a:pt x="82" y="55"/>
                      <a:pt x="80" y="55"/>
                      <a:pt x="79" y="53"/>
                    </a:cubicBezTo>
                    <a:lnTo>
                      <a:pt x="75" y="47"/>
                    </a:lnTo>
                    <a:cubicBezTo>
                      <a:pt x="74" y="46"/>
                      <a:pt x="74" y="44"/>
                      <a:pt x="76" y="43"/>
                    </a:cubicBezTo>
                    <a:cubicBezTo>
                      <a:pt x="77" y="42"/>
                      <a:pt x="79" y="42"/>
                      <a:pt x="80" y="43"/>
                    </a:cubicBezTo>
                    <a:lnTo>
                      <a:pt x="85" y="49"/>
                    </a:lnTo>
                    <a:close/>
                    <a:moveTo>
                      <a:pt x="92" y="44"/>
                    </a:moveTo>
                    <a:cubicBezTo>
                      <a:pt x="93" y="46"/>
                      <a:pt x="93" y="48"/>
                      <a:pt x="91" y="49"/>
                    </a:cubicBezTo>
                    <a:cubicBezTo>
                      <a:pt x="90" y="50"/>
                      <a:pt x="88" y="49"/>
                      <a:pt x="87" y="48"/>
                    </a:cubicBezTo>
                    <a:lnTo>
                      <a:pt x="83" y="42"/>
                    </a:lnTo>
                    <a:cubicBezTo>
                      <a:pt x="82" y="40"/>
                      <a:pt x="82" y="38"/>
                      <a:pt x="83" y="37"/>
                    </a:cubicBezTo>
                    <a:cubicBezTo>
                      <a:pt x="85" y="36"/>
                      <a:pt x="87" y="37"/>
                      <a:pt x="88" y="38"/>
                    </a:cubicBezTo>
                    <a:lnTo>
                      <a:pt x="92" y="44"/>
                    </a:lnTo>
                    <a:close/>
                    <a:moveTo>
                      <a:pt x="83" y="31"/>
                    </a:moveTo>
                    <a:lnTo>
                      <a:pt x="25" y="72"/>
                    </a:lnTo>
                    <a:lnTo>
                      <a:pt x="12" y="54"/>
                    </a:lnTo>
                    <a:lnTo>
                      <a:pt x="71" y="14"/>
                    </a:lnTo>
                    <a:lnTo>
                      <a:pt x="83" y="31"/>
                    </a:ln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1" name="Freeform 23"/>
              <p:cNvSpPr>
                <a:spLocks noChangeArrowheads="1"/>
              </p:cNvSpPr>
              <p:nvPr/>
            </p:nvSpPr>
            <p:spPr bwMode="auto">
              <a:xfrm>
                <a:off x="5582741" y="5070476"/>
                <a:ext cx="34925" cy="30162"/>
              </a:xfrm>
              <a:custGeom>
                <a:avLst/>
                <a:gdLst>
                  <a:gd name="T0" fmla="*/ 0 w 99"/>
                  <a:gd name="T1" fmla="*/ 57 h 82"/>
                  <a:gd name="T2" fmla="*/ 15 w 99"/>
                  <a:gd name="T3" fmla="*/ 79 h 82"/>
                  <a:gd name="T4" fmla="*/ 20 w 99"/>
                  <a:gd name="T5" fmla="*/ 80 h 82"/>
                  <a:gd name="T6" fmla="*/ 97 w 99"/>
                  <a:gd name="T7" fmla="*/ 26 h 82"/>
                  <a:gd name="T8" fmla="*/ 97 w 99"/>
                  <a:gd name="T9" fmla="*/ 22 h 82"/>
                  <a:gd name="T10" fmla="*/ 82 w 99"/>
                  <a:gd name="T11" fmla="*/ 0 h 82"/>
                  <a:gd name="T12" fmla="*/ 0 w 99"/>
                  <a:gd name="T13" fmla="*/ 57 h 82"/>
                </a:gdLst>
                <a:ahLst/>
                <a:cxnLst>
                  <a:cxn ang="0">
                    <a:pos x="T0" y="T1"/>
                  </a:cxn>
                  <a:cxn ang="0">
                    <a:pos x="T2" y="T3"/>
                  </a:cxn>
                  <a:cxn ang="0">
                    <a:pos x="T4" y="T5"/>
                  </a:cxn>
                  <a:cxn ang="0">
                    <a:pos x="T6" y="T7"/>
                  </a:cxn>
                  <a:cxn ang="0">
                    <a:pos x="T8" y="T9"/>
                  </a:cxn>
                  <a:cxn ang="0">
                    <a:pos x="T10" y="T11"/>
                  </a:cxn>
                  <a:cxn ang="0">
                    <a:pos x="T12" y="T13"/>
                  </a:cxn>
                </a:cxnLst>
                <a:rect l="0" t="0" r="r" b="b"/>
                <a:pathLst>
                  <a:path w="99" h="82">
                    <a:moveTo>
                      <a:pt x="0" y="57"/>
                    </a:moveTo>
                    <a:lnTo>
                      <a:pt x="15" y="79"/>
                    </a:lnTo>
                    <a:cubicBezTo>
                      <a:pt x="16" y="80"/>
                      <a:pt x="18" y="81"/>
                      <a:pt x="20" y="80"/>
                    </a:cubicBezTo>
                    <a:lnTo>
                      <a:pt x="97" y="26"/>
                    </a:lnTo>
                    <a:cubicBezTo>
                      <a:pt x="98" y="26"/>
                      <a:pt x="98" y="24"/>
                      <a:pt x="97" y="22"/>
                    </a:cubicBezTo>
                    <a:lnTo>
                      <a:pt x="82" y="0"/>
                    </a:lnTo>
                    <a:lnTo>
                      <a:pt x="0" y="57"/>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2" name="Freeform 24"/>
              <p:cNvSpPr>
                <a:spLocks noChangeArrowheads="1"/>
              </p:cNvSpPr>
              <p:nvPr/>
            </p:nvSpPr>
            <p:spPr bwMode="auto">
              <a:xfrm>
                <a:off x="5574803" y="5059363"/>
                <a:ext cx="26988" cy="20638"/>
              </a:xfrm>
              <a:custGeom>
                <a:avLst/>
                <a:gdLst>
                  <a:gd name="T0" fmla="*/ 2 w 77"/>
                  <a:gd name="T1" fmla="*/ 55 h 56"/>
                  <a:gd name="T2" fmla="*/ 76 w 77"/>
                  <a:gd name="T3" fmla="*/ 5 h 56"/>
                  <a:gd name="T4" fmla="*/ 70 w 77"/>
                  <a:gd name="T5" fmla="*/ 0 h 56"/>
                  <a:gd name="T6" fmla="*/ 0 w 77"/>
                  <a:gd name="T7" fmla="*/ 48 h 56"/>
                  <a:gd name="T8" fmla="*/ 2 w 77"/>
                  <a:gd name="T9" fmla="*/ 55 h 56"/>
                </a:gdLst>
                <a:ahLst/>
                <a:cxnLst>
                  <a:cxn ang="0">
                    <a:pos x="T0" y="T1"/>
                  </a:cxn>
                  <a:cxn ang="0">
                    <a:pos x="T2" y="T3"/>
                  </a:cxn>
                  <a:cxn ang="0">
                    <a:pos x="T4" y="T5"/>
                  </a:cxn>
                  <a:cxn ang="0">
                    <a:pos x="T6" y="T7"/>
                  </a:cxn>
                  <a:cxn ang="0">
                    <a:pos x="T8" y="T9"/>
                  </a:cxn>
                </a:cxnLst>
                <a:rect l="0" t="0" r="r" b="b"/>
                <a:pathLst>
                  <a:path w="77" h="56">
                    <a:moveTo>
                      <a:pt x="2" y="55"/>
                    </a:moveTo>
                    <a:lnTo>
                      <a:pt x="76" y="5"/>
                    </a:lnTo>
                    <a:lnTo>
                      <a:pt x="70" y="0"/>
                    </a:lnTo>
                    <a:lnTo>
                      <a:pt x="0" y="48"/>
                    </a:lnTo>
                    <a:lnTo>
                      <a:pt x="2" y="55"/>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3" name="Freeform 25"/>
              <p:cNvSpPr>
                <a:spLocks noChangeArrowheads="1"/>
              </p:cNvSpPr>
              <p:nvPr/>
            </p:nvSpPr>
            <p:spPr bwMode="auto">
              <a:xfrm>
                <a:off x="5574803" y="5056188"/>
                <a:ext cx="25400" cy="19050"/>
              </a:xfrm>
              <a:custGeom>
                <a:avLst/>
                <a:gdLst>
                  <a:gd name="T0" fmla="*/ 62 w 69"/>
                  <a:gd name="T1" fmla="*/ 0 h 51"/>
                  <a:gd name="T2" fmla="*/ 0 w 69"/>
                  <a:gd name="T3" fmla="*/ 43 h 51"/>
                  <a:gd name="T4" fmla="*/ 2 w 69"/>
                  <a:gd name="T5" fmla="*/ 50 h 51"/>
                  <a:gd name="T6" fmla="*/ 68 w 69"/>
                  <a:gd name="T7" fmla="*/ 5 h 51"/>
                  <a:gd name="T8" fmla="*/ 62 w 69"/>
                  <a:gd name="T9" fmla="*/ 0 h 51"/>
                </a:gdLst>
                <a:ahLst/>
                <a:cxnLst>
                  <a:cxn ang="0">
                    <a:pos x="T0" y="T1"/>
                  </a:cxn>
                  <a:cxn ang="0">
                    <a:pos x="T2" y="T3"/>
                  </a:cxn>
                  <a:cxn ang="0">
                    <a:pos x="T4" y="T5"/>
                  </a:cxn>
                  <a:cxn ang="0">
                    <a:pos x="T6" y="T7"/>
                  </a:cxn>
                  <a:cxn ang="0">
                    <a:pos x="T8" y="T9"/>
                  </a:cxn>
                </a:cxnLst>
                <a:rect l="0" t="0" r="r" b="b"/>
                <a:pathLst>
                  <a:path w="69" h="51">
                    <a:moveTo>
                      <a:pt x="62" y="0"/>
                    </a:moveTo>
                    <a:lnTo>
                      <a:pt x="0" y="43"/>
                    </a:lnTo>
                    <a:lnTo>
                      <a:pt x="2" y="50"/>
                    </a:lnTo>
                    <a:lnTo>
                      <a:pt x="68" y="5"/>
                    </a:lnTo>
                    <a:lnTo>
                      <a:pt x="62" y="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4" name="Freeform 26"/>
              <p:cNvSpPr>
                <a:spLocks noChangeArrowheads="1"/>
              </p:cNvSpPr>
              <p:nvPr/>
            </p:nvSpPr>
            <p:spPr bwMode="auto">
              <a:xfrm>
                <a:off x="5571628" y="5053013"/>
                <a:ext cx="22225" cy="15875"/>
              </a:xfrm>
              <a:custGeom>
                <a:avLst/>
                <a:gdLst>
                  <a:gd name="T0" fmla="*/ 56 w 63"/>
                  <a:gd name="T1" fmla="*/ 0 h 46"/>
                  <a:gd name="T2" fmla="*/ 0 w 63"/>
                  <a:gd name="T3" fmla="*/ 38 h 46"/>
                  <a:gd name="T4" fmla="*/ 3 w 63"/>
                  <a:gd name="T5" fmla="*/ 45 h 46"/>
                  <a:gd name="T6" fmla="*/ 62 w 63"/>
                  <a:gd name="T7" fmla="*/ 5 h 46"/>
                  <a:gd name="T8" fmla="*/ 56 w 63"/>
                  <a:gd name="T9" fmla="*/ 0 h 46"/>
                </a:gdLst>
                <a:ahLst/>
                <a:cxnLst>
                  <a:cxn ang="0">
                    <a:pos x="T0" y="T1"/>
                  </a:cxn>
                  <a:cxn ang="0">
                    <a:pos x="T2" y="T3"/>
                  </a:cxn>
                  <a:cxn ang="0">
                    <a:pos x="T4" y="T5"/>
                  </a:cxn>
                  <a:cxn ang="0">
                    <a:pos x="T6" y="T7"/>
                  </a:cxn>
                  <a:cxn ang="0">
                    <a:pos x="T8" y="T9"/>
                  </a:cxn>
                </a:cxnLst>
                <a:rect l="0" t="0" r="r" b="b"/>
                <a:pathLst>
                  <a:path w="63" h="46">
                    <a:moveTo>
                      <a:pt x="56" y="0"/>
                    </a:moveTo>
                    <a:lnTo>
                      <a:pt x="0" y="38"/>
                    </a:lnTo>
                    <a:lnTo>
                      <a:pt x="3" y="45"/>
                    </a:lnTo>
                    <a:lnTo>
                      <a:pt x="62" y="5"/>
                    </a:lnTo>
                    <a:lnTo>
                      <a:pt x="56" y="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5" name="Freeform 27"/>
              <p:cNvSpPr>
                <a:spLocks noChangeArrowheads="1"/>
              </p:cNvSpPr>
              <p:nvPr/>
            </p:nvSpPr>
            <p:spPr bwMode="auto">
              <a:xfrm>
                <a:off x="5571628" y="5049838"/>
                <a:ext cx="19050" cy="14288"/>
              </a:xfrm>
              <a:custGeom>
                <a:avLst/>
                <a:gdLst>
                  <a:gd name="T0" fmla="*/ 46 w 54"/>
                  <a:gd name="T1" fmla="*/ 0 h 41"/>
                  <a:gd name="T2" fmla="*/ 0 w 54"/>
                  <a:gd name="T3" fmla="*/ 31 h 41"/>
                  <a:gd name="T4" fmla="*/ 1 w 54"/>
                  <a:gd name="T5" fmla="*/ 40 h 41"/>
                  <a:gd name="T6" fmla="*/ 53 w 54"/>
                  <a:gd name="T7" fmla="*/ 4 h 41"/>
                  <a:gd name="T8" fmla="*/ 46 w 54"/>
                  <a:gd name="T9" fmla="*/ 0 h 41"/>
                </a:gdLst>
                <a:ahLst/>
                <a:cxnLst>
                  <a:cxn ang="0">
                    <a:pos x="T0" y="T1"/>
                  </a:cxn>
                  <a:cxn ang="0">
                    <a:pos x="T2" y="T3"/>
                  </a:cxn>
                  <a:cxn ang="0">
                    <a:pos x="T4" y="T5"/>
                  </a:cxn>
                  <a:cxn ang="0">
                    <a:pos x="T6" y="T7"/>
                  </a:cxn>
                  <a:cxn ang="0">
                    <a:pos x="T8" y="T9"/>
                  </a:cxn>
                </a:cxnLst>
                <a:rect l="0" t="0" r="r" b="b"/>
                <a:pathLst>
                  <a:path w="54" h="41">
                    <a:moveTo>
                      <a:pt x="46" y="0"/>
                    </a:moveTo>
                    <a:lnTo>
                      <a:pt x="0" y="31"/>
                    </a:lnTo>
                    <a:lnTo>
                      <a:pt x="1" y="40"/>
                    </a:lnTo>
                    <a:lnTo>
                      <a:pt x="53" y="4"/>
                    </a:lnTo>
                    <a:lnTo>
                      <a:pt x="46" y="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6" name="Freeform 28"/>
              <p:cNvSpPr>
                <a:spLocks noChangeArrowheads="1"/>
              </p:cNvSpPr>
              <p:nvPr/>
            </p:nvSpPr>
            <p:spPr bwMode="auto">
              <a:xfrm>
                <a:off x="5576391" y="5062538"/>
                <a:ext cx="34925" cy="28575"/>
              </a:xfrm>
              <a:custGeom>
                <a:avLst/>
                <a:gdLst>
                  <a:gd name="T0" fmla="*/ 55 w 97"/>
                  <a:gd name="T1" fmla="*/ 50 h 80"/>
                  <a:gd name="T2" fmla="*/ 96 w 97"/>
                  <a:gd name="T3" fmla="*/ 22 h 80"/>
                  <a:gd name="T4" fmla="*/ 77 w 97"/>
                  <a:gd name="T5" fmla="*/ 0 h 80"/>
                  <a:gd name="T6" fmla="*/ 38 w 97"/>
                  <a:gd name="T7" fmla="*/ 26 h 80"/>
                  <a:gd name="T8" fmla="*/ 0 w 97"/>
                  <a:gd name="T9" fmla="*/ 52 h 80"/>
                  <a:gd name="T10" fmla="*/ 14 w 97"/>
                  <a:gd name="T11" fmla="*/ 79 h 80"/>
                  <a:gd name="T12" fmla="*/ 55 w 97"/>
                  <a:gd name="T13" fmla="*/ 50 h 80"/>
                </a:gdLst>
                <a:ahLst/>
                <a:cxnLst>
                  <a:cxn ang="0">
                    <a:pos x="T0" y="T1"/>
                  </a:cxn>
                  <a:cxn ang="0">
                    <a:pos x="T2" y="T3"/>
                  </a:cxn>
                  <a:cxn ang="0">
                    <a:pos x="T4" y="T5"/>
                  </a:cxn>
                  <a:cxn ang="0">
                    <a:pos x="T6" y="T7"/>
                  </a:cxn>
                  <a:cxn ang="0">
                    <a:pos x="T8" y="T9"/>
                  </a:cxn>
                  <a:cxn ang="0">
                    <a:pos x="T10" y="T11"/>
                  </a:cxn>
                  <a:cxn ang="0">
                    <a:pos x="T12" y="T13"/>
                  </a:cxn>
                </a:cxnLst>
                <a:rect l="0" t="0" r="r" b="b"/>
                <a:pathLst>
                  <a:path w="97" h="80">
                    <a:moveTo>
                      <a:pt x="55" y="50"/>
                    </a:moveTo>
                    <a:lnTo>
                      <a:pt x="96" y="22"/>
                    </a:lnTo>
                    <a:lnTo>
                      <a:pt x="77" y="0"/>
                    </a:lnTo>
                    <a:lnTo>
                      <a:pt x="38" y="26"/>
                    </a:lnTo>
                    <a:lnTo>
                      <a:pt x="0" y="52"/>
                    </a:lnTo>
                    <a:lnTo>
                      <a:pt x="14" y="79"/>
                    </a:lnTo>
                    <a:lnTo>
                      <a:pt x="55" y="5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7" name="Freeform 29"/>
              <p:cNvSpPr>
                <a:spLocks noChangeArrowheads="1"/>
              </p:cNvSpPr>
              <p:nvPr/>
            </p:nvSpPr>
            <p:spPr bwMode="auto">
              <a:xfrm>
                <a:off x="5441453" y="5035551"/>
                <a:ext cx="107950" cy="128587"/>
              </a:xfrm>
              <a:custGeom>
                <a:avLst/>
                <a:gdLst>
                  <a:gd name="T0" fmla="*/ 80 w 298"/>
                  <a:gd name="T1" fmla="*/ 254 h 356"/>
                  <a:gd name="T2" fmla="*/ 91 w 298"/>
                  <a:gd name="T3" fmla="*/ 40 h 356"/>
                  <a:gd name="T4" fmla="*/ 95 w 298"/>
                  <a:gd name="T5" fmla="*/ 0 h 356"/>
                  <a:gd name="T6" fmla="*/ 59 w 298"/>
                  <a:gd name="T7" fmla="*/ 268 h 356"/>
                  <a:gd name="T8" fmla="*/ 225 w 298"/>
                  <a:gd name="T9" fmla="*/ 355 h 356"/>
                  <a:gd name="T10" fmla="*/ 297 w 298"/>
                  <a:gd name="T11" fmla="*/ 342 h 356"/>
                  <a:gd name="T12" fmla="*/ 259 w 298"/>
                  <a:gd name="T13" fmla="*/ 326 h 356"/>
                  <a:gd name="T14" fmla="*/ 80 w 298"/>
                  <a:gd name="T15" fmla="*/ 254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8" h="356">
                    <a:moveTo>
                      <a:pt x="80" y="254"/>
                    </a:moveTo>
                    <a:cubicBezTo>
                      <a:pt x="34" y="187"/>
                      <a:pt x="41" y="99"/>
                      <a:pt x="91" y="40"/>
                    </a:cubicBezTo>
                    <a:cubicBezTo>
                      <a:pt x="91" y="27"/>
                      <a:pt x="93" y="13"/>
                      <a:pt x="95" y="0"/>
                    </a:cubicBezTo>
                    <a:cubicBezTo>
                      <a:pt x="17" y="66"/>
                      <a:pt x="0" y="182"/>
                      <a:pt x="59" y="268"/>
                    </a:cubicBezTo>
                    <a:cubicBezTo>
                      <a:pt x="98" y="325"/>
                      <a:pt x="161" y="355"/>
                      <a:pt x="225" y="355"/>
                    </a:cubicBezTo>
                    <a:cubicBezTo>
                      <a:pt x="249" y="355"/>
                      <a:pt x="273" y="351"/>
                      <a:pt x="297" y="342"/>
                    </a:cubicBezTo>
                    <a:cubicBezTo>
                      <a:pt x="284" y="338"/>
                      <a:pt x="272" y="333"/>
                      <a:pt x="259" y="326"/>
                    </a:cubicBezTo>
                    <a:cubicBezTo>
                      <a:pt x="193" y="339"/>
                      <a:pt x="121" y="313"/>
                      <a:pt x="80" y="254"/>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8" name="Freeform 30"/>
              <p:cNvSpPr>
                <a:spLocks noChangeArrowheads="1"/>
              </p:cNvSpPr>
              <p:nvPr/>
            </p:nvSpPr>
            <p:spPr bwMode="auto">
              <a:xfrm>
                <a:off x="5536703" y="5021263"/>
                <a:ext cx="46038" cy="34925"/>
              </a:xfrm>
              <a:custGeom>
                <a:avLst/>
                <a:gdLst>
                  <a:gd name="T0" fmla="*/ 104 w 126"/>
                  <a:gd name="T1" fmla="*/ 96 h 97"/>
                  <a:gd name="T2" fmla="*/ 125 w 126"/>
                  <a:gd name="T3" fmla="*/ 82 h 97"/>
                  <a:gd name="T4" fmla="*/ 3 w 126"/>
                  <a:gd name="T5" fmla="*/ 0 h 97"/>
                  <a:gd name="T6" fmla="*/ 0 w 126"/>
                  <a:gd name="T7" fmla="*/ 26 h 97"/>
                  <a:gd name="T8" fmla="*/ 104 w 126"/>
                  <a:gd name="T9" fmla="*/ 96 h 97"/>
                </a:gdLst>
                <a:ahLst/>
                <a:cxnLst>
                  <a:cxn ang="0">
                    <a:pos x="T0" y="T1"/>
                  </a:cxn>
                  <a:cxn ang="0">
                    <a:pos x="T2" y="T3"/>
                  </a:cxn>
                  <a:cxn ang="0">
                    <a:pos x="T4" y="T5"/>
                  </a:cxn>
                  <a:cxn ang="0">
                    <a:pos x="T6" y="T7"/>
                  </a:cxn>
                  <a:cxn ang="0">
                    <a:pos x="T8" y="T9"/>
                  </a:cxn>
                </a:cxnLst>
                <a:rect l="0" t="0" r="r" b="b"/>
                <a:pathLst>
                  <a:path w="126" h="97">
                    <a:moveTo>
                      <a:pt x="104" y="96"/>
                    </a:moveTo>
                    <a:lnTo>
                      <a:pt x="125" y="82"/>
                    </a:lnTo>
                    <a:cubicBezTo>
                      <a:pt x="96" y="40"/>
                      <a:pt x="53" y="11"/>
                      <a:pt x="3" y="0"/>
                    </a:cubicBezTo>
                    <a:cubicBezTo>
                      <a:pt x="2" y="5"/>
                      <a:pt x="2" y="14"/>
                      <a:pt x="0" y="26"/>
                    </a:cubicBezTo>
                    <a:cubicBezTo>
                      <a:pt x="42" y="36"/>
                      <a:pt x="79" y="60"/>
                      <a:pt x="104" y="96"/>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89" name="Freeform 31"/>
              <p:cNvSpPr>
                <a:spLocks noChangeArrowheads="1"/>
              </p:cNvSpPr>
              <p:nvPr/>
            </p:nvSpPr>
            <p:spPr bwMode="auto">
              <a:xfrm>
                <a:off x="5477966" y="5002213"/>
                <a:ext cx="123825" cy="152400"/>
              </a:xfrm>
              <a:custGeom>
                <a:avLst/>
                <a:gdLst>
                  <a:gd name="T0" fmla="*/ 335 w 343"/>
                  <a:gd name="T1" fmla="*/ 354 h 425"/>
                  <a:gd name="T2" fmla="*/ 217 w 343"/>
                  <a:gd name="T3" fmla="*/ 309 h 425"/>
                  <a:gd name="T4" fmla="*/ 217 w 343"/>
                  <a:gd name="T5" fmla="*/ 310 h 425"/>
                  <a:gd name="T6" fmla="*/ 179 w 343"/>
                  <a:gd name="T7" fmla="*/ 328 h 425"/>
                  <a:gd name="T8" fmla="*/ 81 w 343"/>
                  <a:gd name="T9" fmla="*/ 155 h 425"/>
                  <a:gd name="T10" fmla="*/ 116 w 343"/>
                  <a:gd name="T11" fmla="*/ 132 h 425"/>
                  <a:gd name="T12" fmla="*/ 116 w 343"/>
                  <a:gd name="T13" fmla="*/ 132 h 425"/>
                  <a:gd name="T14" fmla="*/ 144 w 343"/>
                  <a:gd name="T15" fmla="*/ 74 h 425"/>
                  <a:gd name="T16" fmla="*/ 147 w 343"/>
                  <a:gd name="T17" fmla="*/ 48 h 425"/>
                  <a:gd name="T18" fmla="*/ 139 w 343"/>
                  <a:gd name="T19" fmla="*/ 8 h 425"/>
                  <a:gd name="T20" fmla="*/ 139 w 343"/>
                  <a:gd name="T21" fmla="*/ 7 h 425"/>
                  <a:gd name="T22" fmla="*/ 100 w 343"/>
                  <a:gd name="T23" fmla="*/ 0 h 425"/>
                  <a:gd name="T24" fmla="*/ 42 w 343"/>
                  <a:gd name="T25" fmla="*/ 36 h 425"/>
                  <a:gd name="T26" fmla="*/ 21 w 343"/>
                  <a:gd name="T27" fmla="*/ 75 h 425"/>
                  <a:gd name="T28" fmla="*/ 13 w 343"/>
                  <a:gd name="T29" fmla="*/ 112 h 425"/>
                  <a:gd name="T30" fmla="*/ 189 w 343"/>
                  <a:gd name="T31" fmla="*/ 411 h 425"/>
                  <a:gd name="T32" fmla="*/ 226 w 343"/>
                  <a:gd name="T33" fmla="*/ 421 h 425"/>
                  <a:gd name="T34" fmla="*/ 261 w 343"/>
                  <a:gd name="T35" fmla="*/ 422 h 425"/>
                  <a:gd name="T36" fmla="*/ 322 w 343"/>
                  <a:gd name="T37" fmla="*/ 391 h 425"/>
                  <a:gd name="T38" fmla="*/ 335 w 343"/>
                  <a:gd name="T39" fmla="*/ 35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3" h="425">
                    <a:moveTo>
                      <a:pt x="335" y="354"/>
                    </a:moveTo>
                    <a:cubicBezTo>
                      <a:pt x="342" y="335"/>
                      <a:pt x="228" y="285"/>
                      <a:pt x="217" y="309"/>
                    </a:cubicBezTo>
                    <a:lnTo>
                      <a:pt x="217" y="310"/>
                    </a:lnTo>
                    <a:cubicBezTo>
                      <a:pt x="202" y="328"/>
                      <a:pt x="204" y="353"/>
                      <a:pt x="179" y="328"/>
                    </a:cubicBezTo>
                    <a:cubicBezTo>
                      <a:pt x="120" y="269"/>
                      <a:pt x="101" y="226"/>
                      <a:pt x="81" y="155"/>
                    </a:cubicBezTo>
                    <a:cubicBezTo>
                      <a:pt x="71" y="121"/>
                      <a:pt x="93" y="135"/>
                      <a:pt x="116" y="132"/>
                    </a:cubicBezTo>
                    <a:lnTo>
                      <a:pt x="116" y="132"/>
                    </a:lnTo>
                    <a:cubicBezTo>
                      <a:pt x="129" y="132"/>
                      <a:pt x="139" y="104"/>
                      <a:pt x="144" y="74"/>
                    </a:cubicBezTo>
                    <a:cubicBezTo>
                      <a:pt x="145" y="65"/>
                      <a:pt x="146" y="56"/>
                      <a:pt x="147" y="48"/>
                    </a:cubicBezTo>
                    <a:cubicBezTo>
                      <a:pt x="148" y="27"/>
                      <a:pt x="145" y="10"/>
                      <a:pt x="139" y="8"/>
                    </a:cubicBezTo>
                    <a:lnTo>
                      <a:pt x="139" y="7"/>
                    </a:lnTo>
                    <a:lnTo>
                      <a:pt x="100" y="0"/>
                    </a:lnTo>
                    <a:cubicBezTo>
                      <a:pt x="74" y="5"/>
                      <a:pt x="56" y="18"/>
                      <a:pt x="42" y="36"/>
                    </a:cubicBezTo>
                    <a:cubicBezTo>
                      <a:pt x="33" y="48"/>
                      <a:pt x="26" y="61"/>
                      <a:pt x="21" y="75"/>
                    </a:cubicBezTo>
                    <a:cubicBezTo>
                      <a:pt x="17" y="87"/>
                      <a:pt x="14" y="100"/>
                      <a:pt x="13" y="112"/>
                    </a:cubicBezTo>
                    <a:cubicBezTo>
                      <a:pt x="0" y="224"/>
                      <a:pt x="85" y="369"/>
                      <a:pt x="189" y="411"/>
                    </a:cubicBezTo>
                    <a:cubicBezTo>
                      <a:pt x="201" y="416"/>
                      <a:pt x="214" y="419"/>
                      <a:pt x="226" y="421"/>
                    </a:cubicBezTo>
                    <a:cubicBezTo>
                      <a:pt x="238" y="423"/>
                      <a:pt x="250" y="424"/>
                      <a:pt x="261" y="422"/>
                    </a:cubicBezTo>
                    <a:cubicBezTo>
                      <a:pt x="284" y="421"/>
                      <a:pt x="304" y="410"/>
                      <a:pt x="322" y="391"/>
                    </a:cubicBezTo>
                    <a:lnTo>
                      <a:pt x="335" y="354"/>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grpSp>
      <p:grpSp>
        <p:nvGrpSpPr>
          <p:cNvPr id="290" name="Group 377"/>
          <p:cNvGrpSpPr/>
          <p:nvPr/>
        </p:nvGrpSpPr>
        <p:grpSpPr>
          <a:xfrm>
            <a:off x="8116392" y="4978402"/>
            <a:ext cx="1374775" cy="216025"/>
            <a:chOff x="6592391" y="4978401"/>
            <a:chExt cx="1374775" cy="216025"/>
          </a:xfrm>
        </p:grpSpPr>
        <p:sp>
          <p:nvSpPr>
            <p:cNvPr id="291" name="Freeform 32"/>
            <p:cNvSpPr>
              <a:spLocks noChangeArrowheads="1"/>
            </p:cNvSpPr>
            <p:nvPr/>
          </p:nvSpPr>
          <p:spPr bwMode="auto">
            <a:xfrm>
              <a:off x="6592391" y="4978401"/>
              <a:ext cx="1374775" cy="215900"/>
            </a:xfrm>
            <a:custGeom>
              <a:avLst/>
              <a:gdLst>
                <a:gd name="T0" fmla="*/ 3520 w 3820"/>
                <a:gd name="T1" fmla="*/ 0 h 600"/>
                <a:gd name="T2" fmla="*/ 300 w 3820"/>
                <a:gd name="T3" fmla="*/ 0 h 600"/>
                <a:gd name="T4" fmla="*/ 300 w 3820"/>
                <a:gd name="T5" fmla="*/ 0 h 600"/>
                <a:gd name="T6" fmla="*/ 0 w 3820"/>
                <a:gd name="T7" fmla="*/ 299 h 600"/>
                <a:gd name="T8" fmla="*/ 300 w 3820"/>
                <a:gd name="T9" fmla="*/ 599 h 600"/>
                <a:gd name="T10" fmla="*/ 300 w 3820"/>
                <a:gd name="T11" fmla="*/ 599 h 600"/>
                <a:gd name="T12" fmla="*/ 3520 w 3820"/>
                <a:gd name="T13" fmla="*/ 599 h 600"/>
                <a:gd name="T14" fmla="*/ 3819 w 3820"/>
                <a:gd name="T15" fmla="*/ 299 h 600"/>
                <a:gd name="T16" fmla="*/ 3520 w 382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0" h="600">
                  <a:moveTo>
                    <a:pt x="3520" y="0"/>
                  </a:moveTo>
                  <a:lnTo>
                    <a:pt x="300" y="0"/>
                  </a:lnTo>
                  <a:lnTo>
                    <a:pt x="300" y="0"/>
                  </a:lnTo>
                  <a:cubicBezTo>
                    <a:pt x="134" y="0"/>
                    <a:pt x="0" y="134"/>
                    <a:pt x="0" y="299"/>
                  </a:cubicBezTo>
                  <a:cubicBezTo>
                    <a:pt x="0" y="465"/>
                    <a:pt x="134" y="599"/>
                    <a:pt x="300" y="599"/>
                  </a:cubicBezTo>
                  <a:lnTo>
                    <a:pt x="300" y="599"/>
                  </a:lnTo>
                  <a:lnTo>
                    <a:pt x="3520" y="599"/>
                  </a:lnTo>
                  <a:cubicBezTo>
                    <a:pt x="3685" y="599"/>
                    <a:pt x="3819" y="465"/>
                    <a:pt x="3819" y="299"/>
                  </a:cubicBezTo>
                  <a:cubicBezTo>
                    <a:pt x="3819" y="134"/>
                    <a:pt x="3685" y="0"/>
                    <a:pt x="3520"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92" name="Text Box 33"/>
            <p:cNvSpPr txBox="1">
              <a:spLocks noChangeArrowheads="1"/>
            </p:cNvSpPr>
            <p:nvPr/>
          </p:nvSpPr>
          <p:spPr bwMode="auto">
            <a:xfrm>
              <a:off x="6879231" y="4978401"/>
              <a:ext cx="1064620" cy="216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lvl1pPr>
                <a:tabLst>
                  <a:tab pos="723900" algn="l"/>
                </a:tabLst>
                <a:defRPr>
                  <a:solidFill>
                    <a:srgbClr val="000000"/>
                  </a:solidFill>
                  <a:latin typeface="Arial" charset="0"/>
                  <a:ea typeface="微软雅黑" charset="0"/>
                  <a:cs typeface="微软雅黑" charset="0"/>
                </a:defRPr>
              </a:lvl1pPr>
              <a:lvl2pPr>
                <a:tabLst>
                  <a:tab pos="723900" algn="l"/>
                </a:tabLst>
                <a:defRPr>
                  <a:solidFill>
                    <a:srgbClr val="000000"/>
                  </a:solidFill>
                  <a:latin typeface="Arial" charset="0"/>
                  <a:ea typeface="微软雅黑" charset="0"/>
                  <a:cs typeface="微软雅黑" charset="0"/>
                </a:defRPr>
              </a:lvl2pPr>
              <a:lvl3pPr>
                <a:tabLst>
                  <a:tab pos="723900" algn="l"/>
                </a:tabLst>
                <a:defRPr>
                  <a:solidFill>
                    <a:srgbClr val="000000"/>
                  </a:solidFill>
                  <a:latin typeface="Arial" charset="0"/>
                  <a:ea typeface="微软雅黑" charset="0"/>
                  <a:cs typeface="微软雅黑" charset="0"/>
                </a:defRPr>
              </a:lvl3pPr>
              <a:lvl4pPr>
                <a:tabLst>
                  <a:tab pos="723900" algn="l"/>
                </a:tabLst>
                <a:defRPr>
                  <a:solidFill>
                    <a:srgbClr val="000000"/>
                  </a:solidFill>
                  <a:latin typeface="Arial" charset="0"/>
                  <a:ea typeface="微软雅黑" charset="0"/>
                  <a:cs typeface="微软雅黑" charset="0"/>
                </a:defRPr>
              </a:lvl4pPr>
              <a:lvl5pPr>
                <a:tabLst>
                  <a:tab pos="723900" algn="l"/>
                </a:tabLst>
                <a:defRPr>
                  <a:solidFill>
                    <a:srgbClr val="000000"/>
                  </a:solidFill>
                  <a:latin typeface="Arial" charset="0"/>
                  <a:ea typeface="微软雅黑" charset="0"/>
                  <a:cs typeface="微软雅黑"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9pPr>
            </a:lstStyle>
            <a:p>
              <a:pPr algn="ctr">
                <a:lnSpc>
                  <a:spcPts val="700"/>
                </a:lnSpc>
              </a:pPr>
              <a:r>
                <a:rPr lang="en-US" sz="700" dirty="0">
                  <a:solidFill>
                    <a:srgbClr val="5C8B76"/>
                  </a:solidFill>
                  <a:latin typeface="Arial"/>
                  <a:ea typeface="'ArialMT'" pitchFamily="32" charset="0"/>
                  <a:cs typeface="Arial"/>
                </a:rPr>
                <a:t>Electro-Medical Devices</a:t>
              </a:r>
            </a:p>
          </p:txBody>
        </p:sp>
        <p:grpSp>
          <p:nvGrpSpPr>
            <p:cNvPr id="293" name="Group 305"/>
            <p:cNvGrpSpPr/>
            <p:nvPr/>
          </p:nvGrpSpPr>
          <p:grpSpPr>
            <a:xfrm>
              <a:off x="6684466" y="5018088"/>
              <a:ext cx="207962" cy="144463"/>
              <a:chOff x="6684466" y="5018088"/>
              <a:chExt cx="207962" cy="144463"/>
            </a:xfrm>
          </p:grpSpPr>
          <p:sp>
            <p:nvSpPr>
              <p:cNvPr id="294" name="Freeform 34"/>
              <p:cNvSpPr>
                <a:spLocks noChangeArrowheads="1"/>
              </p:cNvSpPr>
              <p:nvPr/>
            </p:nvSpPr>
            <p:spPr bwMode="auto">
              <a:xfrm>
                <a:off x="6684466" y="5018088"/>
                <a:ext cx="60325" cy="144463"/>
              </a:xfrm>
              <a:custGeom>
                <a:avLst/>
                <a:gdLst>
                  <a:gd name="T0" fmla="*/ 156 w 166"/>
                  <a:gd name="T1" fmla="*/ 0 h 400"/>
                  <a:gd name="T2" fmla="*/ 9 w 166"/>
                  <a:gd name="T3" fmla="*/ 0 h 400"/>
                  <a:gd name="T4" fmla="*/ 0 w 166"/>
                  <a:gd name="T5" fmla="*/ 16 h 400"/>
                  <a:gd name="T6" fmla="*/ 0 w 166"/>
                  <a:gd name="T7" fmla="*/ 383 h 400"/>
                  <a:gd name="T8" fmla="*/ 9 w 166"/>
                  <a:gd name="T9" fmla="*/ 399 h 400"/>
                  <a:gd name="T10" fmla="*/ 156 w 166"/>
                  <a:gd name="T11" fmla="*/ 399 h 400"/>
                  <a:gd name="T12" fmla="*/ 165 w 166"/>
                  <a:gd name="T13" fmla="*/ 383 h 400"/>
                  <a:gd name="T14" fmla="*/ 165 w 166"/>
                  <a:gd name="T15" fmla="*/ 16 h 400"/>
                  <a:gd name="T16" fmla="*/ 156 w 166"/>
                  <a:gd name="T17" fmla="*/ 0 h 400"/>
                  <a:gd name="T18" fmla="*/ 145 w 166"/>
                  <a:gd name="T19" fmla="*/ 91 h 400"/>
                  <a:gd name="T20" fmla="*/ 138 w 166"/>
                  <a:gd name="T21" fmla="*/ 92 h 400"/>
                  <a:gd name="T22" fmla="*/ 27 w 166"/>
                  <a:gd name="T23" fmla="*/ 92 h 400"/>
                  <a:gd name="T24" fmla="*/ 20 w 166"/>
                  <a:gd name="T25" fmla="*/ 91 h 400"/>
                  <a:gd name="T26" fmla="*/ 20 w 166"/>
                  <a:gd name="T27" fmla="*/ 69 h 400"/>
                  <a:gd name="T28" fmla="*/ 27 w 166"/>
                  <a:gd name="T29" fmla="*/ 69 h 400"/>
                  <a:gd name="T30" fmla="*/ 138 w 166"/>
                  <a:gd name="T31" fmla="*/ 69 h 400"/>
                  <a:gd name="T32" fmla="*/ 145 w 166"/>
                  <a:gd name="T33" fmla="*/ 69 h 400"/>
                  <a:gd name="T34" fmla="*/ 145 w 166"/>
                  <a:gd name="T35" fmla="*/ 91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6" h="400">
                    <a:moveTo>
                      <a:pt x="156" y="0"/>
                    </a:moveTo>
                    <a:lnTo>
                      <a:pt x="9" y="0"/>
                    </a:lnTo>
                    <a:cubicBezTo>
                      <a:pt x="4" y="0"/>
                      <a:pt x="0" y="7"/>
                      <a:pt x="0" y="16"/>
                    </a:cubicBezTo>
                    <a:lnTo>
                      <a:pt x="0" y="383"/>
                    </a:lnTo>
                    <a:cubicBezTo>
                      <a:pt x="0" y="392"/>
                      <a:pt x="4" y="399"/>
                      <a:pt x="9" y="399"/>
                    </a:cubicBezTo>
                    <a:lnTo>
                      <a:pt x="156" y="399"/>
                    </a:lnTo>
                    <a:cubicBezTo>
                      <a:pt x="161" y="399"/>
                      <a:pt x="165" y="392"/>
                      <a:pt x="165" y="383"/>
                    </a:cubicBezTo>
                    <a:lnTo>
                      <a:pt x="165" y="16"/>
                    </a:lnTo>
                    <a:cubicBezTo>
                      <a:pt x="165" y="7"/>
                      <a:pt x="161" y="0"/>
                      <a:pt x="156" y="0"/>
                    </a:cubicBezTo>
                    <a:close/>
                    <a:moveTo>
                      <a:pt x="145" y="91"/>
                    </a:moveTo>
                    <a:cubicBezTo>
                      <a:pt x="145" y="91"/>
                      <a:pt x="142" y="92"/>
                      <a:pt x="138" y="92"/>
                    </a:cubicBezTo>
                    <a:lnTo>
                      <a:pt x="27" y="92"/>
                    </a:lnTo>
                    <a:cubicBezTo>
                      <a:pt x="23" y="92"/>
                      <a:pt x="20" y="91"/>
                      <a:pt x="20" y="91"/>
                    </a:cubicBezTo>
                    <a:lnTo>
                      <a:pt x="20" y="69"/>
                    </a:lnTo>
                    <a:cubicBezTo>
                      <a:pt x="20" y="69"/>
                      <a:pt x="23" y="69"/>
                      <a:pt x="27" y="69"/>
                    </a:cubicBezTo>
                    <a:lnTo>
                      <a:pt x="138" y="69"/>
                    </a:lnTo>
                    <a:cubicBezTo>
                      <a:pt x="142" y="69"/>
                      <a:pt x="145" y="69"/>
                      <a:pt x="145" y="69"/>
                    </a:cubicBezTo>
                    <a:lnTo>
                      <a:pt x="145" y="91"/>
                    </a:ln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95" name="Freeform 35"/>
              <p:cNvSpPr>
                <a:spLocks noChangeArrowheads="1"/>
              </p:cNvSpPr>
              <p:nvPr/>
            </p:nvSpPr>
            <p:spPr bwMode="auto">
              <a:xfrm>
                <a:off x="6752728" y="5026026"/>
                <a:ext cx="139700" cy="133350"/>
              </a:xfrm>
              <a:custGeom>
                <a:avLst/>
                <a:gdLst>
                  <a:gd name="T0" fmla="*/ 245 w 386"/>
                  <a:gd name="T1" fmla="*/ 305 h 371"/>
                  <a:gd name="T2" fmla="*/ 385 w 386"/>
                  <a:gd name="T3" fmla="*/ 305 h 371"/>
                  <a:gd name="T4" fmla="*/ 385 w 386"/>
                  <a:gd name="T5" fmla="*/ 0 h 371"/>
                  <a:gd name="T6" fmla="*/ 0 w 386"/>
                  <a:gd name="T7" fmla="*/ 0 h 371"/>
                  <a:gd name="T8" fmla="*/ 0 w 386"/>
                  <a:gd name="T9" fmla="*/ 305 h 371"/>
                  <a:gd name="T10" fmla="*/ 137 w 386"/>
                  <a:gd name="T11" fmla="*/ 305 h 371"/>
                  <a:gd name="T12" fmla="*/ 137 w 386"/>
                  <a:gd name="T13" fmla="*/ 332 h 371"/>
                  <a:gd name="T14" fmla="*/ 137 w 386"/>
                  <a:gd name="T15" fmla="*/ 358 h 371"/>
                  <a:gd name="T16" fmla="*/ 115 w 386"/>
                  <a:gd name="T17" fmla="*/ 358 h 371"/>
                  <a:gd name="T18" fmla="*/ 115 w 386"/>
                  <a:gd name="T19" fmla="*/ 370 h 371"/>
                  <a:gd name="T20" fmla="*/ 268 w 386"/>
                  <a:gd name="T21" fmla="*/ 370 h 371"/>
                  <a:gd name="T22" fmla="*/ 268 w 386"/>
                  <a:gd name="T23" fmla="*/ 358 h 371"/>
                  <a:gd name="T24" fmla="*/ 245 w 386"/>
                  <a:gd name="T25" fmla="*/ 358 h 371"/>
                  <a:gd name="T26" fmla="*/ 245 w 386"/>
                  <a:gd name="T27" fmla="*/ 332 h 371"/>
                  <a:gd name="T28" fmla="*/ 245 w 386"/>
                  <a:gd name="T29" fmla="*/ 305 h 371"/>
                  <a:gd name="T30" fmla="*/ 23 w 386"/>
                  <a:gd name="T31" fmla="*/ 278 h 371"/>
                  <a:gd name="T32" fmla="*/ 23 w 386"/>
                  <a:gd name="T33" fmla="*/ 27 h 371"/>
                  <a:gd name="T34" fmla="*/ 359 w 386"/>
                  <a:gd name="T35" fmla="*/ 27 h 371"/>
                  <a:gd name="T36" fmla="*/ 359 w 386"/>
                  <a:gd name="T37" fmla="*/ 278 h 371"/>
                  <a:gd name="T38" fmla="*/ 23 w 386"/>
                  <a:gd name="T39" fmla="*/ 278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6" h="371">
                    <a:moveTo>
                      <a:pt x="245" y="305"/>
                    </a:moveTo>
                    <a:lnTo>
                      <a:pt x="385" y="305"/>
                    </a:lnTo>
                    <a:lnTo>
                      <a:pt x="385" y="0"/>
                    </a:lnTo>
                    <a:lnTo>
                      <a:pt x="0" y="0"/>
                    </a:lnTo>
                    <a:lnTo>
                      <a:pt x="0" y="305"/>
                    </a:lnTo>
                    <a:lnTo>
                      <a:pt x="137" y="305"/>
                    </a:lnTo>
                    <a:lnTo>
                      <a:pt x="137" y="332"/>
                    </a:lnTo>
                    <a:lnTo>
                      <a:pt x="137" y="358"/>
                    </a:lnTo>
                    <a:lnTo>
                      <a:pt x="115" y="358"/>
                    </a:lnTo>
                    <a:lnTo>
                      <a:pt x="115" y="370"/>
                    </a:lnTo>
                    <a:lnTo>
                      <a:pt x="268" y="370"/>
                    </a:lnTo>
                    <a:lnTo>
                      <a:pt x="268" y="358"/>
                    </a:lnTo>
                    <a:lnTo>
                      <a:pt x="245" y="358"/>
                    </a:lnTo>
                    <a:lnTo>
                      <a:pt x="245" y="332"/>
                    </a:lnTo>
                    <a:lnTo>
                      <a:pt x="245" y="305"/>
                    </a:lnTo>
                    <a:close/>
                    <a:moveTo>
                      <a:pt x="23" y="278"/>
                    </a:moveTo>
                    <a:lnTo>
                      <a:pt x="23" y="27"/>
                    </a:lnTo>
                    <a:lnTo>
                      <a:pt x="359" y="27"/>
                    </a:lnTo>
                    <a:lnTo>
                      <a:pt x="359" y="278"/>
                    </a:lnTo>
                    <a:lnTo>
                      <a:pt x="23" y="278"/>
                    </a:ln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96" name="Freeform 36"/>
              <p:cNvSpPr>
                <a:spLocks noChangeArrowheads="1"/>
              </p:cNvSpPr>
              <p:nvPr/>
            </p:nvSpPr>
            <p:spPr bwMode="auto">
              <a:xfrm>
                <a:off x="6754316" y="5056188"/>
                <a:ext cx="131762" cy="58738"/>
              </a:xfrm>
              <a:custGeom>
                <a:avLst/>
                <a:gdLst>
                  <a:gd name="T0" fmla="*/ 331 w 365"/>
                  <a:gd name="T1" fmla="*/ 78 h 163"/>
                  <a:gd name="T2" fmla="*/ 312 w 365"/>
                  <a:gd name="T3" fmla="*/ 42 h 163"/>
                  <a:gd name="T4" fmla="*/ 299 w 365"/>
                  <a:gd name="T5" fmla="*/ 114 h 163"/>
                  <a:gd name="T6" fmla="*/ 283 w 365"/>
                  <a:gd name="T7" fmla="*/ 1 h 163"/>
                  <a:gd name="T8" fmla="*/ 260 w 365"/>
                  <a:gd name="T9" fmla="*/ 78 h 163"/>
                  <a:gd name="T10" fmla="*/ 224 w 365"/>
                  <a:gd name="T11" fmla="*/ 78 h 163"/>
                  <a:gd name="T12" fmla="*/ 205 w 365"/>
                  <a:gd name="T13" fmla="*/ 42 h 163"/>
                  <a:gd name="T14" fmla="*/ 192 w 365"/>
                  <a:gd name="T15" fmla="*/ 114 h 163"/>
                  <a:gd name="T16" fmla="*/ 176 w 365"/>
                  <a:gd name="T17" fmla="*/ 1 h 163"/>
                  <a:gd name="T18" fmla="*/ 153 w 365"/>
                  <a:gd name="T19" fmla="*/ 78 h 163"/>
                  <a:gd name="T20" fmla="*/ 116 w 365"/>
                  <a:gd name="T21" fmla="*/ 78 h 163"/>
                  <a:gd name="T22" fmla="*/ 98 w 365"/>
                  <a:gd name="T23" fmla="*/ 42 h 163"/>
                  <a:gd name="T24" fmla="*/ 84 w 365"/>
                  <a:gd name="T25" fmla="*/ 114 h 163"/>
                  <a:gd name="T26" fmla="*/ 69 w 365"/>
                  <a:gd name="T27" fmla="*/ 1 h 163"/>
                  <a:gd name="T28" fmla="*/ 46 w 365"/>
                  <a:gd name="T29" fmla="*/ 78 h 163"/>
                  <a:gd name="T30" fmla="*/ 0 w 365"/>
                  <a:gd name="T31" fmla="*/ 83 h 163"/>
                  <a:gd name="T32" fmla="*/ 50 w 365"/>
                  <a:gd name="T33" fmla="*/ 88 h 163"/>
                  <a:gd name="T34" fmla="*/ 67 w 365"/>
                  <a:gd name="T35" fmla="*/ 36 h 163"/>
                  <a:gd name="T36" fmla="*/ 84 w 365"/>
                  <a:gd name="T37" fmla="*/ 162 h 163"/>
                  <a:gd name="T38" fmla="*/ 89 w 365"/>
                  <a:gd name="T39" fmla="*/ 158 h 163"/>
                  <a:gd name="T40" fmla="*/ 108 w 365"/>
                  <a:gd name="T41" fmla="*/ 83 h 163"/>
                  <a:gd name="T42" fmla="*/ 110 w 365"/>
                  <a:gd name="T43" fmla="*/ 87 h 163"/>
                  <a:gd name="T44" fmla="*/ 113 w 365"/>
                  <a:gd name="T45" fmla="*/ 88 h 163"/>
                  <a:gd name="T46" fmla="*/ 144 w 365"/>
                  <a:gd name="T47" fmla="*/ 88 h 163"/>
                  <a:gd name="T48" fmla="*/ 162 w 365"/>
                  <a:gd name="T49" fmla="*/ 85 h 163"/>
                  <a:gd name="T50" fmla="*/ 186 w 365"/>
                  <a:gd name="T51" fmla="*/ 158 h 163"/>
                  <a:gd name="T52" fmla="*/ 191 w 365"/>
                  <a:gd name="T53" fmla="*/ 162 h 163"/>
                  <a:gd name="T54" fmla="*/ 208 w 365"/>
                  <a:gd name="T55" fmla="*/ 66 h 163"/>
                  <a:gd name="T56" fmla="*/ 215 w 365"/>
                  <a:gd name="T57" fmla="*/ 83 h 163"/>
                  <a:gd name="T58" fmla="*/ 218 w 365"/>
                  <a:gd name="T59" fmla="*/ 88 h 163"/>
                  <a:gd name="T60" fmla="*/ 220 w 365"/>
                  <a:gd name="T61" fmla="*/ 88 h 163"/>
                  <a:gd name="T62" fmla="*/ 265 w 365"/>
                  <a:gd name="T63" fmla="*/ 88 h 163"/>
                  <a:gd name="T64" fmla="*/ 281 w 365"/>
                  <a:gd name="T65" fmla="*/ 36 h 163"/>
                  <a:gd name="T66" fmla="*/ 298 w 365"/>
                  <a:gd name="T67" fmla="*/ 162 h 163"/>
                  <a:gd name="T68" fmla="*/ 303 w 365"/>
                  <a:gd name="T69" fmla="*/ 158 h 163"/>
                  <a:gd name="T70" fmla="*/ 323 w 365"/>
                  <a:gd name="T71" fmla="*/ 85 h 163"/>
                  <a:gd name="T72" fmla="*/ 359 w 365"/>
                  <a:gd name="T73" fmla="*/ 88 h 163"/>
                  <a:gd name="T74" fmla="*/ 358 w 365"/>
                  <a:gd name="T75" fmla="*/ 7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5" h="163">
                    <a:moveTo>
                      <a:pt x="358" y="78"/>
                    </a:moveTo>
                    <a:lnTo>
                      <a:pt x="331" y="78"/>
                    </a:lnTo>
                    <a:lnTo>
                      <a:pt x="317" y="45"/>
                    </a:lnTo>
                    <a:cubicBezTo>
                      <a:pt x="316" y="43"/>
                      <a:pt x="314" y="42"/>
                      <a:pt x="312" y="42"/>
                    </a:cubicBezTo>
                    <a:cubicBezTo>
                      <a:pt x="310" y="42"/>
                      <a:pt x="308" y="44"/>
                      <a:pt x="308" y="46"/>
                    </a:cubicBezTo>
                    <a:lnTo>
                      <a:pt x="299" y="114"/>
                    </a:lnTo>
                    <a:lnTo>
                      <a:pt x="288" y="5"/>
                    </a:lnTo>
                    <a:cubicBezTo>
                      <a:pt x="288" y="3"/>
                      <a:pt x="286" y="1"/>
                      <a:pt x="283" y="1"/>
                    </a:cubicBezTo>
                    <a:cubicBezTo>
                      <a:pt x="281" y="0"/>
                      <a:pt x="279" y="2"/>
                      <a:pt x="278" y="4"/>
                    </a:cubicBezTo>
                    <a:lnTo>
                      <a:pt x="260" y="78"/>
                    </a:lnTo>
                    <a:lnTo>
                      <a:pt x="251" y="78"/>
                    </a:lnTo>
                    <a:lnTo>
                      <a:pt x="224" y="78"/>
                    </a:lnTo>
                    <a:lnTo>
                      <a:pt x="210" y="45"/>
                    </a:lnTo>
                    <a:cubicBezTo>
                      <a:pt x="209" y="43"/>
                      <a:pt x="207" y="42"/>
                      <a:pt x="205" y="42"/>
                    </a:cubicBezTo>
                    <a:cubicBezTo>
                      <a:pt x="203" y="42"/>
                      <a:pt x="201" y="44"/>
                      <a:pt x="200" y="46"/>
                    </a:cubicBezTo>
                    <a:lnTo>
                      <a:pt x="192" y="114"/>
                    </a:lnTo>
                    <a:lnTo>
                      <a:pt x="181" y="5"/>
                    </a:lnTo>
                    <a:cubicBezTo>
                      <a:pt x="181" y="3"/>
                      <a:pt x="179" y="1"/>
                      <a:pt x="176" y="1"/>
                    </a:cubicBezTo>
                    <a:cubicBezTo>
                      <a:pt x="174" y="0"/>
                      <a:pt x="172" y="2"/>
                      <a:pt x="171" y="4"/>
                    </a:cubicBezTo>
                    <a:lnTo>
                      <a:pt x="153" y="78"/>
                    </a:lnTo>
                    <a:lnTo>
                      <a:pt x="144" y="78"/>
                    </a:lnTo>
                    <a:lnTo>
                      <a:pt x="116" y="78"/>
                    </a:lnTo>
                    <a:lnTo>
                      <a:pt x="103" y="45"/>
                    </a:lnTo>
                    <a:cubicBezTo>
                      <a:pt x="102" y="43"/>
                      <a:pt x="100" y="42"/>
                      <a:pt x="98" y="42"/>
                    </a:cubicBezTo>
                    <a:cubicBezTo>
                      <a:pt x="96" y="42"/>
                      <a:pt x="94" y="44"/>
                      <a:pt x="93" y="46"/>
                    </a:cubicBezTo>
                    <a:lnTo>
                      <a:pt x="84" y="114"/>
                    </a:lnTo>
                    <a:lnTo>
                      <a:pt x="74" y="5"/>
                    </a:lnTo>
                    <a:cubicBezTo>
                      <a:pt x="74" y="3"/>
                      <a:pt x="72" y="1"/>
                      <a:pt x="69" y="1"/>
                    </a:cubicBezTo>
                    <a:cubicBezTo>
                      <a:pt x="67" y="0"/>
                      <a:pt x="65" y="2"/>
                      <a:pt x="64" y="4"/>
                    </a:cubicBezTo>
                    <a:lnTo>
                      <a:pt x="46" y="78"/>
                    </a:lnTo>
                    <a:lnTo>
                      <a:pt x="5" y="78"/>
                    </a:lnTo>
                    <a:cubicBezTo>
                      <a:pt x="3" y="78"/>
                      <a:pt x="0" y="81"/>
                      <a:pt x="0" y="83"/>
                    </a:cubicBezTo>
                    <a:cubicBezTo>
                      <a:pt x="0" y="86"/>
                      <a:pt x="3" y="88"/>
                      <a:pt x="5" y="88"/>
                    </a:cubicBezTo>
                    <a:lnTo>
                      <a:pt x="50" y="88"/>
                    </a:lnTo>
                    <a:cubicBezTo>
                      <a:pt x="53" y="88"/>
                      <a:pt x="55" y="87"/>
                      <a:pt x="55" y="84"/>
                    </a:cubicBezTo>
                    <a:lnTo>
                      <a:pt x="67" y="36"/>
                    </a:lnTo>
                    <a:lnTo>
                      <a:pt x="79" y="158"/>
                    </a:lnTo>
                    <a:cubicBezTo>
                      <a:pt x="79" y="160"/>
                      <a:pt x="81" y="162"/>
                      <a:pt x="84" y="162"/>
                    </a:cubicBezTo>
                    <a:lnTo>
                      <a:pt x="84" y="162"/>
                    </a:lnTo>
                    <a:cubicBezTo>
                      <a:pt x="86" y="162"/>
                      <a:pt x="88" y="160"/>
                      <a:pt x="89" y="158"/>
                    </a:cubicBezTo>
                    <a:lnTo>
                      <a:pt x="101" y="66"/>
                    </a:lnTo>
                    <a:lnTo>
                      <a:pt x="108" y="83"/>
                    </a:lnTo>
                    <a:lnTo>
                      <a:pt x="108" y="83"/>
                    </a:lnTo>
                    <a:cubicBezTo>
                      <a:pt x="108" y="85"/>
                      <a:pt x="109" y="87"/>
                      <a:pt x="110" y="87"/>
                    </a:cubicBezTo>
                    <a:cubicBezTo>
                      <a:pt x="110" y="87"/>
                      <a:pt x="111" y="87"/>
                      <a:pt x="111" y="88"/>
                    </a:cubicBezTo>
                    <a:cubicBezTo>
                      <a:pt x="111" y="88"/>
                      <a:pt x="112" y="88"/>
                      <a:pt x="113" y="88"/>
                    </a:cubicBezTo>
                    <a:lnTo>
                      <a:pt x="113" y="88"/>
                    </a:lnTo>
                    <a:lnTo>
                      <a:pt x="144" y="88"/>
                    </a:lnTo>
                    <a:lnTo>
                      <a:pt x="157" y="88"/>
                    </a:lnTo>
                    <a:cubicBezTo>
                      <a:pt x="160" y="88"/>
                      <a:pt x="162" y="87"/>
                      <a:pt x="162" y="85"/>
                    </a:cubicBezTo>
                    <a:lnTo>
                      <a:pt x="174" y="36"/>
                    </a:lnTo>
                    <a:lnTo>
                      <a:pt x="186" y="158"/>
                    </a:lnTo>
                    <a:cubicBezTo>
                      <a:pt x="186" y="160"/>
                      <a:pt x="188" y="162"/>
                      <a:pt x="191" y="162"/>
                    </a:cubicBezTo>
                    <a:lnTo>
                      <a:pt x="191" y="162"/>
                    </a:lnTo>
                    <a:cubicBezTo>
                      <a:pt x="193" y="162"/>
                      <a:pt x="195" y="160"/>
                      <a:pt x="196" y="158"/>
                    </a:cubicBezTo>
                    <a:lnTo>
                      <a:pt x="208" y="66"/>
                    </a:lnTo>
                    <a:lnTo>
                      <a:pt x="215" y="83"/>
                    </a:lnTo>
                    <a:lnTo>
                      <a:pt x="215" y="83"/>
                    </a:lnTo>
                    <a:cubicBezTo>
                      <a:pt x="215" y="85"/>
                      <a:pt x="216" y="87"/>
                      <a:pt x="217" y="87"/>
                    </a:cubicBezTo>
                    <a:cubicBezTo>
                      <a:pt x="218" y="88"/>
                      <a:pt x="218" y="88"/>
                      <a:pt x="218" y="88"/>
                    </a:cubicBezTo>
                    <a:cubicBezTo>
                      <a:pt x="219" y="88"/>
                      <a:pt x="219" y="88"/>
                      <a:pt x="220" y="88"/>
                    </a:cubicBezTo>
                    <a:lnTo>
                      <a:pt x="220" y="88"/>
                    </a:lnTo>
                    <a:lnTo>
                      <a:pt x="251" y="88"/>
                    </a:lnTo>
                    <a:lnTo>
                      <a:pt x="265" y="88"/>
                    </a:lnTo>
                    <a:cubicBezTo>
                      <a:pt x="267" y="88"/>
                      <a:pt x="269" y="87"/>
                      <a:pt x="269" y="85"/>
                    </a:cubicBezTo>
                    <a:lnTo>
                      <a:pt x="281" y="36"/>
                    </a:lnTo>
                    <a:lnTo>
                      <a:pt x="293" y="158"/>
                    </a:lnTo>
                    <a:cubicBezTo>
                      <a:pt x="293" y="160"/>
                      <a:pt x="295" y="162"/>
                      <a:pt x="298" y="162"/>
                    </a:cubicBezTo>
                    <a:lnTo>
                      <a:pt x="298" y="162"/>
                    </a:lnTo>
                    <a:cubicBezTo>
                      <a:pt x="300" y="162"/>
                      <a:pt x="303" y="160"/>
                      <a:pt x="303" y="158"/>
                    </a:cubicBezTo>
                    <a:lnTo>
                      <a:pt x="315" y="66"/>
                    </a:lnTo>
                    <a:lnTo>
                      <a:pt x="323" y="85"/>
                    </a:lnTo>
                    <a:cubicBezTo>
                      <a:pt x="324" y="87"/>
                      <a:pt x="325" y="88"/>
                      <a:pt x="327" y="88"/>
                    </a:cubicBezTo>
                    <a:lnTo>
                      <a:pt x="359" y="88"/>
                    </a:lnTo>
                    <a:cubicBezTo>
                      <a:pt x="361" y="88"/>
                      <a:pt x="364" y="86"/>
                      <a:pt x="364" y="83"/>
                    </a:cubicBezTo>
                    <a:cubicBezTo>
                      <a:pt x="363" y="81"/>
                      <a:pt x="361" y="78"/>
                      <a:pt x="358" y="78"/>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grpSp>
      <p:grpSp>
        <p:nvGrpSpPr>
          <p:cNvPr id="297" name="Group 380"/>
          <p:cNvGrpSpPr/>
          <p:nvPr/>
        </p:nvGrpSpPr>
        <p:grpSpPr>
          <a:xfrm>
            <a:off x="7189291" y="4711701"/>
            <a:ext cx="1403350" cy="215900"/>
            <a:chOff x="5665291" y="4711701"/>
            <a:chExt cx="1403350" cy="215900"/>
          </a:xfrm>
        </p:grpSpPr>
        <p:sp>
          <p:nvSpPr>
            <p:cNvPr id="298" name="Freeform 45"/>
            <p:cNvSpPr>
              <a:spLocks noChangeArrowheads="1"/>
            </p:cNvSpPr>
            <p:nvPr/>
          </p:nvSpPr>
          <p:spPr bwMode="auto">
            <a:xfrm>
              <a:off x="5665291" y="4711701"/>
              <a:ext cx="1403350" cy="215900"/>
            </a:xfrm>
            <a:custGeom>
              <a:avLst/>
              <a:gdLst>
                <a:gd name="T0" fmla="*/ 3597 w 3897"/>
                <a:gd name="T1" fmla="*/ 0 h 600"/>
                <a:gd name="T2" fmla="*/ 300 w 3897"/>
                <a:gd name="T3" fmla="*/ 0 h 600"/>
                <a:gd name="T4" fmla="*/ 300 w 3897"/>
                <a:gd name="T5" fmla="*/ 0 h 600"/>
                <a:gd name="T6" fmla="*/ 0 w 3897"/>
                <a:gd name="T7" fmla="*/ 300 h 600"/>
                <a:gd name="T8" fmla="*/ 300 w 3897"/>
                <a:gd name="T9" fmla="*/ 599 h 600"/>
                <a:gd name="T10" fmla="*/ 300 w 3897"/>
                <a:gd name="T11" fmla="*/ 599 h 600"/>
                <a:gd name="T12" fmla="*/ 3597 w 3897"/>
                <a:gd name="T13" fmla="*/ 599 h 600"/>
                <a:gd name="T14" fmla="*/ 3896 w 3897"/>
                <a:gd name="T15" fmla="*/ 300 h 600"/>
                <a:gd name="T16" fmla="*/ 3597 w 3897"/>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7" h="600">
                  <a:moveTo>
                    <a:pt x="3597" y="0"/>
                  </a:moveTo>
                  <a:lnTo>
                    <a:pt x="300" y="0"/>
                  </a:lnTo>
                  <a:lnTo>
                    <a:pt x="300" y="0"/>
                  </a:lnTo>
                  <a:cubicBezTo>
                    <a:pt x="134" y="0"/>
                    <a:pt x="0" y="134"/>
                    <a:pt x="0" y="300"/>
                  </a:cubicBezTo>
                  <a:cubicBezTo>
                    <a:pt x="0" y="465"/>
                    <a:pt x="134" y="599"/>
                    <a:pt x="300" y="599"/>
                  </a:cubicBezTo>
                  <a:lnTo>
                    <a:pt x="300" y="599"/>
                  </a:lnTo>
                  <a:lnTo>
                    <a:pt x="3597" y="599"/>
                  </a:lnTo>
                  <a:cubicBezTo>
                    <a:pt x="3762" y="599"/>
                    <a:pt x="3896" y="466"/>
                    <a:pt x="3896" y="300"/>
                  </a:cubicBezTo>
                  <a:cubicBezTo>
                    <a:pt x="3896" y="135"/>
                    <a:pt x="3762" y="0"/>
                    <a:pt x="3597"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299" name="Text Box 46"/>
            <p:cNvSpPr txBox="1">
              <a:spLocks noChangeArrowheads="1"/>
            </p:cNvSpPr>
            <p:nvPr/>
          </p:nvSpPr>
          <p:spPr bwMode="auto">
            <a:xfrm>
              <a:off x="5887043" y="4748959"/>
              <a:ext cx="1128120" cy="176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7938" rIns="0" bIns="0" anchor="ctr"/>
            <a:lstStyle>
              <a:lvl1pPr>
                <a:tabLst>
                  <a:tab pos="723900" algn="l"/>
                </a:tabLst>
                <a:defRPr>
                  <a:solidFill>
                    <a:srgbClr val="000000"/>
                  </a:solidFill>
                  <a:latin typeface="Arial" charset="0"/>
                  <a:ea typeface="微软雅黑" charset="0"/>
                  <a:cs typeface="微软雅黑" charset="0"/>
                </a:defRPr>
              </a:lvl1pPr>
              <a:lvl2pPr>
                <a:tabLst>
                  <a:tab pos="723900" algn="l"/>
                </a:tabLst>
                <a:defRPr>
                  <a:solidFill>
                    <a:srgbClr val="000000"/>
                  </a:solidFill>
                  <a:latin typeface="Arial" charset="0"/>
                  <a:ea typeface="微软雅黑" charset="0"/>
                  <a:cs typeface="微软雅黑" charset="0"/>
                </a:defRPr>
              </a:lvl2pPr>
              <a:lvl3pPr>
                <a:tabLst>
                  <a:tab pos="723900" algn="l"/>
                </a:tabLst>
                <a:defRPr>
                  <a:solidFill>
                    <a:srgbClr val="000000"/>
                  </a:solidFill>
                  <a:latin typeface="Arial" charset="0"/>
                  <a:ea typeface="微软雅黑" charset="0"/>
                  <a:cs typeface="微软雅黑" charset="0"/>
                </a:defRPr>
              </a:lvl3pPr>
              <a:lvl4pPr>
                <a:tabLst>
                  <a:tab pos="723900" algn="l"/>
                </a:tabLst>
                <a:defRPr>
                  <a:solidFill>
                    <a:srgbClr val="000000"/>
                  </a:solidFill>
                  <a:latin typeface="Arial" charset="0"/>
                  <a:ea typeface="微软雅黑" charset="0"/>
                  <a:cs typeface="微软雅黑" charset="0"/>
                </a:defRPr>
              </a:lvl4pPr>
              <a:lvl5pPr>
                <a:tabLst>
                  <a:tab pos="723900" algn="l"/>
                </a:tabLst>
                <a:defRPr>
                  <a:solidFill>
                    <a:srgbClr val="000000"/>
                  </a:solidFill>
                  <a:latin typeface="Arial" charset="0"/>
                  <a:ea typeface="微软雅黑" charset="0"/>
                  <a:cs typeface="微软雅黑"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9pPr>
            </a:lstStyle>
            <a:p>
              <a:pPr algn="ctr">
                <a:lnSpc>
                  <a:spcPts val="700"/>
                </a:lnSpc>
              </a:pPr>
              <a:r>
                <a:rPr lang="en-US" sz="700" dirty="0">
                  <a:solidFill>
                    <a:srgbClr val="5C8B76"/>
                  </a:solidFill>
                  <a:latin typeface="Arial"/>
                  <a:ea typeface="'ArialMT'" pitchFamily="32" charset="0"/>
                  <a:cs typeface="Arial"/>
                </a:rPr>
                <a:t>Mobile / Smartphone</a:t>
              </a:r>
            </a:p>
          </p:txBody>
        </p:sp>
        <p:sp>
          <p:nvSpPr>
            <p:cNvPr id="300" name="Freeform 47"/>
            <p:cNvSpPr>
              <a:spLocks noChangeArrowheads="1"/>
            </p:cNvSpPr>
            <p:nvPr/>
          </p:nvSpPr>
          <p:spPr bwMode="auto">
            <a:xfrm>
              <a:off x="5774828" y="4738688"/>
              <a:ext cx="98425" cy="161925"/>
            </a:xfrm>
            <a:custGeom>
              <a:avLst/>
              <a:gdLst>
                <a:gd name="T0" fmla="*/ 254 w 275"/>
                <a:gd name="T1" fmla="*/ 0 h 450"/>
                <a:gd name="T2" fmla="*/ 20 w 275"/>
                <a:gd name="T3" fmla="*/ 0 h 450"/>
                <a:gd name="T4" fmla="*/ 0 w 275"/>
                <a:gd name="T5" fmla="*/ 20 h 450"/>
                <a:gd name="T6" fmla="*/ 0 w 275"/>
                <a:gd name="T7" fmla="*/ 429 h 450"/>
                <a:gd name="T8" fmla="*/ 20 w 275"/>
                <a:gd name="T9" fmla="*/ 449 h 450"/>
                <a:gd name="T10" fmla="*/ 254 w 275"/>
                <a:gd name="T11" fmla="*/ 449 h 450"/>
                <a:gd name="T12" fmla="*/ 274 w 275"/>
                <a:gd name="T13" fmla="*/ 429 h 450"/>
                <a:gd name="T14" fmla="*/ 274 w 275"/>
                <a:gd name="T15" fmla="*/ 20 h 450"/>
                <a:gd name="T16" fmla="*/ 254 w 275"/>
                <a:gd name="T17" fmla="*/ 0 h 450"/>
                <a:gd name="T18" fmla="*/ 137 w 275"/>
                <a:gd name="T19" fmla="*/ 430 h 450"/>
                <a:gd name="T20" fmla="*/ 117 w 275"/>
                <a:gd name="T21" fmla="*/ 411 h 450"/>
                <a:gd name="T22" fmla="*/ 137 w 275"/>
                <a:gd name="T23" fmla="*/ 391 h 450"/>
                <a:gd name="T24" fmla="*/ 157 w 275"/>
                <a:gd name="T25" fmla="*/ 411 h 450"/>
                <a:gd name="T26" fmla="*/ 137 w 275"/>
                <a:gd name="T27" fmla="*/ 430 h 450"/>
                <a:gd name="T28" fmla="*/ 236 w 275"/>
                <a:gd name="T29" fmla="*/ 347 h 450"/>
                <a:gd name="T30" fmla="*/ 222 w 275"/>
                <a:gd name="T31" fmla="*/ 362 h 450"/>
                <a:gd name="T32" fmla="*/ 52 w 275"/>
                <a:gd name="T33" fmla="*/ 362 h 450"/>
                <a:gd name="T34" fmla="*/ 38 w 275"/>
                <a:gd name="T35" fmla="*/ 347 h 450"/>
                <a:gd name="T36" fmla="*/ 38 w 275"/>
                <a:gd name="T37" fmla="*/ 55 h 450"/>
                <a:gd name="T38" fmla="*/ 52 w 275"/>
                <a:gd name="T39" fmla="*/ 41 h 450"/>
                <a:gd name="T40" fmla="*/ 222 w 275"/>
                <a:gd name="T41" fmla="*/ 41 h 450"/>
                <a:gd name="T42" fmla="*/ 236 w 275"/>
                <a:gd name="T43" fmla="*/ 55 h 450"/>
                <a:gd name="T44" fmla="*/ 236 w 275"/>
                <a:gd name="T45" fmla="*/ 347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5" h="450">
                  <a:moveTo>
                    <a:pt x="254" y="0"/>
                  </a:moveTo>
                  <a:lnTo>
                    <a:pt x="20" y="0"/>
                  </a:lnTo>
                  <a:cubicBezTo>
                    <a:pt x="9" y="0"/>
                    <a:pt x="0" y="8"/>
                    <a:pt x="0" y="20"/>
                  </a:cubicBezTo>
                  <a:lnTo>
                    <a:pt x="0" y="429"/>
                  </a:lnTo>
                  <a:cubicBezTo>
                    <a:pt x="0" y="440"/>
                    <a:pt x="9" y="449"/>
                    <a:pt x="20" y="449"/>
                  </a:cubicBezTo>
                  <a:lnTo>
                    <a:pt x="254" y="449"/>
                  </a:lnTo>
                  <a:cubicBezTo>
                    <a:pt x="265" y="449"/>
                    <a:pt x="274" y="440"/>
                    <a:pt x="274" y="429"/>
                  </a:cubicBezTo>
                  <a:lnTo>
                    <a:pt x="274" y="20"/>
                  </a:lnTo>
                  <a:cubicBezTo>
                    <a:pt x="274" y="8"/>
                    <a:pt x="265" y="0"/>
                    <a:pt x="254" y="0"/>
                  </a:cubicBezTo>
                  <a:close/>
                  <a:moveTo>
                    <a:pt x="137" y="430"/>
                  </a:moveTo>
                  <a:cubicBezTo>
                    <a:pt x="126" y="430"/>
                    <a:pt x="117" y="422"/>
                    <a:pt x="117" y="411"/>
                  </a:cubicBezTo>
                  <a:cubicBezTo>
                    <a:pt x="117" y="400"/>
                    <a:pt x="126" y="391"/>
                    <a:pt x="137" y="391"/>
                  </a:cubicBezTo>
                  <a:cubicBezTo>
                    <a:pt x="148" y="391"/>
                    <a:pt x="157" y="400"/>
                    <a:pt x="157" y="411"/>
                  </a:cubicBezTo>
                  <a:cubicBezTo>
                    <a:pt x="157" y="422"/>
                    <a:pt x="148" y="430"/>
                    <a:pt x="137" y="430"/>
                  </a:cubicBezTo>
                  <a:close/>
                  <a:moveTo>
                    <a:pt x="236" y="347"/>
                  </a:moveTo>
                  <a:cubicBezTo>
                    <a:pt x="236" y="355"/>
                    <a:pt x="230" y="362"/>
                    <a:pt x="222" y="362"/>
                  </a:cubicBezTo>
                  <a:lnTo>
                    <a:pt x="52" y="362"/>
                  </a:lnTo>
                  <a:cubicBezTo>
                    <a:pt x="44" y="362"/>
                    <a:pt x="38" y="355"/>
                    <a:pt x="38" y="347"/>
                  </a:cubicBezTo>
                  <a:lnTo>
                    <a:pt x="38" y="55"/>
                  </a:lnTo>
                  <a:cubicBezTo>
                    <a:pt x="38" y="47"/>
                    <a:pt x="44" y="41"/>
                    <a:pt x="52" y="41"/>
                  </a:cubicBezTo>
                  <a:lnTo>
                    <a:pt x="222" y="41"/>
                  </a:lnTo>
                  <a:cubicBezTo>
                    <a:pt x="230" y="41"/>
                    <a:pt x="236" y="47"/>
                    <a:pt x="236" y="55"/>
                  </a:cubicBezTo>
                  <a:lnTo>
                    <a:pt x="236" y="347"/>
                  </a:ln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grpSp>
        <p:nvGrpSpPr>
          <p:cNvPr id="301" name="Group 371"/>
          <p:cNvGrpSpPr/>
          <p:nvPr/>
        </p:nvGrpSpPr>
        <p:grpSpPr>
          <a:xfrm>
            <a:off x="5622926" y="4711827"/>
            <a:ext cx="946453" cy="215900"/>
            <a:chOff x="4098925" y="4711827"/>
            <a:chExt cx="946453" cy="215900"/>
          </a:xfrm>
        </p:grpSpPr>
        <p:sp>
          <p:nvSpPr>
            <p:cNvPr id="302" name="Freeform 19"/>
            <p:cNvSpPr>
              <a:spLocks noChangeArrowheads="1"/>
            </p:cNvSpPr>
            <p:nvPr/>
          </p:nvSpPr>
          <p:spPr bwMode="auto">
            <a:xfrm>
              <a:off x="4098925" y="4711827"/>
              <a:ext cx="941388" cy="215900"/>
            </a:xfrm>
            <a:custGeom>
              <a:avLst/>
              <a:gdLst>
                <a:gd name="T0" fmla="*/ 2315 w 2616"/>
                <a:gd name="T1" fmla="*/ 0 h 600"/>
                <a:gd name="T2" fmla="*/ 300 w 2616"/>
                <a:gd name="T3" fmla="*/ 0 h 600"/>
                <a:gd name="T4" fmla="*/ 300 w 2616"/>
                <a:gd name="T5" fmla="*/ 0 h 600"/>
                <a:gd name="T6" fmla="*/ 0 w 2616"/>
                <a:gd name="T7" fmla="*/ 300 h 600"/>
                <a:gd name="T8" fmla="*/ 300 w 2616"/>
                <a:gd name="T9" fmla="*/ 599 h 600"/>
                <a:gd name="T10" fmla="*/ 300 w 2616"/>
                <a:gd name="T11" fmla="*/ 599 h 600"/>
                <a:gd name="T12" fmla="*/ 2315 w 2616"/>
                <a:gd name="T13" fmla="*/ 599 h 600"/>
                <a:gd name="T14" fmla="*/ 2615 w 2616"/>
                <a:gd name="T15" fmla="*/ 300 h 600"/>
                <a:gd name="T16" fmla="*/ 2315 w 2616"/>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16" h="600">
                  <a:moveTo>
                    <a:pt x="2315" y="0"/>
                  </a:moveTo>
                  <a:lnTo>
                    <a:pt x="300" y="0"/>
                  </a:lnTo>
                  <a:lnTo>
                    <a:pt x="300" y="0"/>
                  </a:lnTo>
                  <a:cubicBezTo>
                    <a:pt x="134" y="0"/>
                    <a:pt x="0" y="134"/>
                    <a:pt x="0" y="300"/>
                  </a:cubicBezTo>
                  <a:cubicBezTo>
                    <a:pt x="0" y="465"/>
                    <a:pt x="134" y="599"/>
                    <a:pt x="300" y="599"/>
                  </a:cubicBezTo>
                  <a:lnTo>
                    <a:pt x="300" y="599"/>
                  </a:lnTo>
                  <a:lnTo>
                    <a:pt x="2315" y="599"/>
                  </a:lnTo>
                  <a:cubicBezTo>
                    <a:pt x="2481" y="599"/>
                    <a:pt x="2615" y="465"/>
                    <a:pt x="2615" y="300"/>
                  </a:cubicBezTo>
                  <a:cubicBezTo>
                    <a:pt x="2615" y="134"/>
                    <a:pt x="2481" y="0"/>
                    <a:pt x="2315"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03" name="Freeform 21"/>
            <p:cNvSpPr>
              <a:spLocks noChangeArrowheads="1"/>
            </p:cNvSpPr>
            <p:nvPr/>
          </p:nvSpPr>
          <p:spPr bwMode="auto">
            <a:xfrm>
              <a:off x="4147610" y="4737227"/>
              <a:ext cx="174625" cy="144462"/>
            </a:xfrm>
            <a:custGeom>
              <a:avLst/>
              <a:gdLst>
                <a:gd name="T0" fmla="*/ 241 w 483"/>
                <a:gd name="T1" fmla="*/ 0 h 400"/>
                <a:gd name="T2" fmla="*/ 138 w 483"/>
                <a:gd name="T3" fmla="*/ 103 h 400"/>
                <a:gd name="T4" fmla="*/ 138 w 483"/>
                <a:gd name="T5" fmla="*/ 53 h 400"/>
                <a:gd name="T6" fmla="*/ 83 w 483"/>
                <a:gd name="T7" fmla="*/ 53 h 400"/>
                <a:gd name="T8" fmla="*/ 83 w 483"/>
                <a:gd name="T9" fmla="*/ 158 h 400"/>
                <a:gd name="T10" fmla="*/ 0 w 483"/>
                <a:gd name="T11" fmla="*/ 241 h 400"/>
                <a:gd name="T12" fmla="*/ 82 w 483"/>
                <a:gd name="T13" fmla="*/ 241 h 400"/>
                <a:gd name="T14" fmla="*/ 82 w 483"/>
                <a:gd name="T15" fmla="*/ 399 h 400"/>
                <a:gd name="T16" fmla="*/ 400 w 483"/>
                <a:gd name="T17" fmla="*/ 399 h 400"/>
                <a:gd name="T18" fmla="*/ 400 w 483"/>
                <a:gd name="T19" fmla="*/ 241 h 400"/>
                <a:gd name="T20" fmla="*/ 482 w 483"/>
                <a:gd name="T21" fmla="*/ 241 h 400"/>
                <a:gd name="T22" fmla="*/ 241 w 483"/>
                <a:gd name="T23" fmla="*/ 0 h 400"/>
                <a:gd name="T24" fmla="*/ 241 w 483"/>
                <a:gd name="T25" fmla="*/ 352 h 400"/>
                <a:gd name="T26" fmla="*/ 221 w 483"/>
                <a:gd name="T27" fmla="*/ 332 h 400"/>
                <a:gd name="T28" fmla="*/ 241 w 483"/>
                <a:gd name="T29" fmla="*/ 312 h 400"/>
                <a:gd name="T30" fmla="*/ 261 w 483"/>
                <a:gd name="T31" fmla="*/ 332 h 400"/>
                <a:gd name="T32" fmla="*/ 241 w 483"/>
                <a:gd name="T33" fmla="*/ 352 h 400"/>
                <a:gd name="T34" fmla="*/ 279 w 483"/>
                <a:gd name="T35" fmla="*/ 313 h 400"/>
                <a:gd name="T36" fmla="*/ 241 w 483"/>
                <a:gd name="T37" fmla="*/ 290 h 400"/>
                <a:gd name="T38" fmla="*/ 204 w 483"/>
                <a:gd name="T39" fmla="*/ 311 h 400"/>
                <a:gd name="T40" fmla="*/ 188 w 483"/>
                <a:gd name="T41" fmla="*/ 290 h 400"/>
                <a:gd name="T42" fmla="*/ 241 w 483"/>
                <a:gd name="T43" fmla="*/ 265 h 400"/>
                <a:gd name="T44" fmla="*/ 294 w 483"/>
                <a:gd name="T45" fmla="*/ 292 h 400"/>
                <a:gd name="T46" fmla="*/ 279 w 483"/>
                <a:gd name="T47" fmla="*/ 313 h 400"/>
                <a:gd name="T48" fmla="*/ 311 w 483"/>
                <a:gd name="T49" fmla="*/ 269 h 400"/>
                <a:gd name="T50" fmla="*/ 241 w 483"/>
                <a:gd name="T51" fmla="*/ 238 h 400"/>
                <a:gd name="T52" fmla="*/ 172 w 483"/>
                <a:gd name="T53" fmla="*/ 268 h 400"/>
                <a:gd name="T54" fmla="*/ 157 w 483"/>
                <a:gd name="T55" fmla="*/ 248 h 400"/>
                <a:gd name="T56" fmla="*/ 241 w 483"/>
                <a:gd name="T57" fmla="*/ 213 h 400"/>
                <a:gd name="T58" fmla="*/ 326 w 483"/>
                <a:gd name="T59" fmla="*/ 249 h 400"/>
                <a:gd name="T60" fmla="*/ 311 w 483"/>
                <a:gd name="T61" fmla="*/ 269 h 400"/>
                <a:gd name="T62" fmla="*/ 340 w 483"/>
                <a:gd name="T63" fmla="*/ 229 h 400"/>
                <a:gd name="T64" fmla="*/ 241 w 483"/>
                <a:gd name="T65" fmla="*/ 189 h 400"/>
                <a:gd name="T66" fmla="*/ 142 w 483"/>
                <a:gd name="T67" fmla="*/ 228 h 400"/>
                <a:gd name="T68" fmla="*/ 127 w 483"/>
                <a:gd name="T69" fmla="*/ 208 h 400"/>
                <a:gd name="T70" fmla="*/ 241 w 483"/>
                <a:gd name="T71" fmla="*/ 164 h 400"/>
                <a:gd name="T72" fmla="*/ 355 w 483"/>
                <a:gd name="T73" fmla="*/ 209 h 400"/>
                <a:gd name="T74" fmla="*/ 340 w 483"/>
                <a:gd name="T75" fmla="*/ 22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3" h="400">
                  <a:moveTo>
                    <a:pt x="241" y="0"/>
                  </a:moveTo>
                  <a:lnTo>
                    <a:pt x="138" y="103"/>
                  </a:lnTo>
                  <a:lnTo>
                    <a:pt x="138" y="53"/>
                  </a:lnTo>
                  <a:lnTo>
                    <a:pt x="83" y="53"/>
                  </a:lnTo>
                  <a:lnTo>
                    <a:pt x="83" y="158"/>
                  </a:lnTo>
                  <a:lnTo>
                    <a:pt x="0" y="241"/>
                  </a:lnTo>
                  <a:lnTo>
                    <a:pt x="82" y="241"/>
                  </a:lnTo>
                  <a:lnTo>
                    <a:pt x="82" y="399"/>
                  </a:lnTo>
                  <a:lnTo>
                    <a:pt x="400" y="399"/>
                  </a:lnTo>
                  <a:lnTo>
                    <a:pt x="400" y="241"/>
                  </a:lnTo>
                  <a:lnTo>
                    <a:pt x="482" y="241"/>
                  </a:lnTo>
                  <a:lnTo>
                    <a:pt x="241" y="0"/>
                  </a:lnTo>
                  <a:close/>
                  <a:moveTo>
                    <a:pt x="241" y="352"/>
                  </a:moveTo>
                  <a:cubicBezTo>
                    <a:pt x="230" y="352"/>
                    <a:pt x="221" y="343"/>
                    <a:pt x="221" y="332"/>
                  </a:cubicBezTo>
                  <a:cubicBezTo>
                    <a:pt x="221" y="321"/>
                    <a:pt x="230" y="312"/>
                    <a:pt x="241" y="312"/>
                  </a:cubicBezTo>
                  <a:cubicBezTo>
                    <a:pt x="252" y="312"/>
                    <a:pt x="261" y="321"/>
                    <a:pt x="261" y="332"/>
                  </a:cubicBezTo>
                  <a:cubicBezTo>
                    <a:pt x="261" y="343"/>
                    <a:pt x="252" y="352"/>
                    <a:pt x="241" y="352"/>
                  </a:cubicBezTo>
                  <a:close/>
                  <a:moveTo>
                    <a:pt x="279" y="313"/>
                  </a:moveTo>
                  <a:cubicBezTo>
                    <a:pt x="272" y="299"/>
                    <a:pt x="257" y="290"/>
                    <a:pt x="241" y="290"/>
                  </a:cubicBezTo>
                  <a:cubicBezTo>
                    <a:pt x="225" y="290"/>
                    <a:pt x="211" y="298"/>
                    <a:pt x="204" y="311"/>
                  </a:cubicBezTo>
                  <a:lnTo>
                    <a:pt x="188" y="290"/>
                  </a:lnTo>
                  <a:cubicBezTo>
                    <a:pt x="201" y="275"/>
                    <a:pt x="220" y="265"/>
                    <a:pt x="241" y="265"/>
                  </a:cubicBezTo>
                  <a:cubicBezTo>
                    <a:pt x="263" y="265"/>
                    <a:pt x="282" y="276"/>
                    <a:pt x="294" y="292"/>
                  </a:cubicBezTo>
                  <a:lnTo>
                    <a:pt x="279" y="313"/>
                  </a:lnTo>
                  <a:close/>
                  <a:moveTo>
                    <a:pt x="311" y="269"/>
                  </a:moveTo>
                  <a:cubicBezTo>
                    <a:pt x="294" y="250"/>
                    <a:pt x="269" y="238"/>
                    <a:pt x="241" y="238"/>
                  </a:cubicBezTo>
                  <a:cubicBezTo>
                    <a:pt x="214" y="238"/>
                    <a:pt x="189" y="249"/>
                    <a:pt x="172" y="268"/>
                  </a:cubicBezTo>
                  <a:lnTo>
                    <a:pt x="157" y="248"/>
                  </a:lnTo>
                  <a:cubicBezTo>
                    <a:pt x="178" y="227"/>
                    <a:pt x="208" y="213"/>
                    <a:pt x="241" y="213"/>
                  </a:cubicBezTo>
                  <a:cubicBezTo>
                    <a:pt x="274" y="213"/>
                    <a:pt x="304" y="227"/>
                    <a:pt x="326" y="249"/>
                  </a:cubicBezTo>
                  <a:lnTo>
                    <a:pt x="311" y="269"/>
                  </a:lnTo>
                  <a:close/>
                  <a:moveTo>
                    <a:pt x="340" y="229"/>
                  </a:moveTo>
                  <a:cubicBezTo>
                    <a:pt x="315" y="204"/>
                    <a:pt x="279" y="189"/>
                    <a:pt x="241" y="189"/>
                  </a:cubicBezTo>
                  <a:cubicBezTo>
                    <a:pt x="203" y="189"/>
                    <a:pt x="168" y="204"/>
                    <a:pt x="142" y="228"/>
                  </a:cubicBezTo>
                  <a:lnTo>
                    <a:pt x="127" y="208"/>
                  </a:lnTo>
                  <a:cubicBezTo>
                    <a:pt x="157" y="181"/>
                    <a:pt x="197" y="164"/>
                    <a:pt x="241" y="164"/>
                  </a:cubicBezTo>
                  <a:cubicBezTo>
                    <a:pt x="285" y="164"/>
                    <a:pt x="325" y="181"/>
                    <a:pt x="355" y="209"/>
                  </a:cubicBezTo>
                  <a:lnTo>
                    <a:pt x="340" y="229"/>
                  </a:lnTo>
                  <a:close/>
                </a:path>
              </a:pathLst>
            </a:custGeom>
            <a:solidFill>
              <a:schemeClr val="tx1">
                <a:lumMod val="75000"/>
                <a:lumOff val="2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solidFill>
                  <a:schemeClr val="tx1">
                    <a:lumMod val="75000"/>
                    <a:lumOff val="25000"/>
                  </a:schemeClr>
                </a:solidFill>
                <a:latin typeface="Arial"/>
                <a:cs typeface="Arial"/>
              </a:endParaRPr>
            </a:p>
          </p:txBody>
        </p:sp>
        <p:sp>
          <p:nvSpPr>
            <p:cNvPr id="304" name="TextBox 321"/>
            <p:cNvSpPr txBox="1"/>
            <p:nvPr/>
          </p:nvSpPr>
          <p:spPr>
            <a:xfrm>
              <a:off x="4275042" y="4740799"/>
              <a:ext cx="770336" cy="170929"/>
            </a:xfrm>
            <a:prstGeom prst="rect">
              <a:avLst/>
            </a:prstGeom>
            <a:noFill/>
          </p:spPr>
          <p:txBody>
            <a:bodyPr wrap="square" lIns="0" tIns="0" rIns="0" bIns="0" rtlCol="0" anchor="ctr" anchorCtr="0">
              <a:noAutofit/>
            </a:bodyPr>
            <a:lstStyle/>
            <a:p>
              <a:pPr algn="ctr">
                <a:lnSpc>
                  <a:spcPts val="900"/>
                </a:lnSpc>
              </a:pPr>
              <a:r>
                <a:rPr lang="en-US" sz="700" dirty="0">
                  <a:solidFill>
                    <a:schemeClr val="tx1">
                      <a:lumMod val="75000"/>
                      <a:lumOff val="25000"/>
                    </a:schemeClr>
                  </a:solidFill>
                  <a:latin typeface="Arial"/>
                  <a:ea typeface="'ArialMT'" pitchFamily="32" charset="0"/>
                  <a:cs typeface="Arial"/>
                </a:rPr>
                <a:t>Smart Home</a:t>
              </a:r>
            </a:p>
          </p:txBody>
        </p:sp>
      </p:grpSp>
      <p:grpSp>
        <p:nvGrpSpPr>
          <p:cNvPr id="305" name="Group 3089"/>
          <p:cNvGrpSpPr/>
          <p:nvPr/>
        </p:nvGrpSpPr>
        <p:grpSpPr>
          <a:xfrm>
            <a:off x="3527798" y="5254701"/>
            <a:ext cx="707078" cy="215900"/>
            <a:chOff x="2021587" y="5234037"/>
            <a:chExt cx="707078" cy="215900"/>
          </a:xfrm>
        </p:grpSpPr>
        <p:sp>
          <p:nvSpPr>
            <p:cNvPr id="306" name="Freeform 50"/>
            <p:cNvSpPr>
              <a:spLocks noChangeArrowheads="1"/>
            </p:cNvSpPr>
            <p:nvPr/>
          </p:nvSpPr>
          <p:spPr bwMode="auto">
            <a:xfrm>
              <a:off x="2021587" y="5234037"/>
              <a:ext cx="707078" cy="215900"/>
            </a:xfrm>
            <a:custGeom>
              <a:avLst/>
              <a:gdLst>
                <a:gd name="T0" fmla="*/ 1413 w 1714"/>
                <a:gd name="T1" fmla="*/ 0 h 600"/>
                <a:gd name="T2" fmla="*/ 300 w 1714"/>
                <a:gd name="T3" fmla="*/ 0 h 600"/>
                <a:gd name="T4" fmla="*/ 300 w 1714"/>
                <a:gd name="T5" fmla="*/ 0 h 600"/>
                <a:gd name="T6" fmla="*/ 0 w 1714"/>
                <a:gd name="T7" fmla="*/ 299 h 600"/>
                <a:gd name="T8" fmla="*/ 300 w 1714"/>
                <a:gd name="T9" fmla="*/ 599 h 600"/>
                <a:gd name="T10" fmla="*/ 300 w 1714"/>
                <a:gd name="T11" fmla="*/ 599 h 600"/>
                <a:gd name="T12" fmla="*/ 1413 w 1714"/>
                <a:gd name="T13" fmla="*/ 599 h 600"/>
                <a:gd name="T14" fmla="*/ 1713 w 1714"/>
                <a:gd name="T15" fmla="*/ 299 h 600"/>
                <a:gd name="T16" fmla="*/ 1413 w 1714"/>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4" h="600">
                  <a:moveTo>
                    <a:pt x="1413" y="0"/>
                  </a:moveTo>
                  <a:lnTo>
                    <a:pt x="300" y="0"/>
                  </a:lnTo>
                  <a:lnTo>
                    <a:pt x="300" y="0"/>
                  </a:lnTo>
                  <a:cubicBezTo>
                    <a:pt x="134" y="0"/>
                    <a:pt x="0" y="134"/>
                    <a:pt x="0" y="299"/>
                  </a:cubicBezTo>
                  <a:cubicBezTo>
                    <a:pt x="0" y="464"/>
                    <a:pt x="134" y="599"/>
                    <a:pt x="300" y="599"/>
                  </a:cubicBezTo>
                  <a:lnTo>
                    <a:pt x="300" y="599"/>
                  </a:lnTo>
                  <a:lnTo>
                    <a:pt x="1413" y="599"/>
                  </a:lnTo>
                  <a:cubicBezTo>
                    <a:pt x="1579" y="599"/>
                    <a:pt x="1713" y="464"/>
                    <a:pt x="1713" y="299"/>
                  </a:cubicBezTo>
                  <a:cubicBezTo>
                    <a:pt x="1713" y="134"/>
                    <a:pt x="1579" y="0"/>
                    <a:pt x="1413"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307" name="Text Box 51"/>
            <p:cNvSpPr txBox="1">
              <a:spLocks noChangeArrowheads="1"/>
            </p:cNvSpPr>
            <p:nvPr/>
          </p:nvSpPr>
          <p:spPr bwMode="auto">
            <a:xfrm>
              <a:off x="2295526" y="5248325"/>
              <a:ext cx="407490" cy="1856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Transit Package </a:t>
              </a:r>
            </a:p>
          </p:txBody>
        </p:sp>
        <p:grpSp>
          <p:nvGrpSpPr>
            <p:cNvPr id="308" name="Group 322"/>
            <p:cNvGrpSpPr/>
            <p:nvPr/>
          </p:nvGrpSpPr>
          <p:grpSpPr>
            <a:xfrm>
              <a:off x="2062163" y="5284837"/>
              <a:ext cx="223837" cy="127000"/>
              <a:chOff x="2598738" y="5522913"/>
              <a:chExt cx="223837" cy="127000"/>
            </a:xfrm>
          </p:grpSpPr>
          <p:sp>
            <p:nvSpPr>
              <p:cNvPr id="309" name="Freeform 66"/>
              <p:cNvSpPr>
                <a:spLocks noChangeArrowheads="1"/>
              </p:cNvSpPr>
              <p:nvPr/>
            </p:nvSpPr>
            <p:spPr bwMode="auto">
              <a:xfrm>
                <a:off x="2598738" y="5532438"/>
                <a:ext cx="95250" cy="117475"/>
              </a:xfrm>
              <a:custGeom>
                <a:avLst/>
                <a:gdLst/>
                <a:ahLst/>
                <a:cxnLst>
                  <a:cxn ang="0">
                    <a:pos x="67" y="119"/>
                  </a:cxn>
                  <a:cxn ang="0">
                    <a:pos x="121" y="43"/>
                  </a:cxn>
                  <a:cxn ang="0">
                    <a:pos x="219" y="42"/>
                  </a:cxn>
                  <a:cxn ang="0">
                    <a:pos x="220" y="117"/>
                  </a:cxn>
                  <a:cxn ang="0">
                    <a:pos x="67" y="119"/>
                  </a:cxn>
                  <a:cxn ang="0">
                    <a:pos x="156" y="215"/>
                  </a:cxn>
                  <a:cxn ang="0">
                    <a:pos x="128" y="203"/>
                  </a:cxn>
                  <a:cxn ang="0">
                    <a:pos x="100" y="215"/>
                  </a:cxn>
                  <a:cxn ang="0">
                    <a:pos x="89" y="243"/>
                  </a:cxn>
                  <a:cxn ang="0">
                    <a:pos x="100" y="271"/>
                  </a:cxn>
                  <a:cxn ang="0">
                    <a:pos x="128" y="282"/>
                  </a:cxn>
                  <a:cxn ang="0">
                    <a:pos x="156" y="270"/>
                  </a:cxn>
                  <a:cxn ang="0">
                    <a:pos x="167" y="242"/>
                  </a:cxn>
                  <a:cxn ang="0">
                    <a:pos x="156" y="215"/>
                  </a:cxn>
                  <a:cxn ang="0">
                    <a:pos x="39" y="262"/>
                  </a:cxn>
                  <a:cxn ang="0">
                    <a:pos x="50" y="262"/>
                  </a:cxn>
                  <a:cxn ang="0">
                    <a:pos x="71" y="300"/>
                  </a:cxn>
                  <a:cxn ang="0">
                    <a:pos x="129" y="323"/>
                  </a:cxn>
                  <a:cxn ang="0">
                    <a:pos x="186" y="299"/>
                  </a:cxn>
                  <a:cxn ang="0">
                    <a:pos x="207" y="260"/>
                  </a:cxn>
                  <a:cxn ang="0">
                    <a:pos x="263" y="260"/>
                  </a:cxn>
                  <a:cxn ang="0">
                    <a:pos x="260" y="0"/>
                  </a:cxn>
                  <a:cxn ang="0">
                    <a:pos x="100" y="2"/>
                  </a:cxn>
                  <a:cxn ang="0">
                    <a:pos x="21" y="112"/>
                  </a:cxn>
                  <a:cxn ang="0">
                    <a:pos x="22" y="187"/>
                  </a:cxn>
                  <a:cxn ang="0">
                    <a:pos x="0" y="187"/>
                  </a:cxn>
                  <a:cxn ang="0">
                    <a:pos x="0" y="262"/>
                  </a:cxn>
                  <a:cxn ang="0">
                    <a:pos x="22" y="262"/>
                  </a:cxn>
                  <a:cxn ang="0">
                    <a:pos x="39" y="262"/>
                  </a:cxn>
                </a:cxnLst>
                <a:rect l="0" t="0" r="r" b="b"/>
                <a:pathLst>
                  <a:path w="264" h="325">
                    <a:moveTo>
                      <a:pt x="67" y="119"/>
                    </a:moveTo>
                    <a:lnTo>
                      <a:pt x="121" y="43"/>
                    </a:lnTo>
                    <a:lnTo>
                      <a:pt x="219" y="42"/>
                    </a:lnTo>
                    <a:lnTo>
                      <a:pt x="220" y="117"/>
                    </a:lnTo>
                    <a:lnTo>
                      <a:pt x="67" y="119"/>
                    </a:lnTo>
                    <a:close/>
                    <a:moveTo>
                      <a:pt x="156" y="215"/>
                    </a:moveTo>
                    <a:cubicBezTo>
                      <a:pt x="148" y="208"/>
                      <a:pt x="139" y="203"/>
                      <a:pt x="128" y="203"/>
                    </a:cubicBezTo>
                    <a:cubicBezTo>
                      <a:pt x="117" y="203"/>
                      <a:pt x="107" y="208"/>
                      <a:pt x="100" y="215"/>
                    </a:cubicBezTo>
                    <a:cubicBezTo>
                      <a:pt x="93" y="222"/>
                      <a:pt x="88" y="232"/>
                      <a:pt x="89" y="243"/>
                    </a:cubicBezTo>
                    <a:cubicBezTo>
                      <a:pt x="89" y="254"/>
                      <a:pt x="93" y="264"/>
                      <a:pt x="100" y="271"/>
                    </a:cubicBezTo>
                    <a:cubicBezTo>
                      <a:pt x="108" y="278"/>
                      <a:pt x="117" y="282"/>
                      <a:pt x="128" y="282"/>
                    </a:cubicBezTo>
                    <a:cubicBezTo>
                      <a:pt x="139" y="282"/>
                      <a:pt x="149" y="278"/>
                      <a:pt x="156" y="270"/>
                    </a:cubicBezTo>
                    <a:cubicBezTo>
                      <a:pt x="163" y="263"/>
                      <a:pt x="168" y="253"/>
                      <a:pt x="167" y="242"/>
                    </a:cubicBezTo>
                    <a:cubicBezTo>
                      <a:pt x="167" y="231"/>
                      <a:pt x="163" y="222"/>
                      <a:pt x="156" y="215"/>
                    </a:cubicBezTo>
                    <a:close/>
                    <a:moveTo>
                      <a:pt x="39" y="262"/>
                    </a:moveTo>
                    <a:lnTo>
                      <a:pt x="50" y="262"/>
                    </a:lnTo>
                    <a:cubicBezTo>
                      <a:pt x="53" y="277"/>
                      <a:pt x="61" y="290"/>
                      <a:pt x="71" y="300"/>
                    </a:cubicBezTo>
                    <a:cubicBezTo>
                      <a:pt x="86" y="315"/>
                      <a:pt x="106" y="324"/>
                      <a:pt x="129" y="323"/>
                    </a:cubicBezTo>
                    <a:cubicBezTo>
                      <a:pt x="151" y="323"/>
                      <a:pt x="171" y="314"/>
                      <a:pt x="186" y="299"/>
                    </a:cubicBezTo>
                    <a:cubicBezTo>
                      <a:pt x="196" y="289"/>
                      <a:pt x="203" y="275"/>
                      <a:pt x="207" y="260"/>
                    </a:cubicBezTo>
                    <a:lnTo>
                      <a:pt x="263" y="260"/>
                    </a:lnTo>
                    <a:lnTo>
                      <a:pt x="260" y="0"/>
                    </a:lnTo>
                    <a:lnTo>
                      <a:pt x="100" y="2"/>
                    </a:lnTo>
                    <a:lnTo>
                      <a:pt x="21" y="112"/>
                    </a:lnTo>
                    <a:lnTo>
                      <a:pt x="22" y="187"/>
                    </a:lnTo>
                    <a:lnTo>
                      <a:pt x="0" y="187"/>
                    </a:lnTo>
                    <a:lnTo>
                      <a:pt x="0" y="262"/>
                    </a:lnTo>
                    <a:lnTo>
                      <a:pt x="22" y="262"/>
                    </a:lnTo>
                    <a:lnTo>
                      <a:pt x="39" y="262"/>
                    </a:lnTo>
                    <a:close/>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p>
            </p:txBody>
          </p:sp>
          <p:sp>
            <p:nvSpPr>
              <p:cNvPr id="310" name="Freeform 67"/>
              <p:cNvSpPr>
                <a:spLocks noChangeArrowheads="1"/>
              </p:cNvSpPr>
              <p:nvPr/>
            </p:nvSpPr>
            <p:spPr bwMode="auto">
              <a:xfrm>
                <a:off x="2700338" y="5522913"/>
                <a:ext cx="122237" cy="125412"/>
              </a:xfrm>
              <a:custGeom>
                <a:avLst/>
                <a:gdLst/>
                <a:ahLst/>
                <a:cxnLst>
                  <a:cxn ang="0">
                    <a:pos x="242" y="237"/>
                  </a:cxn>
                  <a:cxn ang="0">
                    <a:pos x="214" y="226"/>
                  </a:cxn>
                  <a:cxn ang="0">
                    <a:pos x="186" y="238"/>
                  </a:cxn>
                  <a:cxn ang="0">
                    <a:pos x="175" y="266"/>
                  </a:cxn>
                  <a:cxn ang="0">
                    <a:pos x="187" y="294"/>
                  </a:cxn>
                  <a:cxn ang="0">
                    <a:pos x="215" y="305"/>
                  </a:cxn>
                  <a:cxn ang="0">
                    <a:pos x="243" y="293"/>
                  </a:cxn>
                  <a:cxn ang="0">
                    <a:pos x="254" y="265"/>
                  </a:cxn>
                  <a:cxn ang="0">
                    <a:pos x="242" y="237"/>
                  </a:cxn>
                  <a:cxn ang="0">
                    <a:pos x="0" y="3"/>
                  </a:cxn>
                  <a:cxn ang="0">
                    <a:pos x="316" y="0"/>
                  </a:cxn>
                  <a:cxn ang="0">
                    <a:pos x="318" y="217"/>
                  </a:cxn>
                  <a:cxn ang="0">
                    <a:pos x="339" y="217"/>
                  </a:cxn>
                  <a:cxn ang="0">
                    <a:pos x="340" y="282"/>
                  </a:cxn>
                  <a:cxn ang="0">
                    <a:pos x="319" y="282"/>
                  </a:cxn>
                  <a:cxn ang="0">
                    <a:pos x="319" y="283"/>
                  </a:cxn>
                  <a:cxn ang="0">
                    <a:pos x="293" y="283"/>
                  </a:cxn>
                  <a:cxn ang="0">
                    <a:pos x="272" y="322"/>
                  </a:cxn>
                  <a:cxn ang="0">
                    <a:pos x="215" y="346"/>
                  </a:cxn>
                  <a:cxn ang="0">
                    <a:pos x="158" y="323"/>
                  </a:cxn>
                  <a:cxn ang="0">
                    <a:pos x="136" y="285"/>
                  </a:cxn>
                  <a:cxn ang="0">
                    <a:pos x="3" y="286"/>
                  </a:cxn>
                  <a:cxn ang="0">
                    <a:pos x="0" y="3"/>
                  </a:cxn>
                </a:cxnLst>
                <a:rect l="0" t="0" r="r" b="b"/>
                <a:pathLst>
                  <a:path w="341" h="347">
                    <a:moveTo>
                      <a:pt x="242" y="237"/>
                    </a:moveTo>
                    <a:cubicBezTo>
                      <a:pt x="235" y="230"/>
                      <a:pt x="225" y="226"/>
                      <a:pt x="214" y="226"/>
                    </a:cubicBezTo>
                    <a:cubicBezTo>
                      <a:pt x="203" y="226"/>
                      <a:pt x="193" y="231"/>
                      <a:pt x="186" y="238"/>
                    </a:cubicBezTo>
                    <a:cubicBezTo>
                      <a:pt x="179" y="245"/>
                      <a:pt x="175" y="255"/>
                      <a:pt x="175" y="266"/>
                    </a:cubicBezTo>
                    <a:cubicBezTo>
                      <a:pt x="175" y="277"/>
                      <a:pt x="180" y="286"/>
                      <a:pt x="187" y="294"/>
                    </a:cubicBezTo>
                    <a:cubicBezTo>
                      <a:pt x="194" y="301"/>
                      <a:pt x="204" y="305"/>
                      <a:pt x="215" y="305"/>
                    </a:cubicBezTo>
                    <a:cubicBezTo>
                      <a:pt x="226" y="305"/>
                      <a:pt x="235" y="300"/>
                      <a:pt x="243" y="293"/>
                    </a:cubicBezTo>
                    <a:cubicBezTo>
                      <a:pt x="250" y="286"/>
                      <a:pt x="254" y="276"/>
                      <a:pt x="254" y="265"/>
                    </a:cubicBezTo>
                    <a:cubicBezTo>
                      <a:pt x="254" y="254"/>
                      <a:pt x="249" y="244"/>
                      <a:pt x="242" y="237"/>
                    </a:cubicBezTo>
                    <a:close/>
                    <a:moveTo>
                      <a:pt x="0" y="3"/>
                    </a:moveTo>
                    <a:lnTo>
                      <a:pt x="316" y="0"/>
                    </a:lnTo>
                    <a:lnTo>
                      <a:pt x="318" y="217"/>
                    </a:lnTo>
                    <a:lnTo>
                      <a:pt x="339" y="217"/>
                    </a:lnTo>
                    <a:lnTo>
                      <a:pt x="340" y="282"/>
                    </a:lnTo>
                    <a:lnTo>
                      <a:pt x="319" y="282"/>
                    </a:lnTo>
                    <a:lnTo>
                      <a:pt x="319" y="283"/>
                    </a:lnTo>
                    <a:lnTo>
                      <a:pt x="293" y="283"/>
                    </a:lnTo>
                    <a:cubicBezTo>
                      <a:pt x="290" y="298"/>
                      <a:pt x="282" y="311"/>
                      <a:pt x="272" y="322"/>
                    </a:cubicBezTo>
                    <a:cubicBezTo>
                      <a:pt x="257" y="337"/>
                      <a:pt x="237" y="346"/>
                      <a:pt x="215" y="346"/>
                    </a:cubicBezTo>
                    <a:cubicBezTo>
                      <a:pt x="193" y="346"/>
                      <a:pt x="173" y="337"/>
                      <a:pt x="158" y="323"/>
                    </a:cubicBezTo>
                    <a:cubicBezTo>
                      <a:pt x="147" y="313"/>
                      <a:pt x="140" y="299"/>
                      <a:pt x="136" y="285"/>
                    </a:cubicBezTo>
                    <a:lnTo>
                      <a:pt x="3" y="286"/>
                    </a:lnTo>
                    <a:lnTo>
                      <a:pt x="0" y="3"/>
                    </a:lnTo>
                    <a:close/>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p>
            </p:txBody>
          </p:sp>
        </p:grpSp>
      </p:grpSp>
      <p:grpSp>
        <p:nvGrpSpPr>
          <p:cNvPr id="311" name="Group 3093"/>
          <p:cNvGrpSpPr/>
          <p:nvPr/>
        </p:nvGrpSpPr>
        <p:grpSpPr>
          <a:xfrm>
            <a:off x="4312997" y="5557563"/>
            <a:ext cx="700955" cy="215902"/>
            <a:chOff x="2809579" y="5510213"/>
            <a:chExt cx="700955" cy="215902"/>
          </a:xfrm>
        </p:grpSpPr>
        <p:sp>
          <p:nvSpPr>
            <p:cNvPr id="312" name="Freeform 30"/>
            <p:cNvSpPr>
              <a:spLocks noChangeArrowheads="1"/>
            </p:cNvSpPr>
            <p:nvPr/>
          </p:nvSpPr>
          <p:spPr bwMode="auto">
            <a:xfrm>
              <a:off x="2809579" y="5510213"/>
              <a:ext cx="700955" cy="215900"/>
            </a:xfrm>
            <a:custGeom>
              <a:avLst/>
              <a:gdLst>
                <a:gd name="T0" fmla="*/ 1378 w 1679"/>
                <a:gd name="T1" fmla="*/ 0 h 599"/>
                <a:gd name="T2" fmla="*/ 300 w 1679"/>
                <a:gd name="T3" fmla="*/ 0 h 599"/>
                <a:gd name="T4" fmla="*/ 300 w 1679"/>
                <a:gd name="T5" fmla="*/ 0 h 599"/>
                <a:gd name="T6" fmla="*/ 0 w 1679"/>
                <a:gd name="T7" fmla="*/ 299 h 599"/>
                <a:gd name="T8" fmla="*/ 300 w 1679"/>
                <a:gd name="T9" fmla="*/ 598 h 599"/>
                <a:gd name="T10" fmla="*/ 300 w 1679"/>
                <a:gd name="T11" fmla="*/ 598 h 599"/>
                <a:gd name="T12" fmla="*/ 1378 w 1679"/>
                <a:gd name="T13" fmla="*/ 598 h 599"/>
                <a:gd name="T14" fmla="*/ 1678 w 1679"/>
                <a:gd name="T15" fmla="*/ 299 h 599"/>
                <a:gd name="T16" fmla="*/ 1378 w 1679"/>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9" h="599">
                  <a:moveTo>
                    <a:pt x="1378" y="0"/>
                  </a:moveTo>
                  <a:lnTo>
                    <a:pt x="300" y="0"/>
                  </a:lnTo>
                  <a:lnTo>
                    <a:pt x="300" y="0"/>
                  </a:lnTo>
                  <a:cubicBezTo>
                    <a:pt x="134" y="0"/>
                    <a:pt x="0" y="134"/>
                    <a:pt x="0" y="299"/>
                  </a:cubicBezTo>
                  <a:cubicBezTo>
                    <a:pt x="0" y="464"/>
                    <a:pt x="134" y="598"/>
                    <a:pt x="300" y="598"/>
                  </a:cubicBezTo>
                  <a:lnTo>
                    <a:pt x="300" y="598"/>
                  </a:lnTo>
                  <a:lnTo>
                    <a:pt x="1378" y="598"/>
                  </a:lnTo>
                  <a:cubicBezTo>
                    <a:pt x="1544" y="598"/>
                    <a:pt x="1678" y="464"/>
                    <a:pt x="1678" y="299"/>
                  </a:cubicBezTo>
                  <a:cubicBezTo>
                    <a:pt x="1678" y="134"/>
                    <a:pt x="1544" y="0"/>
                    <a:pt x="1378"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a:cs typeface="Arial"/>
              </a:endParaRPr>
            </a:p>
          </p:txBody>
        </p:sp>
        <p:sp>
          <p:nvSpPr>
            <p:cNvPr id="313" name="Text Box 31"/>
            <p:cNvSpPr txBox="1">
              <a:spLocks noChangeArrowheads="1"/>
            </p:cNvSpPr>
            <p:nvPr/>
          </p:nvSpPr>
          <p:spPr bwMode="auto">
            <a:xfrm>
              <a:off x="3013669" y="5519739"/>
              <a:ext cx="441516" cy="2063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Children Customers</a:t>
              </a:r>
            </a:p>
          </p:txBody>
        </p:sp>
        <p:grpSp>
          <p:nvGrpSpPr>
            <p:cNvPr id="314" name="Group 325"/>
            <p:cNvGrpSpPr/>
            <p:nvPr/>
          </p:nvGrpSpPr>
          <p:grpSpPr>
            <a:xfrm>
              <a:off x="2889844" y="5537249"/>
              <a:ext cx="111125" cy="160338"/>
              <a:chOff x="3541713" y="5762625"/>
              <a:chExt cx="111125" cy="160338"/>
            </a:xfrm>
          </p:grpSpPr>
          <p:sp>
            <p:nvSpPr>
              <p:cNvPr id="315" name="Freeform 117"/>
              <p:cNvSpPr>
                <a:spLocks noChangeArrowheads="1"/>
              </p:cNvSpPr>
              <p:nvPr/>
            </p:nvSpPr>
            <p:spPr bwMode="auto">
              <a:xfrm>
                <a:off x="3541713" y="5810250"/>
                <a:ext cx="111125" cy="112713"/>
              </a:xfrm>
              <a:custGeom>
                <a:avLst/>
                <a:gdLst/>
                <a:ahLst/>
                <a:cxnLst>
                  <a:cxn ang="0">
                    <a:pos x="302" y="53"/>
                  </a:cxn>
                  <a:cxn ang="0">
                    <a:pos x="201" y="1"/>
                  </a:cxn>
                  <a:cxn ang="0">
                    <a:pos x="198" y="0"/>
                  </a:cxn>
                  <a:cxn ang="0">
                    <a:pos x="198" y="0"/>
                  </a:cxn>
                  <a:cxn ang="0">
                    <a:pos x="198" y="0"/>
                  </a:cxn>
                  <a:cxn ang="0">
                    <a:pos x="196" y="0"/>
                  </a:cxn>
                  <a:cxn ang="0">
                    <a:pos x="108" y="0"/>
                  </a:cxn>
                  <a:cxn ang="0">
                    <a:pos x="108" y="1"/>
                  </a:cxn>
                  <a:cxn ang="0">
                    <a:pos x="103" y="1"/>
                  </a:cxn>
                  <a:cxn ang="0">
                    <a:pos x="5" y="59"/>
                  </a:cxn>
                  <a:cxn ang="0">
                    <a:pos x="3" y="72"/>
                  </a:cxn>
                  <a:cxn ang="0">
                    <a:pos x="12" y="87"/>
                  </a:cxn>
                  <a:cxn ang="0">
                    <a:pos x="24" y="91"/>
                  </a:cxn>
                  <a:cxn ang="0">
                    <a:pos x="97" y="49"/>
                  </a:cxn>
                  <a:cxn ang="0">
                    <a:pos x="71" y="159"/>
                  </a:cxn>
                  <a:cxn ang="0">
                    <a:pos x="101" y="172"/>
                  </a:cxn>
                  <a:cxn ang="0">
                    <a:pos x="101" y="220"/>
                  </a:cxn>
                  <a:cxn ang="0">
                    <a:pos x="101" y="225"/>
                  </a:cxn>
                  <a:cxn ang="0">
                    <a:pos x="101" y="297"/>
                  </a:cxn>
                  <a:cxn ang="0">
                    <a:pos x="114" y="310"/>
                  </a:cxn>
                  <a:cxn ang="0">
                    <a:pos x="130" y="310"/>
                  </a:cxn>
                  <a:cxn ang="0">
                    <a:pos x="143" y="297"/>
                  </a:cxn>
                  <a:cxn ang="0">
                    <a:pos x="143" y="225"/>
                  </a:cxn>
                  <a:cxn ang="0">
                    <a:pos x="143" y="220"/>
                  </a:cxn>
                  <a:cxn ang="0">
                    <a:pos x="143" y="181"/>
                  </a:cxn>
                  <a:cxn ang="0">
                    <a:pos x="162" y="182"/>
                  </a:cxn>
                  <a:cxn ang="0">
                    <a:pos x="162" y="220"/>
                  </a:cxn>
                  <a:cxn ang="0">
                    <a:pos x="162" y="225"/>
                  </a:cxn>
                  <a:cxn ang="0">
                    <a:pos x="162" y="297"/>
                  </a:cxn>
                  <a:cxn ang="0">
                    <a:pos x="176" y="310"/>
                  </a:cxn>
                  <a:cxn ang="0">
                    <a:pos x="191" y="310"/>
                  </a:cxn>
                  <a:cxn ang="0">
                    <a:pos x="205" y="297"/>
                  </a:cxn>
                  <a:cxn ang="0">
                    <a:pos x="205" y="225"/>
                  </a:cxn>
                  <a:cxn ang="0">
                    <a:pos x="205" y="220"/>
                  </a:cxn>
                  <a:cxn ang="0">
                    <a:pos x="205" y="175"/>
                  </a:cxn>
                  <a:cxn ang="0">
                    <a:pos x="235" y="159"/>
                  </a:cxn>
                  <a:cxn ang="0">
                    <a:pos x="209" y="48"/>
                  </a:cxn>
                  <a:cxn ang="0">
                    <a:pos x="284" y="87"/>
                  </a:cxn>
                  <a:cxn ang="0">
                    <a:pos x="297" y="81"/>
                  </a:cxn>
                  <a:cxn ang="0">
                    <a:pos x="305" y="66"/>
                  </a:cxn>
                  <a:cxn ang="0">
                    <a:pos x="302" y="53"/>
                  </a:cxn>
                </a:cxnLst>
                <a:rect l="0" t="0" r="r" b="b"/>
                <a:pathLst>
                  <a:path w="308" h="311">
                    <a:moveTo>
                      <a:pt x="302" y="53"/>
                    </a:moveTo>
                    <a:lnTo>
                      <a:pt x="201" y="1"/>
                    </a:lnTo>
                    <a:cubicBezTo>
                      <a:pt x="200" y="0"/>
                      <a:pt x="199" y="0"/>
                      <a:pt x="198" y="0"/>
                    </a:cubicBezTo>
                    <a:lnTo>
                      <a:pt x="198" y="0"/>
                    </a:lnTo>
                    <a:lnTo>
                      <a:pt x="198" y="0"/>
                    </a:lnTo>
                    <a:cubicBezTo>
                      <a:pt x="198" y="0"/>
                      <a:pt x="197" y="0"/>
                      <a:pt x="196" y="0"/>
                    </a:cubicBezTo>
                    <a:lnTo>
                      <a:pt x="108" y="0"/>
                    </a:lnTo>
                    <a:lnTo>
                      <a:pt x="108" y="1"/>
                    </a:lnTo>
                    <a:cubicBezTo>
                      <a:pt x="106" y="0"/>
                      <a:pt x="105" y="1"/>
                      <a:pt x="103" y="1"/>
                    </a:cubicBezTo>
                    <a:lnTo>
                      <a:pt x="5" y="59"/>
                    </a:lnTo>
                    <a:cubicBezTo>
                      <a:pt x="1" y="61"/>
                      <a:pt x="0" y="67"/>
                      <a:pt x="3" y="72"/>
                    </a:cubicBezTo>
                    <a:lnTo>
                      <a:pt x="12" y="87"/>
                    </a:lnTo>
                    <a:cubicBezTo>
                      <a:pt x="14" y="92"/>
                      <a:pt x="20" y="94"/>
                      <a:pt x="24" y="91"/>
                    </a:cubicBezTo>
                    <a:lnTo>
                      <a:pt x="97" y="49"/>
                    </a:lnTo>
                    <a:lnTo>
                      <a:pt x="71" y="159"/>
                    </a:lnTo>
                    <a:cubicBezTo>
                      <a:pt x="71" y="159"/>
                      <a:pt x="83" y="166"/>
                      <a:pt x="101" y="172"/>
                    </a:cubicBezTo>
                    <a:lnTo>
                      <a:pt x="101" y="220"/>
                    </a:lnTo>
                    <a:lnTo>
                      <a:pt x="101" y="225"/>
                    </a:lnTo>
                    <a:lnTo>
                      <a:pt x="101" y="297"/>
                    </a:lnTo>
                    <a:cubicBezTo>
                      <a:pt x="101" y="304"/>
                      <a:pt x="107" y="310"/>
                      <a:pt x="114" y="310"/>
                    </a:cubicBezTo>
                    <a:lnTo>
                      <a:pt x="130" y="310"/>
                    </a:lnTo>
                    <a:cubicBezTo>
                      <a:pt x="137" y="310"/>
                      <a:pt x="143" y="304"/>
                      <a:pt x="143" y="297"/>
                    </a:cubicBezTo>
                    <a:lnTo>
                      <a:pt x="143" y="225"/>
                    </a:lnTo>
                    <a:lnTo>
                      <a:pt x="143" y="220"/>
                    </a:lnTo>
                    <a:lnTo>
                      <a:pt x="143" y="181"/>
                    </a:lnTo>
                    <a:cubicBezTo>
                      <a:pt x="149" y="182"/>
                      <a:pt x="156" y="182"/>
                      <a:pt x="162" y="182"/>
                    </a:cubicBezTo>
                    <a:lnTo>
                      <a:pt x="162" y="220"/>
                    </a:lnTo>
                    <a:lnTo>
                      <a:pt x="162" y="225"/>
                    </a:lnTo>
                    <a:lnTo>
                      <a:pt x="162" y="297"/>
                    </a:lnTo>
                    <a:cubicBezTo>
                      <a:pt x="162" y="304"/>
                      <a:pt x="168" y="310"/>
                      <a:pt x="176" y="310"/>
                    </a:cubicBezTo>
                    <a:lnTo>
                      <a:pt x="191" y="310"/>
                    </a:lnTo>
                    <a:cubicBezTo>
                      <a:pt x="199" y="310"/>
                      <a:pt x="205" y="304"/>
                      <a:pt x="205" y="297"/>
                    </a:cubicBezTo>
                    <a:lnTo>
                      <a:pt x="205" y="225"/>
                    </a:lnTo>
                    <a:lnTo>
                      <a:pt x="205" y="220"/>
                    </a:lnTo>
                    <a:lnTo>
                      <a:pt x="205" y="175"/>
                    </a:lnTo>
                    <a:cubicBezTo>
                      <a:pt x="215" y="171"/>
                      <a:pt x="225" y="166"/>
                      <a:pt x="235" y="159"/>
                    </a:cubicBezTo>
                    <a:lnTo>
                      <a:pt x="209" y="48"/>
                    </a:lnTo>
                    <a:lnTo>
                      <a:pt x="284" y="87"/>
                    </a:lnTo>
                    <a:cubicBezTo>
                      <a:pt x="289" y="89"/>
                      <a:pt x="294" y="87"/>
                      <a:pt x="297" y="81"/>
                    </a:cubicBezTo>
                    <a:lnTo>
                      <a:pt x="305" y="66"/>
                    </a:lnTo>
                    <a:cubicBezTo>
                      <a:pt x="307" y="61"/>
                      <a:pt x="306" y="55"/>
                      <a:pt x="302" y="53"/>
                    </a:cubicBezTo>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p>
            </p:txBody>
          </p:sp>
          <p:sp>
            <p:nvSpPr>
              <p:cNvPr id="316" name="Freeform 118"/>
              <p:cNvSpPr>
                <a:spLocks noChangeArrowheads="1"/>
              </p:cNvSpPr>
              <p:nvPr/>
            </p:nvSpPr>
            <p:spPr bwMode="auto">
              <a:xfrm>
                <a:off x="3571875" y="5762625"/>
                <a:ext cx="47625" cy="44450"/>
              </a:xfrm>
              <a:custGeom>
                <a:avLst/>
                <a:gdLst/>
                <a:ahLst/>
                <a:cxnLst>
                  <a:cxn ang="0">
                    <a:pos x="131" y="60"/>
                  </a:cxn>
                  <a:cxn ang="0">
                    <a:pos x="122" y="90"/>
                  </a:cxn>
                  <a:cxn ang="0">
                    <a:pos x="98" y="113"/>
                  </a:cxn>
                  <a:cxn ang="0">
                    <a:pos x="66" y="121"/>
                  </a:cxn>
                  <a:cxn ang="0">
                    <a:pos x="33" y="113"/>
                  </a:cxn>
                  <a:cxn ang="0">
                    <a:pos x="9" y="90"/>
                  </a:cxn>
                  <a:cxn ang="0">
                    <a:pos x="0" y="60"/>
                  </a:cxn>
                  <a:cxn ang="0">
                    <a:pos x="9" y="30"/>
                  </a:cxn>
                  <a:cxn ang="0">
                    <a:pos x="33" y="8"/>
                  </a:cxn>
                  <a:cxn ang="0">
                    <a:pos x="66" y="0"/>
                  </a:cxn>
                  <a:cxn ang="0">
                    <a:pos x="98" y="8"/>
                  </a:cxn>
                  <a:cxn ang="0">
                    <a:pos x="122" y="30"/>
                  </a:cxn>
                  <a:cxn ang="0">
                    <a:pos x="131" y="60"/>
                  </a:cxn>
                </a:cxnLst>
                <a:rect l="0" t="0" r="r" b="b"/>
                <a:pathLst>
                  <a:path w="132" h="122">
                    <a:moveTo>
                      <a:pt x="131" y="60"/>
                    </a:moveTo>
                    <a:cubicBezTo>
                      <a:pt x="131" y="71"/>
                      <a:pt x="128" y="81"/>
                      <a:pt x="122" y="90"/>
                    </a:cubicBezTo>
                    <a:cubicBezTo>
                      <a:pt x="116" y="100"/>
                      <a:pt x="108" y="108"/>
                      <a:pt x="98" y="113"/>
                    </a:cubicBezTo>
                    <a:cubicBezTo>
                      <a:pt x="87" y="119"/>
                      <a:pt x="78" y="121"/>
                      <a:pt x="66" y="121"/>
                    </a:cubicBezTo>
                    <a:cubicBezTo>
                      <a:pt x="54" y="121"/>
                      <a:pt x="43" y="119"/>
                      <a:pt x="33" y="113"/>
                    </a:cubicBezTo>
                    <a:cubicBezTo>
                      <a:pt x="23" y="108"/>
                      <a:pt x="15" y="100"/>
                      <a:pt x="9" y="90"/>
                    </a:cubicBezTo>
                    <a:cubicBezTo>
                      <a:pt x="3" y="81"/>
                      <a:pt x="0" y="71"/>
                      <a:pt x="0" y="60"/>
                    </a:cubicBezTo>
                    <a:cubicBezTo>
                      <a:pt x="0" y="49"/>
                      <a:pt x="3" y="40"/>
                      <a:pt x="9" y="30"/>
                    </a:cubicBezTo>
                    <a:cubicBezTo>
                      <a:pt x="15" y="20"/>
                      <a:pt x="23" y="14"/>
                      <a:pt x="33" y="8"/>
                    </a:cubicBezTo>
                    <a:cubicBezTo>
                      <a:pt x="43" y="3"/>
                      <a:pt x="54" y="0"/>
                      <a:pt x="66" y="0"/>
                    </a:cubicBezTo>
                    <a:cubicBezTo>
                      <a:pt x="78" y="0"/>
                      <a:pt x="87" y="3"/>
                      <a:pt x="98" y="8"/>
                    </a:cubicBezTo>
                    <a:cubicBezTo>
                      <a:pt x="108" y="14"/>
                      <a:pt x="116" y="20"/>
                      <a:pt x="122" y="30"/>
                    </a:cubicBezTo>
                    <a:cubicBezTo>
                      <a:pt x="128" y="40"/>
                      <a:pt x="131" y="49"/>
                      <a:pt x="131" y="60"/>
                    </a:cubicBezTo>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p>
            </p:txBody>
          </p:sp>
        </p:grpSp>
      </p:grpSp>
      <p:grpSp>
        <p:nvGrpSpPr>
          <p:cNvPr id="317" name="Group 3092"/>
          <p:cNvGrpSpPr/>
          <p:nvPr/>
        </p:nvGrpSpPr>
        <p:grpSpPr>
          <a:xfrm>
            <a:off x="3327621" y="5557563"/>
            <a:ext cx="844550" cy="215900"/>
            <a:chOff x="1803621" y="5514712"/>
            <a:chExt cx="844550" cy="215900"/>
          </a:xfrm>
        </p:grpSpPr>
        <p:sp>
          <p:nvSpPr>
            <p:cNvPr id="318" name="Freeform 53"/>
            <p:cNvSpPr>
              <a:spLocks noChangeArrowheads="1"/>
            </p:cNvSpPr>
            <p:nvPr/>
          </p:nvSpPr>
          <p:spPr bwMode="auto">
            <a:xfrm>
              <a:off x="1803621" y="5514712"/>
              <a:ext cx="844550" cy="215900"/>
            </a:xfrm>
            <a:custGeom>
              <a:avLst/>
              <a:gdLst>
                <a:gd name="T0" fmla="*/ 2046 w 2347"/>
                <a:gd name="T1" fmla="*/ 0 h 600"/>
                <a:gd name="T2" fmla="*/ 300 w 2347"/>
                <a:gd name="T3" fmla="*/ 0 h 600"/>
                <a:gd name="T4" fmla="*/ 300 w 2347"/>
                <a:gd name="T5" fmla="*/ 0 h 600"/>
                <a:gd name="T6" fmla="*/ 0 w 2347"/>
                <a:gd name="T7" fmla="*/ 300 h 600"/>
                <a:gd name="T8" fmla="*/ 300 w 2347"/>
                <a:gd name="T9" fmla="*/ 599 h 600"/>
                <a:gd name="T10" fmla="*/ 300 w 2347"/>
                <a:gd name="T11" fmla="*/ 599 h 600"/>
                <a:gd name="T12" fmla="*/ 2046 w 2347"/>
                <a:gd name="T13" fmla="*/ 599 h 600"/>
                <a:gd name="T14" fmla="*/ 2346 w 2347"/>
                <a:gd name="T15" fmla="*/ 300 h 600"/>
                <a:gd name="T16" fmla="*/ 2046 w 2347"/>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7" h="600">
                  <a:moveTo>
                    <a:pt x="2046" y="0"/>
                  </a:moveTo>
                  <a:lnTo>
                    <a:pt x="300" y="0"/>
                  </a:lnTo>
                  <a:lnTo>
                    <a:pt x="300" y="0"/>
                  </a:lnTo>
                  <a:cubicBezTo>
                    <a:pt x="134" y="0"/>
                    <a:pt x="0" y="135"/>
                    <a:pt x="0" y="300"/>
                  </a:cubicBezTo>
                  <a:cubicBezTo>
                    <a:pt x="0" y="465"/>
                    <a:pt x="134" y="599"/>
                    <a:pt x="300" y="599"/>
                  </a:cubicBezTo>
                  <a:lnTo>
                    <a:pt x="300" y="599"/>
                  </a:lnTo>
                  <a:lnTo>
                    <a:pt x="2046" y="599"/>
                  </a:lnTo>
                  <a:cubicBezTo>
                    <a:pt x="2211" y="599"/>
                    <a:pt x="2346" y="465"/>
                    <a:pt x="2346" y="300"/>
                  </a:cubicBezTo>
                  <a:cubicBezTo>
                    <a:pt x="2346" y="134"/>
                    <a:pt x="2211" y="0"/>
                    <a:pt x="2046"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a:latin typeface="Arial"/>
                <a:cs typeface="Arial"/>
              </a:endParaRPr>
            </a:p>
          </p:txBody>
        </p:sp>
        <p:sp>
          <p:nvSpPr>
            <p:cNvPr id="319" name="Text Box 54"/>
            <p:cNvSpPr txBox="1">
              <a:spLocks noChangeArrowheads="1"/>
            </p:cNvSpPr>
            <p:nvPr/>
          </p:nvSpPr>
          <p:spPr bwMode="auto">
            <a:xfrm>
              <a:off x="2046509" y="5524238"/>
              <a:ext cx="534987" cy="2000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Food contact products </a:t>
              </a:r>
            </a:p>
          </p:txBody>
        </p:sp>
        <p:grpSp>
          <p:nvGrpSpPr>
            <p:cNvPr id="320" name="Group 328"/>
            <p:cNvGrpSpPr/>
            <p:nvPr/>
          </p:nvGrpSpPr>
          <p:grpSpPr>
            <a:xfrm>
              <a:off x="1908644" y="5554399"/>
              <a:ext cx="122238" cy="144462"/>
              <a:chOff x="3130550" y="6043613"/>
              <a:chExt cx="122238" cy="144462"/>
            </a:xfrm>
          </p:grpSpPr>
          <p:sp>
            <p:nvSpPr>
              <p:cNvPr id="321" name="Freeform 226"/>
              <p:cNvSpPr>
                <a:spLocks noChangeArrowheads="1"/>
              </p:cNvSpPr>
              <p:nvPr/>
            </p:nvSpPr>
            <p:spPr bwMode="auto">
              <a:xfrm>
                <a:off x="3152775" y="6064250"/>
                <a:ext cx="80963" cy="4763"/>
              </a:xfrm>
              <a:custGeom>
                <a:avLst/>
                <a:gdLst/>
                <a:ahLst/>
                <a:cxnLst>
                  <a:cxn ang="0">
                    <a:pos x="224" y="6"/>
                  </a:cxn>
                  <a:cxn ang="0">
                    <a:pos x="218" y="12"/>
                  </a:cxn>
                  <a:cxn ang="0">
                    <a:pos x="6" y="12"/>
                  </a:cxn>
                  <a:cxn ang="0">
                    <a:pos x="0" y="6"/>
                  </a:cxn>
                  <a:cxn ang="0">
                    <a:pos x="0" y="6"/>
                  </a:cxn>
                  <a:cxn ang="0">
                    <a:pos x="6" y="0"/>
                  </a:cxn>
                  <a:cxn ang="0">
                    <a:pos x="218" y="0"/>
                  </a:cxn>
                  <a:cxn ang="0">
                    <a:pos x="224" y="6"/>
                  </a:cxn>
                </a:cxnLst>
                <a:rect l="0" t="0" r="r" b="b"/>
                <a:pathLst>
                  <a:path w="225" h="13">
                    <a:moveTo>
                      <a:pt x="224" y="6"/>
                    </a:moveTo>
                    <a:cubicBezTo>
                      <a:pt x="224" y="10"/>
                      <a:pt x="221" y="12"/>
                      <a:pt x="218" y="12"/>
                    </a:cubicBezTo>
                    <a:lnTo>
                      <a:pt x="6" y="12"/>
                    </a:lnTo>
                    <a:cubicBezTo>
                      <a:pt x="3" y="12"/>
                      <a:pt x="0" y="10"/>
                      <a:pt x="0" y="6"/>
                    </a:cubicBezTo>
                    <a:lnTo>
                      <a:pt x="0" y="6"/>
                    </a:lnTo>
                    <a:cubicBezTo>
                      <a:pt x="0" y="3"/>
                      <a:pt x="3" y="0"/>
                      <a:pt x="6" y="0"/>
                    </a:cubicBezTo>
                    <a:lnTo>
                      <a:pt x="218" y="0"/>
                    </a:lnTo>
                    <a:cubicBezTo>
                      <a:pt x="221" y="0"/>
                      <a:pt x="224" y="3"/>
                      <a:pt x="224" y="6"/>
                    </a:cubicBezTo>
                  </a:path>
                </a:pathLst>
              </a:custGeom>
              <a:solidFill>
                <a:srgbClr val="FFFFFF"/>
              </a:solidFill>
              <a:ln w="9525" cap="flat">
                <a:noFill/>
                <a:bevel/>
                <a:headEnd/>
                <a:tailEnd/>
              </a:ln>
              <a:effectLst/>
            </p:spPr>
            <p:txBody>
              <a:bodyPr wrap="none" anchor="ctr">
                <a:prstTxWarp prst="textNoShape">
                  <a:avLst/>
                </a:prstTxWarp>
              </a:bodyPr>
              <a:lstStyle/>
              <a:p>
                <a:pPr>
                  <a:buNone/>
                </a:pPr>
                <a:endParaRPr lang="en-US" dirty="0"/>
              </a:p>
            </p:txBody>
          </p:sp>
          <p:sp>
            <p:nvSpPr>
              <p:cNvPr id="322" name="Freeform 227"/>
              <p:cNvSpPr>
                <a:spLocks noChangeArrowheads="1"/>
              </p:cNvSpPr>
              <p:nvPr/>
            </p:nvSpPr>
            <p:spPr bwMode="auto">
              <a:xfrm>
                <a:off x="3130550" y="6043613"/>
                <a:ext cx="122238" cy="144462"/>
              </a:xfrm>
              <a:custGeom>
                <a:avLst/>
                <a:gdLst/>
                <a:ahLst/>
                <a:cxnLst>
                  <a:cxn ang="0">
                    <a:pos x="279" y="72"/>
                  </a:cxn>
                  <a:cxn ang="0">
                    <a:pos x="287" y="63"/>
                  </a:cxn>
                  <a:cxn ang="0">
                    <a:pos x="277" y="53"/>
                  </a:cxn>
                  <a:cxn ang="0">
                    <a:pos x="274" y="53"/>
                  </a:cxn>
                  <a:cxn ang="0">
                    <a:pos x="274" y="37"/>
                  </a:cxn>
                  <a:cxn ang="0">
                    <a:pos x="274" y="37"/>
                  </a:cxn>
                  <a:cxn ang="0">
                    <a:pos x="285" y="27"/>
                  </a:cxn>
                  <a:cxn ang="0">
                    <a:pos x="285" y="10"/>
                  </a:cxn>
                  <a:cxn ang="0">
                    <a:pos x="274" y="0"/>
                  </a:cxn>
                  <a:cxn ang="0">
                    <a:pos x="65" y="0"/>
                  </a:cxn>
                  <a:cxn ang="0">
                    <a:pos x="54" y="10"/>
                  </a:cxn>
                  <a:cxn ang="0">
                    <a:pos x="54" y="27"/>
                  </a:cxn>
                  <a:cxn ang="0">
                    <a:pos x="65" y="37"/>
                  </a:cxn>
                  <a:cxn ang="0">
                    <a:pos x="66" y="37"/>
                  </a:cxn>
                  <a:cxn ang="0">
                    <a:pos x="66" y="53"/>
                  </a:cxn>
                  <a:cxn ang="0">
                    <a:pos x="65" y="53"/>
                  </a:cxn>
                  <a:cxn ang="0">
                    <a:pos x="55" y="63"/>
                  </a:cxn>
                  <a:cxn ang="0">
                    <a:pos x="62" y="71"/>
                  </a:cxn>
                  <a:cxn ang="0">
                    <a:pos x="0" y="156"/>
                  </a:cxn>
                  <a:cxn ang="0">
                    <a:pos x="0" y="310"/>
                  </a:cxn>
                  <a:cxn ang="0">
                    <a:pos x="89" y="399"/>
                  </a:cxn>
                  <a:cxn ang="0">
                    <a:pos x="251" y="399"/>
                  </a:cxn>
                  <a:cxn ang="0">
                    <a:pos x="340" y="310"/>
                  </a:cxn>
                  <a:cxn ang="0">
                    <a:pos x="340" y="156"/>
                  </a:cxn>
                  <a:cxn ang="0">
                    <a:pos x="279" y="72"/>
                  </a:cxn>
                  <a:cxn ang="0">
                    <a:pos x="277" y="60"/>
                  </a:cxn>
                  <a:cxn ang="0">
                    <a:pos x="280" y="63"/>
                  </a:cxn>
                  <a:cxn ang="0">
                    <a:pos x="277" y="66"/>
                  </a:cxn>
                  <a:cxn ang="0">
                    <a:pos x="274" y="66"/>
                  </a:cxn>
                  <a:cxn ang="0">
                    <a:pos x="274" y="60"/>
                  </a:cxn>
                  <a:cxn ang="0">
                    <a:pos x="277" y="60"/>
                  </a:cxn>
                  <a:cxn ang="0">
                    <a:pos x="256" y="66"/>
                  </a:cxn>
                  <a:cxn ang="0">
                    <a:pos x="84" y="66"/>
                  </a:cxn>
                  <a:cxn ang="0">
                    <a:pos x="84" y="60"/>
                  </a:cxn>
                  <a:cxn ang="0">
                    <a:pos x="256" y="60"/>
                  </a:cxn>
                  <a:cxn ang="0">
                    <a:pos x="256" y="66"/>
                  </a:cxn>
                  <a:cxn ang="0">
                    <a:pos x="84" y="46"/>
                  </a:cxn>
                  <a:cxn ang="0">
                    <a:pos x="256" y="46"/>
                  </a:cxn>
                  <a:cxn ang="0">
                    <a:pos x="256" y="53"/>
                  </a:cxn>
                  <a:cxn ang="0">
                    <a:pos x="84" y="53"/>
                  </a:cxn>
                  <a:cxn ang="0">
                    <a:pos x="84" y="46"/>
                  </a:cxn>
                  <a:cxn ang="0">
                    <a:pos x="65" y="60"/>
                  </a:cxn>
                  <a:cxn ang="0">
                    <a:pos x="66" y="60"/>
                  </a:cxn>
                  <a:cxn ang="0">
                    <a:pos x="66" y="66"/>
                  </a:cxn>
                  <a:cxn ang="0">
                    <a:pos x="65" y="66"/>
                  </a:cxn>
                  <a:cxn ang="0">
                    <a:pos x="63" y="63"/>
                  </a:cxn>
                  <a:cxn ang="0">
                    <a:pos x="65" y="60"/>
                  </a:cxn>
                  <a:cxn ang="0">
                    <a:pos x="322" y="310"/>
                  </a:cxn>
                  <a:cxn ang="0">
                    <a:pos x="251" y="381"/>
                  </a:cxn>
                  <a:cxn ang="0">
                    <a:pos x="89" y="381"/>
                  </a:cxn>
                  <a:cxn ang="0">
                    <a:pos x="18" y="310"/>
                  </a:cxn>
                  <a:cxn ang="0">
                    <a:pos x="18" y="156"/>
                  </a:cxn>
                  <a:cxn ang="0">
                    <a:pos x="76" y="86"/>
                  </a:cxn>
                  <a:cxn ang="0">
                    <a:pos x="84" y="85"/>
                  </a:cxn>
                  <a:cxn ang="0">
                    <a:pos x="84" y="73"/>
                  </a:cxn>
                  <a:cxn ang="0">
                    <a:pos x="256" y="73"/>
                  </a:cxn>
                  <a:cxn ang="0">
                    <a:pos x="256" y="85"/>
                  </a:cxn>
                  <a:cxn ang="0">
                    <a:pos x="263" y="86"/>
                  </a:cxn>
                  <a:cxn ang="0">
                    <a:pos x="322" y="156"/>
                  </a:cxn>
                  <a:cxn ang="0">
                    <a:pos x="322" y="310"/>
                  </a:cxn>
                </a:cxnLst>
                <a:rect l="0" t="0" r="r" b="b"/>
                <a:pathLst>
                  <a:path w="341" h="400">
                    <a:moveTo>
                      <a:pt x="279" y="72"/>
                    </a:moveTo>
                    <a:cubicBezTo>
                      <a:pt x="283" y="71"/>
                      <a:pt x="287" y="68"/>
                      <a:pt x="287" y="63"/>
                    </a:cubicBezTo>
                    <a:cubicBezTo>
                      <a:pt x="287" y="58"/>
                      <a:pt x="282" y="53"/>
                      <a:pt x="277" y="53"/>
                    </a:cubicBezTo>
                    <a:lnTo>
                      <a:pt x="274" y="53"/>
                    </a:lnTo>
                    <a:lnTo>
                      <a:pt x="274" y="37"/>
                    </a:lnTo>
                    <a:lnTo>
                      <a:pt x="274" y="37"/>
                    </a:lnTo>
                    <a:cubicBezTo>
                      <a:pt x="280" y="37"/>
                      <a:pt x="285" y="33"/>
                      <a:pt x="285" y="27"/>
                    </a:cubicBezTo>
                    <a:lnTo>
                      <a:pt x="285" y="10"/>
                    </a:lnTo>
                    <a:cubicBezTo>
                      <a:pt x="285" y="4"/>
                      <a:pt x="280" y="0"/>
                      <a:pt x="274" y="0"/>
                    </a:cubicBezTo>
                    <a:lnTo>
                      <a:pt x="65" y="0"/>
                    </a:lnTo>
                    <a:cubicBezTo>
                      <a:pt x="59" y="0"/>
                      <a:pt x="54" y="4"/>
                      <a:pt x="54" y="10"/>
                    </a:cubicBezTo>
                    <a:lnTo>
                      <a:pt x="54" y="27"/>
                    </a:lnTo>
                    <a:cubicBezTo>
                      <a:pt x="54" y="33"/>
                      <a:pt x="59" y="37"/>
                      <a:pt x="65" y="37"/>
                    </a:cubicBezTo>
                    <a:lnTo>
                      <a:pt x="66" y="37"/>
                    </a:lnTo>
                    <a:lnTo>
                      <a:pt x="66" y="53"/>
                    </a:lnTo>
                    <a:lnTo>
                      <a:pt x="65" y="53"/>
                    </a:lnTo>
                    <a:cubicBezTo>
                      <a:pt x="60" y="53"/>
                      <a:pt x="55" y="58"/>
                      <a:pt x="55" y="63"/>
                    </a:cubicBezTo>
                    <a:cubicBezTo>
                      <a:pt x="55" y="67"/>
                      <a:pt x="58" y="70"/>
                      <a:pt x="62" y="71"/>
                    </a:cubicBezTo>
                    <a:cubicBezTo>
                      <a:pt x="25" y="83"/>
                      <a:pt x="0" y="117"/>
                      <a:pt x="0" y="156"/>
                    </a:cubicBezTo>
                    <a:lnTo>
                      <a:pt x="0" y="310"/>
                    </a:lnTo>
                    <a:cubicBezTo>
                      <a:pt x="0" y="359"/>
                      <a:pt x="40" y="399"/>
                      <a:pt x="89" y="399"/>
                    </a:cubicBezTo>
                    <a:lnTo>
                      <a:pt x="251" y="399"/>
                    </a:lnTo>
                    <a:cubicBezTo>
                      <a:pt x="300" y="399"/>
                      <a:pt x="340" y="359"/>
                      <a:pt x="340" y="310"/>
                    </a:cubicBezTo>
                    <a:lnTo>
                      <a:pt x="340" y="156"/>
                    </a:lnTo>
                    <a:cubicBezTo>
                      <a:pt x="340" y="117"/>
                      <a:pt x="315" y="84"/>
                      <a:pt x="279" y="72"/>
                    </a:cubicBezTo>
                    <a:close/>
                    <a:moveTo>
                      <a:pt x="277" y="60"/>
                    </a:moveTo>
                    <a:cubicBezTo>
                      <a:pt x="278" y="60"/>
                      <a:pt x="280" y="62"/>
                      <a:pt x="280" y="63"/>
                    </a:cubicBezTo>
                    <a:cubicBezTo>
                      <a:pt x="280" y="65"/>
                      <a:pt x="278" y="66"/>
                      <a:pt x="277" y="66"/>
                    </a:cubicBezTo>
                    <a:lnTo>
                      <a:pt x="274" y="66"/>
                    </a:lnTo>
                    <a:lnTo>
                      <a:pt x="274" y="60"/>
                    </a:lnTo>
                    <a:lnTo>
                      <a:pt x="277" y="60"/>
                    </a:lnTo>
                    <a:close/>
                    <a:moveTo>
                      <a:pt x="256" y="66"/>
                    </a:moveTo>
                    <a:lnTo>
                      <a:pt x="84" y="66"/>
                    </a:lnTo>
                    <a:lnTo>
                      <a:pt x="84" y="60"/>
                    </a:lnTo>
                    <a:lnTo>
                      <a:pt x="256" y="60"/>
                    </a:lnTo>
                    <a:lnTo>
                      <a:pt x="256" y="66"/>
                    </a:lnTo>
                    <a:close/>
                    <a:moveTo>
                      <a:pt x="84" y="46"/>
                    </a:moveTo>
                    <a:lnTo>
                      <a:pt x="256" y="46"/>
                    </a:lnTo>
                    <a:lnTo>
                      <a:pt x="256" y="53"/>
                    </a:lnTo>
                    <a:lnTo>
                      <a:pt x="84" y="53"/>
                    </a:lnTo>
                    <a:lnTo>
                      <a:pt x="84" y="46"/>
                    </a:lnTo>
                    <a:close/>
                    <a:moveTo>
                      <a:pt x="65" y="60"/>
                    </a:moveTo>
                    <a:lnTo>
                      <a:pt x="66" y="60"/>
                    </a:lnTo>
                    <a:lnTo>
                      <a:pt x="66" y="66"/>
                    </a:lnTo>
                    <a:lnTo>
                      <a:pt x="65" y="66"/>
                    </a:lnTo>
                    <a:cubicBezTo>
                      <a:pt x="64" y="66"/>
                      <a:pt x="63" y="65"/>
                      <a:pt x="63" y="63"/>
                    </a:cubicBezTo>
                    <a:cubicBezTo>
                      <a:pt x="63" y="62"/>
                      <a:pt x="64" y="60"/>
                      <a:pt x="65" y="60"/>
                    </a:cubicBezTo>
                    <a:close/>
                    <a:moveTo>
                      <a:pt x="322" y="310"/>
                    </a:moveTo>
                    <a:cubicBezTo>
                      <a:pt x="322" y="349"/>
                      <a:pt x="290" y="381"/>
                      <a:pt x="251" y="381"/>
                    </a:cubicBezTo>
                    <a:lnTo>
                      <a:pt x="89" y="381"/>
                    </a:lnTo>
                    <a:cubicBezTo>
                      <a:pt x="49" y="381"/>
                      <a:pt x="18" y="349"/>
                      <a:pt x="18" y="310"/>
                    </a:cubicBezTo>
                    <a:lnTo>
                      <a:pt x="18" y="156"/>
                    </a:lnTo>
                    <a:cubicBezTo>
                      <a:pt x="18" y="121"/>
                      <a:pt x="42" y="92"/>
                      <a:pt x="76" y="86"/>
                    </a:cubicBezTo>
                    <a:lnTo>
                      <a:pt x="84" y="85"/>
                    </a:lnTo>
                    <a:lnTo>
                      <a:pt x="84" y="73"/>
                    </a:lnTo>
                    <a:lnTo>
                      <a:pt x="256" y="73"/>
                    </a:lnTo>
                    <a:lnTo>
                      <a:pt x="256" y="85"/>
                    </a:lnTo>
                    <a:lnTo>
                      <a:pt x="263" y="86"/>
                    </a:lnTo>
                    <a:cubicBezTo>
                      <a:pt x="297" y="92"/>
                      <a:pt x="322" y="121"/>
                      <a:pt x="322" y="156"/>
                    </a:cubicBezTo>
                    <a:lnTo>
                      <a:pt x="322" y="310"/>
                    </a:lnTo>
                    <a:close/>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p>
            </p:txBody>
          </p:sp>
          <p:sp>
            <p:nvSpPr>
              <p:cNvPr id="323" name="Freeform 228"/>
              <p:cNvSpPr>
                <a:spLocks noChangeArrowheads="1"/>
              </p:cNvSpPr>
              <p:nvPr/>
            </p:nvSpPr>
            <p:spPr bwMode="auto">
              <a:xfrm>
                <a:off x="3143250" y="6089650"/>
                <a:ext cx="98425" cy="85725"/>
              </a:xfrm>
              <a:custGeom>
                <a:avLst/>
                <a:gdLst/>
                <a:ahLst/>
                <a:cxnLst>
                  <a:cxn ang="0">
                    <a:pos x="21" y="0"/>
                  </a:cxn>
                  <a:cxn ang="0">
                    <a:pos x="0" y="47"/>
                  </a:cxn>
                  <a:cxn ang="0">
                    <a:pos x="0" y="172"/>
                  </a:cxn>
                  <a:cxn ang="0">
                    <a:pos x="68" y="238"/>
                  </a:cxn>
                  <a:cxn ang="0">
                    <a:pos x="206" y="238"/>
                  </a:cxn>
                  <a:cxn ang="0">
                    <a:pos x="274" y="172"/>
                  </a:cxn>
                  <a:cxn ang="0">
                    <a:pos x="274" y="47"/>
                  </a:cxn>
                  <a:cxn ang="0">
                    <a:pos x="271" y="28"/>
                  </a:cxn>
                  <a:cxn ang="0">
                    <a:pos x="21" y="0"/>
                  </a:cxn>
                </a:cxnLst>
                <a:rect l="0" t="0" r="r" b="b"/>
                <a:pathLst>
                  <a:path w="275" h="239">
                    <a:moveTo>
                      <a:pt x="21" y="0"/>
                    </a:moveTo>
                    <a:cubicBezTo>
                      <a:pt x="8" y="11"/>
                      <a:pt x="0" y="28"/>
                      <a:pt x="0" y="47"/>
                    </a:cubicBezTo>
                    <a:lnTo>
                      <a:pt x="0" y="172"/>
                    </a:lnTo>
                    <a:cubicBezTo>
                      <a:pt x="0" y="208"/>
                      <a:pt x="30" y="238"/>
                      <a:pt x="68" y="238"/>
                    </a:cubicBezTo>
                    <a:lnTo>
                      <a:pt x="206" y="238"/>
                    </a:lnTo>
                    <a:cubicBezTo>
                      <a:pt x="243" y="238"/>
                      <a:pt x="274" y="208"/>
                      <a:pt x="274" y="172"/>
                    </a:cubicBezTo>
                    <a:lnTo>
                      <a:pt x="274" y="47"/>
                    </a:lnTo>
                    <a:cubicBezTo>
                      <a:pt x="274" y="40"/>
                      <a:pt x="273" y="34"/>
                      <a:pt x="271" y="28"/>
                    </a:cubicBezTo>
                    <a:cubicBezTo>
                      <a:pt x="186" y="26"/>
                      <a:pt x="100" y="29"/>
                      <a:pt x="21" y="0"/>
                    </a:cubicBezTo>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p>
            </p:txBody>
          </p:sp>
        </p:grpSp>
      </p:grpSp>
      <p:grpSp>
        <p:nvGrpSpPr>
          <p:cNvPr id="324" name="Group 3094"/>
          <p:cNvGrpSpPr/>
          <p:nvPr/>
        </p:nvGrpSpPr>
        <p:grpSpPr>
          <a:xfrm>
            <a:off x="5154777" y="5557563"/>
            <a:ext cx="498475" cy="215900"/>
            <a:chOff x="3630776" y="5500737"/>
            <a:chExt cx="498475" cy="215900"/>
          </a:xfrm>
        </p:grpSpPr>
        <p:sp>
          <p:nvSpPr>
            <p:cNvPr id="325" name="Freeform 19"/>
            <p:cNvSpPr>
              <a:spLocks noChangeArrowheads="1"/>
            </p:cNvSpPr>
            <p:nvPr/>
          </p:nvSpPr>
          <p:spPr bwMode="auto">
            <a:xfrm>
              <a:off x="3630776" y="5500737"/>
              <a:ext cx="498475" cy="215900"/>
            </a:xfrm>
            <a:custGeom>
              <a:avLst/>
              <a:gdLst>
                <a:gd name="T0" fmla="*/ 1084 w 1385"/>
                <a:gd name="T1" fmla="*/ 0 h 599"/>
                <a:gd name="T2" fmla="*/ 299 w 1385"/>
                <a:gd name="T3" fmla="*/ 0 h 599"/>
                <a:gd name="T4" fmla="*/ 299 w 1385"/>
                <a:gd name="T5" fmla="*/ 0 h 599"/>
                <a:gd name="T6" fmla="*/ 0 w 1385"/>
                <a:gd name="T7" fmla="*/ 299 h 599"/>
                <a:gd name="T8" fmla="*/ 299 w 1385"/>
                <a:gd name="T9" fmla="*/ 598 h 599"/>
                <a:gd name="T10" fmla="*/ 299 w 1385"/>
                <a:gd name="T11" fmla="*/ 598 h 599"/>
                <a:gd name="T12" fmla="*/ 1084 w 1385"/>
                <a:gd name="T13" fmla="*/ 598 h 599"/>
                <a:gd name="T14" fmla="*/ 1384 w 1385"/>
                <a:gd name="T15" fmla="*/ 299 h 599"/>
                <a:gd name="T16" fmla="*/ 1084 w 1385"/>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5" h="599">
                  <a:moveTo>
                    <a:pt x="1084" y="0"/>
                  </a:moveTo>
                  <a:lnTo>
                    <a:pt x="299" y="0"/>
                  </a:lnTo>
                  <a:lnTo>
                    <a:pt x="299" y="0"/>
                  </a:lnTo>
                  <a:cubicBezTo>
                    <a:pt x="134" y="0"/>
                    <a:pt x="0" y="134"/>
                    <a:pt x="0" y="299"/>
                  </a:cubicBezTo>
                  <a:cubicBezTo>
                    <a:pt x="0" y="464"/>
                    <a:pt x="134" y="598"/>
                    <a:pt x="299" y="598"/>
                  </a:cubicBezTo>
                  <a:lnTo>
                    <a:pt x="299" y="598"/>
                  </a:lnTo>
                  <a:lnTo>
                    <a:pt x="1084" y="598"/>
                  </a:lnTo>
                  <a:cubicBezTo>
                    <a:pt x="1249" y="598"/>
                    <a:pt x="1384" y="464"/>
                    <a:pt x="1384" y="299"/>
                  </a:cubicBezTo>
                  <a:cubicBezTo>
                    <a:pt x="1384" y="134"/>
                    <a:pt x="1249" y="0"/>
                    <a:pt x="1084"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buNone/>
              </a:pPr>
              <a:endParaRPr lang="ru-RU" dirty="0">
                <a:latin typeface="Arial"/>
                <a:cs typeface="Arial"/>
              </a:endParaRPr>
            </a:p>
          </p:txBody>
        </p:sp>
        <p:sp>
          <p:nvSpPr>
            <p:cNvPr id="326" name="Text Box 20"/>
            <p:cNvSpPr txBox="1">
              <a:spLocks noChangeArrowheads="1"/>
            </p:cNvSpPr>
            <p:nvPr/>
          </p:nvSpPr>
          <p:spPr bwMode="auto">
            <a:xfrm>
              <a:off x="3826614" y="5505501"/>
              <a:ext cx="248419" cy="2047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BE1839"/>
                  </a:solidFill>
                  <a:latin typeface="Arial"/>
                  <a:ea typeface="'ArialMT'" pitchFamily="32" charset="0"/>
                  <a:cs typeface="Arial"/>
                </a:rPr>
                <a:t>Soft</a:t>
              </a:r>
            </a:p>
            <a:p>
              <a:pPr algn="ctr">
                <a:lnSpc>
                  <a:spcPts val="700"/>
                </a:lnSpc>
              </a:pPr>
              <a:r>
                <a:rPr lang="en-US" sz="700" dirty="0">
                  <a:solidFill>
                    <a:srgbClr val="BE1839"/>
                  </a:solidFill>
                  <a:latin typeface="Arial"/>
                  <a:ea typeface="'ArialMT'" pitchFamily="32" charset="0"/>
                  <a:cs typeface="Arial"/>
                </a:rPr>
                <a:t>Home </a:t>
              </a:r>
            </a:p>
          </p:txBody>
        </p:sp>
        <p:sp>
          <p:nvSpPr>
            <p:cNvPr id="327" name="Freeform 235"/>
            <p:cNvSpPr>
              <a:spLocks noChangeArrowheads="1"/>
            </p:cNvSpPr>
            <p:nvPr/>
          </p:nvSpPr>
          <p:spPr bwMode="auto">
            <a:xfrm>
              <a:off x="3665949" y="5542012"/>
              <a:ext cx="136525" cy="136525"/>
            </a:xfrm>
            <a:custGeom>
              <a:avLst/>
              <a:gdLst/>
              <a:ahLst/>
              <a:cxnLst>
                <a:cxn ang="0">
                  <a:pos x="302" y="360"/>
                </a:cxn>
                <a:cxn ang="0">
                  <a:pos x="317" y="272"/>
                </a:cxn>
                <a:cxn ang="0">
                  <a:pos x="330" y="230"/>
                </a:cxn>
                <a:cxn ang="0">
                  <a:pos x="340" y="187"/>
                </a:cxn>
                <a:cxn ang="0">
                  <a:pos x="375" y="96"/>
                </a:cxn>
                <a:cxn ang="0">
                  <a:pos x="376" y="82"/>
                </a:cxn>
                <a:cxn ang="0">
                  <a:pos x="363" y="76"/>
                </a:cxn>
                <a:cxn ang="0">
                  <a:pos x="319" y="74"/>
                </a:cxn>
                <a:cxn ang="0">
                  <a:pos x="280" y="61"/>
                </a:cxn>
                <a:cxn ang="0">
                  <a:pos x="178" y="33"/>
                </a:cxn>
                <a:cxn ang="0">
                  <a:pos x="136" y="25"/>
                </a:cxn>
                <a:cxn ang="0">
                  <a:pos x="96" y="4"/>
                </a:cxn>
                <a:cxn ang="0">
                  <a:pos x="82" y="3"/>
                </a:cxn>
                <a:cxn ang="0">
                  <a:pos x="76" y="16"/>
                </a:cxn>
                <a:cxn ang="0">
                  <a:pos x="59" y="152"/>
                </a:cxn>
                <a:cxn ang="0">
                  <a:pos x="56" y="163"/>
                </a:cxn>
                <a:cxn ang="0">
                  <a:pos x="5" y="283"/>
                </a:cxn>
                <a:cxn ang="0">
                  <a:pos x="3" y="297"/>
                </a:cxn>
                <a:cxn ang="0">
                  <a:pos x="16" y="303"/>
                </a:cxn>
                <a:cxn ang="0">
                  <a:pos x="74" y="307"/>
                </a:cxn>
                <a:cxn ang="0">
                  <a:pos x="110" y="318"/>
                </a:cxn>
                <a:cxn ang="0">
                  <a:pos x="197" y="341"/>
                </a:cxn>
                <a:cxn ang="0">
                  <a:pos x="233" y="349"/>
                </a:cxn>
                <a:cxn ang="0">
                  <a:pos x="283" y="374"/>
                </a:cxn>
                <a:cxn ang="0">
                  <a:pos x="288" y="377"/>
                </a:cxn>
                <a:cxn ang="0">
                  <a:pos x="289" y="377"/>
                </a:cxn>
                <a:cxn ang="0">
                  <a:pos x="304" y="369"/>
                </a:cxn>
                <a:cxn ang="0">
                  <a:pos x="302" y="360"/>
                </a:cxn>
              </a:cxnLst>
              <a:rect l="0" t="0" r="r" b="b"/>
              <a:pathLst>
                <a:path w="380" h="380">
                  <a:moveTo>
                    <a:pt x="302" y="360"/>
                  </a:moveTo>
                  <a:cubicBezTo>
                    <a:pt x="297" y="334"/>
                    <a:pt x="306" y="305"/>
                    <a:pt x="317" y="272"/>
                  </a:cubicBezTo>
                  <a:cubicBezTo>
                    <a:pt x="321" y="259"/>
                    <a:pt x="326" y="245"/>
                    <a:pt x="330" y="230"/>
                  </a:cubicBezTo>
                  <a:cubicBezTo>
                    <a:pt x="334" y="216"/>
                    <a:pt x="337" y="201"/>
                    <a:pt x="340" y="187"/>
                  </a:cubicBezTo>
                  <a:cubicBezTo>
                    <a:pt x="347" y="151"/>
                    <a:pt x="355" y="116"/>
                    <a:pt x="375" y="96"/>
                  </a:cubicBezTo>
                  <a:cubicBezTo>
                    <a:pt x="378" y="92"/>
                    <a:pt x="379" y="86"/>
                    <a:pt x="376" y="82"/>
                  </a:cubicBezTo>
                  <a:cubicBezTo>
                    <a:pt x="374" y="77"/>
                    <a:pt x="368" y="75"/>
                    <a:pt x="363" y="76"/>
                  </a:cubicBezTo>
                  <a:cubicBezTo>
                    <a:pt x="351" y="79"/>
                    <a:pt x="337" y="79"/>
                    <a:pt x="319" y="74"/>
                  </a:cubicBezTo>
                  <a:cubicBezTo>
                    <a:pt x="307" y="71"/>
                    <a:pt x="294" y="66"/>
                    <a:pt x="280" y="61"/>
                  </a:cubicBezTo>
                  <a:cubicBezTo>
                    <a:pt x="249" y="49"/>
                    <a:pt x="212" y="39"/>
                    <a:pt x="178" y="33"/>
                  </a:cubicBezTo>
                  <a:cubicBezTo>
                    <a:pt x="163" y="31"/>
                    <a:pt x="149" y="28"/>
                    <a:pt x="136" y="25"/>
                  </a:cubicBezTo>
                  <a:cubicBezTo>
                    <a:pt x="118" y="20"/>
                    <a:pt x="105" y="14"/>
                    <a:pt x="96" y="4"/>
                  </a:cubicBezTo>
                  <a:cubicBezTo>
                    <a:pt x="92" y="1"/>
                    <a:pt x="86" y="0"/>
                    <a:pt x="82" y="3"/>
                  </a:cubicBezTo>
                  <a:cubicBezTo>
                    <a:pt x="77" y="5"/>
                    <a:pt x="75" y="11"/>
                    <a:pt x="76" y="16"/>
                  </a:cubicBezTo>
                  <a:cubicBezTo>
                    <a:pt x="86" y="53"/>
                    <a:pt x="73" y="101"/>
                    <a:pt x="59" y="152"/>
                  </a:cubicBezTo>
                  <a:lnTo>
                    <a:pt x="56" y="163"/>
                  </a:lnTo>
                  <a:cubicBezTo>
                    <a:pt x="43" y="213"/>
                    <a:pt x="32" y="255"/>
                    <a:pt x="5" y="283"/>
                  </a:cubicBezTo>
                  <a:cubicBezTo>
                    <a:pt x="1" y="287"/>
                    <a:pt x="0" y="293"/>
                    <a:pt x="3" y="297"/>
                  </a:cubicBezTo>
                  <a:cubicBezTo>
                    <a:pt x="5" y="302"/>
                    <a:pt x="11" y="304"/>
                    <a:pt x="16" y="303"/>
                  </a:cubicBezTo>
                  <a:cubicBezTo>
                    <a:pt x="31" y="299"/>
                    <a:pt x="49" y="300"/>
                    <a:pt x="74" y="307"/>
                  </a:cubicBezTo>
                  <a:cubicBezTo>
                    <a:pt x="86" y="310"/>
                    <a:pt x="98" y="314"/>
                    <a:pt x="110" y="318"/>
                  </a:cubicBezTo>
                  <a:cubicBezTo>
                    <a:pt x="138" y="327"/>
                    <a:pt x="169" y="335"/>
                    <a:pt x="197" y="341"/>
                  </a:cubicBezTo>
                  <a:cubicBezTo>
                    <a:pt x="209" y="344"/>
                    <a:pt x="221" y="346"/>
                    <a:pt x="233" y="349"/>
                  </a:cubicBezTo>
                  <a:cubicBezTo>
                    <a:pt x="256" y="355"/>
                    <a:pt x="272" y="363"/>
                    <a:pt x="283" y="374"/>
                  </a:cubicBezTo>
                  <a:cubicBezTo>
                    <a:pt x="285" y="376"/>
                    <a:pt x="287" y="377"/>
                    <a:pt x="288" y="377"/>
                  </a:cubicBezTo>
                  <a:cubicBezTo>
                    <a:pt x="289" y="377"/>
                    <a:pt x="289" y="377"/>
                    <a:pt x="289" y="377"/>
                  </a:cubicBezTo>
                  <a:cubicBezTo>
                    <a:pt x="295" y="379"/>
                    <a:pt x="302" y="375"/>
                    <a:pt x="304" y="369"/>
                  </a:cubicBezTo>
                  <a:cubicBezTo>
                    <a:pt x="304" y="366"/>
                    <a:pt x="304" y="363"/>
                    <a:pt x="302" y="360"/>
                  </a:cubicBezTo>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p>
          </p:txBody>
        </p:sp>
      </p:grpSp>
      <p:grpSp>
        <p:nvGrpSpPr>
          <p:cNvPr id="328" name="Group 370"/>
          <p:cNvGrpSpPr/>
          <p:nvPr/>
        </p:nvGrpSpPr>
        <p:grpSpPr>
          <a:xfrm>
            <a:off x="5995989" y="4446714"/>
            <a:ext cx="738187" cy="215900"/>
            <a:chOff x="4471988" y="4446714"/>
            <a:chExt cx="738187" cy="215900"/>
          </a:xfrm>
        </p:grpSpPr>
        <p:sp>
          <p:nvSpPr>
            <p:cNvPr id="329" name="Freeform 3"/>
            <p:cNvSpPr>
              <a:spLocks noChangeArrowheads="1"/>
            </p:cNvSpPr>
            <p:nvPr/>
          </p:nvSpPr>
          <p:spPr bwMode="auto">
            <a:xfrm>
              <a:off x="4471988" y="4446714"/>
              <a:ext cx="738187" cy="215900"/>
            </a:xfrm>
            <a:custGeom>
              <a:avLst/>
              <a:gdLst>
                <a:gd name="T0" fmla="*/ 1752 w 2052"/>
                <a:gd name="T1" fmla="*/ 0 h 600"/>
                <a:gd name="T2" fmla="*/ 299 w 2052"/>
                <a:gd name="T3" fmla="*/ 0 h 600"/>
                <a:gd name="T4" fmla="*/ 299 w 2052"/>
                <a:gd name="T5" fmla="*/ 0 h 600"/>
                <a:gd name="T6" fmla="*/ 0 w 2052"/>
                <a:gd name="T7" fmla="*/ 300 h 600"/>
                <a:gd name="T8" fmla="*/ 299 w 2052"/>
                <a:gd name="T9" fmla="*/ 599 h 600"/>
                <a:gd name="T10" fmla="*/ 299 w 2052"/>
                <a:gd name="T11" fmla="*/ 599 h 600"/>
                <a:gd name="T12" fmla="*/ 1752 w 2052"/>
                <a:gd name="T13" fmla="*/ 599 h 600"/>
                <a:gd name="T14" fmla="*/ 2051 w 2052"/>
                <a:gd name="T15" fmla="*/ 300 h 600"/>
                <a:gd name="T16" fmla="*/ 1752 w 2052"/>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2" h="600">
                  <a:moveTo>
                    <a:pt x="1752" y="0"/>
                  </a:moveTo>
                  <a:lnTo>
                    <a:pt x="299" y="0"/>
                  </a:lnTo>
                  <a:lnTo>
                    <a:pt x="299" y="0"/>
                  </a:lnTo>
                  <a:cubicBezTo>
                    <a:pt x="134" y="0"/>
                    <a:pt x="0" y="134"/>
                    <a:pt x="0" y="300"/>
                  </a:cubicBezTo>
                  <a:cubicBezTo>
                    <a:pt x="0" y="465"/>
                    <a:pt x="134" y="599"/>
                    <a:pt x="299" y="599"/>
                  </a:cubicBezTo>
                  <a:lnTo>
                    <a:pt x="299" y="599"/>
                  </a:lnTo>
                  <a:lnTo>
                    <a:pt x="1752" y="599"/>
                  </a:lnTo>
                  <a:cubicBezTo>
                    <a:pt x="1917" y="599"/>
                    <a:pt x="2051" y="465"/>
                    <a:pt x="2051" y="300"/>
                  </a:cubicBezTo>
                  <a:cubicBezTo>
                    <a:pt x="2051" y="134"/>
                    <a:pt x="1917" y="0"/>
                    <a:pt x="1752"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30" name="Text Box 4"/>
            <p:cNvSpPr txBox="1">
              <a:spLocks noChangeArrowheads="1"/>
            </p:cNvSpPr>
            <p:nvPr/>
          </p:nvSpPr>
          <p:spPr bwMode="auto">
            <a:xfrm>
              <a:off x="4614861" y="4470454"/>
              <a:ext cx="555625" cy="185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7938" rIns="0" bIns="0" anchor="ctr"/>
            <a:lstStyle/>
            <a:p>
              <a:pPr algn="ctr">
                <a:lnSpc>
                  <a:spcPts val="700"/>
                </a:lnSpc>
              </a:pPr>
              <a:r>
                <a:rPr lang="en-US" sz="700" dirty="0">
                  <a:solidFill>
                    <a:schemeClr val="tx1">
                      <a:lumMod val="75000"/>
                      <a:lumOff val="25000"/>
                    </a:schemeClr>
                  </a:solidFill>
                  <a:latin typeface="Arial"/>
                  <a:ea typeface="'ArialMT'" pitchFamily="32" charset="0"/>
                  <a:cs typeface="Arial"/>
                </a:rPr>
                <a:t>Wearables</a:t>
              </a:r>
            </a:p>
          </p:txBody>
        </p:sp>
        <p:grpSp>
          <p:nvGrpSpPr>
            <p:cNvPr id="331" name="Group 336"/>
            <p:cNvGrpSpPr/>
            <p:nvPr/>
          </p:nvGrpSpPr>
          <p:grpSpPr>
            <a:xfrm>
              <a:off x="4516436" y="4484737"/>
              <a:ext cx="79375" cy="144463"/>
              <a:chOff x="5002213" y="4708525"/>
              <a:chExt cx="79375" cy="144463"/>
            </a:xfrm>
            <a:solidFill>
              <a:schemeClr val="tx1">
                <a:lumMod val="75000"/>
                <a:lumOff val="25000"/>
              </a:schemeClr>
            </a:solidFill>
          </p:grpSpPr>
          <p:sp>
            <p:nvSpPr>
              <p:cNvPr id="332" name="Freeform 172"/>
              <p:cNvSpPr>
                <a:spLocks noChangeArrowheads="1"/>
              </p:cNvSpPr>
              <p:nvPr/>
            </p:nvSpPr>
            <p:spPr bwMode="auto">
              <a:xfrm>
                <a:off x="5002213" y="4708525"/>
                <a:ext cx="79375" cy="144463"/>
              </a:xfrm>
              <a:custGeom>
                <a:avLst/>
                <a:gdLst/>
                <a:ahLst/>
                <a:cxnLst>
                  <a:cxn ang="0">
                    <a:pos x="216" y="195"/>
                  </a:cxn>
                  <a:cxn ang="0">
                    <a:pos x="210" y="195"/>
                  </a:cxn>
                  <a:cxn ang="0">
                    <a:pos x="211" y="207"/>
                  </a:cxn>
                  <a:cxn ang="0">
                    <a:pos x="210" y="197"/>
                  </a:cxn>
                  <a:cxn ang="0">
                    <a:pos x="178" y="129"/>
                  </a:cxn>
                  <a:cxn ang="0">
                    <a:pos x="160" y="89"/>
                  </a:cxn>
                  <a:cxn ang="0">
                    <a:pos x="156" y="59"/>
                  </a:cxn>
                  <a:cxn ang="0">
                    <a:pos x="156" y="42"/>
                  </a:cxn>
                  <a:cxn ang="0">
                    <a:pos x="159" y="42"/>
                  </a:cxn>
                  <a:cxn ang="0">
                    <a:pos x="159" y="23"/>
                  </a:cxn>
                  <a:cxn ang="0">
                    <a:pos x="155" y="23"/>
                  </a:cxn>
                  <a:cxn ang="0">
                    <a:pos x="155" y="0"/>
                  </a:cxn>
                  <a:cxn ang="0">
                    <a:pos x="152" y="0"/>
                  </a:cxn>
                  <a:cxn ang="0">
                    <a:pos x="81" y="0"/>
                  </a:cxn>
                  <a:cxn ang="0">
                    <a:pos x="55" y="0"/>
                  </a:cxn>
                  <a:cxn ang="0">
                    <a:pos x="55" y="22"/>
                  </a:cxn>
                  <a:cxn ang="0">
                    <a:pos x="50" y="22"/>
                  </a:cxn>
                  <a:cxn ang="0">
                    <a:pos x="50" y="42"/>
                  </a:cxn>
                  <a:cxn ang="0">
                    <a:pos x="55" y="42"/>
                  </a:cxn>
                  <a:cxn ang="0">
                    <a:pos x="55" y="59"/>
                  </a:cxn>
                  <a:cxn ang="0">
                    <a:pos x="50" y="88"/>
                  </a:cxn>
                  <a:cxn ang="0">
                    <a:pos x="50" y="89"/>
                  </a:cxn>
                  <a:cxn ang="0">
                    <a:pos x="18" y="149"/>
                  </a:cxn>
                  <a:cxn ang="0">
                    <a:pos x="0" y="209"/>
                  </a:cxn>
                  <a:cxn ang="0">
                    <a:pos x="30" y="281"/>
                  </a:cxn>
                  <a:cxn ang="0">
                    <a:pos x="45" y="315"/>
                  </a:cxn>
                  <a:cxn ang="0">
                    <a:pos x="45" y="315"/>
                  </a:cxn>
                  <a:cxn ang="0">
                    <a:pos x="49" y="355"/>
                  </a:cxn>
                  <a:cxn ang="0">
                    <a:pos x="49" y="399"/>
                  </a:cxn>
                  <a:cxn ang="0">
                    <a:pos x="163" y="399"/>
                  </a:cxn>
                  <a:cxn ang="0">
                    <a:pos x="162" y="355"/>
                  </a:cxn>
                  <a:cxn ang="0">
                    <a:pos x="166" y="314"/>
                  </a:cxn>
                  <a:cxn ang="0">
                    <a:pos x="189" y="269"/>
                  </a:cxn>
                  <a:cxn ang="0">
                    <a:pos x="209" y="224"/>
                  </a:cxn>
                  <a:cxn ang="0">
                    <a:pos x="209" y="220"/>
                  </a:cxn>
                  <a:cxn ang="0">
                    <a:pos x="209" y="222"/>
                  </a:cxn>
                  <a:cxn ang="0">
                    <a:pos x="217" y="222"/>
                  </a:cxn>
                  <a:cxn ang="0">
                    <a:pos x="219" y="209"/>
                  </a:cxn>
                  <a:cxn ang="0">
                    <a:pos x="216" y="195"/>
                  </a:cxn>
                  <a:cxn ang="0">
                    <a:pos x="105" y="294"/>
                  </a:cxn>
                  <a:cxn ang="0">
                    <a:pos x="20" y="209"/>
                  </a:cxn>
                  <a:cxn ang="0">
                    <a:pos x="105" y="123"/>
                  </a:cxn>
                  <a:cxn ang="0">
                    <a:pos x="190" y="209"/>
                  </a:cxn>
                  <a:cxn ang="0">
                    <a:pos x="105" y="294"/>
                  </a:cxn>
                </a:cxnLst>
                <a:rect l="0" t="0" r="r" b="b"/>
                <a:pathLst>
                  <a:path w="220" h="400">
                    <a:moveTo>
                      <a:pt x="216" y="195"/>
                    </a:moveTo>
                    <a:lnTo>
                      <a:pt x="210" y="195"/>
                    </a:lnTo>
                    <a:cubicBezTo>
                      <a:pt x="210" y="199"/>
                      <a:pt x="211" y="203"/>
                      <a:pt x="211" y="207"/>
                    </a:cubicBezTo>
                    <a:cubicBezTo>
                      <a:pt x="211" y="203"/>
                      <a:pt x="210" y="200"/>
                      <a:pt x="210" y="197"/>
                    </a:cubicBezTo>
                    <a:cubicBezTo>
                      <a:pt x="207" y="163"/>
                      <a:pt x="190" y="147"/>
                      <a:pt x="178" y="129"/>
                    </a:cubicBezTo>
                    <a:cubicBezTo>
                      <a:pt x="166" y="110"/>
                      <a:pt x="160" y="89"/>
                      <a:pt x="160" y="89"/>
                    </a:cubicBezTo>
                    <a:cubicBezTo>
                      <a:pt x="160" y="89"/>
                      <a:pt x="156" y="74"/>
                      <a:pt x="156" y="59"/>
                    </a:cubicBezTo>
                    <a:cubicBezTo>
                      <a:pt x="156" y="55"/>
                      <a:pt x="156" y="49"/>
                      <a:pt x="156" y="42"/>
                    </a:cubicBezTo>
                    <a:lnTo>
                      <a:pt x="159" y="42"/>
                    </a:lnTo>
                    <a:lnTo>
                      <a:pt x="159" y="23"/>
                    </a:lnTo>
                    <a:lnTo>
                      <a:pt x="155" y="23"/>
                    </a:lnTo>
                    <a:cubicBezTo>
                      <a:pt x="155" y="13"/>
                      <a:pt x="155" y="4"/>
                      <a:pt x="155" y="0"/>
                    </a:cubicBezTo>
                    <a:lnTo>
                      <a:pt x="152" y="0"/>
                    </a:lnTo>
                    <a:lnTo>
                      <a:pt x="81" y="0"/>
                    </a:lnTo>
                    <a:lnTo>
                      <a:pt x="55" y="0"/>
                    </a:lnTo>
                    <a:cubicBezTo>
                      <a:pt x="55" y="5"/>
                      <a:pt x="55" y="13"/>
                      <a:pt x="55" y="22"/>
                    </a:cubicBezTo>
                    <a:lnTo>
                      <a:pt x="50" y="22"/>
                    </a:lnTo>
                    <a:lnTo>
                      <a:pt x="50" y="42"/>
                    </a:lnTo>
                    <a:lnTo>
                      <a:pt x="55" y="42"/>
                    </a:lnTo>
                    <a:cubicBezTo>
                      <a:pt x="55" y="51"/>
                      <a:pt x="55" y="57"/>
                      <a:pt x="55" y="59"/>
                    </a:cubicBezTo>
                    <a:cubicBezTo>
                      <a:pt x="55" y="75"/>
                      <a:pt x="50" y="86"/>
                      <a:pt x="50" y="88"/>
                    </a:cubicBezTo>
                    <a:lnTo>
                      <a:pt x="50" y="89"/>
                    </a:lnTo>
                    <a:cubicBezTo>
                      <a:pt x="40" y="118"/>
                      <a:pt x="18" y="149"/>
                      <a:pt x="18" y="149"/>
                    </a:cubicBezTo>
                    <a:cubicBezTo>
                      <a:pt x="1" y="169"/>
                      <a:pt x="0" y="202"/>
                      <a:pt x="0" y="209"/>
                    </a:cubicBezTo>
                    <a:cubicBezTo>
                      <a:pt x="3" y="251"/>
                      <a:pt x="26" y="274"/>
                      <a:pt x="30" y="281"/>
                    </a:cubicBezTo>
                    <a:cubicBezTo>
                      <a:pt x="37" y="293"/>
                      <a:pt x="42" y="306"/>
                      <a:pt x="45" y="315"/>
                    </a:cubicBezTo>
                    <a:lnTo>
                      <a:pt x="45" y="315"/>
                    </a:lnTo>
                    <a:cubicBezTo>
                      <a:pt x="49" y="324"/>
                      <a:pt x="49" y="355"/>
                      <a:pt x="49" y="355"/>
                    </a:cubicBezTo>
                    <a:lnTo>
                      <a:pt x="49" y="399"/>
                    </a:lnTo>
                    <a:lnTo>
                      <a:pt x="163" y="399"/>
                    </a:lnTo>
                    <a:cubicBezTo>
                      <a:pt x="163" y="399"/>
                      <a:pt x="162" y="366"/>
                      <a:pt x="162" y="355"/>
                    </a:cubicBezTo>
                    <a:cubicBezTo>
                      <a:pt x="162" y="344"/>
                      <a:pt x="166" y="315"/>
                      <a:pt x="166" y="314"/>
                    </a:cubicBezTo>
                    <a:cubicBezTo>
                      <a:pt x="175" y="287"/>
                      <a:pt x="189" y="269"/>
                      <a:pt x="189" y="269"/>
                    </a:cubicBezTo>
                    <a:cubicBezTo>
                      <a:pt x="201" y="255"/>
                      <a:pt x="206" y="236"/>
                      <a:pt x="209" y="224"/>
                    </a:cubicBezTo>
                    <a:cubicBezTo>
                      <a:pt x="209" y="222"/>
                      <a:pt x="209" y="222"/>
                      <a:pt x="209" y="220"/>
                    </a:cubicBezTo>
                    <a:cubicBezTo>
                      <a:pt x="209" y="221"/>
                      <a:pt x="209" y="221"/>
                      <a:pt x="209" y="222"/>
                    </a:cubicBezTo>
                    <a:lnTo>
                      <a:pt x="217" y="222"/>
                    </a:lnTo>
                    <a:cubicBezTo>
                      <a:pt x="217" y="222"/>
                      <a:pt x="219" y="215"/>
                      <a:pt x="219" y="209"/>
                    </a:cubicBezTo>
                    <a:cubicBezTo>
                      <a:pt x="219" y="197"/>
                      <a:pt x="216" y="195"/>
                      <a:pt x="216" y="195"/>
                    </a:cubicBezTo>
                    <a:close/>
                    <a:moveTo>
                      <a:pt x="105" y="294"/>
                    </a:moveTo>
                    <a:cubicBezTo>
                      <a:pt x="59" y="294"/>
                      <a:pt x="20" y="256"/>
                      <a:pt x="20" y="209"/>
                    </a:cubicBezTo>
                    <a:cubicBezTo>
                      <a:pt x="20" y="161"/>
                      <a:pt x="59" y="123"/>
                      <a:pt x="105" y="123"/>
                    </a:cubicBezTo>
                    <a:cubicBezTo>
                      <a:pt x="152" y="123"/>
                      <a:pt x="190" y="161"/>
                      <a:pt x="190" y="209"/>
                    </a:cubicBezTo>
                    <a:cubicBezTo>
                      <a:pt x="190" y="256"/>
                      <a:pt x="152" y="294"/>
                      <a:pt x="105" y="294"/>
                    </a:cubicBezTo>
                    <a:close/>
                  </a:path>
                </a:pathLst>
              </a:custGeom>
              <a:grpFill/>
              <a:ln w="9525" cap="flat">
                <a:noFill/>
                <a:bevel/>
                <a:headEnd/>
                <a:tailEnd/>
              </a:ln>
              <a:effectLst/>
            </p:spPr>
            <p:txBody>
              <a:bodyPr wrap="none" anchor="ctr">
                <a:prstTxWarp prst="textNoShape">
                  <a:avLst/>
                </a:prstTxWarp>
              </a:bodyPr>
              <a:lstStyle/>
              <a:p>
                <a:pPr>
                  <a:buNone/>
                </a:pPr>
                <a:endParaRPr lang="en-US" dirty="0">
                  <a:solidFill>
                    <a:schemeClr val="tx1">
                      <a:lumMod val="75000"/>
                      <a:lumOff val="25000"/>
                    </a:schemeClr>
                  </a:solidFill>
                </a:endParaRPr>
              </a:p>
            </p:txBody>
          </p:sp>
          <p:sp>
            <p:nvSpPr>
              <p:cNvPr id="333" name="Freeform 173"/>
              <p:cNvSpPr>
                <a:spLocks noChangeArrowheads="1"/>
              </p:cNvSpPr>
              <p:nvPr/>
            </p:nvSpPr>
            <p:spPr bwMode="auto">
              <a:xfrm>
                <a:off x="5037138" y="4781550"/>
                <a:ext cx="4762" cy="4763"/>
              </a:xfrm>
              <a:custGeom>
                <a:avLst/>
                <a:gdLst/>
                <a:ahLst/>
                <a:cxnLst>
                  <a:cxn ang="0">
                    <a:pos x="12" y="6"/>
                  </a:cxn>
                  <a:cxn ang="0">
                    <a:pos x="11" y="9"/>
                  </a:cxn>
                  <a:cxn ang="0">
                    <a:pos x="9" y="11"/>
                  </a:cxn>
                  <a:cxn ang="0">
                    <a:pos x="6" y="12"/>
                  </a:cxn>
                  <a:cxn ang="0">
                    <a:pos x="3" y="11"/>
                  </a:cxn>
                  <a:cxn ang="0">
                    <a:pos x="1" y="9"/>
                  </a:cxn>
                  <a:cxn ang="0">
                    <a:pos x="0" y="6"/>
                  </a:cxn>
                  <a:cxn ang="0">
                    <a:pos x="1" y="3"/>
                  </a:cxn>
                  <a:cxn ang="0">
                    <a:pos x="3" y="1"/>
                  </a:cxn>
                  <a:cxn ang="0">
                    <a:pos x="6" y="0"/>
                  </a:cxn>
                  <a:cxn ang="0">
                    <a:pos x="9" y="1"/>
                  </a:cxn>
                  <a:cxn ang="0">
                    <a:pos x="11" y="3"/>
                  </a:cxn>
                  <a:cxn ang="0">
                    <a:pos x="12" y="6"/>
                  </a:cxn>
                </a:cxnLst>
                <a:rect l="0" t="0" r="r" b="b"/>
                <a:pathLst>
                  <a:path w="13" h="13">
                    <a:moveTo>
                      <a:pt x="12" y="6"/>
                    </a:moveTo>
                    <a:cubicBezTo>
                      <a:pt x="12" y="7"/>
                      <a:pt x="12" y="8"/>
                      <a:pt x="11" y="9"/>
                    </a:cubicBezTo>
                    <a:cubicBezTo>
                      <a:pt x="11" y="10"/>
                      <a:pt x="11" y="11"/>
                      <a:pt x="9" y="11"/>
                    </a:cubicBezTo>
                    <a:cubicBezTo>
                      <a:pt x="8" y="12"/>
                      <a:pt x="7" y="12"/>
                      <a:pt x="6" y="12"/>
                    </a:cubicBezTo>
                    <a:cubicBezTo>
                      <a:pt x="5" y="12"/>
                      <a:pt x="5" y="12"/>
                      <a:pt x="3" y="11"/>
                    </a:cubicBezTo>
                    <a:cubicBezTo>
                      <a:pt x="2" y="11"/>
                      <a:pt x="2" y="10"/>
                      <a:pt x="1" y="9"/>
                    </a:cubicBezTo>
                    <a:cubicBezTo>
                      <a:pt x="1" y="8"/>
                      <a:pt x="0" y="7"/>
                      <a:pt x="0" y="6"/>
                    </a:cubicBezTo>
                    <a:cubicBezTo>
                      <a:pt x="0" y="5"/>
                      <a:pt x="1" y="4"/>
                      <a:pt x="1" y="3"/>
                    </a:cubicBezTo>
                    <a:cubicBezTo>
                      <a:pt x="2" y="2"/>
                      <a:pt x="2" y="2"/>
                      <a:pt x="3" y="1"/>
                    </a:cubicBezTo>
                    <a:cubicBezTo>
                      <a:pt x="4" y="0"/>
                      <a:pt x="5" y="0"/>
                      <a:pt x="6" y="0"/>
                    </a:cubicBezTo>
                    <a:cubicBezTo>
                      <a:pt x="7" y="0"/>
                      <a:pt x="8" y="0"/>
                      <a:pt x="9" y="1"/>
                    </a:cubicBezTo>
                    <a:cubicBezTo>
                      <a:pt x="10" y="2"/>
                      <a:pt x="11" y="2"/>
                      <a:pt x="11" y="3"/>
                    </a:cubicBezTo>
                    <a:cubicBezTo>
                      <a:pt x="12" y="4"/>
                      <a:pt x="12" y="5"/>
                      <a:pt x="12" y="6"/>
                    </a:cubicBezTo>
                  </a:path>
                </a:pathLst>
              </a:custGeom>
              <a:grpFill/>
              <a:ln w="9525" cap="flat">
                <a:noFill/>
                <a:bevel/>
                <a:headEnd/>
                <a:tailEnd/>
              </a:ln>
              <a:effectLst/>
            </p:spPr>
            <p:txBody>
              <a:bodyPr wrap="none" anchor="ctr">
                <a:prstTxWarp prst="textNoShape">
                  <a:avLst/>
                </a:prstTxWarp>
              </a:bodyPr>
              <a:lstStyle/>
              <a:p>
                <a:pPr>
                  <a:buNone/>
                </a:pPr>
                <a:endParaRPr lang="en-US" dirty="0">
                  <a:solidFill>
                    <a:schemeClr val="tx1">
                      <a:lumMod val="75000"/>
                      <a:lumOff val="25000"/>
                    </a:schemeClr>
                  </a:solidFill>
                </a:endParaRPr>
              </a:p>
            </p:txBody>
          </p:sp>
          <p:sp>
            <p:nvSpPr>
              <p:cNvPr id="334" name="Freeform 174"/>
              <p:cNvSpPr>
                <a:spLocks noChangeArrowheads="1"/>
              </p:cNvSpPr>
              <p:nvPr/>
            </p:nvSpPr>
            <p:spPr bwMode="auto">
              <a:xfrm>
                <a:off x="5040313" y="4783138"/>
                <a:ext cx="23812" cy="1587"/>
              </a:xfrm>
              <a:custGeom>
                <a:avLst/>
                <a:gdLst/>
                <a:ahLst/>
                <a:cxnLst>
                  <a:cxn ang="0">
                    <a:pos x="33" y="5"/>
                  </a:cxn>
                  <a:cxn ang="0">
                    <a:pos x="0" y="5"/>
                  </a:cxn>
                  <a:cxn ang="0">
                    <a:pos x="0" y="0"/>
                  </a:cxn>
                  <a:cxn ang="0">
                    <a:pos x="65" y="0"/>
                  </a:cxn>
                  <a:cxn ang="0">
                    <a:pos x="65" y="5"/>
                  </a:cxn>
                  <a:cxn ang="0">
                    <a:pos x="33" y="5"/>
                  </a:cxn>
                </a:cxnLst>
                <a:rect l="0" t="0" r="r" b="b"/>
                <a:pathLst>
                  <a:path w="66" h="6">
                    <a:moveTo>
                      <a:pt x="33" y="5"/>
                    </a:moveTo>
                    <a:lnTo>
                      <a:pt x="0" y="5"/>
                    </a:lnTo>
                    <a:lnTo>
                      <a:pt x="0" y="0"/>
                    </a:lnTo>
                    <a:lnTo>
                      <a:pt x="65" y="0"/>
                    </a:lnTo>
                    <a:lnTo>
                      <a:pt x="65" y="5"/>
                    </a:lnTo>
                    <a:lnTo>
                      <a:pt x="33" y="5"/>
                    </a:lnTo>
                  </a:path>
                </a:pathLst>
              </a:custGeom>
              <a:grpFill/>
              <a:ln w="9525" cap="flat">
                <a:noFill/>
                <a:bevel/>
                <a:headEnd/>
                <a:tailEnd/>
              </a:ln>
              <a:effectLst/>
            </p:spPr>
            <p:txBody>
              <a:bodyPr wrap="none" anchor="ctr">
                <a:prstTxWarp prst="textNoShape">
                  <a:avLst/>
                </a:prstTxWarp>
              </a:bodyPr>
              <a:lstStyle/>
              <a:p>
                <a:pPr>
                  <a:buNone/>
                </a:pPr>
                <a:endParaRPr lang="en-US" dirty="0">
                  <a:solidFill>
                    <a:schemeClr val="tx1">
                      <a:lumMod val="75000"/>
                      <a:lumOff val="25000"/>
                    </a:schemeClr>
                  </a:solidFill>
                </a:endParaRPr>
              </a:p>
            </p:txBody>
          </p:sp>
          <p:sp>
            <p:nvSpPr>
              <p:cNvPr id="335" name="Freeform 175"/>
              <p:cNvSpPr>
                <a:spLocks noChangeArrowheads="1"/>
              </p:cNvSpPr>
              <p:nvPr/>
            </p:nvSpPr>
            <p:spPr bwMode="auto">
              <a:xfrm>
                <a:off x="5032375" y="4770438"/>
                <a:ext cx="7938" cy="14287"/>
              </a:xfrm>
              <a:custGeom>
                <a:avLst/>
                <a:gdLst/>
                <a:ahLst/>
                <a:cxnLst>
                  <a:cxn ang="0">
                    <a:pos x="8" y="20"/>
                  </a:cxn>
                  <a:cxn ang="0">
                    <a:pos x="0" y="2"/>
                  </a:cxn>
                  <a:cxn ang="0">
                    <a:pos x="5" y="0"/>
                  </a:cxn>
                  <a:cxn ang="0">
                    <a:pos x="21" y="35"/>
                  </a:cxn>
                  <a:cxn ang="0">
                    <a:pos x="16" y="37"/>
                  </a:cxn>
                  <a:cxn ang="0">
                    <a:pos x="8" y="20"/>
                  </a:cxn>
                </a:cxnLst>
                <a:rect l="0" t="0" r="r" b="b"/>
                <a:pathLst>
                  <a:path w="22" h="38">
                    <a:moveTo>
                      <a:pt x="8" y="20"/>
                    </a:moveTo>
                    <a:lnTo>
                      <a:pt x="0" y="2"/>
                    </a:lnTo>
                    <a:lnTo>
                      <a:pt x="5" y="0"/>
                    </a:lnTo>
                    <a:lnTo>
                      <a:pt x="21" y="35"/>
                    </a:lnTo>
                    <a:lnTo>
                      <a:pt x="16" y="37"/>
                    </a:lnTo>
                    <a:lnTo>
                      <a:pt x="8" y="20"/>
                    </a:lnTo>
                  </a:path>
                </a:pathLst>
              </a:custGeom>
              <a:grpFill/>
              <a:ln w="9525" cap="flat">
                <a:noFill/>
                <a:bevel/>
                <a:headEnd/>
                <a:tailEnd/>
              </a:ln>
              <a:effectLst/>
            </p:spPr>
            <p:txBody>
              <a:bodyPr wrap="none" anchor="ctr">
                <a:prstTxWarp prst="textNoShape">
                  <a:avLst/>
                </a:prstTxWarp>
              </a:bodyPr>
              <a:lstStyle/>
              <a:p>
                <a:pPr>
                  <a:buNone/>
                </a:pPr>
                <a:endParaRPr lang="en-US" dirty="0">
                  <a:solidFill>
                    <a:schemeClr val="tx1">
                      <a:lumMod val="75000"/>
                      <a:lumOff val="25000"/>
                    </a:schemeClr>
                  </a:solidFill>
                </a:endParaRPr>
              </a:p>
            </p:txBody>
          </p:sp>
          <p:sp>
            <p:nvSpPr>
              <p:cNvPr id="336" name="Freeform 176"/>
              <p:cNvSpPr>
                <a:spLocks noChangeArrowheads="1"/>
              </p:cNvSpPr>
              <p:nvPr/>
            </p:nvSpPr>
            <p:spPr bwMode="auto">
              <a:xfrm>
                <a:off x="5022850" y="4773613"/>
                <a:ext cx="25400" cy="28575"/>
              </a:xfrm>
              <a:custGeom>
                <a:avLst/>
                <a:gdLst/>
                <a:ahLst/>
                <a:cxnLst>
                  <a:cxn ang="0">
                    <a:pos x="68" y="0"/>
                  </a:cxn>
                  <a:cxn ang="0">
                    <a:pos x="50" y="21"/>
                  </a:cxn>
                  <a:cxn ang="0">
                    <a:pos x="44" y="22"/>
                  </a:cxn>
                  <a:cxn ang="0">
                    <a:pos x="43" y="29"/>
                  </a:cxn>
                  <a:cxn ang="0">
                    <a:pos x="1" y="78"/>
                  </a:cxn>
                  <a:cxn ang="0">
                    <a:pos x="1" y="80"/>
                  </a:cxn>
                  <a:cxn ang="0">
                    <a:pos x="2" y="80"/>
                  </a:cxn>
                  <a:cxn ang="0">
                    <a:pos x="36" y="42"/>
                  </a:cxn>
                  <a:cxn ang="0">
                    <a:pos x="45" y="31"/>
                  </a:cxn>
                  <a:cxn ang="0">
                    <a:pos x="51" y="30"/>
                  </a:cxn>
                  <a:cxn ang="0">
                    <a:pos x="52" y="24"/>
                  </a:cxn>
                  <a:cxn ang="0">
                    <a:pos x="55" y="20"/>
                  </a:cxn>
                  <a:cxn ang="0">
                    <a:pos x="71" y="3"/>
                  </a:cxn>
                  <a:cxn ang="0">
                    <a:pos x="68" y="0"/>
                  </a:cxn>
                </a:cxnLst>
                <a:rect l="0" t="0" r="r" b="b"/>
                <a:pathLst>
                  <a:path w="72" h="81">
                    <a:moveTo>
                      <a:pt x="68" y="0"/>
                    </a:moveTo>
                    <a:lnTo>
                      <a:pt x="50" y="21"/>
                    </a:lnTo>
                    <a:cubicBezTo>
                      <a:pt x="48" y="20"/>
                      <a:pt x="46" y="20"/>
                      <a:pt x="44" y="22"/>
                    </a:cubicBezTo>
                    <a:cubicBezTo>
                      <a:pt x="42" y="23"/>
                      <a:pt x="41" y="27"/>
                      <a:pt x="43" y="29"/>
                    </a:cubicBezTo>
                    <a:lnTo>
                      <a:pt x="1" y="78"/>
                    </a:lnTo>
                    <a:cubicBezTo>
                      <a:pt x="1" y="78"/>
                      <a:pt x="0" y="79"/>
                      <a:pt x="1" y="80"/>
                    </a:cubicBezTo>
                    <a:lnTo>
                      <a:pt x="2" y="80"/>
                    </a:lnTo>
                    <a:lnTo>
                      <a:pt x="36" y="42"/>
                    </a:lnTo>
                    <a:lnTo>
                      <a:pt x="45" y="31"/>
                    </a:lnTo>
                    <a:cubicBezTo>
                      <a:pt x="47" y="32"/>
                      <a:pt x="49" y="31"/>
                      <a:pt x="51" y="30"/>
                    </a:cubicBezTo>
                    <a:cubicBezTo>
                      <a:pt x="53" y="29"/>
                      <a:pt x="53" y="26"/>
                      <a:pt x="52" y="24"/>
                    </a:cubicBezTo>
                    <a:lnTo>
                      <a:pt x="55" y="20"/>
                    </a:lnTo>
                    <a:lnTo>
                      <a:pt x="71" y="3"/>
                    </a:lnTo>
                    <a:lnTo>
                      <a:pt x="68" y="0"/>
                    </a:lnTo>
                  </a:path>
                </a:pathLst>
              </a:custGeom>
              <a:grpFill/>
              <a:ln w="9525" cap="flat">
                <a:noFill/>
                <a:bevel/>
                <a:headEnd/>
                <a:tailEnd/>
              </a:ln>
              <a:effectLst/>
            </p:spPr>
            <p:txBody>
              <a:bodyPr wrap="none" anchor="ctr">
                <a:prstTxWarp prst="textNoShape">
                  <a:avLst/>
                </a:prstTxWarp>
              </a:bodyPr>
              <a:lstStyle/>
              <a:p>
                <a:pPr>
                  <a:buNone/>
                </a:pPr>
                <a:endParaRPr lang="en-US" dirty="0">
                  <a:solidFill>
                    <a:schemeClr val="tx1">
                      <a:lumMod val="75000"/>
                      <a:lumOff val="25000"/>
                    </a:schemeClr>
                  </a:solidFill>
                </a:endParaRPr>
              </a:p>
            </p:txBody>
          </p:sp>
          <p:sp>
            <p:nvSpPr>
              <p:cNvPr id="337" name="Freeform 177"/>
              <p:cNvSpPr>
                <a:spLocks noChangeArrowheads="1"/>
              </p:cNvSpPr>
              <p:nvPr/>
            </p:nvSpPr>
            <p:spPr bwMode="auto">
              <a:xfrm>
                <a:off x="5038725" y="4783138"/>
                <a:ext cx="1588" cy="3175"/>
              </a:xfrm>
              <a:custGeom>
                <a:avLst/>
                <a:gdLst/>
                <a:ahLst/>
                <a:cxnLst>
                  <a:cxn ang="0">
                    <a:pos x="5" y="3"/>
                  </a:cxn>
                  <a:cxn ang="0">
                    <a:pos x="4" y="4"/>
                  </a:cxn>
                  <a:cxn ang="0">
                    <a:pos x="3" y="5"/>
                  </a:cxn>
                  <a:cxn ang="0">
                    <a:pos x="2" y="6"/>
                  </a:cxn>
                  <a:cxn ang="0">
                    <a:pos x="1" y="5"/>
                  </a:cxn>
                  <a:cxn ang="0">
                    <a:pos x="0" y="4"/>
                  </a:cxn>
                  <a:cxn ang="0">
                    <a:pos x="0" y="3"/>
                  </a:cxn>
                  <a:cxn ang="0">
                    <a:pos x="0" y="1"/>
                  </a:cxn>
                  <a:cxn ang="0">
                    <a:pos x="1" y="0"/>
                  </a:cxn>
                  <a:cxn ang="0">
                    <a:pos x="2" y="0"/>
                  </a:cxn>
                  <a:cxn ang="0">
                    <a:pos x="3" y="0"/>
                  </a:cxn>
                  <a:cxn ang="0">
                    <a:pos x="4" y="1"/>
                  </a:cxn>
                  <a:cxn ang="0">
                    <a:pos x="5" y="3"/>
                  </a:cxn>
                </a:cxnLst>
                <a:rect l="0" t="0" r="r" b="b"/>
                <a:pathLst>
                  <a:path w="6" h="7">
                    <a:moveTo>
                      <a:pt x="5" y="3"/>
                    </a:moveTo>
                    <a:cubicBezTo>
                      <a:pt x="5" y="3"/>
                      <a:pt x="5" y="4"/>
                      <a:pt x="4" y="4"/>
                    </a:cubicBezTo>
                    <a:cubicBezTo>
                      <a:pt x="4" y="5"/>
                      <a:pt x="4" y="5"/>
                      <a:pt x="3" y="5"/>
                    </a:cubicBezTo>
                    <a:cubicBezTo>
                      <a:pt x="3" y="5"/>
                      <a:pt x="3" y="6"/>
                      <a:pt x="2" y="6"/>
                    </a:cubicBezTo>
                    <a:lnTo>
                      <a:pt x="1" y="5"/>
                    </a:lnTo>
                    <a:cubicBezTo>
                      <a:pt x="0" y="5"/>
                      <a:pt x="0" y="5"/>
                      <a:pt x="0" y="4"/>
                    </a:cubicBezTo>
                    <a:lnTo>
                      <a:pt x="0" y="3"/>
                    </a:lnTo>
                    <a:cubicBezTo>
                      <a:pt x="0" y="2"/>
                      <a:pt x="0" y="2"/>
                      <a:pt x="0" y="1"/>
                    </a:cubicBezTo>
                    <a:cubicBezTo>
                      <a:pt x="0" y="1"/>
                      <a:pt x="0" y="1"/>
                      <a:pt x="1" y="0"/>
                    </a:cubicBezTo>
                    <a:lnTo>
                      <a:pt x="2" y="0"/>
                    </a:lnTo>
                    <a:cubicBezTo>
                      <a:pt x="3" y="0"/>
                      <a:pt x="3" y="0"/>
                      <a:pt x="3" y="0"/>
                    </a:cubicBezTo>
                    <a:cubicBezTo>
                      <a:pt x="4" y="1"/>
                      <a:pt x="4" y="1"/>
                      <a:pt x="4" y="1"/>
                    </a:cubicBezTo>
                    <a:cubicBezTo>
                      <a:pt x="5" y="2"/>
                      <a:pt x="5" y="2"/>
                      <a:pt x="5" y="3"/>
                    </a:cubicBezTo>
                  </a:path>
                </a:pathLst>
              </a:custGeom>
              <a:grpFill/>
              <a:ln w="9525" cap="flat">
                <a:noFill/>
                <a:bevel/>
                <a:headEnd/>
                <a:tailEnd/>
              </a:ln>
              <a:effectLst/>
            </p:spPr>
            <p:txBody>
              <a:bodyPr wrap="none" anchor="ctr">
                <a:prstTxWarp prst="textNoShape">
                  <a:avLst/>
                </a:prstTxWarp>
              </a:bodyPr>
              <a:lstStyle/>
              <a:p>
                <a:pPr>
                  <a:buNone/>
                </a:pPr>
                <a:endParaRPr lang="en-US" dirty="0">
                  <a:solidFill>
                    <a:schemeClr val="tx1">
                      <a:lumMod val="75000"/>
                      <a:lumOff val="25000"/>
                    </a:schemeClr>
                  </a:solidFill>
                </a:endParaRPr>
              </a:p>
            </p:txBody>
          </p:sp>
        </p:grpSp>
      </p:grpSp>
      <p:grpSp>
        <p:nvGrpSpPr>
          <p:cNvPr id="338" name="Group 376"/>
          <p:cNvGrpSpPr/>
          <p:nvPr/>
        </p:nvGrpSpPr>
        <p:grpSpPr>
          <a:xfrm>
            <a:off x="6605092" y="5243513"/>
            <a:ext cx="1431925" cy="215900"/>
            <a:chOff x="5081091" y="5243513"/>
            <a:chExt cx="1431925" cy="215900"/>
          </a:xfrm>
        </p:grpSpPr>
        <p:sp>
          <p:nvSpPr>
            <p:cNvPr id="339" name="Freeform 41"/>
            <p:cNvSpPr>
              <a:spLocks noChangeArrowheads="1"/>
            </p:cNvSpPr>
            <p:nvPr/>
          </p:nvSpPr>
          <p:spPr bwMode="auto">
            <a:xfrm>
              <a:off x="5081091" y="5243513"/>
              <a:ext cx="1431925" cy="215900"/>
            </a:xfrm>
            <a:custGeom>
              <a:avLst/>
              <a:gdLst>
                <a:gd name="T0" fmla="*/ 3678 w 3979"/>
                <a:gd name="T1" fmla="*/ 0 h 600"/>
                <a:gd name="T2" fmla="*/ 300 w 3979"/>
                <a:gd name="T3" fmla="*/ 0 h 600"/>
                <a:gd name="T4" fmla="*/ 300 w 3979"/>
                <a:gd name="T5" fmla="*/ 0 h 600"/>
                <a:gd name="T6" fmla="*/ 0 w 3979"/>
                <a:gd name="T7" fmla="*/ 299 h 600"/>
                <a:gd name="T8" fmla="*/ 300 w 3979"/>
                <a:gd name="T9" fmla="*/ 599 h 600"/>
                <a:gd name="T10" fmla="*/ 300 w 3979"/>
                <a:gd name="T11" fmla="*/ 599 h 600"/>
                <a:gd name="T12" fmla="*/ 3678 w 3979"/>
                <a:gd name="T13" fmla="*/ 599 h 600"/>
                <a:gd name="T14" fmla="*/ 3978 w 3979"/>
                <a:gd name="T15" fmla="*/ 299 h 600"/>
                <a:gd name="T16" fmla="*/ 3678 w 3979"/>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9" h="600">
                  <a:moveTo>
                    <a:pt x="3678" y="0"/>
                  </a:moveTo>
                  <a:lnTo>
                    <a:pt x="300" y="0"/>
                  </a:lnTo>
                  <a:lnTo>
                    <a:pt x="300" y="0"/>
                  </a:lnTo>
                  <a:cubicBezTo>
                    <a:pt x="134" y="0"/>
                    <a:pt x="0" y="134"/>
                    <a:pt x="0" y="299"/>
                  </a:cubicBezTo>
                  <a:cubicBezTo>
                    <a:pt x="0" y="464"/>
                    <a:pt x="134" y="599"/>
                    <a:pt x="300" y="599"/>
                  </a:cubicBezTo>
                  <a:lnTo>
                    <a:pt x="300" y="599"/>
                  </a:lnTo>
                  <a:lnTo>
                    <a:pt x="3678" y="599"/>
                  </a:lnTo>
                  <a:cubicBezTo>
                    <a:pt x="3844" y="599"/>
                    <a:pt x="3978" y="464"/>
                    <a:pt x="3978" y="299"/>
                  </a:cubicBezTo>
                  <a:cubicBezTo>
                    <a:pt x="3978" y="134"/>
                    <a:pt x="3844" y="0"/>
                    <a:pt x="3678"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40" name="Text Box 42"/>
            <p:cNvSpPr txBox="1">
              <a:spLocks noChangeArrowheads="1"/>
            </p:cNvSpPr>
            <p:nvPr/>
          </p:nvSpPr>
          <p:spPr bwMode="auto">
            <a:xfrm>
              <a:off x="5298081" y="5243563"/>
              <a:ext cx="1193208" cy="2158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lvl1pPr>
                <a:tabLst>
                  <a:tab pos="723900" algn="l"/>
                </a:tabLst>
                <a:defRPr>
                  <a:solidFill>
                    <a:srgbClr val="000000"/>
                  </a:solidFill>
                  <a:latin typeface="Arial" charset="0"/>
                  <a:ea typeface="微软雅黑" charset="0"/>
                  <a:cs typeface="微软雅黑" charset="0"/>
                </a:defRPr>
              </a:lvl1pPr>
              <a:lvl2pPr>
                <a:tabLst>
                  <a:tab pos="723900" algn="l"/>
                </a:tabLst>
                <a:defRPr>
                  <a:solidFill>
                    <a:srgbClr val="000000"/>
                  </a:solidFill>
                  <a:latin typeface="Arial" charset="0"/>
                  <a:ea typeface="微软雅黑" charset="0"/>
                  <a:cs typeface="微软雅黑" charset="0"/>
                </a:defRPr>
              </a:lvl2pPr>
              <a:lvl3pPr>
                <a:tabLst>
                  <a:tab pos="723900" algn="l"/>
                </a:tabLst>
                <a:defRPr>
                  <a:solidFill>
                    <a:srgbClr val="000000"/>
                  </a:solidFill>
                  <a:latin typeface="Arial" charset="0"/>
                  <a:ea typeface="微软雅黑" charset="0"/>
                  <a:cs typeface="微软雅黑" charset="0"/>
                </a:defRPr>
              </a:lvl3pPr>
              <a:lvl4pPr>
                <a:tabLst>
                  <a:tab pos="723900" algn="l"/>
                </a:tabLst>
                <a:defRPr>
                  <a:solidFill>
                    <a:srgbClr val="000000"/>
                  </a:solidFill>
                  <a:latin typeface="Arial" charset="0"/>
                  <a:ea typeface="微软雅黑" charset="0"/>
                  <a:cs typeface="微软雅黑" charset="0"/>
                </a:defRPr>
              </a:lvl4pPr>
              <a:lvl5pPr>
                <a:tabLst>
                  <a:tab pos="723900" algn="l"/>
                </a:tabLst>
                <a:defRPr>
                  <a:solidFill>
                    <a:srgbClr val="000000"/>
                  </a:solidFill>
                  <a:latin typeface="Arial" charset="0"/>
                  <a:ea typeface="微软雅黑" charset="0"/>
                  <a:cs typeface="微软雅黑"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723900" algn="l"/>
                </a:tabLst>
                <a:defRPr>
                  <a:solidFill>
                    <a:srgbClr val="000000"/>
                  </a:solidFill>
                  <a:latin typeface="Arial" charset="0"/>
                  <a:ea typeface="微软雅黑" charset="0"/>
                  <a:cs typeface="微软雅黑" charset="0"/>
                </a:defRPr>
              </a:lvl9pPr>
            </a:lstStyle>
            <a:p>
              <a:pPr algn="ctr">
                <a:lnSpc>
                  <a:spcPts val="700"/>
                </a:lnSpc>
              </a:pPr>
              <a:r>
                <a:rPr lang="en-US" sz="700" dirty="0">
                  <a:solidFill>
                    <a:srgbClr val="5C8B76"/>
                  </a:solidFill>
                  <a:latin typeface="Arial"/>
                  <a:ea typeface="'ArialMT'" pitchFamily="32" charset="0"/>
                  <a:cs typeface="Arial"/>
                </a:rPr>
                <a:t>Core Technology Suppliers</a:t>
              </a:r>
            </a:p>
          </p:txBody>
        </p:sp>
        <p:grpSp>
          <p:nvGrpSpPr>
            <p:cNvPr id="341" name="Group 347"/>
            <p:cNvGrpSpPr/>
            <p:nvPr/>
          </p:nvGrpSpPr>
          <p:grpSpPr>
            <a:xfrm>
              <a:off x="5173166" y="5281662"/>
              <a:ext cx="144463" cy="144462"/>
              <a:chOff x="5549900" y="5510213"/>
              <a:chExt cx="144463" cy="144462"/>
            </a:xfrm>
          </p:grpSpPr>
          <p:sp>
            <p:nvSpPr>
              <p:cNvPr id="342" name="Freeform 229"/>
              <p:cNvSpPr>
                <a:spLocks noChangeArrowheads="1"/>
              </p:cNvSpPr>
              <p:nvPr/>
            </p:nvSpPr>
            <p:spPr bwMode="auto">
              <a:xfrm>
                <a:off x="5549900" y="5510213"/>
                <a:ext cx="144463" cy="144462"/>
              </a:xfrm>
              <a:custGeom>
                <a:avLst/>
                <a:gdLst/>
                <a:ahLst/>
                <a:cxnLst>
                  <a:cxn ang="0">
                    <a:pos x="399" y="88"/>
                  </a:cxn>
                  <a:cxn ang="0">
                    <a:pos x="361" y="72"/>
                  </a:cxn>
                  <a:cxn ang="0">
                    <a:pos x="320" y="29"/>
                  </a:cxn>
                  <a:cxn ang="0">
                    <a:pos x="308" y="3"/>
                  </a:cxn>
                  <a:cxn ang="0">
                    <a:pos x="281" y="50"/>
                  </a:cxn>
                  <a:cxn ang="0">
                    <a:pos x="271" y="0"/>
                  </a:cxn>
                  <a:cxn ang="0">
                    <a:pos x="256" y="38"/>
                  </a:cxn>
                  <a:cxn ang="0">
                    <a:pos x="229" y="29"/>
                  </a:cxn>
                  <a:cxn ang="0">
                    <a:pos x="216" y="3"/>
                  </a:cxn>
                  <a:cxn ang="0">
                    <a:pos x="189" y="50"/>
                  </a:cxn>
                  <a:cxn ang="0">
                    <a:pos x="179" y="0"/>
                  </a:cxn>
                  <a:cxn ang="0">
                    <a:pos x="164" y="38"/>
                  </a:cxn>
                  <a:cxn ang="0">
                    <a:pos x="137" y="29"/>
                  </a:cxn>
                  <a:cxn ang="0">
                    <a:pos x="125" y="3"/>
                  </a:cxn>
                  <a:cxn ang="0">
                    <a:pos x="98" y="50"/>
                  </a:cxn>
                  <a:cxn ang="0">
                    <a:pos x="88" y="0"/>
                  </a:cxn>
                  <a:cxn ang="0">
                    <a:pos x="72" y="38"/>
                  </a:cxn>
                  <a:cxn ang="0">
                    <a:pos x="29" y="79"/>
                  </a:cxn>
                  <a:cxn ang="0">
                    <a:pos x="3" y="91"/>
                  </a:cxn>
                  <a:cxn ang="0">
                    <a:pos x="50" y="118"/>
                  </a:cxn>
                  <a:cxn ang="0">
                    <a:pos x="0" y="128"/>
                  </a:cxn>
                  <a:cxn ang="0">
                    <a:pos x="38" y="143"/>
                  </a:cxn>
                  <a:cxn ang="0">
                    <a:pos x="29" y="171"/>
                  </a:cxn>
                  <a:cxn ang="0">
                    <a:pos x="3" y="183"/>
                  </a:cxn>
                  <a:cxn ang="0">
                    <a:pos x="50" y="210"/>
                  </a:cxn>
                  <a:cxn ang="0">
                    <a:pos x="0" y="220"/>
                  </a:cxn>
                  <a:cxn ang="0">
                    <a:pos x="38" y="235"/>
                  </a:cxn>
                  <a:cxn ang="0">
                    <a:pos x="29" y="262"/>
                  </a:cxn>
                  <a:cxn ang="0">
                    <a:pos x="3" y="274"/>
                  </a:cxn>
                  <a:cxn ang="0">
                    <a:pos x="50" y="301"/>
                  </a:cxn>
                  <a:cxn ang="0">
                    <a:pos x="0" y="311"/>
                  </a:cxn>
                  <a:cxn ang="0">
                    <a:pos x="38" y="327"/>
                  </a:cxn>
                  <a:cxn ang="0">
                    <a:pos x="79" y="370"/>
                  </a:cxn>
                  <a:cxn ang="0">
                    <a:pos x="91" y="396"/>
                  </a:cxn>
                  <a:cxn ang="0">
                    <a:pos x="118" y="349"/>
                  </a:cxn>
                  <a:cxn ang="0">
                    <a:pos x="128" y="399"/>
                  </a:cxn>
                  <a:cxn ang="0">
                    <a:pos x="143" y="361"/>
                  </a:cxn>
                  <a:cxn ang="0">
                    <a:pos x="171" y="370"/>
                  </a:cxn>
                  <a:cxn ang="0">
                    <a:pos x="183" y="396"/>
                  </a:cxn>
                  <a:cxn ang="0">
                    <a:pos x="210" y="349"/>
                  </a:cxn>
                  <a:cxn ang="0">
                    <a:pos x="220" y="399"/>
                  </a:cxn>
                  <a:cxn ang="0">
                    <a:pos x="235" y="361"/>
                  </a:cxn>
                  <a:cxn ang="0">
                    <a:pos x="262" y="370"/>
                  </a:cxn>
                  <a:cxn ang="0">
                    <a:pos x="274" y="396"/>
                  </a:cxn>
                  <a:cxn ang="0">
                    <a:pos x="302" y="349"/>
                  </a:cxn>
                  <a:cxn ang="0">
                    <a:pos x="311" y="399"/>
                  </a:cxn>
                  <a:cxn ang="0">
                    <a:pos x="327" y="361"/>
                  </a:cxn>
                  <a:cxn ang="0">
                    <a:pos x="370" y="320"/>
                  </a:cxn>
                  <a:cxn ang="0">
                    <a:pos x="396" y="308"/>
                  </a:cxn>
                  <a:cxn ang="0">
                    <a:pos x="349" y="281"/>
                  </a:cxn>
                  <a:cxn ang="0">
                    <a:pos x="399" y="271"/>
                  </a:cxn>
                  <a:cxn ang="0">
                    <a:pos x="361" y="256"/>
                  </a:cxn>
                  <a:cxn ang="0">
                    <a:pos x="370" y="228"/>
                  </a:cxn>
                  <a:cxn ang="0">
                    <a:pos x="396" y="216"/>
                  </a:cxn>
                  <a:cxn ang="0">
                    <a:pos x="349" y="189"/>
                  </a:cxn>
                  <a:cxn ang="0">
                    <a:pos x="399" y="179"/>
                  </a:cxn>
                  <a:cxn ang="0">
                    <a:pos x="361" y="164"/>
                  </a:cxn>
                  <a:cxn ang="0">
                    <a:pos x="370" y="137"/>
                  </a:cxn>
                  <a:cxn ang="0">
                    <a:pos x="396" y="125"/>
                  </a:cxn>
                  <a:cxn ang="0">
                    <a:pos x="349" y="98"/>
                  </a:cxn>
                  <a:cxn ang="0">
                    <a:pos x="124" y="283"/>
                  </a:cxn>
                  <a:cxn ang="0">
                    <a:pos x="275" y="116"/>
                  </a:cxn>
                </a:cxnLst>
                <a:rect l="0" t="0" r="r" b="b"/>
                <a:pathLst>
                  <a:path w="400" h="400">
                    <a:moveTo>
                      <a:pt x="361" y="98"/>
                    </a:moveTo>
                    <a:cubicBezTo>
                      <a:pt x="365" y="98"/>
                      <a:pt x="369" y="95"/>
                      <a:pt x="370" y="91"/>
                    </a:cubicBezTo>
                    <a:lnTo>
                      <a:pt x="396" y="91"/>
                    </a:lnTo>
                    <a:cubicBezTo>
                      <a:pt x="398" y="91"/>
                      <a:pt x="399" y="90"/>
                      <a:pt x="399" y="88"/>
                    </a:cubicBezTo>
                    <a:lnTo>
                      <a:pt x="399" y="82"/>
                    </a:lnTo>
                    <a:cubicBezTo>
                      <a:pt x="399" y="80"/>
                      <a:pt x="398" y="79"/>
                      <a:pt x="396" y="79"/>
                    </a:cubicBezTo>
                    <a:lnTo>
                      <a:pt x="370" y="79"/>
                    </a:lnTo>
                    <a:cubicBezTo>
                      <a:pt x="369" y="75"/>
                      <a:pt x="365" y="72"/>
                      <a:pt x="361" y="72"/>
                    </a:cubicBezTo>
                    <a:lnTo>
                      <a:pt x="347" y="72"/>
                    </a:lnTo>
                    <a:cubicBezTo>
                      <a:pt x="344" y="63"/>
                      <a:pt x="336" y="55"/>
                      <a:pt x="327" y="52"/>
                    </a:cubicBezTo>
                    <a:lnTo>
                      <a:pt x="327" y="38"/>
                    </a:lnTo>
                    <a:cubicBezTo>
                      <a:pt x="327" y="34"/>
                      <a:pt x="324" y="30"/>
                      <a:pt x="320" y="29"/>
                    </a:cubicBezTo>
                    <a:lnTo>
                      <a:pt x="320" y="3"/>
                    </a:lnTo>
                    <a:cubicBezTo>
                      <a:pt x="320" y="1"/>
                      <a:pt x="319" y="0"/>
                      <a:pt x="317" y="0"/>
                    </a:cubicBezTo>
                    <a:lnTo>
                      <a:pt x="311" y="0"/>
                    </a:lnTo>
                    <a:cubicBezTo>
                      <a:pt x="310" y="0"/>
                      <a:pt x="308" y="1"/>
                      <a:pt x="308" y="3"/>
                    </a:cubicBezTo>
                    <a:lnTo>
                      <a:pt x="308" y="29"/>
                    </a:lnTo>
                    <a:cubicBezTo>
                      <a:pt x="304" y="30"/>
                      <a:pt x="302" y="34"/>
                      <a:pt x="302" y="38"/>
                    </a:cubicBezTo>
                    <a:lnTo>
                      <a:pt x="302" y="50"/>
                    </a:lnTo>
                    <a:lnTo>
                      <a:pt x="281" y="50"/>
                    </a:lnTo>
                    <a:lnTo>
                      <a:pt x="281" y="38"/>
                    </a:lnTo>
                    <a:cubicBezTo>
                      <a:pt x="281" y="34"/>
                      <a:pt x="278" y="30"/>
                      <a:pt x="274" y="29"/>
                    </a:cubicBezTo>
                    <a:lnTo>
                      <a:pt x="274" y="3"/>
                    </a:lnTo>
                    <a:cubicBezTo>
                      <a:pt x="274" y="1"/>
                      <a:pt x="273" y="0"/>
                      <a:pt x="271" y="0"/>
                    </a:cubicBezTo>
                    <a:lnTo>
                      <a:pt x="266" y="0"/>
                    </a:lnTo>
                    <a:cubicBezTo>
                      <a:pt x="264" y="0"/>
                      <a:pt x="262" y="1"/>
                      <a:pt x="262" y="3"/>
                    </a:cubicBezTo>
                    <a:lnTo>
                      <a:pt x="262" y="29"/>
                    </a:lnTo>
                    <a:cubicBezTo>
                      <a:pt x="258" y="30"/>
                      <a:pt x="256" y="34"/>
                      <a:pt x="256" y="38"/>
                    </a:cubicBezTo>
                    <a:lnTo>
                      <a:pt x="256" y="50"/>
                    </a:lnTo>
                    <a:lnTo>
                      <a:pt x="235" y="50"/>
                    </a:lnTo>
                    <a:lnTo>
                      <a:pt x="235" y="38"/>
                    </a:lnTo>
                    <a:cubicBezTo>
                      <a:pt x="235" y="34"/>
                      <a:pt x="232" y="30"/>
                      <a:pt x="229" y="29"/>
                    </a:cubicBezTo>
                    <a:lnTo>
                      <a:pt x="229" y="3"/>
                    </a:lnTo>
                    <a:cubicBezTo>
                      <a:pt x="229" y="1"/>
                      <a:pt x="227" y="0"/>
                      <a:pt x="225" y="0"/>
                    </a:cubicBezTo>
                    <a:lnTo>
                      <a:pt x="220" y="0"/>
                    </a:lnTo>
                    <a:cubicBezTo>
                      <a:pt x="218" y="0"/>
                      <a:pt x="216" y="1"/>
                      <a:pt x="216" y="3"/>
                    </a:cubicBezTo>
                    <a:lnTo>
                      <a:pt x="216" y="29"/>
                    </a:lnTo>
                    <a:cubicBezTo>
                      <a:pt x="213" y="30"/>
                      <a:pt x="210" y="34"/>
                      <a:pt x="210" y="38"/>
                    </a:cubicBezTo>
                    <a:lnTo>
                      <a:pt x="210" y="50"/>
                    </a:lnTo>
                    <a:lnTo>
                      <a:pt x="189" y="50"/>
                    </a:lnTo>
                    <a:lnTo>
                      <a:pt x="189" y="38"/>
                    </a:lnTo>
                    <a:cubicBezTo>
                      <a:pt x="189" y="34"/>
                      <a:pt x="187" y="30"/>
                      <a:pt x="183" y="29"/>
                    </a:cubicBezTo>
                    <a:lnTo>
                      <a:pt x="183" y="3"/>
                    </a:lnTo>
                    <a:cubicBezTo>
                      <a:pt x="183" y="1"/>
                      <a:pt x="181" y="0"/>
                      <a:pt x="179" y="0"/>
                    </a:cubicBezTo>
                    <a:lnTo>
                      <a:pt x="174" y="0"/>
                    </a:lnTo>
                    <a:cubicBezTo>
                      <a:pt x="172" y="0"/>
                      <a:pt x="171" y="1"/>
                      <a:pt x="171" y="3"/>
                    </a:cubicBezTo>
                    <a:lnTo>
                      <a:pt x="171" y="29"/>
                    </a:lnTo>
                    <a:cubicBezTo>
                      <a:pt x="167" y="30"/>
                      <a:pt x="164" y="34"/>
                      <a:pt x="164" y="38"/>
                    </a:cubicBezTo>
                    <a:lnTo>
                      <a:pt x="164" y="50"/>
                    </a:lnTo>
                    <a:lnTo>
                      <a:pt x="143" y="50"/>
                    </a:lnTo>
                    <a:lnTo>
                      <a:pt x="143" y="38"/>
                    </a:lnTo>
                    <a:cubicBezTo>
                      <a:pt x="143" y="34"/>
                      <a:pt x="141" y="30"/>
                      <a:pt x="137" y="29"/>
                    </a:cubicBezTo>
                    <a:lnTo>
                      <a:pt x="137" y="3"/>
                    </a:lnTo>
                    <a:cubicBezTo>
                      <a:pt x="137" y="1"/>
                      <a:pt x="135" y="0"/>
                      <a:pt x="134" y="0"/>
                    </a:cubicBezTo>
                    <a:lnTo>
                      <a:pt x="128" y="0"/>
                    </a:lnTo>
                    <a:cubicBezTo>
                      <a:pt x="126" y="0"/>
                      <a:pt x="125" y="1"/>
                      <a:pt x="125" y="3"/>
                    </a:cubicBezTo>
                    <a:lnTo>
                      <a:pt x="125" y="29"/>
                    </a:lnTo>
                    <a:cubicBezTo>
                      <a:pt x="121" y="30"/>
                      <a:pt x="118" y="34"/>
                      <a:pt x="118" y="38"/>
                    </a:cubicBezTo>
                    <a:lnTo>
                      <a:pt x="118" y="50"/>
                    </a:lnTo>
                    <a:lnTo>
                      <a:pt x="98" y="50"/>
                    </a:lnTo>
                    <a:lnTo>
                      <a:pt x="98" y="38"/>
                    </a:lnTo>
                    <a:cubicBezTo>
                      <a:pt x="98" y="34"/>
                      <a:pt x="95" y="30"/>
                      <a:pt x="91" y="29"/>
                    </a:cubicBezTo>
                    <a:lnTo>
                      <a:pt x="91" y="3"/>
                    </a:lnTo>
                    <a:cubicBezTo>
                      <a:pt x="91" y="1"/>
                      <a:pt x="90" y="0"/>
                      <a:pt x="88" y="0"/>
                    </a:cubicBezTo>
                    <a:lnTo>
                      <a:pt x="82" y="0"/>
                    </a:lnTo>
                    <a:cubicBezTo>
                      <a:pt x="80" y="0"/>
                      <a:pt x="79" y="1"/>
                      <a:pt x="79" y="3"/>
                    </a:cubicBezTo>
                    <a:lnTo>
                      <a:pt x="79" y="29"/>
                    </a:lnTo>
                    <a:cubicBezTo>
                      <a:pt x="75" y="30"/>
                      <a:pt x="72" y="34"/>
                      <a:pt x="72" y="38"/>
                    </a:cubicBezTo>
                    <a:lnTo>
                      <a:pt x="72" y="52"/>
                    </a:lnTo>
                    <a:cubicBezTo>
                      <a:pt x="63" y="55"/>
                      <a:pt x="55" y="63"/>
                      <a:pt x="52" y="72"/>
                    </a:cubicBezTo>
                    <a:lnTo>
                      <a:pt x="38" y="72"/>
                    </a:lnTo>
                    <a:cubicBezTo>
                      <a:pt x="34" y="72"/>
                      <a:pt x="30" y="75"/>
                      <a:pt x="29" y="79"/>
                    </a:cubicBezTo>
                    <a:lnTo>
                      <a:pt x="3" y="79"/>
                    </a:lnTo>
                    <a:cubicBezTo>
                      <a:pt x="1" y="79"/>
                      <a:pt x="0" y="80"/>
                      <a:pt x="0" y="82"/>
                    </a:cubicBezTo>
                    <a:lnTo>
                      <a:pt x="0" y="88"/>
                    </a:lnTo>
                    <a:cubicBezTo>
                      <a:pt x="0" y="90"/>
                      <a:pt x="1" y="91"/>
                      <a:pt x="3" y="91"/>
                    </a:cubicBezTo>
                    <a:lnTo>
                      <a:pt x="29" y="91"/>
                    </a:lnTo>
                    <a:cubicBezTo>
                      <a:pt x="30" y="95"/>
                      <a:pt x="34" y="98"/>
                      <a:pt x="38" y="98"/>
                    </a:cubicBezTo>
                    <a:lnTo>
                      <a:pt x="50" y="98"/>
                    </a:lnTo>
                    <a:lnTo>
                      <a:pt x="50" y="118"/>
                    </a:lnTo>
                    <a:lnTo>
                      <a:pt x="38" y="118"/>
                    </a:lnTo>
                    <a:cubicBezTo>
                      <a:pt x="34" y="118"/>
                      <a:pt x="30" y="121"/>
                      <a:pt x="29" y="125"/>
                    </a:cubicBezTo>
                    <a:lnTo>
                      <a:pt x="3" y="125"/>
                    </a:lnTo>
                    <a:cubicBezTo>
                      <a:pt x="1" y="125"/>
                      <a:pt x="0" y="126"/>
                      <a:pt x="0" y="128"/>
                    </a:cubicBezTo>
                    <a:lnTo>
                      <a:pt x="0" y="134"/>
                    </a:lnTo>
                    <a:cubicBezTo>
                      <a:pt x="0" y="135"/>
                      <a:pt x="1" y="137"/>
                      <a:pt x="3" y="137"/>
                    </a:cubicBezTo>
                    <a:lnTo>
                      <a:pt x="29" y="137"/>
                    </a:lnTo>
                    <a:cubicBezTo>
                      <a:pt x="30" y="141"/>
                      <a:pt x="34" y="143"/>
                      <a:pt x="38" y="143"/>
                    </a:cubicBezTo>
                    <a:lnTo>
                      <a:pt x="50" y="143"/>
                    </a:lnTo>
                    <a:lnTo>
                      <a:pt x="50" y="164"/>
                    </a:lnTo>
                    <a:lnTo>
                      <a:pt x="38" y="164"/>
                    </a:lnTo>
                    <a:cubicBezTo>
                      <a:pt x="34" y="164"/>
                      <a:pt x="30" y="167"/>
                      <a:pt x="29" y="171"/>
                    </a:cubicBezTo>
                    <a:lnTo>
                      <a:pt x="3" y="171"/>
                    </a:lnTo>
                    <a:cubicBezTo>
                      <a:pt x="1" y="171"/>
                      <a:pt x="0" y="172"/>
                      <a:pt x="0" y="174"/>
                    </a:cubicBezTo>
                    <a:lnTo>
                      <a:pt x="0" y="179"/>
                    </a:lnTo>
                    <a:cubicBezTo>
                      <a:pt x="0" y="181"/>
                      <a:pt x="1" y="183"/>
                      <a:pt x="3" y="183"/>
                    </a:cubicBezTo>
                    <a:lnTo>
                      <a:pt x="29" y="183"/>
                    </a:lnTo>
                    <a:cubicBezTo>
                      <a:pt x="30" y="186"/>
                      <a:pt x="34" y="189"/>
                      <a:pt x="38" y="189"/>
                    </a:cubicBezTo>
                    <a:lnTo>
                      <a:pt x="50" y="189"/>
                    </a:lnTo>
                    <a:lnTo>
                      <a:pt x="50" y="210"/>
                    </a:lnTo>
                    <a:lnTo>
                      <a:pt x="38" y="210"/>
                    </a:lnTo>
                    <a:cubicBezTo>
                      <a:pt x="34" y="210"/>
                      <a:pt x="30" y="213"/>
                      <a:pt x="29" y="216"/>
                    </a:cubicBezTo>
                    <a:lnTo>
                      <a:pt x="3" y="216"/>
                    </a:lnTo>
                    <a:cubicBezTo>
                      <a:pt x="1" y="216"/>
                      <a:pt x="0" y="218"/>
                      <a:pt x="0" y="220"/>
                    </a:cubicBezTo>
                    <a:lnTo>
                      <a:pt x="0" y="225"/>
                    </a:lnTo>
                    <a:cubicBezTo>
                      <a:pt x="0" y="227"/>
                      <a:pt x="1" y="228"/>
                      <a:pt x="3" y="228"/>
                    </a:cubicBezTo>
                    <a:lnTo>
                      <a:pt x="29" y="228"/>
                    </a:lnTo>
                    <a:cubicBezTo>
                      <a:pt x="30" y="232"/>
                      <a:pt x="34" y="235"/>
                      <a:pt x="38" y="235"/>
                    </a:cubicBezTo>
                    <a:lnTo>
                      <a:pt x="50" y="235"/>
                    </a:lnTo>
                    <a:lnTo>
                      <a:pt x="50" y="256"/>
                    </a:lnTo>
                    <a:lnTo>
                      <a:pt x="38" y="256"/>
                    </a:lnTo>
                    <a:cubicBezTo>
                      <a:pt x="34" y="256"/>
                      <a:pt x="30" y="258"/>
                      <a:pt x="29" y="262"/>
                    </a:cubicBezTo>
                    <a:lnTo>
                      <a:pt x="3" y="262"/>
                    </a:lnTo>
                    <a:cubicBezTo>
                      <a:pt x="1" y="262"/>
                      <a:pt x="0" y="264"/>
                      <a:pt x="0" y="265"/>
                    </a:cubicBezTo>
                    <a:lnTo>
                      <a:pt x="0" y="271"/>
                    </a:lnTo>
                    <a:cubicBezTo>
                      <a:pt x="0" y="273"/>
                      <a:pt x="1" y="274"/>
                      <a:pt x="3" y="274"/>
                    </a:cubicBezTo>
                    <a:lnTo>
                      <a:pt x="29" y="274"/>
                    </a:lnTo>
                    <a:cubicBezTo>
                      <a:pt x="30" y="278"/>
                      <a:pt x="34" y="281"/>
                      <a:pt x="38" y="281"/>
                    </a:cubicBezTo>
                    <a:lnTo>
                      <a:pt x="50" y="281"/>
                    </a:lnTo>
                    <a:lnTo>
                      <a:pt x="50" y="301"/>
                    </a:lnTo>
                    <a:lnTo>
                      <a:pt x="38" y="301"/>
                    </a:lnTo>
                    <a:cubicBezTo>
                      <a:pt x="34" y="301"/>
                      <a:pt x="30" y="304"/>
                      <a:pt x="29" y="308"/>
                    </a:cubicBezTo>
                    <a:lnTo>
                      <a:pt x="3" y="308"/>
                    </a:lnTo>
                    <a:cubicBezTo>
                      <a:pt x="1" y="308"/>
                      <a:pt x="0" y="309"/>
                      <a:pt x="0" y="311"/>
                    </a:cubicBezTo>
                    <a:lnTo>
                      <a:pt x="0" y="317"/>
                    </a:lnTo>
                    <a:cubicBezTo>
                      <a:pt x="0" y="319"/>
                      <a:pt x="1" y="320"/>
                      <a:pt x="3" y="320"/>
                    </a:cubicBezTo>
                    <a:lnTo>
                      <a:pt x="29" y="320"/>
                    </a:lnTo>
                    <a:cubicBezTo>
                      <a:pt x="30" y="324"/>
                      <a:pt x="34" y="327"/>
                      <a:pt x="38" y="327"/>
                    </a:cubicBezTo>
                    <a:lnTo>
                      <a:pt x="52" y="327"/>
                    </a:lnTo>
                    <a:cubicBezTo>
                      <a:pt x="55" y="336"/>
                      <a:pt x="63" y="344"/>
                      <a:pt x="72" y="347"/>
                    </a:cubicBezTo>
                    <a:lnTo>
                      <a:pt x="72" y="361"/>
                    </a:lnTo>
                    <a:cubicBezTo>
                      <a:pt x="72" y="365"/>
                      <a:pt x="75" y="369"/>
                      <a:pt x="79" y="370"/>
                    </a:cubicBezTo>
                    <a:lnTo>
                      <a:pt x="79" y="396"/>
                    </a:lnTo>
                    <a:cubicBezTo>
                      <a:pt x="79" y="398"/>
                      <a:pt x="80" y="399"/>
                      <a:pt x="82" y="399"/>
                    </a:cubicBezTo>
                    <a:lnTo>
                      <a:pt x="88" y="399"/>
                    </a:lnTo>
                    <a:cubicBezTo>
                      <a:pt x="90" y="399"/>
                      <a:pt x="91" y="398"/>
                      <a:pt x="91" y="396"/>
                    </a:cubicBezTo>
                    <a:lnTo>
                      <a:pt x="91" y="370"/>
                    </a:lnTo>
                    <a:cubicBezTo>
                      <a:pt x="95" y="369"/>
                      <a:pt x="98" y="365"/>
                      <a:pt x="98" y="361"/>
                    </a:cubicBezTo>
                    <a:lnTo>
                      <a:pt x="98" y="349"/>
                    </a:lnTo>
                    <a:lnTo>
                      <a:pt x="118" y="349"/>
                    </a:lnTo>
                    <a:lnTo>
                      <a:pt x="118" y="361"/>
                    </a:lnTo>
                    <a:cubicBezTo>
                      <a:pt x="118" y="365"/>
                      <a:pt x="121" y="369"/>
                      <a:pt x="125" y="370"/>
                    </a:cubicBezTo>
                    <a:lnTo>
                      <a:pt x="125" y="396"/>
                    </a:lnTo>
                    <a:cubicBezTo>
                      <a:pt x="125" y="398"/>
                      <a:pt x="126" y="399"/>
                      <a:pt x="128" y="399"/>
                    </a:cubicBezTo>
                    <a:lnTo>
                      <a:pt x="134" y="399"/>
                    </a:lnTo>
                    <a:cubicBezTo>
                      <a:pt x="135" y="399"/>
                      <a:pt x="137" y="398"/>
                      <a:pt x="137" y="396"/>
                    </a:cubicBezTo>
                    <a:lnTo>
                      <a:pt x="137" y="370"/>
                    </a:lnTo>
                    <a:cubicBezTo>
                      <a:pt x="141" y="369"/>
                      <a:pt x="143" y="365"/>
                      <a:pt x="143" y="361"/>
                    </a:cubicBezTo>
                    <a:lnTo>
                      <a:pt x="143" y="349"/>
                    </a:lnTo>
                    <a:lnTo>
                      <a:pt x="164" y="349"/>
                    </a:lnTo>
                    <a:lnTo>
                      <a:pt x="164" y="361"/>
                    </a:lnTo>
                    <a:cubicBezTo>
                      <a:pt x="164" y="365"/>
                      <a:pt x="167" y="369"/>
                      <a:pt x="171" y="370"/>
                    </a:cubicBezTo>
                    <a:lnTo>
                      <a:pt x="171" y="396"/>
                    </a:lnTo>
                    <a:cubicBezTo>
                      <a:pt x="171" y="398"/>
                      <a:pt x="172" y="399"/>
                      <a:pt x="174" y="399"/>
                    </a:cubicBezTo>
                    <a:lnTo>
                      <a:pt x="179" y="399"/>
                    </a:lnTo>
                    <a:cubicBezTo>
                      <a:pt x="181" y="399"/>
                      <a:pt x="183" y="398"/>
                      <a:pt x="183" y="396"/>
                    </a:cubicBezTo>
                    <a:lnTo>
                      <a:pt x="183" y="370"/>
                    </a:lnTo>
                    <a:cubicBezTo>
                      <a:pt x="186" y="369"/>
                      <a:pt x="189" y="365"/>
                      <a:pt x="189" y="361"/>
                    </a:cubicBezTo>
                    <a:lnTo>
                      <a:pt x="189" y="349"/>
                    </a:lnTo>
                    <a:lnTo>
                      <a:pt x="210" y="349"/>
                    </a:lnTo>
                    <a:lnTo>
                      <a:pt x="210" y="361"/>
                    </a:lnTo>
                    <a:cubicBezTo>
                      <a:pt x="210" y="365"/>
                      <a:pt x="213" y="369"/>
                      <a:pt x="216" y="370"/>
                    </a:cubicBezTo>
                    <a:lnTo>
                      <a:pt x="216" y="396"/>
                    </a:lnTo>
                    <a:cubicBezTo>
                      <a:pt x="216" y="398"/>
                      <a:pt x="218" y="399"/>
                      <a:pt x="220" y="399"/>
                    </a:cubicBezTo>
                    <a:lnTo>
                      <a:pt x="225" y="399"/>
                    </a:lnTo>
                    <a:cubicBezTo>
                      <a:pt x="227" y="399"/>
                      <a:pt x="229" y="398"/>
                      <a:pt x="229" y="396"/>
                    </a:cubicBezTo>
                    <a:lnTo>
                      <a:pt x="229" y="370"/>
                    </a:lnTo>
                    <a:cubicBezTo>
                      <a:pt x="232" y="369"/>
                      <a:pt x="235" y="365"/>
                      <a:pt x="235" y="361"/>
                    </a:cubicBezTo>
                    <a:lnTo>
                      <a:pt x="235" y="349"/>
                    </a:lnTo>
                    <a:lnTo>
                      <a:pt x="256" y="349"/>
                    </a:lnTo>
                    <a:lnTo>
                      <a:pt x="256" y="361"/>
                    </a:lnTo>
                    <a:cubicBezTo>
                      <a:pt x="256" y="365"/>
                      <a:pt x="258" y="369"/>
                      <a:pt x="262" y="370"/>
                    </a:cubicBezTo>
                    <a:lnTo>
                      <a:pt x="262" y="396"/>
                    </a:lnTo>
                    <a:cubicBezTo>
                      <a:pt x="262" y="398"/>
                      <a:pt x="264" y="399"/>
                      <a:pt x="266" y="399"/>
                    </a:cubicBezTo>
                    <a:lnTo>
                      <a:pt x="271" y="399"/>
                    </a:lnTo>
                    <a:cubicBezTo>
                      <a:pt x="273" y="399"/>
                      <a:pt x="274" y="398"/>
                      <a:pt x="274" y="396"/>
                    </a:cubicBezTo>
                    <a:lnTo>
                      <a:pt x="274" y="370"/>
                    </a:lnTo>
                    <a:cubicBezTo>
                      <a:pt x="278" y="369"/>
                      <a:pt x="281" y="365"/>
                      <a:pt x="281" y="361"/>
                    </a:cubicBezTo>
                    <a:lnTo>
                      <a:pt x="281" y="349"/>
                    </a:lnTo>
                    <a:lnTo>
                      <a:pt x="302" y="349"/>
                    </a:lnTo>
                    <a:lnTo>
                      <a:pt x="302" y="361"/>
                    </a:lnTo>
                    <a:cubicBezTo>
                      <a:pt x="302" y="365"/>
                      <a:pt x="304" y="369"/>
                      <a:pt x="308" y="370"/>
                    </a:cubicBezTo>
                    <a:lnTo>
                      <a:pt x="308" y="396"/>
                    </a:lnTo>
                    <a:cubicBezTo>
                      <a:pt x="308" y="398"/>
                      <a:pt x="310" y="399"/>
                      <a:pt x="311" y="399"/>
                    </a:cubicBezTo>
                    <a:lnTo>
                      <a:pt x="317" y="399"/>
                    </a:lnTo>
                    <a:cubicBezTo>
                      <a:pt x="319" y="399"/>
                      <a:pt x="320" y="398"/>
                      <a:pt x="320" y="396"/>
                    </a:cubicBezTo>
                    <a:lnTo>
                      <a:pt x="320" y="370"/>
                    </a:lnTo>
                    <a:cubicBezTo>
                      <a:pt x="324" y="369"/>
                      <a:pt x="327" y="365"/>
                      <a:pt x="327" y="361"/>
                    </a:cubicBezTo>
                    <a:lnTo>
                      <a:pt x="327" y="347"/>
                    </a:lnTo>
                    <a:cubicBezTo>
                      <a:pt x="336" y="344"/>
                      <a:pt x="344" y="336"/>
                      <a:pt x="347" y="327"/>
                    </a:cubicBezTo>
                    <a:lnTo>
                      <a:pt x="361" y="327"/>
                    </a:lnTo>
                    <a:cubicBezTo>
                      <a:pt x="365" y="327"/>
                      <a:pt x="369" y="324"/>
                      <a:pt x="370" y="320"/>
                    </a:cubicBezTo>
                    <a:lnTo>
                      <a:pt x="396" y="320"/>
                    </a:lnTo>
                    <a:cubicBezTo>
                      <a:pt x="398" y="320"/>
                      <a:pt x="399" y="319"/>
                      <a:pt x="399" y="317"/>
                    </a:cubicBezTo>
                    <a:lnTo>
                      <a:pt x="399" y="311"/>
                    </a:lnTo>
                    <a:cubicBezTo>
                      <a:pt x="399" y="309"/>
                      <a:pt x="398" y="308"/>
                      <a:pt x="396" y="308"/>
                    </a:cubicBezTo>
                    <a:lnTo>
                      <a:pt x="370" y="308"/>
                    </a:lnTo>
                    <a:cubicBezTo>
                      <a:pt x="369" y="304"/>
                      <a:pt x="365" y="301"/>
                      <a:pt x="361" y="301"/>
                    </a:cubicBezTo>
                    <a:lnTo>
                      <a:pt x="349" y="301"/>
                    </a:lnTo>
                    <a:lnTo>
                      <a:pt x="349" y="281"/>
                    </a:lnTo>
                    <a:lnTo>
                      <a:pt x="361" y="281"/>
                    </a:lnTo>
                    <a:cubicBezTo>
                      <a:pt x="365" y="281"/>
                      <a:pt x="369" y="278"/>
                      <a:pt x="370" y="274"/>
                    </a:cubicBezTo>
                    <a:lnTo>
                      <a:pt x="396" y="274"/>
                    </a:lnTo>
                    <a:cubicBezTo>
                      <a:pt x="398" y="274"/>
                      <a:pt x="399" y="273"/>
                      <a:pt x="399" y="271"/>
                    </a:cubicBezTo>
                    <a:lnTo>
                      <a:pt x="399" y="265"/>
                    </a:lnTo>
                    <a:cubicBezTo>
                      <a:pt x="399" y="264"/>
                      <a:pt x="398" y="262"/>
                      <a:pt x="396" y="262"/>
                    </a:cubicBezTo>
                    <a:lnTo>
                      <a:pt x="370" y="262"/>
                    </a:lnTo>
                    <a:cubicBezTo>
                      <a:pt x="369" y="258"/>
                      <a:pt x="365" y="256"/>
                      <a:pt x="361" y="256"/>
                    </a:cubicBezTo>
                    <a:lnTo>
                      <a:pt x="349" y="256"/>
                    </a:lnTo>
                    <a:lnTo>
                      <a:pt x="349" y="235"/>
                    </a:lnTo>
                    <a:lnTo>
                      <a:pt x="361" y="235"/>
                    </a:lnTo>
                    <a:cubicBezTo>
                      <a:pt x="365" y="235"/>
                      <a:pt x="369" y="232"/>
                      <a:pt x="370" y="228"/>
                    </a:cubicBezTo>
                    <a:lnTo>
                      <a:pt x="396" y="228"/>
                    </a:lnTo>
                    <a:cubicBezTo>
                      <a:pt x="398" y="228"/>
                      <a:pt x="399" y="227"/>
                      <a:pt x="399" y="225"/>
                    </a:cubicBezTo>
                    <a:lnTo>
                      <a:pt x="399" y="220"/>
                    </a:lnTo>
                    <a:cubicBezTo>
                      <a:pt x="399" y="218"/>
                      <a:pt x="398" y="216"/>
                      <a:pt x="396" y="216"/>
                    </a:cubicBezTo>
                    <a:lnTo>
                      <a:pt x="370" y="216"/>
                    </a:lnTo>
                    <a:cubicBezTo>
                      <a:pt x="369" y="213"/>
                      <a:pt x="365" y="210"/>
                      <a:pt x="361" y="210"/>
                    </a:cubicBezTo>
                    <a:lnTo>
                      <a:pt x="349" y="210"/>
                    </a:lnTo>
                    <a:lnTo>
                      <a:pt x="349" y="189"/>
                    </a:lnTo>
                    <a:lnTo>
                      <a:pt x="361" y="189"/>
                    </a:lnTo>
                    <a:cubicBezTo>
                      <a:pt x="365" y="189"/>
                      <a:pt x="369" y="186"/>
                      <a:pt x="370" y="183"/>
                    </a:cubicBezTo>
                    <a:lnTo>
                      <a:pt x="396" y="183"/>
                    </a:lnTo>
                    <a:cubicBezTo>
                      <a:pt x="398" y="183"/>
                      <a:pt x="399" y="181"/>
                      <a:pt x="399" y="179"/>
                    </a:cubicBezTo>
                    <a:lnTo>
                      <a:pt x="399" y="174"/>
                    </a:lnTo>
                    <a:cubicBezTo>
                      <a:pt x="399" y="172"/>
                      <a:pt x="398" y="171"/>
                      <a:pt x="396" y="171"/>
                    </a:cubicBezTo>
                    <a:lnTo>
                      <a:pt x="370" y="171"/>
                    </a:lnTo>
                    <a:cubicBezTo>
                      <a:pt x="369" y="167"/>
                      <a:pt x="365" y="164"/>
                      <a:pt x="361" y="164"/>
                    </a:cubicBezTo>
                    <a:lnTo>
                      <a:pt x="349" y="164"/>
                    </a:lnTo>
                    <a:lnTo>
                      <a:pt x="349" y="143"/>
                    </a:lnTo>
                    <a:lnTo>
                      <a:pt x="361" y="143"/>
                    </a:lnTo>
                    <a:cubicBezTo>
                      <a:pt x="365" y="143"/>
                      <a:pt x="369" y="141"/>
                      <a:pt x="370" y="137"/>
                    </a:cubicBezTo>
                    <a:lnTo>
                      <a:pt x="396" y="137"/>
                    </a:lnTo>
                    <a:cubicBezTo>
                      <a:pt x="398" y="137"/>
                      <a:pt x="399" y="135"/>
                      <a:pt x="399" y="134"/>
                    </a:cubicBezTo>
                    <a:lnTo>
                      <a:pt x="399" y="128"/>
                    </a:lnTo>
                    <a:cubicBezTo>
                      <a:pt x="399" y="126"/>
                      <a:pt x="398" y="125"/>
                      <a:pt x="396" y="125"/>
                    </a:cubicBezTo>
                    <a:lnTo>
                      <a:pt x="370" y="125"/>
                    </a:lnTo>
                    <a:cubicBezTo>
                      <a:pt x="369" y="121"/>
                      <a:pt x="365" y="118"/>
                      <a:pt x="361" y="118"/>
                    </a:cubicBezTo>
                    <a:lnTo>
                      <a:pt x="349" y="118"/>
                    </a:lnTo>
                    <a:lnTo>
                      <a:pt x="349" y="98"/>
                    </a:lnTo>
                    <a:lnTo>
                      <a:pt x="361" y="98"/>
                    </a:lnTo>
                    <a:close/>
                    <a:moveTo>
                      <a:pt x="283" y="275"/>
                    </a:moveTo>
                    <a:cubicBezTo>
                      <a:pt x="283" y="279"/>
                      <a:pt x="279" y="283"/>
                      <a:pt x="275" y="283"/>
                    </a:cubicBezTo>
                    <a:lnTo>
                      <a:pt x="124" y="283"/>
                    </a:lnTo>
                    <a:cubicBezTo>
                      <a:pt x="120" y="283"/>
                      <a:pt x="116" y="279"/>
                      <a:pt x="116" y="275"/>
                    </a:cubicBezTo>
                    <a:lnTo>
                      <a:pt x="116" y="124"/>
                    </a:lnTo>
                    <a:cubicBezTo>
                      <a:pt x="116" y="120"/>
                      <a:pt x="120" y="116"/>
                      <a:pt x="124" y="116"/>
                    </a:cubicBezTo>
                    <a:lnTo>
                      <a:pt x="275" y="116"/>
                    </a:lnTo>
                    <a:cubicBezTo>
                      <a:pt x="279" y="116"/>
                      <a:pt x="283" y="120"/>
                      <a:pt x="283" y="124"/>
                    </a:cubicBezTo>
                    <a:lnTo>
                      <a:pt x="283" y="275"/>
                    </a:lnTo>
                    <a:close/>
                  </a:path>
                </a:pathLst>
              </a:custGeom>
              <a:solidFill>
                <a:srgbClr val="5C8B76"/>
              </a:solidFill>
              <a:ln w="9525" cap="flat">
                <a:noFill/>
                <a:bevel/>
                <a:headEnd/>
                <a:tailEnd/>
              </a:ln>
              <a:effectLst/>
            </p:spPr>
            <p:txBody>
              <a:bodyPr wrap="none" anchor="ctr">
                <a:prstTxWarp prst="textNoShape">
                  <a:avLst/>
                </a:prstTxWarp>
              </a:bodyPr>
              <a:lstStyle/>
              <a:p>
                <a:pPr>
                  <a:buNone/>
                </a:pPr>
                <a:endParaRPr lang="en-US" dirty="0"/>
              </a:p>
            </p:txBody>
          </p:sp>
          <p:sp>
            <p:nvSpPr>
              <p:cNvPr id="343" name="Freeform 230"/>
              <p:cNvSpPr>
                <a:spLocks noChangeArrowheads="1"/>
              </p:cNvSpPr>
              <p:nvPr/>
            </p:nvSpPr>
            <p:spPr bwMode="auto">
              <a:xfrm>
                <a:off x="5600700" y="5561013"/>
                <a:ext cx="42863" cy="42862"/>
              </a:xfrm>
              <a:custGeom>
                <a:avLst/>
                <a:gdLst/>
                <a:ahLst/>
                <a:cxnLst>
                  <a:cxn ang="0">
                    <a:pos x="117" y="112"/>
                  </a:cxn>
                  <a:cxn ang="0">
                    <a:pos x="112" y="117"/>
                  </a:cxn>
                  <a:cxn ang="0">
                    <a:pos x="6" y="117"/>
                  </a:cxn>
                  <a:cxn ang="0">
                    <a:pos x="0" y="112"/>
                  </a:cxn>
                  <a:cxn ang="0">
                    <a:pos x="0" y="5"/>
                  </a:cxn>
                  <a:cxn ang="0">
                    <a:pos x="6" y="0"/>
                  </a:cxn>
                  <a:cxn ang="0">
                    <a:pos x="112" y="0"/>
                  </a:cxn>
                  <a:cxn ang="0">
                    <a:pos x="117" y="5"/>
                  </a:cxn>
                  <a:cxn ang="0">
                    <a:pos x="117" y="112"/>
                  </a:cxn>
                </a:cxnLst>
                <a:rect l="0" t="0" r="r" b="b"/>
                <a:pathLst>
                  <a:path w="118" h="118">
                    <a:moveTo>
                      <a:pt x="117" y="112"/>
                    </a:moveTo>
                    <a:cubicBezTo>
                      <a:pt x="117" y="115"/>
                      <a:pt x="115" y="117"/>
                      <a:pt x="112" y="117"/>
                    </a:cubicBezTo>
                    <a:lnTo>
                      <a:pt x="6" y="117"/>
                    </a:lnTo>
                    <a:cubicBezTo>
                      <a:pt x="3" y="117"/>
                      <a:pt x="0" y="115"/>
                      <a:pt x="0" y="112"/>
                    </a:cubicBezTo>
                    <a:lnTo>
                      <a:pt x="0" y="5"/>
                    </a:lnTo>
                    <a:cubicBezTo>
                      <a:pt x="0" y="2"/>
                      <a:pt x="3" y="0"/>
                      <a:pt x="6" y="0"/>
                    </a:cubicBezTo>
                    <a:lnTo>
                      <a:pt x="112" y="0"/>
                    </a:lnTo>
                    <a:cubicBezTo>
                      <a:pt x="115" y="0"/>
                      <a:pt x="117" y="2"/>
                      <a:pt x="117" y="5"/>
                    </a:cubicBezTo>
                    <a:lnTo>
                      <a:pt x="117" y="112"/>
                    </a:lnTo>
                  </a:path>
                </a:pathLst>
              </a:custGeom>
              <a:solidFill>
                <a:srgbClr val="5C8B76"/>
              </a:solidFill>
              <a:ln w="9525" cap="flat">
                <a:noFill/>
                <a:bevel/>
                <a:headEnd/>
                <a:tailEnd/>
              </a:ln>
              <a:effectLst/>
            </p:spPr>
            <p:txBody>
              <a:bodyPr wrap="none" anchor="ctr">
                <a:prstTxWarp prst="textNoShape">
                  <a:avLst/>
                </a:prstTxWarp>
              </a:bodyPr>
              <a:lstStyle/>
              <a:p>
                <a:pPr>
                  <a:buNone/>
                </a:pPr>
                <a:endParaRPr lang="en-US" dirty="0"/>
              </a:p>
            </p:txBody>
          </p:sp>
        </p:grpSp>
      </p:grpSp>
      <p:grpSp>
        <p:nvGrpSpPr>
          <p:cNvPr id="344" name="Group 373"/>
          <p:cNvGrpSpPr/>
          <p:nvPr/>
        </p:nvGrpSpPr>
        <p:grpSpPr>
          <a:xfrm>
            <a:off x="6789242" y="5510213"/>
            <a:ext cx="854075" cy="215900"/>
            <a:chOff x="5265241" y="5510213"/>
            <a:chExt cx="854075" cy="215900"/>
          </a:xfrm>
        </p:grpSpPr>
        <p:sp>
          <p:nvSpPr>
            <p:cNvPr id="345" name="Freeform 10"/>
            <p:cNvSpPr>
              <a:spLocks noChangeArrowheads="1"/>
            </p:cNvSpPr>
            <p:nvPr/>
          </p:nvSpPr>
          <p:spPr bwMode="auto">
            <a:xfrm>
              <a:off x="5265241" y="5510213"/>
              <a:ext cx="854075" cy="215900"/>
            </a:xfrm>
            <a:custGeom>
              <a:avLst/>
              <a:gdLst>
                <a:gd name="T0" fmla="*/ 2072 w 2373"/>
                <a:gd name="T1" fmla="*/ 0 h 599"/>
                <a:gd name="T2" fmla="*/ 299 w 2373"/>
                <a:gd name="T3" fmla="*/ 0 h 599"/>
                <a:gd name="T4" fmla="*/ 299 w 2373"/>
                <a:gd name="T5" fmla="*/ 0 h 599"/>
                <a:gd name="T6" fmla="*/ 0 w 2373"/>
                <a:gd name="T7" fmla="*/ 299 h 599"/>
                <a:gd name="T8" fmla="*/ 299 w 2373"/>
                <a:gd name="T9" fmla="*/ 598 h 599"/>
                <a:gd name="T10" fmla="*/ 299 w 2373"/>
                <a:gd name="T11" fmla="*/ 598 h 599"/>
                <a:gd name="T12" fmla="*/ 2072 w 2373"/>
                <a:gd name="T13" fmla="*/ 598 h 599"/>
                <a:gd name="T14" fmla="*/ 2372 w 2373"/>
                <a:gd name="T15" fmla="*/ 299 h 599"/>
                <a:gd name="T16" fmla="*/ 2072 w 2373"/>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3" h="599">
                  <a:moveTo>
                    <a:pt x="2072" y="0"/>
                  </a:moveTo>
                  <a:lnTo>
                    <a:pt x="299" y="0"/>
                  </a:lnTo>
                  <a:lnTo>
                    <a:pt x="299" y="0"/>
                  </a:lnTo>
                  <a:cubicBezTo>
                    <a:pt x="134" y="0"/>
                    <a:pt x="0" y="134"/>
                    <a:pt x="0" y="299"/>
                  </a:cubicBezTo>
                  <a:cubicBezTo>
                    <a:pt x="0" y="464"/>
                    <a:pt x="134" y="598"/>
                    <a:pt x="299" y="598"/>
                  </a:cubicBezTo>
                  <a:lnTo>
                    <a:pt x="299" y="598"/>
                  </a:lnTo>
                  <a:lnTo>
                    <a:pt x="2072" y="598"/>
                  </a:lnTo>
                  <a:cubicBezTo>
                    <a:pt x="2238" y="598"/>
                    <a:pt x="2372" y="464"/>
                    <a:pt x="2372" y="299"/>
                  </a:cubicBezTo>
                  <a:cubicBezTo>
                    <a:pt x="2372" y="134"/>
                    <a:pt x="2238" y="0"/>
                    <a:pt x="2072"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46" name="Text Box 11"/>
            <p:cNvSpPr txBox="1">
              <a:spLocks noChangeArrowheads="1"/>
            </p:cNvSpPr>
            <p:nvPr/>
          </p:nvSpPr>
          <p:spPr bwMode="auto">
            <a:xfrm>
              <a:off x="5467944" y="5535665"/>
              <a:ext cx="623294" cy="1746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5C8B76"/>
                  </a:solidFill>
                  <a:latin typeface="Arial"/>
                  <a:ea typeface="'ArialMT'" pitchFamily="32" charset="0"/>
                  <a:cs typeface="Arial"/>
                </a:rPr>
                <a:t>Base Station</a:t>
              </a:r>
            </a:p>
          </p:txBody>
        </p:sp>
        <p:grpSp>
          <p:nvGrpSpPr>
            <p:cNvPr id="347" name="Group 350"/>
            <p:cNvGrpSpPr/>
            <p:nvPr/>
          </p:nvGrpSpPr>
          <p:grpSpPr>
            <a:xfrm>
              <a:off x="5395416" y="5535662"/>
              <a:ext cx="82550" cy="161925"/>
              <a:chOff x="5772150" y="5764213"/>
              <a:chExt cx="82550" cy="161925"/>
            </a:xfrm>
          </p:grpSpPr>
          <p:sp>
            <p:nvSpPr>
              <p:cNvPr id="348" name="Freeform 231"/>
              <p:cNvSpPr>
                <a:spLocks noChangeArrowheads="1"/>
              </p:cNvSpPr>
              <p:nvPr/>
            </p:nvSpPr>
            <p:spPr bwMode="auto">
              <a:xfrm>
                <a:off x="5799138" y="5791200"/>
                <a:ext cx="28575" cy="28575"/>
              </a:xfrm>
              <a:custGeom>
                <a:avLst/>
                <a:gdLst/>
                <a:ahLst/>
                <a:cxnLst>
                  <a:cxn ang="0">
                    <a:pos x="39" y="80"/>
                  </a:cxn>
                  <a:cxn ang="0">
                    <a:pos x="0" y="40"/>
                  </a:cxn>
                  <a:cxn ang="0">
                    <a:pos x="39" y="0"/>
                  </a:cxn>
                  <a:cxn ang="0">
                    <a:pos x="79" y="40"/>
                  </a:cxn>
                  <a:cxn ang="0">
                    <a:pos x="39" y="80"/>
                  </a:cxn>
                  <a:cxn ang="0">
                    <a:pos x="39" y="17"/>
                  </a:cxn>
                  <a:cxn ang="0">
                    <a:pos x="17" y="40"/>
                  </a:cxn>
                  <a:cxn ang="0">
                    <a:pos x="39" y="62"/>
                  </a:cxn>
                  <a:cxn ang="0">
                    <a:pos x="62" y="40"/>
                  </a:cxn>
                  <a:cxn ang="0">
                    <a:pos x="39" y="17"/>
                  </a:cxn>
                </a:cxnLst>
                <a:rect l="0" t="0" r="r" b="b"/>
                <a:pathLst>
                  <a:path w="80" h="81">
                    <a:moveTo>
                      <a:pt x="39" y="80"/>
                    </a:moveTo>
                    <a:cubicBezTo>
                      <a:pt x="18" y="80"/>
                      <a:pt x="0" y="62"/>
                      <a:pt x="0" y="40"/>
                    </a:cubicBezTo>
                    <a:cubicBezTo>
                      <a:pt x="0" y="18"/>
                      <a:pt x="18" y="0"/>
                      <a:pt x="39" y="0"/>
                    </a:cubicBezTo>
                    <a:cubicBezTo>
                      <a:pt x="61" y="0"/>
                      <a:pt x="79" y="18"/>
                      <a:pt x="79" y="40"/>
                    </a:cubicBezTo>
                    <a:cubicBezTo>
                      <a:pt x="79" y="62"/>
                      <a:pt x="61" y="80"/>
                      <a:pt x="39" y="80"/>
                    </a:cubicBezTo>
                    <a:close/>
                    <a:moveTo>
                      <a:pt x="39" y="17"/>
                    </a:moveTo>
                    <a:cubicBezTo>
                      <a:pt x="27" y="17"/>
                      <a:pt x="17" y="28"/>
                      <a:pt x="17" y="40"/>
                    </a:cubicBezTo>
                    <a:cubicBezTo>
                      <a:pt x="17" y="52"/>
                      <a:pt x="27" y="62"/>
                      <a:pt x="39" y="62"/>
                    </a:cubicBezTo>
                    <a:cubicBezTo>
                      <a:pt x="52" y="62"/>
                      <a:pt x="62" y="52"/>
                      <a:pt x="62" y="40"/>
                    </a:cubicBezTo>
                    <a:cubicBezTo>
                      <a:pt x="62" y="28"/>
                      <a:pt x="52" y="17"/>
                      <a:pt x="39" y="17"/>
                    </a:cubicBezTo>
                    <a:close/>
                  </a:path>
                </a:pathLst>
              </a:custGeom>
              <a:solidFill>
                <a:srgbClr val="5C8B76"/>
              </a:solidFill>
              <a:ln w="9525" cap="flat">
                <a:noFill/>
                <a:bevel/>
                <a:headEnd/>
                <a:tailEnd/>
              </a:ln>
              <a:effectLst/>
            </p:spPr>
            <p:txBody>
              <a:bodyPr wrap="none" anchor="ctr">
                <a:prstTxWarp prst="textNoShape">
                  <a:avLst/>
                </a:prstTxWarp>
              </a:bodyPr>
              <a:lstStyle/>
              <a:p>
                <a:pPr>
                  <a:buNone/>
                </a:pPr>
                <a:endParaRPr lang="en-US" dirty="0"/>
              </a:p>
            </p:txBody>
          </p:sp>
          <p:sp>
            <p:nvSpPr>
              <p:cNvPr id="349" name="Freeform 232"/>
              <p:cNvSpPr>
                <a:spLocks noChangeArrowheads="1"/>
              </p:cNvSpPr>
              <p:nvPr/>
            </p:nvSpPr>
            <p:spPr bwMode="auto">
              <a:xfrm>
                <a:off x="5788025" y="5780088"/>
                <a:ext cx="50800" cy="50800"/>
              </a:xfrm>
              <a:custGeom>
                <a:avLst/>
                <a:gdLst/>
                <a:ahLst/>
                <a:cxnLst>
                  <a:cxn ang="0">
                    <a:pos x="70" y="142"/>
                  </a:cxn>
                  <a:cxn ang="0">
                    <a:pos x="0" y="71"/>
                  </a:cxn>
                  <a:cxn ang="0">
                    <a:pos x="70" y="0"/>
                  </a:cxn>
                  <a:cxn ang="0">
                    <a:pos x="141" y="71"/>
                  </a:cxn>
                  <a:cxn ang="0">
                    <a:pos x="70" y="142"/>
                  </a:cxn>
                  <a:cxn ang="0">
                    <a:pos x="70" y="17"/>
                  </a:cxn>
                  <a:cxn ang="0">
                    <a:pos x="17" y="71"/>
                  </a:cxn>
                  <a:cxn ang="0">
                    <a:pos x="70" y="125"/>
                  </a:cxn>
                  <a:cxn ang="0">
                    <a:pos x="124" y="71"/>
                  </a:cxn>
                  <a:cxn ang="0">
                    <a:pos x="70" y="17"/>
                  </a:cxn>
                </a:cxnLst>
                <a:rect l="0" t="0" r="r" b="b"/>
                <a:pathLst>
                  <a:path w="142" h="143">
                    <a:moveTo>
                      <a:pt x="70" y="142"/>
                    </a:moveTo>
                    <a:cubicBezTo>
                      <a:pt x="31" y="142"/>
                      <a:pt x="0" y="110"/>
                      <a:pt x="0" y="71"/>
                    </a:cubicBezTo>
                    <a:cubicBezTo>
                      <a:pt x="0" y="32"/>
                      <a:pt x="31" y="0"/>
                      <a:pt x="70" y="0"/>
                    </a:cubicBezTo>
                    <a:cubicBezTo>
                      <a:pt x="110" y="0"/>
                      <a:pt x="141" y="32"/>
                      <a:pt x="141" y="71"/>
                    </a:cubicBezTo>
                    <a:cubicBezTo>
                      <a:pt x="141" y="110"/>
                      <a:pt x="110" y="142"/>
                      <a:pt x="70" y="142"/>
                    </a:cubicBezTo>
                    <a:close/>
                    <a:moveTo>
                      <a:pt x="70" y="17"/>
                    </a:moveTo>
                    <a:cubicBezTo>
                      <a:pt x="41" y="17"/>
                      <a:pt x="17" y="42"/>
                      <a:pt x="17" y="71"/>
                    </a:cubicBezTo>
                    <a:cubicBezTo>
                      <a:pt x="17" y="101"/>
                      <a:pt x="41" y="125"/>
                      <a:pt x="70" y="125"/>
                    </a:cubicBezTo>
                    <a:cubicBezTo>
                      <a:pt x="100" y="125"/>
                      <a:pt x="124" y="101"/>
                      <a:pt x="124" y="71"/>
                    </a:cubicBezTo>
                    <a:cubicBezTo>
                      <a:pt x="124" y="42"/>
                      <a:pt x="100" y="17"/>
                      <a:pt x="70" y="17"/>
                    </a:cubicBezTo>
                    <a:close/>
                  </a:path>
                </a:pathLst>
              </a:custGeom>
              <a:solidFill>
                <a:srgbClr val="5C8B76"/>
              </a:solidFill>
              <a:ln w="9525" cap="flat">
                <a:noFill/>
                <a:bevel/>
                <a:headEnd/>
                <a:tailEnd/>
              </a:ln>
              <a:effectLst/>
            </p:spPr>
            <p:txBody>
              <a:bodyPr wrap="none" anchor="ctr">
                <a:prstTxWarp prst="textNoShape">
                  <a:avLst/>
                </a:prstTxWarp>
              </a:bodyPr>
              <a:lstStyle/>
              <a:p>
                <a:pPr>
                  <a:buNone/>
                </a:pPr>
                <a:endParaRPr lang="en-US" dirty="0"/>
              </a:p>
            </p:txBody>
          </p:sp>
          <p:sp>
            <p:nvSpPr>
              <p:cNvPr id="350" name="Freeform 233"/>
              <p:cNvSpPr>
                <a:spLocks noChangeArrowheads="1"/>
              </p:cNvSpPr>
              <p:nvPr/>
            </p:nvSpPr>
            <p:spPr bwMode="auto">
              <a:xfrm>
                <a:off x="5772150" y="5764213"/>
                <a:ext cx="82550" cy="82550"/>
              </a:xfrm>
              <a:custGeom>
                <a:avLst/>
                <a:gdLst/>
                <a:ahLst/>
                <a:cxnLst>
                  <a:cxn ang="0">
                    <a:pos x="113" y="227"/>
                  </a:cxn>
                  <a:cxn ang="0">
                    <a:pos x="0" y="114"/>
                  </a:cxn>
                  <a:cxn ang="0">
                    <a:pos x="113" y="0"/>
                  </a:cxn>
                  <a:cxn ang="0">
                    <a:pos x="227" y="114"/>
                  </a:cxn>
                  <a:cxn ang="0">
                    <a:pos x="113" y="227"/>
                  </a:cxn>
                  <a:cxn ang="0">
                    <a:pos x="113" y="18"/>
                  </a:cxn>
                  <a:cxn ang="0">
                    <a:pos x="17" y="114"/>
                  </a:cxn>
                  <a:cxn ang="0">
                    <a:pos x="113" y="210"/>
                  </a:cxn>
                  <a:cxn ang="0">
                    <a:pos x="210" y="114"/>
                  </a:cxn>
                  <a:cxn ang="0">
                    <a:pos x="113" y="18"/>
                  </a:cxn>
                </a:cxnLst>
                <a:rect l="0" t="0" r="r" b="b"/>
                <a:pathLst>
                  <a:path w="228" h="228">
                    <a:moveTo>
                      <a:pt x="113" y="227"/>
                    </a:moveTo>
                    <a:cubicBezTo>
                      <a:pt x="51" y="227"/>
                      <a:pt x="0" y="177"/>
                      <a:pt x="0" y="114"/>
                    </a:cubicBezTo>
                    <a:cubicBezTo>
                      <a:pt x="0" y="51"/>
                      <a:pt x="51" y="0"/>
                      <a:pt x="113" y="0"/>
                    </a:cubicBezTo>
                    <a:cubicBezTo>
                      <a:pt x="176" y="0"/>
                      <a:pt x="227" y="51"/>
                      <a:pt x="227" y="114"/>
                    </a:cubicBezTo>
                    <a:cubicBezTo>
                      <a:pt x="227" y="177"/>
                      <a:pt x="176" y="227"/>
                      <a:pt x="113" y="227"/>
                    </a:cubicBezTo>
                    <a:close/>
                    <a:moveTo>
                      <a:pt x="113" y="18"/>
                    </a:moveTo>
                    <a:cubicBezTo>
                      <a:pt x="60" y="18"/>
                      <a:pt x="17" y="61"/>
                      <a:pt x="17" y="114"/>
                    </a:cubicBezTo>
                    <a:cubicBezTo>
                      <a:pt x="17" y="167"/>
                      <a:pt x="60" y="210"/>
                      <a:pt x="113" y="210"/>
                    </a:cubicBezTo>
                    <a:cubicBezTo>
                      <a:pt x="167" y="210"/>
                      <a:pt x="210" y="167"/>
                      <a:pt x="210" y="114"/>
                    </a:cubicBezTo>
                    <a:cubicBezTo>
                      <a:pt x="210" y="61"/>
                      <a:pt x="167" y="18"/>
                      <a:pt x="113" y="18"/>
                    </a:cubicBezTo>
                    <a:close/>
                  </a:path>
                </a:pathLst>
              </a:custGeom>
              <a:solidFill>
                <a:srgbClr val="5C8B76"/>
              </a:solidFill>
              <a:ln w="9525" cap="flat">
                <a:noFill/>
                <a:bevel/>
                <a:headEnd/>
                <a:tailEnd/>
              </a:ln>
              <a:effectLst/>
            </p:spPr>
            <p:txBody>
              <a:bodyPr wrap="none" anchor="ctr">
                <a:prstTxWarp prst="textNoShape">
                  <a:avLst/>
                </a:prstTxWarp>
              </a:bodyPr>
              <a:lstStyle/>
              <a:p>
                <a:pPr>
                  <a:buNone/>
                </a:pPr>
                <a:endParaRPr lang="en-US" dirty="0"/>
              </a:p>
            </p:txBody>
          </p:sp>
          <p:sp>
            <p:nvSpPr>
              <p:cNvPr id="351" name="Freeform 234"/>
              <p:cNvSpPr>
                <a:spLocks noChangeArrowheads="1"/>
              </p:cNvSpPr>
              <p:nvPr/>
            </p:nvSpPr>
            <p:spPr bwMode="auto">
              <a:xfrm>
                <a:off x="5772150" y="5802313"/>
                <a:ext cx="82550" cy="123825"/>
              </a:xfrm>
              <a:custGeom>
                <a:avLst/>
                <a:gdLst/>
                <a:ahLst/>
                <a:cxnLst>
                  <a:cxn ang="0">
                    <a:pos x="227" y="333"/>
                  </a:cxn>
                  <a:cxn ang="0">
                    <a:pos x="122" y="102"/>
                  </a:cxn>
                  <a:cxn ang="0">
                    <a:pos x="122" y="102"/>
                  </a:cxn>
                  <a:cxn ang="0">
                    <a:pos x="122" y="9"/>
                  </a:cxn>
                  <a:cxn ang="0">
                    <a:pos x="114" y="0"/>
                  </a:cxn>
                  <a:cxn ang="0">
                    <a:pos x="105" y="9"/>
                  </a:cxn>
                  <a:cxn ang="0">
                    <a:pos x="105" y="105"/>
                  </a:cxn>
                  <a:cxn ang="0">
                    <a:pos x="2" y="333"/>
                  </a:cxn>
                  <a:cxn ang="0">
                    <a:pos x="4" y="343"/>
                  </a:cxn>
                  <a:cxn ang="0">
                    <a:pos x="9" y="345"/>
                  </a:cxn>
                  <a:cxn ang="0">
                    <a:pos x="14" y="344"/>
                  </a:cxn>
                  <a:cxn ang="0">
                    <a:pos x="114" y="277"/>
                  </a:cxn>
                  <a:cxn ang="0">
                    <a:pos x="215" y="344"/>
                  </a:cxn>
                  <a:cxn ang="0">
                    <a:pos x="219" y="345"/>
                  </a:cxn>
                  <a:cxn ang="0">
                    <a:pos x="225" y="343"/>
                  </a:cxn>
                  <a:cxn ang="0">
                    <a:pos x="227" y="333"/>
                  </a:cxn>
                  <a:cxn ang="0">
                    <a:pos x="85" y="220"/>
                  </a:cxn>
                  <a:cxn ang="0">
                    <a:pos x="115" y="197"/>
                  </a:cxn>
                  <a:cxn ang="0">
                    <a:pos x="145" y="220"/>
                  </a:cxn>
                  <a:cxn ang="0">
                    <a:pos x="85" y="220"/>
                  </a:cxn>
                  <a:cxn ang="0">
                    <a:pos x="142" y="238"/>
                  </a:cxn>
                  <a:cxn ang="0">
                    <a:pos x="114" y="256"/>
                  </a:cxn>
                  <a:cxn ang="0">
                    <a:pos x="87" y="238"/>
                  </a:cxn>
                  <a:cxn ang="0">
                    <a:pos x="142" y="238"/>
                  </a:cxn>
                  <a:cxn ang="0">
                    <a:pos x="115" y="175"/>
                  </a:cxn>
                  <a:cxn ang="0">
                    <a:pos x="114" y="174"/>
                  </a:cxn>
                  <a:cxn ang="0">
                    <a:pos x="116" y="174"/>
                  </a:cxn>
                  <a:cxn ang="0">
                    <a:pos x="115" y="175"/>
                  </a:cxn>
                  <a:cxn ang="0">
                    <a:pos x="149" y="202"/>
                  </a:cxn>
                  <a:cxn ang="0">
                    <a:pos x="129" y="186"/>
                  </a:cxn>
                  <a:cxn ang="0">
                    <a:pos x="138" y="178"/>
                  </a:cxn>
                  <a:cxn ang="0">
                    <a:pos x="149" y="202"/>
                  </a:cxn>
                  <a:cxn ang="0">
                    <a:pos x="114" y="126"/>
                  </a:cxn>
                  <a:cxn ang="0">
                    <a:pos x="128" y="157"/>
                  </a:cxn>
                  <a:cxn ang="0">
                    <a:pos x="100" y="157"/>
                  </a:cxn>
                  <a:cxn ang="0">
                    <a:pos x="114" y="126"/>
                  </a:cxn>
                  <a:cxn ang="0">
                    <a:pos x="91" y="178"/>
                  </a:cxn>
                  <a:cxn ang="0">
                    <a:pos x="101" y="186"/>
                  </a:cxn>
                  <a:cxn ang="0">
                    <a:pos x="80" y="202"/>
                  </a:cxn>
                  <a:cxn ang="0">
                    <a:pos x="91" y="178"/>
                  </a:cxn>
                  <a:cxn ang="0">
                    <a:pos x="30" y="313"/>
                  </a:cxn>
                  <a:cxn ang="0">
                    <a:pos x="62" y="242"/>
                  </a:cxn>
                  <a:cxn ang="0">
                    <a:pos x="99" y="267"/>
                  </a:cxn>
                  <a:cxn ang="0">
                    <a:pos x="30" y="313"/>
                  </a:cxn>
                  <a:cxn ang="0">
                    <a:pos x="130" y="267"/>
                  </a:cxn>
                  <a:cxn ang="0">
                    <a:pos x="167" y="242"/>
                  </a:cxn>
                  <a:cxn ang="0">
                    <a:pos x="199" y="313"/>
                  </a:cxn>
                  <a:cxn ang="0">
                    <a:pos x="130" y="267"/>
                  </a:cxn>
                </a:cxnLst>
                <a:rect l="0" t="0" r="r" b="b"/>
                <a:pathLst>
                  <a:path w="230" h="346">
                    <a:moveTo>
                      <a:pt x="227" y="333"/>
                    </a:moveTo>
                    <a:lnTo>
                      <a:pt x="122" y="102"/>
                    </a:lnTo>
                    <a:lnTo>
                      <a:pt x="122" y="102"/>
                    </a:lnTo>
                    <a:lnTo>
                      <a:pt x="122" y="9"/>
                    </a:lnTo>
                    <a:cubicBezTo>
                      <a:pt x="122" y="4"/>
                      <a:pt x="118" y="0"/>
                      <a:pt x="114" y="0"/>
                    </a:cubicBezTo>
                    <a:cubicBezTo>
                      <a:pt x="109" y="0"/>
                      <a:pt x="105" y="4"/>
                      <a:pt x="105" y="9"/>
                    </a:cubicBezTo>
                    <a:lnTo>
                      <a:pt x="105" y="105"/>
                    </a:lnTo>
                    <a:lnTo>
                      <a:pt x="2" y="333"/>
                    </a:lnTo>
                    <a:cubicBezTo>
                      <a:pt x="0" y="337"/>
                      <a:pt x="1" y="341"/>
                      <a:pt x="4" y="343"/>
                    </a:cubicBezTo>
                    <a:cubicBezTo>
                      <a:pt x="6" y="345"/>
                      <a:pt x="8" y="345"/>
                      <a:pt x="9" y="345"/>
                    </a:cubicBezTo>
                    <a:cubicBezTo>
                      <a:pt x="11" y="345"/>
                      <a:pt x="13" y="345"/>
                      <a:pt x="14" y="344"/>
                    </a:cubicBezTo>
                    <a:lnTo>
                      <a:pt x="114" y="277"/>
                    </a:lnTo>
                    <a:lnTo>
                      <a:pt x="215" y="344"/>
                    </a:lnTo>
                    <a:cubicBezTo>
                      <a:pt x="216" y="345"/>
                      <a:pt x="218" y="345"/>
                      <a:pt x="219" y="345"/>
                    </a:cubicBezTo>
                    <a:cubicBezTo>
                      <a:pt x="222" y="345"/>
                      <a:pt x="223" y="345"/>
                      <a:pt x="225" y="343"/>
                    </a:cubicBezTo>
                    <a:cubicBezTo>
                      <a:pt x="228" y="341"/>
                      <a:pt x="229" y="337"/>
                      <a:pt x="227" y="333"/>
                    </a:cubicBezTo>
                    <a:close/>
                    <a:moveTo>
                      <a:pt x="85" y="220"/>
                    </a:moveTo>
                    <a:lnTo>
                      <a:pt x="115" y="197"/>
                    </a:lnTo>
                    <a:lnTo>
                      <a:pt x="145" y="220"/>
                    </a:lnTo>
                    <a:lnTo>
                      <a:pt x="85" y="220"/>
                    </a:lnTo>
                    <a:close/>
                    <a:moveTo>
                      <a:pt x="142" y="238"/>
                    </a:moveTo>
                    <a:lnTo>
                      <a:pt x="114" y="256"/>
                    </a:lnTo>
                    <a:lnTo>
                      <a:pt x="87" y="238"/>
                    </a:lnTo>
                    <a:lnTo>
                      <a:pt x="142" y="238"/>
                    </a:lnTo>
                    <a:close/>
                    <a:moveTo>
                      <a:pt x="115" y="175"/>
                    </a:moveTo>
                    <a:lnTo>
                      <a:pt x="114" y="174"/>
                    </a:lnTo>
                    <a:lnTo>
                      <a:pt x="116" y="174"/>
                    </a:lnTo>
                    <a:lnTo>
                      <a:pt x="115" y="175"/>
                    </a:lnTo>
                    <a:close/>
                    <a:moveTo>
                      <a:pt x="149" y="202"/>
                    </a:moveTo>
                    <a:lnTo>
                      <a:pt x="129" y="186"/>
                    </a:lnTo>
                    <a:lnTo>
                      <a:pt x="138" y="178"/>
                    </a:lnTo>
                    <a:lnTo>
                      <a:pt x="149" y="202"/>
                    </a:lnTo>
                    <a:close/>
                    <a:moveTo>
                      <a:pt x="114" y="126"/>
                    </a:moveTo>
                    <a:lnTo>
                      <a:pt x="128" y="157"/>
                    </a:lnTo>
                    <a:lnTo>
                      <a:pt x="100" y="157"/>
                    </a:lnTo>
                    <a:lnTo>
                      <a:pt x="114" y="126"/>
                    </a:lnTo>
                    <a:close/>
                    <a:moveTo>
                      <a:pt x="91" y="178"/>
                    </a:moveTo>
                    <a:lnTo>
                      <a:pt x="101" y="186"/>
                    </a:lnTo>
                    <a:lnTo>
                      <a:pt x="80" y="202"/>
                    </a:lnTo>
                    <a:lnTo>
                      <a:pt x="91" y="178"/>
                    </a:lnTo>
                    <a:close/>
                    <a:moveTo>
                      <a:pt x="30" y="313"/>
                    </a:moveTo>
                    <a:lnTo>
                      <a:pt x="62" y="242"/>
                    </a:lnTo>
                    <a:lnTo>
                      <a:pt x="99" y="267"/>
                    </a:lnTo>
                    <a:lnTo>
                      <a:pt x="30" y="313"/>
                    </a:lnTo>
                    <a:close/>
                    <a:moveTo>
                      <a:pt x="130" y="267"/>
                    </a:moveTo>
                    <a:lnTo>
                      <a:pt x="167" y="242"/>
                    </a:lnTo>
                    <a:lnTo>
                      <a:pt x="199" y="313"/>
                    </a:lnTo>
                    <a:lnTo>
                      <a:pt x="130" y="267"/>
                    </a:lnTo>
                    <a:close/>
                  </a:path>
                </a:pathLst>
              </a:custGeom>
              <a:solidFill>
                <a:srgbClr val="5C8B76"/>
              </a:solidFill>
              <a:ln w="9525" cap="flat">
                <a:noFill/>
                <a:bevel/>
                <a:headEnd/>
                <a:tailEnd/>
              </a:ln>
              <a:effectLst/>
            </p:spPr>
            <p:txBody>
              <a:bodyPr wrap="none" anchor="ctr">
                <a:prstTxWarp prst="textNoShape">
                  <a:avLst/>
                </a:prstTxWarp>
              </a:bodyPr>
              <a:lstStyle/>
              <a:p>
                <a:pPr>
                  <a:buNone/>
                </a:pPr>
                <a:endParaRPr lang="en-US" dirty="0"/>
              </a:p>
            </p:txBody>
          </p:sp>
        </p:grpSp>
      </p:grpSp>
      <p:grpSp>
        <p:nvGrpSpPr>
          <p:cNvPr id="352" name="Group 381"/>
          <p:cNvGrpSpPr/>
          <p:nvPr/>
        </p:nvGrpSpPr>
        <p:grpSpPr>
          <a:xfrm>
            <a:off x="7333908" y="4446589"/>
            <a:ext cx="974480" cy="216027"/>
            <a:chOff x="5809908" y="4446588"/>
            <a:chExt cx="974480" cy="216027"/>
          </a:xfrm>
        </p:grpSpPr>
        <p:sp>
          <p:nvSpPr>
            <p:cNvPr id="353" name="Freeform 1"/>
            <p:cNvSpPr>
              <a:spLocks noChangeArrowheads="1"/>
            </p:cNvSpPr>
            <p:nvPr/>
          </p:nvSpPr>
          <p:spPr bwMode="auto">
            <a:xfrm>
              <a:off x="5809908" y="4446588"/>
              <a:ext cx="974480" cy="215900"/>
            </a:xfrm>
            <a:custGeom>
              <a:avLst/>
              <a:gdLst>
                <a:gd name="T0" fmla="*/ 2586 w 2887"/>
                <a:gd name="T1" fmla="*/ 0 h 600"/>
                <a:gd name="T2" fmla="*/ 299 w 2887"/>
                <a:gd name="T3" fmla="*/ 0 h 600"/>
                <a:gd name="T4" fmla="*/ 299 w 2887"/>
                <a:gd name="T5" fmla="*/ 0 h 600"/>
                <a:gd name="T6" fmla="*/ 0 w 2887"/>
                <a:gd name="T7" fmla="*/ 300 h 600"/>
                <a:gd name="T8" fmla="*/ 299 w 2887"/>
                <a:gd name="T9" fmla="*/ 599 h 600"/>
                <a:gd name="T10" fmla="*/ 299 w 2887"/>
                <a:gd name="T11" fmla="*/ 599 h 600"/>
                <a:gd name="T12" fmla="*/ 2586 w 2887"/>
                <a:gd name="T13" fmla="*/ 599 h 600"/>
                <a:gd name="T14" fmla="*/ 2886 w 2887"/>
                <a:gd name="T15" fmla="*/ 300 h 600"/>
                <a:gd name="T16" fmla="*/ 2586 w 2887"/>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7" h="600">
                  <a:moveTo>
                    <a:pt x="2586" y="0"/>
                  </a:moveTo>
                  <a:lnTo>
                    <a:pt x="299" y="0"/>
                  </a:lnTo>
                  <a:lnTo>
                    <a:pt x="299" y="0"/>
                  </a:lnTo>
                  <a:cubicBezTo>
                    <a:pt x="134" y="0"/>
                    <a:pt x="0" y="134"/>
                    <a:pt x="0" y="300"/>
                  </a:cubicBezTo>
                  <a:cubicBezTo>
                    <a:pt x="0" y="465"/>
                    <a:pt x="134" y="599"/>
                    <a:pt x="299" y="599"/>
                  </a:cubicBezTo>
                  <a:lnTo>
                    <a:pt x="299" y="599"/>
                  </a:lnTo>
                  <a:lnTo>
                    <a:pt x="2586" y="599"/>
                  </a:lnTo>
                  <a:cubicBezTo>
                    <a:pt x="2751" y="599"/>
                    <a:pt x="2886" y="465"/>
                    <a:pt x="2886" y="300"/>
                  </a:cubicBezTo>
                  <a:cubicBezTo>
                    <a:pt x="2886" y="134"/>
                    <a:pt x="2751" y="0"/>
                    <a:pt x="2586"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54" name="Text Box 2"/>
            <p:cNvSpPr txBox="1">
              <a:spLocks noChangeArrowheads="1"/>
            </p:cNvSpPr>
            <p:nvPr/>
          </p:nvSpPr>
          <p:spPr bwMode="auto">
            <a:xfrm>
              <a:off x="6055408" y="4446589"/>
              <a:ext cx="702490" cy="2160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5C8B76"/>
                  </a:solidFill>
                  <a:latin typeface="Arial"/>
                  <a:ea typeface="'ArialMT'" pitchFamily="32" charset="0"/>
                  <a:cs typeface="Arial"/>
                </a:rPr>
                <a:t>Components &amp; Systems</a:t>
              </a:r>
            </a:p>
          </p:txBody>
        </p:sp>
        <p:grpSp>
          <p:nvGrpSpPr>
            <p:cNvPr id="355" name="Group 355"/>
            <p:cNvGrpSpPr/>
            <p:nvPr/>
          </p:nvGrpSpPr>
          <p:grpSpPr>
            <a:xfrm>
              <a:off x="5836202" y="4489617"/>
              <a:ext cx="287337" cy="125413"/>
              <a:chOff x="6630491" y="5294313"/>
              <a:chExt cx="287337" cy="125413"/>
            </a:xfrm>
          </p:grpSpPr>
          <p:sp>
            <p:nvSpPr>
              <p:cNvPr id="356" name="Freeform 14"/>
              <p:cNvSpPr>
                <a:spLocks noChangeArrowheads="1"/>
              </p:cNvSpPr>
              <p:nvPr/>
            </p:nvSpPr>
            <p:spPr bwMode="auto">
              <a:xfrm>
                <a:off x="6663828" y="5370513"/>
                <a:ext cx="50800" cy="49213"/>
              </a:xfrm>
              <a:custGeom>
                <a:avLst/>
                <a:gdLst>
                  <a:gd name="T0" fmla="*/ 71 w 143"/>
                  <a:gd name="T1" fmla="*/ 135 h 136"/>
                  <a:gd name="T2" fmla="*/ 0 w 143"/>
                  <a:gd name="T3" fmla="*/ 68 h 136"/>
                  <a:gd name="T4" fmla="*/ 71 w 143"/>
                  <a:gd name="T5" fmla="*/ 0 h 136"/>
                  <a:gd name="T6" fmla="*/ 142 w 143"/>
                  <a:gd name="T7" fmla="*/ 68 h 136"/>
                  <a:gd name="T8" fmla="*/ 71 w 143"/>
                  <a:gd name="T9" fmla="*/ 135 h 136"/>
                </a:gdLst>
                <a:ahLst/>
                <a:cxnLst>
                  <a:cxn ang="0">
                    <a:pos x="T0" y="T1"/>
                  </a:cxn>
                  <a:cxn ang="0">
                    <a:pos x="T2" y="T3"/>
                  </a:cxn>
                  <a:cxn ang="0">
                    <a:pos x="T4" y="T5"/>
                  </a:cxn>
                  <a:cxn ang="0">
                    <a:pos x="T6" y="T7"/>
                  </a:cxn>
                  <a:cxn ang="0">
                    <a:pos x="T8" y="T9"/>
                  </a:cxn>
                </a:cxnLst>
                <a:rect l="0" t="0" r="r" b="b"/>
                <a:pathLst>
                  <a:path w="143" h="136">
                    <a:moveTo>
                      <a:pt x="71" y="135"/>
                    </a:moveTo>
                    <a:cubicBezTo>
                      <a:pt x="32" y="135"/>
                      <a:pt x="0" y="105"/>
                      <a:pt x="0" y="68"/>
                    </a:cubicBezTo>
                    <a:cubicBezTo>
                      <a:pt x="0" y="30"/>
                      <a:pt x="32" y="0"/>
                      <a:pt x="71" y="0"/>
                    </a:cubicBezTo>
                    <a:cubicBezTo>
                      <a:pt x="110" y="0"/>
                      <a:pt x="142" y="30"/>
                      <a:pt x="142" y="68"/>
                    </a:cubicBezTo>
                    <a:cubicBezTo>
                      <a:pt x="142" y="105"/>
                      <a:pt x="110" y="135"/>
                      <a:pt x="71" y="135"/>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57" name="Freeform 15"/>
              <p:cNvSpPr>
                <a:spLocks noChangeArrowheads="1"/>
              </p:cNvSpPr>
              <p:nvPr/>
            </p:nvSpPr>
            <p:spPr bwMode="auto">
              <a:xfrm>
                <a:off x="6833691" y="5370513"/>
                <a:ext cx="50800" cy="49213"/>
              </a:xfrm>
              <a:custGeom>
                <a:avLst/>
                <a:gdLst>
                  <a:gd name="T0" fmla="*/ 71 w 143"/>
                  <a:gd name="T1" fmla="*/ 135 h 136"/>
                  <a:gd name="T2" fmla="*/ 0 w 143"/>
                  <a:gd name="T3" fmla="*/ 68 h 136"/>
                  <a:gd name="T4" fmla="*/ 71 w 143"/>
                  <a:gd name="T5" fmla="*/ 0 h 136"/>
                  <a:gd name="T6" fmla="*/ 142 w 143"/>
                  <a:gd name="T7" fmla="*/ 68 h 136"/>
                  <a:gd name="T8" fmla="*/ 71 w 143"/>
                  <a:gd name="T9" fmla="*/ 135 h 136"/>
                </a:gdLst>
                <a:ahLst/>
                <a:cxnLst>
                  <a:cxn ang="0">
                    <a:pos x="T0" y="T1"/>
                  </a:cxn>
                  <a:cxn ang="0">
                    <a:pos x="T2" y="T3"/>
                  </a:cxn>
                  <a:cxn ang="0">
                    <a:pos x="T4" y="T5"/>
                  </a:cxn>
                  <a:cxn ang="0">
                    <a:pos x="T6" y="T7"/>
                  </a:cxn>
                  <a:cxn ang="0">
                    <a:pos x="T8" y="T9"/>
                  </a:cxn>
                </a:cxnLst>
                <a:rect l="0" t="0" r="r" b="b"/>
                <a:pathLst>
                  <a:path w="143" h="136">
                    <a:moveTo>
                      <a:pt x="71" y="135"/>
                    </a:moveTo>
                    <a:cubicBezTo>
                      <a:pt x="32" y="135"/>
                      <a:pt x="0" y="105"/>
                      <a:pt x="0" y="68"/>
                    </a:cubicBezTo>
                    <a:cubicBezTo>
                      <a:pt x="0" y="30"/>
                      <a:pt x="32" y="0"/>
                      <a:pt x="71" y="0"/>
                    </a:cubicBezTo>
                    <a:cubicBezTo>
                      <a:pt x="110" y="0"/>
                      <a:pt x="142" y="30"/>
                      <a:pt x="142" y="68"/>
                    </a:cubicBezTo>
                    <a:cubicBezTo>
                      <a:pt x="142" y="105"/>
                      <a:pt x="110" y="135"/>
                      <a:pt x="71" y="135"/>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58" name="Freeform 16"/>
              <p:cNvSpPr>
                <a:spLocks noChangeArrowheads="1"/>
              </p:cNvSpPr>
              <p:nvPr/>
            </p:nvSpPr>
            <p:spPr bwMode="auto">
              <a:xfrm>
                <a:off x="6630491" y="5294313"/>
                <a:ext cx="287337" cy="103188"/>
              </a:xfrm>
              <a:custGeom>
                <a:avLst/>
                <a:gdLst>
                  <a:gd name="T0" fmla="*/ 788 w 796"/>
                  <a:gd name="T1" fmla="*/ 212 h 287"/>
                  <a:gd name="T2" fmla="*/ 783 w 796"/>
                  <a:gd name="T3" fmla="*/ 181 h 287"/>
                  <a:gd name="T4" fmla="*/ 779 w 796"/>
                  <a:gd name="T5" fmla="*/ 142 h 287"/>
                  <a:gd name="T6" fmla="*/ 760 w 796"/>
                  <a:gd name="T7" fmla="*/ 89 h 287"/>
                  <a:gd name="T8" fmla="*/ 737 w 796"/>
                  <a:gd name="T9" fmla="*/ 45 h 287"/>
                  <a:gd name="T10" fmla="*/ 702 w 796"/>
                  <a:gd name="T11" fmla="*/ 11 h 287"/>
                  <a:gd name="T12" fmla="*/ 666 w 796"/>
                  <a:gd name="T13" fmla="*/ 1 h 287"/>
                  <a:gd name="T14" fmla="*/ 461 w 796"/>
                  <a:gd name="T15" fmla="*/ 3 h 287"/>
                  <a:gd name="T16" fmla="*/ 417 w 796"/>
                  <a:gd name="T17" fmla="*/ 7 h 287"/>
                  <a:gd name="T18" fmla="*/ 379 w 796"/>
                  <a:gd name="T19" fmla="*/ 11 h 287"/>
                  <a:gd name="T20" fmla="*/ 346 w 796"/>
                  <a:gd name="T21" fmla="*/ 24 h 287"/>
                  <a:gd name="T22" fmla="*/ 285 w 796"/>
                  <a:gd name="T23" fmla="*/ 63 h 287"/>
                  <a:gd name="T24" fmla="*/ 231 w 796"/>
                  <a:gd name="T25" fmla="*/ 97 h 287"/>
                  <a:gd name="T26" fmla="*/ 154 w 796"/>
                  <a:gd name="T27" fmla="*/ 122 h 287"/>
                  <a:gd name="T28" fmla="*/ 71 w 796"/>
                  <a:gd name="T29" fmla="*/ 145 h 287"/>
                  <a:gd name="T30" fmla="*/ 30 w 796"/>
                  <a:gd name="T31" fmla="*/ 168 h 287"/>
                  <a:gd name="T32" fmla="*/ 48 w 796"/>
                  <a:gd name="T33" fmla="*/ 173 h 287"/>
                  <a:gd name="T34" fmla="*/ 54 w 796"/>
                  <a:gd name="T35" fmla="*/ 193 h 287"/>
                  <a:gd name="T36" fmla="*/ 23 w 796"/>
                  <a:gd name="T37" fmla="*/ 200 h 287"/>
                  <a:gd name="T38" fmla="*/ 21 w 796"/>
                  <a:gd name="T39" fmla="*/ 200 h 287"/>
                  <a:gd name="T40" fmla="*/ 7 w 796"/>
                  <a:gd name="T41" fmla="*/ 220 h 287"/>
                  <a:gd name="T42" fmla="*/ 1 w 796"/>
                  <a:gd name="T43" fmla="*/ 241 h 287"/>
                  <a:gd name="T44" fmla="*/ 6 w 796"/>
                  <a:gd name="T45" fmla="*/ 257 h 287"/>
                  <a:gd name="T46" fmla="*/ 39 w 796"/>
                  <a:gd name="T47" fmla="*/ 279 h 287"/>
                  <a:gd name="T48" fmla="*/ 66 w 796"/>
                  <a:gd name="T49" fmla="*/ 286 h 287"/>
                  <a:gd name="T50" fmla="*/ 86 w 796"/>
                  <a:gd name="T51" fmla="*/ 253 h 287"/>
                  <a:gd name="T52" fmla="*/ 98 w 796"/>
                  <a:gd name="T53" fmla="*/ 212 h 287"/>
                  <a:gd name="T54" fmla="*/ 121 w 796"/>
                  <a:gd name="T55" fmla="*/ 192 h 287"/>
                  <a:gd name="T56" fmla="*/ 163 w 796"/>
                  <a:gd name="T57" fmla="*/ 185 h 287"/>
                  <a:gd name="T58" fmla="*/ 201 w 796"/>
                  <a:gd name="T59" fmla="*/ 194 h 287"/>
                  <a:gd name="T60" fmla="*/ 230 w 796"/>
                  <a:gd name="T61" fmla="*/ 224 h 287"/>
                  <a:gd name="T62" fmla="*/ 245 w 796"/>
                  <a:gd name="T63" fmla="*/ 261 h 287"/>
                  <a:gd name="T64" fmla="*/ 292 w 796"/>
                  <a:gd name="T65" fmla="*/ 282 h 287"/>
                  <a:gd name="T66" fmla="*/ 328 w 796"/>
                  <a:gd name="T67" fmla="*/ 286 h 287"/>
                  <a:gd name="T68" fmla="*/ 554 w 796"/>
                  <a:gd name="T69" fmla="*/ 269 h 287"/>
                  <a:gd name="T70" fmla="*/ 569 w 796"/>
                  <a:gd name="T71" fmla="*/ 223 h 287"/>
                  <a:gd name="T72" fmla="*/ 589 w 796"/>
                  <a:gd name="T73" fmla="*/ 201 h 287"/>
                  <a:gd name="T74" fmla="*/ 641 w 796"/>
                  <a:gd name="T75" fmla="*/ 188 h 287"/>
                  <a:gd name="T76" fmla="*/ 690 w 796"/>
                  <a:gd name="T77" fmla="*/ 206 h 287"/>
                  <a:gd name="T78" fmla="*/ 708 w 796"/>
                  <a:gd name="T79" fmla="*/ 231 h 287"/>
                  <a:gd name="T80" fmla="*/ 722 w 796"/>
                  <a:gd name="T81" fmla="*/ 268 h 287"/>
                  <a:gd name="T82" fmla="*/ 761 w 796"/>
                  <a:gd name="T83" fmla="*/ 277 h 287"/>
                  <a:gd name="T84" fmla="*/ 782 w 796"/>
                  <a:gd name="T85" fmla="*/ 268 h 287"/>
                  <a:gd name="T86" fmla="*/ 794 w 796"/>
                  <a:gd name="T87" fmla="*/ 248 h 287"/>
                  <a:gd name="T88" fmla="*/ 465 w 796"/>
                  <a:gd name="T89" fmla="*/ 44 h 287"/>
                  <a:gd name="T90" fmla="*/ 462 w 796"/>
                  <a:gd name="T91" fmla="*/ 95 h 287"/>
                  <a:gd name="T92" fmla="*/ 446 w 796"/>
                  <a:gd name="T93" fmla="*/ 115 h 287"/>
                  <a:gd name="T94" fmla="*/ 365 w 796"/>
                  <a:gd name="T95" fmla="*/ 116 h 287"/>
                  <a:gd name="T96" fmla="*/ 320 w 796"/>
                  <a:gd name="T97" fmla="*/ 117 h 287"/>
                  <a:gd name="T98" fmla="*/ 298 w 796"/>
                  <a:gd name="T99" fmla="*/ 102 h 287"/>
                  <a:gd name="T100" fmla="*/ 306 w 796"/>
                  <a:gd name="T101" fmla="*/ 82 h 287"/>
                  <a:gd name="T102" fmla="*/ 370 w 796"/>
                  <a:gd name="T103" fmla="*/ 35 h 287"/>
                  <a:gd name="T104" fmla="*/ 416 w 796"/>
                  <a:gd name="T105" fmla="*/ 28 h 287"/>
                  <a:gd name="T106" fmla="*/ 451 w 796"/>
                  <a:gd name="T107" fmla="*/ 27 h 287"/>
                  <a:gd name="T108" fmla="*/ 465 w 796"/>
                  <a:gd name="T109" fmla="*/ 44 h 287"/>
                  <a:gd name="T110" fmla="*/ 516 w 796"/>
                  <a:gd name="T111" fmla="*/ 112 h 287"/>
                  <a:gd name="T112" fmla="*/ 503 w 796"/>
                  <a:gd name="T113" fmla="*/ 45 h 287"/>
                  <a:gd name="T114" fmla="*/ 669 w 796"/>
                  <a:gd name="T115" fmla="*/ 33 h 287"/>
                  <a:gd name="T116" fmla="*/ 688 w 796"/>
                  <a:gd name="T117" fmla="*/ 10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6" h="287">
                    <a:moveTo>
                      <a:pt x="795" y="228"/>
                    </a:moveTo>
                    <a:cubicBezTo>
                      <a:pt x="794" y="223"/>
                      <a:pt x="791" y="216"/>
                      <a:pt x="788" y="212"/>
                    </a:cubicBezTo>
                    <a:cubicBezTo>
                      <a:pt x="786" y="208"/>
                      <a:pt x="784" y="199"/>
                      <a:pt x="783" y="191"/>
                    </a:cubicBezTo>
                    <a:lnTo>
                      <a:pt x="783" y="181"/>
                    </a:lnTo>
                    <a:cubicBezTo>
                      <a:pt x="782" y="174"/>
                      <a:pt x="781" y="161"/>
                      <a:pt x="780" y="153"/>
                    </a:cubicBezTo>
                    <a:lnTo>
                      <a:pt x="779" y="142"/>
                    </a:lnTo>
                    <a:cubicBezTo>
                      <a:pt x="778" y="134"/>
                      <a:pt x="774" y="122"/>
                      <a:pt x="771" y="115"/>
                    </a:cubicBezTo>
                    <a:lnTo>
                      <a:pt x="760" y="89"/>
                    </a:lnTo>
                    <a:cubicBezTo>
                      <a:pt x="757" y="82"/>
                      <a:pt x="751" y="70"/>
                      <a:pt x="747" y="63"/>
                    </a:cubicBezTo>
                    <a:lnTo>
                      <a:pt x="737" y="45"/>
                    </a:lnTo>
                    <a:cubicBezTo>
                      <a:pt x="733" y="38"/>
                      <a:pt x="726" y="27"/>
                      <a:pt x="721" y="22"/>
                    </a:cubicBezTo>
                    <a:cubicBezTo>
                      <a:pt x="717" y="16"/>
                      <a:pt x="708" y="11"/>
                      <a:pt x="702" y="11"/>
                    </a:cubicBezTo>
                    <a:cubicBezTo>
                      <a:pt x="696" y="10"/>
                      <a:pt x="688" y="8"/>
                      <a:pt x="686" y="6"/>
                    </a:cubicBezTo>
                    <a:cubicBezTo>
                      <a:pt x="683" y="4"/>
                      <a:pt x="674" y="1"/>
                      <a:pt x="666" y="1"/>
                    </a:cubicBezTo>
                    <a:lnTo>
                      <a:pt x="490" y="0"/>
                    </a:lnTo>
                    <a:cubicBezTo>
                      <a:pt x="482" y="0"/>
                      <a:pt x="469" y="1"/>
                      <a:pt x="461" y="3"/>
                    </a:cubicBezTo>
                    <a:cubicBezTo>
                      <a:pt x="453" y="4"/>
                      <a:pt x="440" y="6"/>
                      <a:pt x="431" y="6"/>
                    </a:cubicBezTo>
                    <a:lnTo>
                      <a:pt x="417" y="7"/>
                    </a:lnTo>
                    <a:cubicBezTo>
                      <a:pt x="409" y="8"/>
                      <a:pt x="395" y="9"/>
                      <a:pt x="387" y="10"/>
                    </a:cubicBezTo>
                    <a:lnTo>
                      <a:pt x="379" y="11"/>
                    </a:lnTo>
                    <a:cubicBezTo>
                      <a:pt x="371" y="12"/>
                      <a:pt x="358" y="16"/>
                      <a:pt x="351" y="21"/>
                    </a:cubicBezTo>
                    <a:lnTo>
                      <a:pt x="346" y="24"/>
                    </a:lnTo>
                    <a:cubicBezTo>
                      <a:pt x="339" y="29"/>
                      <a:pt x="327" y="36"/>
                      <a:pt x="320" y="40"/>
                    </a:cubicBezTo>
                    <a:lnTo>
                      <a:pt x="285" y="63"/>
                    </a:lnTo>
                    <a:cubicBezTo>
                      <a:pt x="278" y="68"/>
                      <a:pt x="267" y="75"/>
                      <a:pt x="260" y="79"/>
                    </a:cubicBezTo>
                    <a:lnTo>
                      <a:pt x="231" y="97"/>
                    </a:lnTo>
                    <a:cubicBezTo>
                      <a:pt x="224" y="101"/>
                      <a:pt x="212" y="107"/>
                      <a:pt x="204" y="109"/>
                    </a:cubicBezTo>
                    <a:lnTo>
                      <a:pt x="154" y="122"/>
                    </a:lnTo>
                    <a:cubicBezTo>
                      <a:pt x="146" y="124"/>
                      <a:pt x="133" y="128"/>
                      <a:pt x="125" y="130"/>
                    </a:cubicBezTo>
                    <a:lnTo>
                      <a:pt x="71" y="145"/>
                    </a:lnTo>
                    <a:cubicBezTo>
                      <a:pt x="63" y="147"/>
                      <a:pt x="52" y="151"/>
                      <a:pt x="45" y="154"/>
                    </a:cubicBezTo>
                    <a:cubicBezTo>
                      <a:pt x="39" y="156"/>
                      <a:pt x="32" y="163"/>
                      <a:pt x="30" y="168"/>
                    </a:cubicBezTo>
                    <a:cubicBezTo>
                      <a:pt x="30" y="169"/>
                      <a:pt x="29" y="171"/>
                      <a:pt x="28" y="173"/>
                    </a:cubicBezTo>
                    <a:lnTo>
                      <a:pt x="48" y="173"/>
                    </a:lnTo>
                    <a:cubicBezTo>
                      <a:pt x="52" y="173"/>
                      <a:pt x="54" y="176"/>
                      <a:pt x="54" y="179"/>
                    </a:cubicBezTo>
                    <a:lnTo>
                      <a:pt x="54" y="193"/>
                    </a:lnTo>
                    <a:cubicBezTo>
                      <a:pt x="54" y="196"/>
                      <a:pt x="52" y="199"/>
                      <a:pt x="48" y="199"/>
                    </a:cubicBezTo>
                    <a:lnTo>
                      <a:pt x="23" y="200"/>
                    </a:lnTo>
                    <a:cubicBezTo>
                      <a:pt x="22" y="200"/>
                      <a:pt x="21" y="199"/>
                      <a:pt x="21" y="199"/>
                    </a:cubicBezTo>
                    <a:lnTo>
                      <a:pt x="21" y="200"/>
                    </a:lnTo>
                    <a:cubicBezTo>
                      <a:pt x="21" y="204"/>
                      <a:pt x="19" y="209"/>
                      <a:pt x="15" y="211"/>
                    </a:cubicBezTo>
                    <a:cubicBezTo>
                      <a:pt x="11" y="213"/>
                      <a:pt x="8" y="217"/>
                      <a:pt x="7" y="220"/>
                    </a:cubicBezTo>
                    <a:cubicBezTo>
                      <a:pt x="7" y="223"/>
                      <a:pt x="5" y="226"/>
                      <a:pt x="3" y="226"/>
                    </a:cubicBezTo>
                    <a:cubicBezTo>
                      <a:pt x="1" y="226"/>
                      <a:pt x="0" y="233"/>
                      <a:pt x="1" y="241"/>
                    </a:cubicBezTo>
                    <a:lnTo>
                      <a:pt x="1" y="241"/>
                    </a:lnTo>
                    <a:cubicBezTo>
                      <a:pt x="1" y="249"/>
                      <a:pt x="4" y="257"/>
                      <a:pt x="6" y="257"/>
                    </a:cubicBezTo>
                    <a:cubicBezTo>
                      <a:pt x="8" y="258"/>
                      <a:pt x="15" y="261"/>
                      <a:pt x="22" y="265"/>
                    </a:cubicBezTo>
                    <a:cubicBezTo>
                      <a:pt x="29" y="269"/>
                      <a:pt x="37" y="275"/>
                      <a:pt x="39" y="279"/>
                    </a:cubicBezTo>
                    <a:cubicBezTo>
                      <a:pt x="41" y="283"/>
                      <a:pt x="45" y="286"/>
                      <a:pt x="48" y="286"/>
                    </a:cubicBezTo>
                    <a:lnTo>
                      <a:pt x="66" y="286"/>
                    </a:lnTo>
                    <a:cubicBezTo>
                      <a:pt x="74" y="286"/>
                      <a:pt x="80" y="282"/>
                      <a:pt x="81" y="276"/>
                    </a:cubicBezTo>
                    <a:cubicBezTo>
                      <a:pt x="82" y="271"/>
                      <a:pt x="84" y="260"/>
                      <a:pt x="86" y="253"/>
                    </a:cubicBezTo>
                    <a:lnTo>
                      <a:pt x="89" y="236"/>
                    </a:lnTo>
                    <a:cubicBezTo>
                      <a:pt x="91" y="228"/>
                      <a:pt x="95" y="217"/>
                      <a:pt x="98" y="212"/>
                    </a:cubicBezTo>
                    <a:cubicBezTo>
                      <a:pt x="102" y="206"/>
                      <a:pt x="110" y="198"/>
                      <a:pt x="117" y="195"/>
                    </a:cubicBezTo>
                    <a:lnTo>
                      <a:pt x="121" y="192"/>
                    </a:lnTo>
                    <a:cubicBezTo>
                      <a:pt x="128" y="189"/>
                      <a:pt x="141" y="185"/>
                      <a:pt x="149" y="185"/>
                    </a:cubicBezTo>
                    <a:lnTo>
                      <a:pt x="163" y="185"/>
                    </a:lnTo>
                    <a:cubicBezTo>
                      <a:pt x="172" y="185"/>
                      <a:pt x="185" y="188"/>
                      <a:pt x="192" y="190"/>
                    </a:cubicBezTo>
                    <a:lnTo>
                      <a:pt x="201" y="194"/>
                    </a:lnTo>
                    <a:cubicBezTo>
                      <a:pt x="209" y="196"/>
                      <a:pt x="219" y="204"/>
                      <a:pt x="223" y="211"/>
                    </a:cubicBezTo>
                    <a:lnTo>
                      <a:pt x="230" y="224"/>
                    </a:lnTo>
                    <a:cubicBezTo>
                      <a:pt x="234" y="231"/>
                      <a:pt x="240" y="243"/>
                      <a:pt x="242" y="251"/>
                    </a:cubicBezTo>
                    <a:lnTo>
                      <a:pt x="245" y="261"/>
                    </a:lnTo>
                    <a:cubicBezTo>
                      <a:pt x="248" y="268"/>
                      <a:pt x="256" y="275"/>
                      <a:pt x="263" y="277"/>
                    </a:cubicBezTo>
                    <a:cubicBezTo>
                      <a:pt x="271" y="278"/>
                      <a:pt x="283" y="280"/>
                      <a:pt x="292" y="282"/>
                    </a:cubicBezTo>
                    <a:lnTo>
                      <a:pt x="298" y="283"/>
                    </a:lnTo>
                    <a:cubicBezTo>
                      <a:pt x="306" y="285"/>
                      <a:pt x="320" y="286"/>
                      <a:pt x="328" y="286"/>
                    </a:cubicBezTo>
                    <a:lnTo>
                      <a:pt x="535" y="282"/>
                    </a:lnTo>
                    <a:cubicBezTo>
                      <a:pt x="544" y="282"/>
                      <a:pt x="552" y="276"/>
                      <a:pt x="554" y="269"/>
                    </a:cubicBezTo>
                    <a:cubicBezTo>
                      <a:pt x="556" y="262"/>
                      <a:pt x="558" y="251"/>
                      <a:pt x="559" y="245"/>
                    </a:cubicBezTo>
                    <a:cubicBezTo>
                      <a:pt x="560" y="239"/>
                      <a:pt x="565" y="229"/>
                      <a:pt x="569" y="223"/>
                    </a:cubicBezTo>
                    <a:cubicBezTo>
                      <a:pt x="573" y="216"/>
                      <a:pt x="582" y="207"/>
                      <a:pt x="588" y="202"/>
                    </a:cubicBezTo>
                    <a:lnTo>
                      <a:pt x="589" y="201"/>
                    </a:lnTo>
                    <a:cubicBezTo>
                      <a:pt x="595" y="196"/>
                      <a:pt x="607" y="192"/>
                      <a:pt x="614" y="190"/>
                    </a:cubicBezTo>
                    <a:cubicBezTo>
                      <a:pt x="621" y="189"/>
                      <a:pt x="633" y="188"/>
                      <a:pt x="641" y="188"/>
                    </a:cubicBezTo>
                    <a:cubicBezTo>
                      <a:pt x="648" y="189"/>
                      <a:pt x="660" y="191"/>
                      <a:pt x="667" y="193"/>
                    </a:cubicBezTo>
                    <a:cubicBezTo>
                      <a:pt x="674" y="194"/>
                      <a:pt x="684" y="201"/>
                      <a:pt x="690" y="206"/>
                    </a:cubicBezTo>
                    <a:lnTo>
                      <a:pt x="691" y="208"/>
                    </a:lnTo>
                    <a:cubicBezTo>
                      <a:pt x="697" y="213"/>
                      <a:pt x="704" y="224"/>
                      <a:pt x="708" y="231"/>
                    </a:cubicBezTo>
                    <a:lnTo>
                      <a:pt x="713" y="244"/>
                    </a:lnTo>
                    <a:cubicBezTo>
                      <a:pt x="716" y="251"/>
                      <a:pt x="720" y="262"/>
                      <a:pt x="722" y="268"/>
                    </a:cubicBezTo>
                    <a:cubicBezTo>
                      <a:pt x="724" y="273"/>
                      <a:pt x="733" y="278"/>
                      <a:pt x="741" y="278"/>
                    </a:cubicBezTo>
                    <a:lnTo>
                      <a:pt x="761" y="277"/>
                    </a:lnTo>
                    <a:cubicBezTo>
                      <a:pt x="769" y="277"/>
                      <a:pt x="776" y="276"/>
                      <a:pt x="777" y="274"/>
                    </a:cubicBezTo>
                    <a:cubicBezTo>
                      <a:pt x="778" y="272"/>
                      <a:pt x="780" y="269"/>
                      <a:pt x="782" y="268"/>
                    </a:cubicBezTo>
                    <a:cubicBezTo>
                      <a:pt x="783" y="266"/>
                      <a:pt x="787" y="263"/>
                      <a:pt x="789" y="261"/>
                    </a:cubicBezTo>
                    <a:cubicBezTo>
                      <a:pt x="791" y="259"/>
                      <a:pt x="793" y="253"/>
                      <a:pt x="794" y="248"/>
                    </a:cubicBezTo>
                    <a:cubicBezTo>
                      <a:pt x="795" y="242"/>
                      <a:pt x="795" y="234"/>
                      <a:pt x="795" y="228"/>
                    </a:cubicBezTo>
                    <a:close/>
                    <a:moveTo>
                      <a:pt x="465" y="44"/>
                    </a:moveTo>
                    <a:cubicBezTo>
                      <a:pt x="465" y="50"/>
                      <a:pt x="464" y="61"/>
                      <a:pt x="464" y="69"/>
                    </a:cubicBezTo>
                    <a:lnTo>
                      <a:pt x="462" y="95"/>
                    </a:lnTo>
                    <a:cubicBezTo>
                      <a:pt x="462" y="103"/>
                      <a:pt x="461" y="110"/>
                      <a:pt x="460" y="112"/>
                    </a:cubicBezTo>
                    <a:cubicBezTo>
                      <a:pt x="460" y="113"/>
                      <a:pt x="453" y="114"/>
                      <a:pt x="446" y="115"/>
                    </a:cubicBezTo>
                    <a:cubicBezTo>
                      <a:pt x="439" y="115"/>
                      <a:pt x="426" y="115"/>
                      <a:pt x="418" y="115"/>
                    </a:cubicBezTo>
                    <a:lnTo>
                      <a:pt x="365" y="116"/>
                    </a:lnTo>
                    <a:cubicBezTo>
                      <a:pt x="357" y="116"/>
                      <a:pt x="343" y="117"/>
                      <a:pt x="335" y="117"/>
                    </a:cubicBezTo>
                    <a:lnTo>
                      <a:pt x="320" y="117"/>
                    </a:lnTo>
                    <a:cubicBezTo>
                      <a:pt x="312" y="117"/>
                      <a:pt x="304" y="114"/>
                      <a:pt x="303" y="111"/>
                    </a:cubicBezTo>
                    <a:cubicBezTo>
                      <a:pt x="303" y="107"/>
                      <a:pt x="300" y="104"/>
                      <a:pt x="298" y="102"/>
                    </a:cubicBezTo>
                    <a:cubicBezTo>
                      <a:pt x="296" y="101"/>
                      <a:pt x="294" y="97"/>
                      <a:pt x="294" y="95"/>
                    </a:cubicBezTo>
                    <a:cubicBezTo>
                      <a:pt x="294" y="93"/>
                      <a:pt x="300" y="87"/>
                      <a:pt x="306" y="82"/>
                    </a:cubicBezTo>
                    <a:lnTo>
                      <a:pt x="348" y="48"/>
                    </a:lnTo>
                    <a:cubicBezTo>
                      <a:pt x="355" y="43"/>
                      <a:pt x="364" y="37"/>
                      <a:pt x="370" y="35"/>
                    </a:cubicBezTo>
                    <a:cubicBezTo>
                      <a:pt x="375" y="33"/>
                      <a:pt x="384" y="31"/>
                      <a:pt x="390" y="31"/>
                    </a:cubicBezTo>
                    <a:cubicBezTo>
                      <a:pt x="396" y="30"/>
                      <a:pt x="407" y="29"/>
                      <a:pt x="416" y="28"/>
                    </a:cubicBezTo>
                    <a:lnTo>
                      <a:pt x="425" y="28"/>
                    </a:lnTo>
                    <a:cubicBezTo>
                      <a:pt x="433" y="27"/>
                      <a:pt x="445" y="27"/>
                      <a:pt x="451" y="27"/>
                    </a:cubicBezTo>
                    <a:cubicBezTo>
                      <a:pt x="457" y="27"/>
                      <a:pt x="463" y="28"/>
                      <a:pt x="464" y="30"/>
                    </a:cubicBezTo>
                    <a:cubicBezTo>
                      <a:pt x="465" y="32"/>
                      <a:pt x="466" y="39"/>
                      <a:pt x="465" y="44"/>
                    </a:cubicBezTo>
                    <a:close/>
                    <a:moveTo>
                      <a:pt x="676" y="112"/>
                    </a:moveTo>
                    <a:lnTo>
                      <a:pt x="516" y="112"/>
                    </a:lnTo>
                    <a:cubicBezTo>
                      <a:pt x="510" y="112"/>
                      <a:pt x="504" y="107"/>
                      <a:pt x="504" y="101"/>
                    </a:cubicBezTo>
                    <a:lnTo>
                      <a:pt x="503" y="45"/>
                    </a:lnTo>
                    <a:cubicBezTo>
                      <a:pt x="503" y="38"/>
                      <a:pt x="509" y="33"/>
                      <a:pt x="515" y="33"/>
                    </a:cubicBezTo>
                    <a:lnTo>
                      <a:pt x="669" y="33"/>
                    </a:lnTo>
                    <a:cubicBezTo>
                      <a:pt x="676" y="33"/>
                      <a:pt x="681" y="38"/>
                      <a:pt x="681" y="45"/>
                    </a:cubicBezTo>
                    <a:lnTo>
                      <a:pt x="688" y="101"/>
                    </a:lnTo>
                    <a:cubicBezTo>
                      <a:pt x="688" y="107"/>
                      <a:pt x="683" y="112"/>
                      <a:pt x="676" y="112"/>
                    </a:cubicBez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grpSp>
      <p:grpSp>
        <p:nvGrpSpPr>
          <p:cNvPr id="359" name="Group 382"/>
          <p:cNvGrpSpPr/>
          <p:nvPr/>
        </p:nvGrpSpPr>
        <p:grpSpPr>
          <a:xfrm>
            <a:off x="8349664" y="4444458"/>
            <a:ext cx="870733" cy="218031"/>
            <a:chOff x="6825663" y="4444457"/>
            <a:chExt cx="870733" cy="218031"/>
          </a:xfrm>
        </p:grpSpPr>
        <p:sp>
          <p:nvSpPr>
            <p:cNvPr id="360" name="Freeform 43"/>
            <p:cNvSpPr>
              <a:spLocks noChangeArrowheads="1"/>
            </p:cNvSpPr>
            <p:nvPr/>
          </p:nvSpPr>
          <p:spPr bwMode="auto">
            <a:xfrm>
              <a:off x="6825663" y="4446588"/>
              <a:ext cx="869950" cy="215900"/>
            </a:xfrm>
            <a:custGeom>
              <a:avLst/>
              <a:gdLst>
                <a:gd name="T0" fmla="*/ 2570 w 2871"/>
                <a:gd name="T1" fmla="*/ 0 h 600"/>
                <a:gd name="T2" fmla="*/ 299 w 2871"/>
                <a:gd name="T3" fmla="*/ 0 h 600"/>
                <a:gd name="T4" fmla="*/ 299 w 2871"/>
                <a:gd name="T5" fmla="*/ 0 h 600"/>
                <a:gd name="T6" fmla="*/ 0 w 2871"/>
                <a:gd name="T7" fmla="*/ 300 h 600"/>
                <a:gd name="T8" fmla="*/ 299 w 2871"/>
                <a:gd name="T9" fmla="*/ 599 h 600"/>
                <a:gd name="T10" fmla="*/ 299 w 2871"/>
                <a:gd name="T11" fmla="*/ 599 h 600"/>
                <a:gd name="T12" fmla="*/ 2570 w 2871"/>
                <a:gd name="T13" fmla="*/ 599 h 600"/>
                <a:gd name="T14" fmla="*/ 2870 w 2871"/>
                <a:gd name="T15" fmla="*/ 300 h 600"/>
                <a:gd name="T16" fmla="*/ 2570 w 2871"/>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1" h="600">
                  <a:moveTo>
                    <a:pt x="2570" y="0"/>
                  </a:moveTo>
                  <a:lnTo>
                    <a:pt x="299" y="0"/>
                  </a:lnTo>
                  <a:lnTo>
                    <a:pt x="299" y="0"/>
                  </a:lnTo>
                  <a:cubicBezTo>
                    <a:pt x="134" y="0"/>
                    <a:pt x="0" y="134"/>
                    <a:pt x="0" y="300"/>
                  </a:cubicBezTo>
                  <a:cubicBezTo>
                    <a:pt x="0" y="465"/>
                    <a:pt x="134" y="599"/>
                    <a:pt x="299" y="599"/>
                  </a:cubicBezTo>
                  <a:lnTo>
                    <a:pt x="299" y="599"/>
                  </a:lnTo>
                  <a:lnTo>
                    <a:pt x="2570" y="599"/>
                  </a:lnTo>
                  <a:cubicBezTo>
                    <a:pt x="2736" y="599"/>
                    <a:pt x="2870" y="465"/>
                    <a:pt x="2870" y="300"/>
                  </a:cubicBezTo>
                  <a:cubicBezTo>
                    <a:pt x="2870" y="134"/>
                    <a:pt x="2736" y="0"/>
                    <a:pt x="2570" y="0"/>
                  </a:cubicBezTo>
                </a:path>
              </a:pathLst>
            </a:custGeom>
            <a:solidFill>
              <a:srgbClr val="EBE8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nvGrpSpPr>
            <p:cNvPr id="361" name="Group 311"/>
            <p:cNvGrpSpPr/>
            <p:nvPr/>
          </p:nvGrpSpPr>
          <p:grpSpPr>
            <a:xfrm>
              <a:off x="6878929" y="4499970"/>
              <a:ext cx="225425" cy="107950"/>
              <a:chOff x="6235203" y="5567363"/>
              <a:chExt cx="225425" cy="107950"/>
            </a:xfrm>
          </p:grpSpPr>
          <p:sp>
            <p:nvSpPr>
              <p:cNvPr id="363" name="Freeform 39"/>
              <p:cNvSpPr>
                <a:spLocks noChangeArrowheads="1"/>
              </p:cNvSpPr>
              <p:nvPr/>
            </p:nvSpPr>
            <p:spPr bwMode="auto">
              <a:xfrm>
                <a:off x="6243141" y="5567363"/>
                <a:ext cx="211137" cy="47625"/>
              </a:xfrm>
              <a:custGeom>
                <a:avLst/>
                <a:gdLst>
                  <a:gd name="T0" fmla="*/ 468 w 585"/>
                  <a:gd name="T1" fmla="*/ 132 h 133"/>
                  <a:gd name="T2" fmla="*/ 469 w 585"/>
                  <a:gd name="T3" fmla="*/ 131 h 133"/>
                  <a:gd name="T4" fmla="*/ 507 w 585"/>
                  <a:gd name="T5" fmla="*/ 122 h 133"/>
                  <a:gd name="T6" fmla="*/ 508 w 585"/>
                  <a:gd name="T7" fmla="*/ 121 h 133"/>
                  <a:gd name="T8" fmla="*/ 539 w 585"/>
                  <a:gd name="T9" fmla="*/ 109 h 133"/>
                  <a:gd name="T10" fmla="*/ 541 w 585"/>
                  <a:gd name="T11" fmla="*/ 108 h 133"/>
                  <a:gd name="T12" fmla="*/ 564 w 585"/>
                  <a:gd name="T13" fmla="*/ 93 h 133"/>
                  <a:gd name="T14" fmla="*/ 566 w 585"/>
                  <a:gd name="T15" fmla="*/ 92 h 133"/>
                  <a:gd name="T16" fmla="*/ 583 w 585"/>
                  <a:gd name="T17" fmla="*/ 74 h 133"/>
                  <a:gd name="T18" fmla="*/ 584 w 585"/>
                  <a:gd name="T19" fmla="*/ 73 h 133"/>
                  <a:gd name="T20" fmla="*/ 292 w 585"/>
                  <a:gd name="T21" fmla="*/ 0 h 133"/>
                  <a:gd name="T22" fmla="*/ 0 w 585"/>
                  <a:gd name="T23" fmla="*/ 73 h 133"/>
                  <a:gd name="T24" fmla="*/ 1 w 585"/>
                  <a:gd name="T25" fmla="*/ 74 h 133"/>
                  <a:gd name="T26" fmla="*/ 18 w 585"/>
                  <a:gd name="T27" fmla="*/ 92 h 133"/>
                  <a:gd name="T28" fmla="*/ 20 w 585"/>
                  <a:gd name="T29" fmla="*/ 93 h 133"/>
                  <a:gd name="T30" fmla="*/ 44 w 585"/>
                  <a:gd name="T31" fmla="*/ 108 h 133"/>
                  <a:gd name="T32" fmla="*/ 46 w 585"/>
                  <a:gd name="T33" fmla="*/ 109 h 133"/>
                  <a:gd name="T34" fmla="*/ 76 w 585"/>
                  <a:gd name="T35" fmla="*/ 121 h 133"/>
                  <a:gd name="T36" fmla="*/ 77 w 585"/>
                  <a:gd name="T37" fmla="*/ 122 h 133"/>
                  <a:gd name="T38" fmla="*/ 115 w 585"/>
                  <a:gd name="T39" fmla="*/ 131 h 133"/>
                  <a:gd name="T40" fmla="*/ 116 w 585"/>
                  <a:gd name="T41" fmla="*/ 132 h 133"/>
                  <a:gd name="T42" fmla="*/ 292 w 585"/>
                  <a:gd name="T43" fmla="*/ 118 h 133"/>
                  <a:gd name="T44" fmla="*/ 468 w 585"/>
                  <a:gd name="T45" fmla="*/ 13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5" h="133">
                    <a:moveTo>
                      <a:pt x="468" y="132"/>
                    </a:moveTo>
                    <a:cubicBezTo>
                      <a:pt x="469" y="132"/>
                      <a:pt x="469" y="131"/>
                      <a:pt x="469" y="131"/>
                    </a:cubicBezTo>
                    <a:cubicBezTo>
                      <a:pt x="483" y="129"/>
                      <a:pt x="496" y="125"/>
                      <a:pt x="507" y="122"/>
                    </a:cubicBezTo>
                    <a:cubicBezTo>
                      <a:pt x="507" y="121"/>
                      <a:pt x="508" y="121"/>
                      <a:pt x="508" y="121"/>
                    </a:cubicBezTo>
                    <a:cubicBezTo>
                      <a:pt x="519" y="118"/>
                      <a:pt x="530" y="113"/>
                      <a:pt x="539" y="109"/>
                    </a:cubicBezTo>
                    <a:cubicBezTo>
                      <a:pt x="539" y="109"/>
                      <a:pt x="540" y="108"/>
                      <a:pt x="541" y="108"/>
                    </a:cubicBezTo>
                    <a:cubicBezTo>
                      <a:pt x="549" y="104"/>
                      <a:pt x="557" y="99"/>
                      <a:pt x="564" y="93"/>
                    </a:cubicBezTo>
                    <a:cubicBezTo>
                      <a:pt x="565" y="93"/>
                      <a:pt x="565" y="92"/>
                      <a:pt x="566" y="92"/>
                    </a:cubicBezTo>
                    <a:cubicBezTo>
                      <a:pt x="573" y="86"/>
                      <a:pt x="578" y="81"/>
                      <a:pt x="583" y="74"/>
                    </a:cubicBezTo>
                    <a:lnTo>
                      <a:pt x="584" y="73"/>
                    </a:lnTo>
                    <a:cubicBezTo>
                      <a:pt x="547" y="24"/>
                      <a:pt x="454" y="0"/>
                      <a:pt x="292" y="0"/>
                    </a:cubicBezTo>
                    <a:cubicBezTo>
                      <a:pt x="130" y="0"/>
                      <a:pt x="37" y="23"/>
                      <a:pt x="0" y="73"/>
                    </a:cubicBezTo>
                    <a:cubicBezTo>
                      <a:pt x="1" y="73"/>
                      <a:pt x="1" y="74"/>
                      <a:pt x="1" y="74"/>
                    </a:cubicBezTo>
                    <a:cubicBezTo>
                      <a:pt x="6" y="81"/>
                      <a:pt x="12" y="86"/>
                      <a:pt x="18" y="92"/>
                    </a:cubicBezTo>
                    <a:cubicBezTo>
                      <a:pt x="19" y="92"/>
                      <a:pt x="20" y="93"/>
                      <a:pt x="20" y="93"/>
                    </a:cubicBezTo>
                    <a:cubicBezTo>
                      <a:pt x="27" y="99"/>
                      <a:pt x="35" y="104"/>
                      <a:pt x="44" y="108"/>
                    </a:cubicBezTo>
                    <a:cubicBezTo>
                      <a:pt x="44" y="108"/>
                      <a:pt x="45" y="109"/>
                      <a:pt x="46" y="109"/>
                    </a:cubicBezTo>
                    <a:cubicBezTo>
                      <a:pt x="55" y="113"/>
                      <a:pt x="65" y="118"/>
                      <a:pt x="76" y="121"/>
                    </a:cubicBezTo>
                    <a:cubicBezTo>
                      <a:pt x="77" y="121"/>
                      <a:pt x="77" y="121"/>
                      <a:pt x="77" y="122"/>
                    </a:cubicBezTo>
                    <a:cubicBezTo>
                      <a:pt x="89" y="125"/>
                      <a:pt x="101" y="129"/>
                      <a:pt x="115" y="131"/>
                    </a:cubicBezTo>
                    <a:lnTo>
                      <a:pt x="116" y="132"/>
                    </a:lnTo>
                    <a:cubicBezTo>
                      <a:pt x="163" y="122"/>
                      <a:pt x="221" y="118"/>
                      <a:pt x="292" y="118"/>
                    </a:cubicBezTo>
                    <a:cubicBezTo>
                      <a:pt x="364" y="118"/>
                      <a:pt x="421" y="122"/>
                      <a:pt x="468" y="132"/>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64" name="Freeform 40"/>
              <p:cNvSpPr>
                <a:spLocks noChangeArrowheads="1"/>
              </p:cNvSpPr>
              <p:nvPr/>
            </p:nvSpPr>
            <p:spPr bwMode="auto">
              <a:xfrm>
                <a:off x="6235203" y="5599113"/>
                <a:ext cx="225425" cy="76200"/>
              </a:xfrm>
              <a:custGeom>
                <a:avLst/>
                <a:gdLst>
                  <a:gd name="T0" fmla="*/ 591 w 627"/>
                  <a:gd name="T1" fmla="*/ 18 h 212"/>
                  <a:gd name="T2" fmla="*/ 588 w 627"/>
                  <a:gd name="T3" fmla="*/ 21 h 212"/>
                  <a:gd name="T4" fmla="*/ 565 w 627"/>
                  <a:gd name="T5" fmla="*/ 35 h 212"/>
                  <a:gd name="T6" fmla="*/ 562 w 627"/>
                  <a:gd name="T7" fmla="*/ 37 h 212"/>
                  <a:gd name="T8" fmla="*/ 531 w 627"/>
                  <a:gd name="T9" fmla="*/ 49 h 212"/>
                  <a:gd name="T10" fmla="*/ 529 w 627"/>
                  <a:gd name="T11" fmla="*/ 50 h 212"/>
                  <a:gd name="T12" fmla="*/ 490 w 627"/>
                  <a:gd name="T13" fmla="*/ 60 h 212"/>
                  <a:gd name="T14" fmla="*/ 489 w 627"/>
                  <a:gd name="T15" fmla="*/ 60 h 212"/>
                  <a:gd name="T16" fmla="*/ 489 w 627"/>
                  <a:gd name="T17" fmla="*/ 60 h 212"/>
                  <a:gd name="T18" fmla="*/ 313 w 627"/>
                  <a:gd name="T19" fmla="*/ 74 h 212"/>
                  <a:gd name="T20" fmla="*/ 137 w 627"/>
                  <a:gd name="T21" fmla="*/ 60 h 212"/>
                  <a:gd name="T22" fmla="*/ 137 w 627"/>
                  <a:gd name="T23" fmla="*/ 60 h 212"/>
                  <a:gd name="T24" fmla="*/ 136 w 627"/>
                  <a:gd name="T25" fmla="*/ 60 h 212"/>
                  <a:gd name="T26" fmla="*/ 98 w 627"/>
                  <a:gd name="T27" fmla="*/ 50 h 212"/>
                  <a:gd name="T28" fmla="*/ 95 w 627"/>
                  <a:gd name="T29" fmla="*/ 49 h 212"/>
                  <a:gd name="T30" fmla="*/ 65 w 627"/>
                  <a:gd name="T31" fmla="*/ 37 h 212"/>
                  <a:gd name="T32" fmla="*/ 62 w 627"/>
                  <a:gd name="T33" fmla="*/ 35 h 212"/>
                  <a:gd name="T34" fmla="*/ 38 w 627"/>
                  <a:gd name="T35" fmla="*/ 21 h 212"/>
                  <a:gd name="T36" fmla="*/ 35 w 627"/>
                  <a:gd name="T37" fmla="*/ 18 h 212"/>
                  <a:gd name="T38" fmla="*/ 18 w 627"/>
                  <a:gd name="T39" fmla="*/ 1 h 212"/>
                  <a:gd name="T40" fmla="*/ 16 w 627"/>
                  <a:gd name="T41" fmla="*/ 0 h 212"/>
                  <a:gd name="T42" fmla="*/ 0 w 627"/>
                  <a:gd name="T43" fmla="*/ 68 h 212"/>
                  <a:gd name="T44" fmla="*/ 12 w 627"/>
                  <a:gd name="T45" fmla="*/ 124 h 212"/>
                  <a:gd name="T46" fmla="*/ 313 w 627"/>
                  <a:gd name="T47" fmla="*/ 211 h 212"/>
                  <a:gd name="T48" fmla="*/ 614 w 627"/>
                  <a:gd name="T49" fmla="*/ 124 h 212"/>
                  <a:gd name="T50" fmla="*/ 626 w 627"/>
                  <a:gd name="T51" fmla="*/ 68 h 212"/>
                  <a:gd name="T52" fmla="*/ 610 w 627"/>
                  <a:gd name="T53" fmla="*/ 0 h 212"/>
                  <a:gd name="T54" fmla="*/ 609 w 627"/>
                  <a:gd name="T55" fmla="*/ 1 h 212"/>
                  <a:gd name="T56" fmla="*/ 591 w 627"/>
                  <a:gd name="T57" fmla="*/ 18 h 212"/>
                  <a:gd name="T58" fmla="*/ 466 w 627"/>
                  <a:gd name="T59" fmla="*/ 171 h 212"/>
                  <a:gd name="T60" fmla="*/ 314 w 627"/>
                  <a:gd name="T61" fmla="*/ 183 h 212"/>
                  <a:gd name="T62" fmla="*/ 180 w 627"/>
                  <a:gd name="T63" fmla="*/ 174 h 212"/>
                  <a:gd name="T64" fmla="*/ 180 w 627"/>
                  <a:gd name="T65" fmla="*/ 93 h 212"/>
                  <a:gd name="T66" fmla="*/ 314 w 627"/>
                  <a:gd name="T67" fmla="*/ 102 h 212"/>
                  <a:gd name="T68" fmla="*/ 466 w 627"/>
                  <a:gd name="T69" fmla="*/ 90 h 212"/>
                  <a:gd name="T70" fmla="*/ 466 w 627"/>
                  <a:gd name="T71" fmla="*/ 17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7" h="212">
                    <a:moveTo>
                      <a:pt x="591" y="18"/>
                    </a:moveTo>
                    <a:cubicBezTo>
                      <a:pt x="591" y="19"/>
                      <a:pt x="589" y="20"/>
                      <a:pt x="588" y="21"/>
                    </a:cubicBezTo>
                    <a:cubicBezTo>
                      <a:pt x="581" y="26"/>
                      <a:pt x="574" y="31"/>
                      <a:pt x="565" y="35"/>
                    </a:cubicBezTo>
                    <a:cubicBezTo>
                      <a:pt x="564" y="36"/>
                      <a:pt x="563" y="36"/>
                      <a:pt x="562" y="37"/>
                    </a:cubicBezTo>
                    <a:cubicBezTo>
                      <a:pt x="552" y="41"/>
                      <a:pt x="542" y="45"/>
                      <a:pt x="531" y="49"/>
                    </a:cubicBezTo>
                    <a:cubicBezTo>
                      <a:pt x="530" y="49"/>
                      <a:pt x="529" y="50"/>
                      <a:pt x="529" y="50"/>
                    </a:cubicBezTo>
                    <a:cubicBezTo>
                      <a:pt x="517" y="53"/>
                      <a:pt x="504" y="57"/>
                      <a:pt x="490" y="60"/>
                    </a:cubicBezTo>
                    <a:lnTo>
                      <a:pt x="489" y="60"/>
                    </a:lnTo>
                    <a:lnTo>
                      <a:pt x="489" y="60"/>
                    </a:lnTo>
                    <a:cubicBezTo>
                      <a:pt x="443" y="69"/>
                      <a:pt x="385" y="74"/>
                      <a:pt x="313" y="74"/>
                    </a:cubicBezTo>
                    <a:cubicBezTo>
                      <a:pt x="242" y="74"/>
                      <a:pt x="184" y="69"/>
                      <a:pt x="137" y="60"/>
                    </a:cubicBezTo>
                    <a:lnTo>
                      <a:pt x="137" y="60"/>
                    </a:lnTo>
                    <a:lnTo>
                      <a:pt x="136" y="60"/>
                    </a:lnTo>
                    <a:cubicBezTo>
                      <a:pt x="122" y="57"/>
                      <a:pt x="110" y="53"/>
                      <a:pt x="98" y="50"/>
                    </a:cubicBezTo>
                    <a:cubicBezTo>
                      <a:pt x="97" y="49"/>
                      <a:pt x="96" y="49"/>
                      <a:pt x="95" y="49"/>
                    </a:cubicBezTo>
                    <a:cubicBezTo>
                      <a:pt x="84" y="45"/>
                      <a:pt x="74" y="41"/>
                      <a:pt x="65" y="37"/>
                    </a:cubicBezTo>
                    <a:cubicBezTo>
                      <a:pt x="64" y="36"/>
                      <a:pt x="63" y="36"/>
                      <a:pt x="62" y="35"/>
                    </a:cubicBezTo>
                    <a:cubicBezTo>
                      <a:pt x="53" y="31"/>
                      <a:pt x="45" y="26"/>
                      <a:pt x="38" y="21"/>
                    </a:cubicBezTo>
                    <a:cubicBezTo>
                      <a:pt x="37" y="20"/>
                      <a:pt x="36" y="19"/>
                      <a:pt x="35" y="18"/>
                    </a:cubicBezTo>
                    <a:cubicBezTo>
                      <a:pt x="28" y="13"/>
                      <a:pt x="23" y="7"/>
                      <a:pt x="18" y="1"/>
                    </a:cubicBezTo>
                    <a:cubicBezTo>
                      <a:pt x="17" y="1"/>
                      <a:pt x="17" y="0"/>
                      <a:pt x="16" y="0"/>
                    </a:cubicBezTo>
                    <a:cubicBezTo>
                      <a:pt x="5" y="18"/>
                      <a:pt x="0" y="39"/>
                      <a:pt x="0" y="68"/>
                    </a:cubicBezTo>
                    <a:cubicBezTo>
                      <a:pt x="0" y="93"/>
                      <a:pt x="4" y="107"/>
                      <a:pt x="12" y="124"/>
                    </a:cubicBezTo>
                    <a:cubicBezTo>
                      <a:pt x="42" y="183"/>
                      <a:pt x="137" y="211"/>
                      <a:pt x="313" y="211"/>
                    </a:cubicBezTo>
                    <a:cubicBezTo>
                      <a:pt x="489" y="211"/>
                      <a:pt x="585" y="183"/>
                      <a:pt x="614" y="124"/>
                    </a:cubicBezTo>
                    <a:cubicBezTo>
                      <a:pt x="622" y="107"/>
                      <a:pt x="626" y="93"/>
                      <a:pt x="626" y="68"/>
                    </a:cubicBezTo>
                    <a:cubicBezTo>
                      <a:pt x="626" y="39"/>
                      <a:pt x="621" y="18"/>
                      <a:pt x="610" y="0"/>
                    </a:cubicBezTo>
                    <a:lnTo>
                      <a:pt x="609" y="1"/>
                    </a:lnTo>
                    <a:cubicBezTo>
                      <a:pt x="604" y="7"/>
                      <a:pt x="598" y="13"/>
                      <a:pt x="591" y="18"/>
                    </a:cubicBezTo>
                    <a:close/>
                    <a:moveTo>
                      <a:pt x="466" y="171"/>
                    </a:moveTo>
                    <a:cubicBezTo>
                      <a:pt x="428" y="179"/>
                      <a:pt x="379" y="183"/>
                      <a:pt x="314" y="183"/>
                    </a:cubicBezTo>
                    <a:cubicBezTo>
                      <a:pt x="259" y="183"/>
                      <a:pt x="215" y="180"/>
                      <a:pt x="180" y="174"/>
                    </a:cubicBezTo>
                    <a:lnTo>
                      <a:pt x="180" y="93"/>
                    </a:lnTo>
                    <a:cubicBezTo>
                      <a:pt x="215" y="99"/>
                      <a:pt x="259" y="102"/>
                      <a:pt x="314" y="102"/>
                    </a:cubicBezTo>
                    <a:cubicBezTo>
                      <a:pt x="379" y="102"/>
                      <a:pt x="428" y="98"/>
                      <a:pt x="466" y="90"/>
                    </a:cubicBezTo>
                    <a:lnTo>
                      <a:pt x="466" y="171"/>
                    </a:lnTo>
                    <a:close/>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grpSp>
        <p:sp>
          <p:nvSpPr>
            <p:cNvPr id="362" name="Text Box 38"/>
            <p:cNvSpPr txBox="1">
              <a:spLocks noChangeArrowheads="1"/>
            </p:cNvSpPr>
            <p:nvPr/>
          </p:nvSpPr>
          <p:spPr bwMode="auto">
            <a:xfrm>
              <a:off x="6974676" y="4444457"/>
              <a:ext cx="721720" cy="214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rgbClr val="5C8B76"/>
                  </a:solidFill>
                  <a:latin typeface="Arial"/>
                  <a:ea typeface="'ArialMT'" pitchFamily="32" charset="0"/>
                  <a:cs typeface="Arial"/>
                </a:rPr>
                <a:t>Fitness    Trackers</a:t>
              </a:r>
            </a:p>
          </p:txBody>
        </p:sp>
      </p:grpSp>
      <p:grpSp>
        <p:nvGrpSpPr>
          <p:cNvPr id="365" name="Group 372"/>
          <p:cNvGrpSpPr/>
          <p:nvPr/>
        </p:nvGrpSpPr>
        <p:grpSpPr>
          <a:xfrm>
            <a:off x="5765801" y="4968925"/>
            <a:ext cx="650875" cy="225502"/>
            <a:chOff x="4241800" y="4968925"/>
            <a:chExt cx="650875" cy="225502"/>
          </a:xfrm>
        </p:grpSpPr>
        <p:sp>
          <p:nvSpPr>
            <p:cNvPr id="366" name="Freeform 1"/>
            <p:cNvSpPr>
              <a:spLocks noChangeArrowheads="1"/>
            </p:cNvSpPr>
            <p:nvPr/>
          </p:nvSpPr>
          <p:spPr bwMode="auto">
            <a:xfrm>
              <a:off x="4241800" y="4978527"/>
              <a:ext cx="650875" cy="215900"/>
            </a:xfrm>
            <a:custGeom>
              <a:avLst/>
              <a:gdLst>
                <a:gd name="T0" fmla="*/ 1508 w 1809"/>
                <a:gd name="T1" fmla="*/ 0 h 600"/>
                <a:gd name="T2" fmla="*/ 300 w 1809"/>
                <a:gd name="T3" fmla="*/ 0 h 600"/>
                <a:gd name="T4" fmla="*/ 300 w 1809"/>
                <a:gd name="T5" fmla="*/ 0 h 600"/>
                <a:gd name="T6" fmla="*/ 0 w 1809"/>
                <a:gd name="T7" fmla="*/ 299 h 600"/>
                <a:gd name="T8" fmla="*/ 300 w 1809"/>
                <a:gd name="T9" fmla="*/ 599 h 600"/>
                <a:gd name="T10" fmla="*/ 300 w 1809"/>
                <a:gd name="T11" fmla="*/ 599 h 600"/>
                <a:gd name="T12" fmla="*/ 1508 w 1809"/>
                <a:gd name="T13" fmla="*/ 599 h 600"/>
                <a:gd name="T14" fmla="*/ 1808 w 1809"/>
                <a:gd name="T15" fmla="*/ 299 h 600"/>
                <a:gd name="T16" fmla="*/ 1508 w 1809"/>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9" h="600">
                  <a:moveTo>
                    <a:pt x="1508" y="0"/>
                  </a:moveTo>
                  <a:lnTo>
                    <a:pt x="300" y="0"/>
                  </a:lnTo>
                  <a:lnTo>
                    <a:pt x="300" y="0"/>
                  </a:lnTo>
                  <a:cubicBezTo>
                    <a:pt x="134" y="0"/>
                    <a:pt x="0" y="134"/>
                    <a:pt x="0" y="299"/>
                  </a:cubicBezTo>
                  <a:cubicBezTo>
                    <a:pt x="0" y="465"/>
                    <a:pt x="134" y="599"/>
                    <a:pt x="300" y="599"/>
                  </a:cubicBezTo>
                  <a:lnTo>
                    <a:pt x="300" y="599"/>
                  </a:lnTo>
                  <a:lnTo>
                    <a:pt x="1508" y="599"/>
                  </a:lnTo>
                  <a:cubicBezTo>
                    <a:pt x="1674" y="599"/>
                    <a:pt x="1808" y="465"/>
                    <a:pt x="1808" y="299"/>
                  </a:cubicBezTo>
                  <a:cubicBezTo>
                    <a:pt x="1808" y="134"/>
                    <a:pt x="1674" y="0"/>
                    <a:pt x="1508"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67" name="Text Box 2"/>
            <p:cNvSpPr txBox="1">
              <a:spLocks noChangeArrowheads="1"/>
            </p:cNvSpPr>
            <p:nvPr/>
          </p:nvSpPr>
          <p:spPr bwMode="auto">
            <a:xfrm>
              <a:off x="4419865" y="4968925"/>
              <a:ext cx="438148" cy="22550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chemeClr val="tx1">
                      <a:lumMod val="75000"/>
                      <a:lumOff val="25000"/>
                    </a:schemeClr>
                  </a:solidFill>
                  <a:latin typeface="Arial"/>
                  <a:ea typeface="'ArialMT'" pitchFamily="32" charset="0"/>
                  <a:cs typeface="Arial"/>
                </a:rPr>
                <a:t>Apparatus</a:t>
              </a:r>
            </a:p>
          </p:txBody>
        </p:sp>
        <p:sp>
          <p:nvSpPr>
            <p:cNvPr id="368" name="Freeform 21"/>
            <p:cNvSpPr>
              <a:spLocks noChangeArrowheads="1"/>
            </p:cNvSpPr>
            <p:nvPr/>
          </p:nvSpPr>
          <p:spPr bwMode="auto">
            <a:xfrm>
              <a:off x="4281400" y="5014079"/>
              <a:ext cx="127000" cy="144463"/>
            </a:xfrm>
            <a:custGeom>
              <a:avLst/>
              <a:gdLst>
                <a:gd name="T0" fmla="*/ 339 w 353"/>
                <a:gd name="T1" fmla="*/ 213 h 400"/>
                <a:gd name="T2" fmla="*/ 235 w 353"/>
                <a:gd name="T3" fmla="*/ 33 h 400"/>
                <a:gd name="T4" fmla="*/ 177 w 353"/>
                <a:gd name="T5" fmla="*/ 0 h 400"/>
                <a:gd name="T6" fmla="*/ 119 w 353"/>
                <a:gd name="T7" fmla="*/ 33 h 400"/>
                <a:gd name="T8" fmla="*/ 12 w 353"/>
                <a:gd name="T9" fmla="*/ 219 h 400"/>
                <a:gd name="T10" fmla="*/ 12 w 353"/>
                <a:gd name="T11" fmla="*/ 286 h 400"/>
                <a:gd name="T12" fmla="*/ 70 w 353"/>
                <a:gd name="T13" fmla="*/ 319 h 400"/>
                <a:gd name="T14" fmla="*/ 147 w 353"/>
                <a:gd name="T15" fmla="*/ 319 h 400"/>
                <a:gd name="T16" fmla="*/ 147 w 353"/>
                <a:gd name="T17" fmla="*/ 399 h 400"/>
                <a:gd name="T18" fmla="*/ 208 w 353"/>
                <a:gd name="T19" fmla="*/ 399 h 400"/>
                <a:gd name="T20" fmla="*/ 208 w 353"/>
                <a:gd name="T21" fmla="*/ 319 h 400"/>
                <a:gd name="T22" fmla="*/ 285 w 353"/>
                <a:gd name="T23" fmla="*/ 319 h 400"/>
                <a:gd name="T24" fmla="*/ 285 w 353"/>
                <a:gd name="T25" fmla="*/ 319 h 400"/>
                <a:gd name="T26" fmla="*/ 352 w 353"/>
                <a:gd name="T27" fmla="*/ 253 h 400"/>
                <a:gd name="T28" fmla="*/ 339 w 353"/>
                <a:gd name="T29" fmla="*/ 213 h 400"/>
                <a:gd name="T30" fmla="*/ 138 w 353"/>
                <a:gd name="T31" fmla="*/ 261 h 400"/>
                <a:gd name="T32" fmla="*/ 65 w 353"/>
                <a:gd name="T33" fmla="*/ 261 h 400"/>
                <a:gd name="T34" fmla="*/ 65 w 353"/>
                <a:gd name="T35" fmla="*/ 232 h 400"/>
                <a:gd name="T36" fmla="*/ 138 w 353"/>
                <a:gd name="T37" fmla="*/ 232 h 400"/>
                <a:gd name="T38" fmla="*/ 138 w 353"/>
                <a:gd name="T39" fmla="*/ 261 h 400"/>
                <a:gd name="T40" fmla="*/ 163 w 353"/>
                <a:gd name="T41" fmla="*/ 65 h 400"/>
                <a:gd name="T42" fmla="*/ 192 w 353"/>
                <a:gd name="T43" fmla="*/ 65 h 400"/>
                <a:gd name="T44" fmla="*/ 192 w 353"/>
                <a:gd name="T45" fmla="*/ 138 h 400"/>
                <a:gd name="T46" fmla="*/ 163 w 353"/>
                <a:gd name="T47" fmla="*/ 138 h 400"/>
                <a:gd name="T48" fmla="*/ 163 w 353"/>
                <a:gd name="T49" fmla="*/ 65 h 400"/>
                <a:gd name="T50" fmla="*/ 290 w 353"/>
                <a:gd name="T51" fmla="*/ 261 h 400"/>
                <a:gd name="T52" fmla="*/ 217 w 353"/>
                <a:gd name="T53" fmla="*/ 261 h 400"/>
                <a:gd name="T54" fmla="*/ 217 w 353"/>
                <a:gd name="T55" fmla="*/ 232 h 400"/>
                <a:gd name="T56" fmla="*/ 290 w 353"/>
                <a:gd name="T57" fmla="*/ 232 h 400"/>
                <a:gd name="T58" fmla="*/ 290 w 353"/>
                <a:gd name="T59" fmla="*/ 261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3" h="400">
                  <a:moveTo>
                    <a:pt x="339" y="213"/>
                  </a:moveTo>
                  <a:lnTo>
                    <a:pt x="235" y="33"/>
                  </a:lnTo>
                  <a:cubicBezTo>
                    <a:pt x="223" y="13"/>
                    <a:pt x="201" y="0"/>
                    <a:pt x="177" y="0"/>
                  </a:cubicBezTo>
                  <a:cubicBezTo>
                    <a:pt x="153" y="0"/>
                    <a:pt x="131" y="13"/>
                    <a:pt x="119" y="33"/>
                  </a:cubicBezTo>
                  <a:lnTo>
                    <a:pt x="12" y="219"/>
                  </a:lnTo>
                  <a:cubicBezTo>
                    <a:pt x="0" y="240"/>
                    <a:pt x="0" y="265"/>
                    <a:pt x="12" y="286"/>
                  </a:cubicBezTo>
                  <a:cubicBezTo>
                    <a:pt x="24" y="307"/>
                    <a:pt x="46" y="319"/>
                    <a:pt x="70" y="319"/>
                  </a:cubicBezTo>
                  <a:lnTo>
                    <a:pt x="147" y="319"/>
                  </a:lnTo>
                  <a:lnTo>
                    <a:pt x="147" y="399"/>
                  </a:lnTo>
                  <a:lnTo>
                    <a:pt x="208" y="399"/>
                  </a:lnTo>
                  <a:lnTo>
                    <a:pt x="208" y="319"/>
                  </a:lnTo>
                  <a:lnTo>
                    <a:pt x="285" y="319"/>
                  </a:lnTo>
                  <a:lnTo>
                    <a:pt x="285" y="319"/>
                  </a:lnTo>
                  <a:cubicBezTo>
                    <a:pt x="322" y="319"/>
                    <a:pt x="352" y="289"/>
                    <a:pt x="352" y="253"/>
                  </a:cubicBezTo>
                  <a:cubicBezTo>
                    <a:pt x="352" y="238"/>
                    <a:pt x="347" y="224"/>
                    <a:pt x="339" y="213"/>
                  </a:cubicBezTo>
                  <a:close/>
                  <a:moveTo>
                    <a:pt x="138" y="261"/>
                  </a:moveTo>
                  <a:lnTo>
                    <a:pt x="65" y="261"/>
                  </a:lnTo>
                  <a:lnTo>
                    <a:pt x="65" y="232"/>
                  </a:lnTo>
                  <a:lnTo>
                    <a:pt x="138" y="232"/>
                  </a:lnTo>
                  <a:lnTo>
                    <a:pt x="138" y="261"/>
                  </a:lnTo>
                  <a:close/>
                  <a:moveTo>
                    <a:pt x="163" y="65"/>
                  </a:moveTo>
                  <a:lnTo>
                    <a:pt x="192" y="65"/>
                  </a:lnTo>
                  <a:lnTo>
                    <a:pt x="192" y="138"/>
                  </a:lnTo>
                  <a:lnTo>
                    <a:pt x="163" y="138"/>
                  </a:lnTo>
                  <a:lnTo>
                    <a:pt x="163" y="65"/>
                  </a:lnTo>
                  <a:close/>
                  <a:moveTo>
                    <a:pt x="290" y="261"/>
                  </a:moveTo>
                  <a:lnTo>
                    <a:pt x="217" y="261"/>
                  </a:lnTo>
                  <a:lnTo>
                    <a:pt x="217" y="232"/>
                  </a:lnTo>
                  <a:lnTo>
                    <a:pt x="290" y="232"/>
                  </a:lnTo>
                  <a:lnTo>
                    <a:pt x="290" y="261"/>
                  </a:lnTo>
                  <a:close/>
                </a:path>
              </a:pathLst>
            </a:custGeom>
            <a:solidFill>
              <a:srgbClr val="5C638A"/>
            </a:solidFill>
            <a:ln>
              <a:noFill/>
            </a:ln>
            <a:effectLst/>
          </p:spPr>
          <p:txBody>
            <a:bodyPr wrap="none" anchor="ctr"/>
            <a:lstStyle/>
            <a:p>
              <a:pPr>
                <a:buNone/>
              </a:pPr>
              <a:endParaRPr lang="ru-RU">
                <a:latin typeface="Arial"/>
                <a:cs typeface="Arial"/>
              </a:endParaRPr>
            </a:p>
          </p:txBody>
        </p:sp>
      </p:grpSp>
      <p:grpSp>
        <p:nvGrpSpPr>
          <p:cNvPr id="369" name="Group 368"/>
          <p:cNvGrpSpPr/>
          <p:nvPr/>
        </p:nvGrpSpPr>
        <p:grpSpPr>
          <a:xfrm>
            <a:off x="6116639" y="3611562"/>
            <a:ext cx="746125" cy="215900"/>
            <a:chOff x="4592638" y="3611562"/>
            <a:chExt cx="746125" cy="215900"/>
          </a:xfrm>
        </p:grpSpPr>
        <p:sp>
          <p:nvSpPr>
            <p:cNvPr id="370" name="Freeform 13"/>
            <p:cNvSpPr>
              <a:spLocks noChangeArrowheads="1"/>
            </p:cNvSpPr>
            <p:nvPr/>
          </p:nvSpPr>
          <p:spPr bwMode="auto">
            <a:xfrm>
              <a:off x="4592638" y="3611562"/>
              <a:ext cx="746125" cy="215900"/>
            </a:xfrm>
            <a:custGeom>
              <a:avLst/>
              <a:gdLst>
                <a:gd name="T0" fmla="*/ 1770 w 2071"/>
                <a:gd name="T1" fmla="*/ 0 h 600"/>
                <a:gd name="T2" fmla="*/ 300 w 2071"/>
                <a:gd name="T3" fmla="*/ 0 h 600"/>
                <a:gd name="T4" fmla="*/ 300 w 2071"/>
                <a:gd name="T5" fmla="*/ 0 h 600"/>
                <a:gd name="T6" fmla="*/ 0 w 2071"/>
                <a:gd name="T7" fmla="*/ 299 h 600"/>
                <a:gd name="T8" fmla="*/ 300 w 2071"/>
                <a:gd name="T9" fmla="*/ 599 h 600"/>
                <a:gd name="T10" fmla="*/ 300 w 2071"/>
                <a:gd name="T11" fmla="*/ 599 h 600"/>
                <a:gd name="T12" fmla="*/ 1770 w 2071"/>
                <a:gd name="T13" fmla="*/ 599 h 600"/>
                <a:gd name="T14" fmla="*/ 2070 w 2071"/>
                <a:gd name="T15" fmla="*/ 299 h 600"/>
                <a:gd name="T16" fmla="*/ 1770 w 2071"/>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1" h="600">
                  <a:moveTo>
                    <a:pt x="1770" y="0"/>
                  </a:moveTo>
                  <a:lnTo>
                    <a:pt x="300" y="0"/>
                  </a:lnTo>
                  <a:lnTo>
                    <a:pt x="300" y="0"/>
                  </a:lnTo>
                  <a:cubicBezTo>
                    <a:pt x="134" y="0"/>
                    <a:pt x="0" y="134"/>
                    <a:pt x="0" y="299"/>
                  </a:cubicBezTo>
                  <a:cubicBezTo>
                    <a:pt x="0" y="464"/>
                    <a:pt x="134" y="598"/>
                    <a:pt x="300" y="599"/>
                  </a:cubicBezTo>
                  <a:lnTo>
                    <a:pt x="300" y="599"/>
                  </a:lnTo>
                  <a:lnTo>
                    <a:pt x="1770" y="599"/>
                  </a:lnTo>
                  <a:cubicBezTo>
                    <a:pt x="1936" y="599"/>
                    <a:pt x="2070" y="464"/>
                    <a:pt x="2070" y="299"/>
                  </a:cubicBezTo>
                  <a:cubicBezTo>
                    <a:pt x="2070" y="134"/>
                    <a:pt x="1936" y="0"/>
                    <a:pt x="1770"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71" name="Text Box 14"/>
            <p:cNvSpPr txBox="1">
              <a:spLocks noChangeArrowheads="1"/>
            </p:cNvSpPr>
            <p:nvPr/>
          </p:nvSpPr>
          <p:spPr bwMode="auto">
            <a:xfrm>
              <a:off x="4783138" y="3629366"/>
              <a:ext cx="531812" cy="18380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lstStyle/>
            <a:p>
              <a:pPr algn="ctr">
                <a:lnSpc>
                  <a:spcPts val="700"/>
                </a:lnSpc>
              </a:pPr>
              <a:r>
                <a:rPr lang="en-US" sz="700" dirty="0">
                  <a:solidFill>
                    <a:schemeClr val="tx1">
                      <a:lumMod val="75000"/>
                      <a:lumOff val="25000"/>
                    </a:schemeClr>
                  </a:solidFill>
                  <a:latin typeface="Arial"/>
                  <a:ea typeface="'ArialMT'" pitchFamily="32" charset="0"/>
                  <a:cs typeface="Arial"/>
                </a:rPr>
                <a:t>Office Equipment</a:t>
              </a:r>
            </a:p>
          </p:txBody>
        </p:sp>
        <p:pic>
          <p:nvPicPr>
            <p:cNvPr id="372" name="Picture 2" descr="https://cdn.vectorstock.com/i/thumb-large/38/49/9153849.jpg"/>
            <p:cNvPicPr>
              <a:picLocks noChangeAspect="1" noChangeArrowheads="1"/>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33722" y="3622020"/>
              <a:ext cx="194451" cy="2042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3" name="Group 367"/>
          <p:cNvGrpSpPr/>
          <p:nvPr/>
        </p:nvGrpSpPr>
        <p:grpSpPr>
          <a:xfrm>
            <a:off x="5329239" y="3611562"/>
            <a:ext cx="746125" cy="215900"/>
            <a:chOff x="3805238" y="3611562"/>
            <a:chExt cx="746125" cy="215900"/>
          </a:xfrm>
        </p:grpSpPr>
        <p:sp>
          <p:nvSpPr>
            <p:cNvPr id="374" name="Freeform 16"/>
            <p:cNvSpPr>
              <a:spLocks noChangeArrowheads="1"/>
            </p:cNvSpPr>
            <p:nvPr/>
          </p:nvSpPr>
          <p:spPr bwMode="auto">
            <a:xfrm>
              <a:off x="3805238" y="3611562"/>
              <a:ext cx="746125" cy="215900"/>
            </a:xfrm>
            <a:custGeom>
              <a:avLst/>
              <a:gdLst>
                <a:gd name="T0" fmla="*/ 1770 w 2071"/>
                <a:gd name="T1" fmla="*/ 0 h 600"/>
                <a:gd name="T2" fmla="*/ 300 w 2071"/>
                <a:gd name="T3" fmla="*/ 0 h 600"/>
                <a:gd name="T4" fmla="*/ 300 w 2071"/>
                <a:gd name="T5" fmla="*/ 0 h 600"/>
                <a:gd name="T6" fmla="*/ 0 w 2071"/>
                <a:gd name="T7" fmla="*/ 299 h 600"/>
                <a:gd name="T8" fmla="*/ 300 w 2071"/>
                <a:gd name="T9" fmla="*/ 599 h 600"/>
                <a:gd name="T10" fmla="*/ 300 w 2071"/>
                <a:gd name="T11" fmla="*/ 599 h 600"/>
                <a:gd name="T12" fmla="*/ 1770 w 2071"/>
                <a:gd name="T13" fmla="*/ 599 h 600"/>
                <a:gd name="T14" fmla="*/ 2070 w 2071"/>
                <a:gd name="T15" fmla="*/ 299 h 600"/>
                <a:gd name="T16" fmla="*/ 1770 w 2071"/>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1" h="600">
                  <a:moveTo>
                    <a:pt x="1770" y="0"/>
                  </a:moveTo>
                  <a:lnTo>
                    <a:pt x="300" y="0"/>
                  </a:lnTo>
                  <a:lnTo>
                    <a:pt x="300" y="0"/>
                  </a:lnTo>
                  <a:cubicBezTo>
                    <a:pt x="134" y="0"/>
                    <a:pt x="0" y="134"/>
                    <a:pt x="0" y="299"/>
                  </a:cubicBezTo>
                  <a:cubicBezTo>
                    <a:pt x="0" y="464"/>
                    <a:pt x="134" y="598"/>
                    <a:pt x="300" y="599"/>
                  </a:cubicBezTo>
                  <a:lnTo>
                    <a:pt x="300" y="599"/>
                  </a:lnTo>
                  <a:lnTo>
                    <a:pt x="1770" y="599"/>
                  </a:lnTo>
                  <a:cubicBezTo>
                    <a:pt x="1936" y="599"/>
                    <a:pt x="2070" y="464"/>
                    <a:pt x="2070" y="299"/>
                  </a:cubicBezTo>
                  <a:cubicBezTo>
                    <a:pt x="2070" y="134"/>
                    <a:pt x="1936" y="0"/>
                    <a:pt x="1770"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75" name="Text Box 17"/>
            <p:cNvSpPr txBox="1">
              <a:spLocks noChangeArrowheads="1"/>
            </p:cNvSpPr>
            <p:nvPr/>
          </p:nvSpPr>
          <p:spPr bwMode="auto">
            <a:xfrm>
              <a:off x="4037013" y="3635295"/>
              <a:ext cx="447675" cy="1683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lstStyle/>
            <a:p>
              <a:pPr algn="ctr">
                <a:lnSpc>
                  <a:spcPts val="700"/>
                </a:lnSpc>
              </a:pPr>
              <a:r>
                <a:rPr lang="en-US" sz="700" dirty="0">
                  <a:solidFill>
                    <a:schemeClr val="tx1">
                      <a:lumMod val="75000"/>
                      <a:lumOff val="25000"/>
                    </a:schemeClr>
                  </a:solidFill>
                  <a:latin typeface="Arial"/>
                  <a:ea typeface="'ArialMT'" pitchFamily="32" charset="0"/>
                  <a:cs typeface="Arial"/>
                </a:rPr>
                <a:t>Household</a:t>
              </a:r>
            </a:p>
            <a:p>
              <a:pPr algn="ctr">
                <a:lnSpc>
                  <a:spcPts val="700"/>
                </a:lnSpc>
              </a:pPr>
              <a:r>
                <a:rPr lang="en-US" sz="700" dirty="0">
                  <a:solidFill>
                    <a:schemeClr val="tx1">
                      <a:lumMod val="75000"/>
                      <a:lumOff val="25000"/>
                    </a:schemeClr>
                  </a:solidFill>
                  <a:latin typeface="Arial"/>
                  <a:ea typeface="'ArialMT'" pitchFamily="32" charset="0"/>
                  <a:cs typeface="Arial"/>
                </a:rPr>
                <a:t>Appliance</a:t>
              </a:r>
            </a:p>
          </p:txBody>
        </p:sp>
        <p:pic>
          <p:nvPicPr>
            <p:cNvPr id="376" name="Picture 5" descr="http://www.myiconfinder.com/uploads/iconsets/128-128-a4d5a168c897f360c9b53e9a94449869.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54445" y="3623889"/>
              <a:ext cx="183466" cy="183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7" name="Group 365"/>
          <p:cNvGrpSpPr/>
          <p:nvPr/>
        </p:nvGrpSpPr>
        <p:grpSpPr>
          <a:xfrm>
            <a:off x="6305551" y="4127500"/>
            <a:ext cx="544701" cy="215900"/>
            <a:chOff x="4781550" y="4127500"/>
            <a:chExt cx="544701" cy="215900"/>
          </a:xfrm>
        </p:grpSpPr>
        <p:sp>
          <p:nvSpPr>
            <p:cNvPr id="378" name="Freeform 9"/>
            <p:cNvSpPr>
              <a:spLocks noChangeArrowheads="1"/>
            </p:cNvSpPr>
            <p:nvPr/>
          </p:nvSpPr>
          <p:spPr bwMode="auto">
            <a:xfrm>
              <a:off x="4781550" y="4127500"/>
              <a:ext cx="544701" cy="215900"/>
            </a:xfrm>
            <a:custGeom>
              <a:avLst/>
              <a:gdLst>
                <a:gd name="T0" fmla="*/ 1065 w 1366"/>
                <a:gd name="T1" fmla="*/ 0 h 600"/>
                <a:gd name="T2" fmla="*/ 299 w 1366"/>
                <a:gd name="T3" fmla="*/ 0 h 600"/>
                <a:gd name="T4" fmla="*/ 299 w 1366"/>
                <a:gd name="T5" fmla="*/ 0 h 600"/>
                <a:gd name="T6" fmla="*/ 0 w 1366"/>
                <a:gd name="T7" fmla="*/ 300 h 600"/>
                <a:gd name="T8" fmla="*/ 299 w 1366"/>
                <a:gd name="T9" fmla="*/ 599 h 600"/>
                <a:gd name="T10" fmla="*/ 299 w 1366"/>
                <a:gd name="T11" fmla="*/ 599 h 600"/>
                <a:gd name="T12" fmla="*/ 1065 w 1366"/>
                <a:gd name="T13" fmla="*/ 599 h 600"/>
                <a:gd name="T14" fmla="*/ 1365 w 1366"/>
                <a:gd name="T15" fmla="*/ 300 h 600"/>
                <a:gd name="T16" fmla="*/ 1065 w 1366"/>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6" h="600">
                  <a:moveTo>
                    <a:pt x="1065" y="0"/>
                  </a:moveTo>
                  <a:lnTo>
                    <a:pt x="299" y="0"/>
                  </a:lnTo>
                  <a:lnTo>
                    <a:pt x="299" y="0"/>
                  </a:lnTo>
                  <a:cubicBezTo>
                    <a:pt x="134" y="0"/>
                    <a:pt x="0" y="134"/>
                    <a:pt x="0" y="300"/>
                  </a:cubicBezTo>
                  <a:cubicBezTo>
                    <a:pt x="0" y="465"/>
                    <a:pt x="134" y="599"/>
                    <a:pt x="299" y="599"/>
                  </a:cubicBezTo>
                  <a:lnTo>
                    <a:pt x="299" y="599"/>
                  </a:lnTo>
                  <a:lnTo>
                    <a:pt x="1065" y="599"/>
                  </a:lnTo>
                  <a:cubicBezTo>
                    <a:pt x="1231" y="599"/>
                    <a:pt x="1365" y="465"/>
                    <a:pt x="1365" y="300"/>
                  </a:cubicBezTo>
                  <a:cubicBezTo>
                    <a:pt x="1365" y="134"/>
                    <a:pt x="1231" y="0"/>
                    <a:pt x="1065" y="0"/>
                  </a:cubicBezTo>
                </a:path>
              </a:pathLst>
            </a:custGeom>
            <a:solidFill>
              <a:srgbClr val="E0DCD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lnSpc>
                  <a:spcPts val="700"/>
                </a:lnSpc>
              </a:pPr>
              <a:endParaRPr lang="ru-RU">
                <a:latin typeface="Arial"/>
                <a:cs typeface="Arial"/>
              </a:endParaRPr>
            </a:p>
          </p:txBody>
        </p:sp>
        <p:sp>
          <p:nvSpPr>
            <p:cNvPr id="379" name="Text Box 10"/>
            <p:cNvSpPr txBox="1">
              <a:spLocks noChangeArrowheads="1"/>
            </p:cNvSpPr>
            <p:nvPr/>
          </p:nvSpPr>
          <p:spPr bwMode="auto">
            <a:xfrm>
              <a:off x="5012598" y="4135440"/>
              <a:ext cx="274637" cy="206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6173" rIns="0" bIns="0" anchor="ctr"/>
            <a:lstStyle/>
            <a:p>
              <a:pPr algn="ctr">
                <a:lnSpc>
                  <a:spcPts val="700"/>
                </a:lnSpc>
              </a:pPr>
              <a:r>
                <a:rPr lang="en-US" sz="700" dirty="0">
                  <a:solidFill>
                    <a:schemeClr val="tx1">
                      <a:lumMod val="75000"/>
                      <a:lumOff val="25000"/>
                    </a:schemeClr>
                  </a:solidFill>
                  <a:latin typeface="Arial"/>
                  <a:ea typeface="'ArialMT'" pitchFamily="32" charset="0"/>
                  <a:cs typeface="Arial"/>
                </a:rPr>
                <a:t>Power Tools</a:t>
              </a:r>
            </a:p>
          </p:txBody>
        </p:sp>
        <p:pic>
          <p:nvPicPr>
            <p:cNvPr id="380" name="Picture 7" descr="http://simpleicon.com/wp-content/uploads/drill.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07463" y="4138047"/>
              <a:ext cx="202728" cy="202728"/>
            </a:xfrm>
            <a:prstGeom prst="rect">
              <a:avLst/>
            </a:prstGeom>
            <a:noFill/>
            <a:extLst>
              <a:ext uri="{909E8E84-426E-40DD-AFC4-6F175D3DCCD1}">
                <a14:hiddenFill xmlns:a14="http://schemas.microsoft.com/office/drawing/2010/main">
                  <a:solidFill>
                    <a:srgbClr val="FFFFFF"/>
                  </a:solidFill>
                </a14:hiddenFill>
              </a:ext>
            </a:extLst>
          </p:spPr>
        </p:pic>
      </p:grpSp>
      <p:sp>
        <p:nvSpPr>
          <p:cNvPr id="381" name="Text Box 6"/>
          <p:cNvSpPr txBox="1">
            <a:spLocks noChangeArrowheads="1"/>
          </p:cNvSpPr>
          <p:nvPr/>
        </p:nvSpPr>
        <p:spPr bwMode="auto">
          <a:xfrm>
            <a:off x="3991788" y="1405490"/>
            <a:ext cx="859414" cy="233444"/>
          </a:xfrm>
          <a:prstGeom prst="rect">
            <a:avLst/>
          </a:prstGeom>
          <a:noFill/>
          <a:ln w="9525">
            <a:noFill/>
            <a:round/>
            <a:headEnd/>
            <a:tailEnd/>
          </a:ln>
        </p:spPr>
        <p:txBody>
          <a:bodyPr wrap="none" lIns="0" tIns="15876" rIns="0" bIns="0">
            <a:prstTxWarp prst="textNoShape">
              <a:avLst/>
            </a:prstTxWarp>
          </a:bodyPr>
          <a:lstStyle/>
          <a:p>
            <a:pPr algn="ctr" hangingPunct="0">
              <a:lnSpc>
                <a:spcPct val="93000"/>
              </a:lnSpc>
              <a:buClr>
                <a:srgbClr val="000000"/>
              </a:buClr>
              <a:buSzPct val="100000"/>
              <a:tabLst>
                <a:tab pos="723900" algn="l"/>
              </a:tabLst>
            </a:pPr>
            <a:r>
              <a:rPr lang="zh-TW" altLang="en-US" b="1" dirty="0">
                <a:solidFill>
                  <a:srgbClr val="C9314B"/>
                </a:solidFill>
                <a:latin typeface="微軟正黑體" panose="020B0604030504040204" pitchFamily="34" charset="-120"/>
                <a:ea typeface="微軟正黑體" panose="020B0604030504040204" pitchFamily="34" charset="-120"/>
                <a:cs typeface="Arial"/>
              </a:rPr>
              <a:t>零售業</a:t>
            </a:r>
            <a:endParaRPr lang="en-US" b="1" dirty="0">
              <a:solidFill>
                <a:srgbClr val="C9314B"/>
              </a:solidFill>
              <a:latin typeface="微軟正黑體" panose="020B0604030504040204" pitchFamily="34" charset="-120"/>
              <a:ea typeface="微軟正黑體" panose="020B0604030504040204" pitchFamily="34" charset="-120"/>
              <a:cs typeface="Arial"/>
            </a:endParaRPr>
          </a:p>
        </p:txBody>
      </p:sp>
      <p:sp>
        <p:nvSpPr>
          <p:cNvPr id="382" name="Text Box 7"/>
          <p:cNvSpPr txBox="1">
            <a:spLocks noChangeArrowheads="1"/>
          </p:cNvSpPr>
          <p:nvPr/>
        </p:nvSpPr>
        <p:spPr bwMode="auto">
          <a:xfrm>
            <a:off x="6972116" y="1422162"/>
            <a:ext cx="1470778" cy="233444"/>
          </a:xfrm>
          <a:prstGeom prst="rect">
            <a:avLst/>
          </a:prstGeom>
          <a:noFill/>
          <a:ln w="9525">
            <a:noFill/>
            <a:round/>
            <a:headEnd/>
            <a:tailEnd/>
          </a:ln>
        </p:spPr>
        <p:txBody>
          <a:bodyPr wrap="none" lIns="0" tIns="15876" rIns="0" bIns="0">
            <a:prstTxWarp prst="textNoShape">
              <a:avLst/>
            </a:prstTxWarp>
          </a:bodyPr>
          <a:lstStyle/>
          <a:p>
            <a:pPr algn="ctr" hangingPunct="0">
              <a:lnSpc>
                <a:spcPct val="93000"/>
              </a:lnSpc>
              <a:buClr>
                <a:srgbClr val="000000"/>
              </a:buClr>
              <a:buSzPct val="100000"/>
              <a:tabLst>
                <a:tab pos="723900" algn="l"/>
                <a:tab pos="1447800" algn="l"/>
              </a:tabLst>
            </a:pPr>
            <a:r>
              <a:rPr lang="zh-TW" altLang="en-US" sz="1600" b="1" dirty="0">
                <a:solidFill>
                  <a:srgbClr val="5C8B76"/>
                </a:solidFill>
                <a:latin typeface="微軟正黑體" panose="020B0604030504040204" pitchFamily="34" charset="-120"/>
                <a:ea typeface="微軟正黑體" panose="020B0604030504040204" pitchFamily="34" charset="-120"/>
                <a:cs typeface="Arial"/>
              </a:rPr>
              <a:t>科技</a:t>
            </a:r>
            <a:r>
              <a:rPr lang="zh-TW" altLang="en-US" b="1" dirty="0">
                <a:solidFill>
                  <a:srgbClr val="5C8B76"/>
                </a:solidFill>
                <a:latin typeface="微軟正黑體" panose="020B0604030504040204" pitchFamily="34" charset="-120"/>
                <a:ea typeface="微軟正黑體" panose="020B0604030504040204" pitchFamily="34" charset="-120"/>
                <a:cs typeface="Arial"/>
              </a:rPr>
              <a:t>產</a:t>
            </a:r>
            <a:r>
              <a:rPr lang="zh-TW" altLang="en-US" sz="1600" b="1" dirty="0">
                <a:solidFill>
                  <a:srgbClr val="5C8B76"/>
                </a:solidFill>
                <a:latin typeface="微軟正黑體" panose="020B0604030504040204" pitchFamily="34" charset="-120"/>
                <a:ea typeface="微軟正黑體" panose="020B0604030504040204" pitchFamily="34" charset="-120"/>
                <a:cs typeface="Arial"/>
              </a:rPr>
              <a:t>業</a:t>
            </a:r>
            <a:endParaRPr lang="en-US" sz="1600" b="1" dirty="0">
              <a:solidFill>
                <a:srgbClr val="5C8B76"/>
              </a:solidFill>
              <a:latin typeface="微軟正黑體" panose="020B0604030504040204" pitchFamily="34" charset="-120"/>
              <a:ea typeface="微軟正黑體" panose="020B0604030504040204" pitchFamily="34" charset="-120"/>
              <a:cs typeface="Arial"/>
            </a:endParaRPr>
          </a:p>
        </p:txBody>
      </p:sp>
      <p:sp>
        <p:nvSpPr>
          <p:cNvPr id="383" name="Text Box 67"/>
          <p:cNvSpPr txBox="1">
            <a:spLocks noChangeArrowheads="1"/>
          </p:cNvSpPr>
          <p:nvPr/>
        </p:nvSpPr>
        <p:spPr bwMode="auto">
          <a:xfrm>
            <a:off x="5580887" y="1788278"/>
            <a:ext cx="912780" cy="355284"/>
          </a:xfrm>
          <a:prstGeom prst="rect">
            <a:avLst/>
          </a:prstGeom>
          <a:noFill/>
          <a:ln w="9525">
            <a:noFill/>
            <a:round/>
            <a:headEnd/>
            <a:tailEnd/>
          </a:ln>
        </p:spPr>
        <p:txBody>
          <a:bodyPr wrap="none" lIns="0" tIns="10584" rIns="0" bIns="0" anchor="ctr">
            <a:prstTxWarp prst="textNoShape">
              <a:avLst/>
            </a:prstTxWarp>
          </a:bodyPr>
          <a:lstStyle/>
          <a:p>
            <a:pPr algn="ctr" hangingPunct="0">
              <a:lnSpc>
                <a:spcPct val="93000"/>
              </a:lnSpc>
              <a:buClr>
                <a:srgbClr val="000000"/>
              </a:buClr>
              <a:buSzPct val="100000"/>
              <a:tabLst>
                <a:tab pos="723900" algn="l"/>
              </a:tabLst>
            </a:pPr>
            <a:r>
              <a:rPr lang="zh-TW" altLang="en-US" b="1" dirty="0">
                <a:solidFill>
                  <a:schemeClr val="tx1">
                    <a:lumMod val="65000"/>
                    <a:lumOff val="35000"/>
                  </a:schemeClr>
                </a:solidFill>
                <a:latin typeface="微軟正黑體" panose="020B0604030504040204" pitchFamily="34" charset="-120"/>
                <a:ea typeface="微軟正黑體" panose="020B0604030504040204" pitchFamily="34" charset="-120"/>
                <a:cs typeface="Arial"/>
              </a:rPr>
              <a:t>電子電機產品</a:t>
            </a:r>
            <a:endParaRPr lang="en-US" b="1" dirty="0">
              <a:solidFill>
                <a:schemeClr val="tx1">
                  <a:lumMod val="65000"/>
                  <a:lumOff val="35000"/>
                </a:schemeClr>
              </a:solidFill>
              <a:latin typeface="微軟正黑體" panose="020B0604030504040204" pitchFamily="34" charset="-120"/>
              <a:ea typeface="微軟正黑體" panose="020B0604030504040204" pitchFamily="34" charset="-120"/>
              <a:cs typeface="Arial"/>
            </a:endParaRPr>
          </a:p>
        </p:txBody>
      </p:sp>
      <p:sp>
        <p:nvSpPr>
          <p:cNvPr id="384" name="Text Box 28"/>
          <p:cNvSpPr txBox="1">
            <a:spLocks noChangeArrowheads="1"/>
          </p:cNvSpPr>
          <p:nvPr/>
        </p:nvSpPr>
        <p:spPr bwMode="auto">
          <a:xfrm>
            <a:off x="2817602" y="1958166"/>
            <a:ext cx="590938"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zh-TW" altLang="en-US" sz="1100" b="1" dirty="0">
                <a:solidFill>
                  <a:srgbClr val="C9314B"/>
                </a:solidFill>
                <a:latin typeface="微軟正黑體" panose="020B0604030504040204" pitchFamily="34" charset="-120"/>
                <a:ea typeface="微軟正黑體" panose="020B0604030504040204" pitchFamily="34" charset="-120"/>
                <a:cs typeface="Arial"/>
              </a:rPr>
              <a:t>雜貨類產品</a:t>
            </a:r>
            <a:endParaRPr lang="en-US" sz="1100" b="1" dirty="0">
              <a:solidFill>
                <a:srgbClr val="C9314B"/>
              </a:solidFill>
              <a:latin typeface="微軟正黑體" panose="020B0604030504040204" pitchFamily="34" charset="-120"/>
              <a:ea typeface="微軟正黑體" panose="020B0604030504040204" pitchFamily="34" charset="-120"/>
              <a:cs typeface="Arial"/>
            </a:endParaRPr>
          </a:p>
        </p:txBody>
      </p:sp>
      <p:sp>
        <p:nvSpPr>
          <p:cNvPr id="385" name="Text Box 29"/>
          <p:cNvSpPr txBox="1">
            <a:spLocks noChangeArrowheads="1"/>
          </p:cNvSpPr>
          <p:nvPr/>
        </p:nvSpPr>
        <p:spPr bwMode="auto">
          <a:xfrm>
            <a:off x="4169069" y="1958165"/>
            <a:ext cx="535491"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zh-TW" altLang="en-US" sz="1100" b="1" dirty="0">
                <a:solidFill>
                  <a:srgbClr val="C9314B"/>
                </a:solidFill>
                <a:latin typeface="微軟正黑體" panose="020B0604030504040204" pitchFamily="34" charset="-120"/>
                <a:ea typeface="微軟正黑體" panose="020B0604030504040204" pitchFamily="34" charset="-120"/>
                <a:cs typeface="Arial"/>
              </a:rPr>
              <a:t>紡織類產品</a:t>
            </a:r>
            <a:endParaRPr lang="en-US" sz="1100" b="1" dirty="0">
              <a:solidFill>
                <a:srgbClr val="C9314B"/>
              </a:solidFill>
              <a:latin typeface="微軟正黑體" panose="020B0604030504040204" pitchFamily="34" charset="-120"/>
              <a:ea typeface="微軟正黑體" panose="020B0604030504040204" pitchFamily="34" charset="-120"/>
              <a:cs typeface="Arial"/>
            </a:endParaRPr>
          </a:p>
        </p:txBody>
      </p:sp>
      <p:sp>
        <p:nvSpPr>
          <p:cNvPr id="386" name="Text Box 32"/>
          <p:cNvSpPr txBox="1">
            <a:spLocks noChangeArrowheads="1"/>
          </p:cNvSpPr>
          <p:nvPr/>
        </p:nvSpPr>
        <p:spPr bwMode="auto">
          <a:xfrm>
            <a:off x="2632223" y="3963987"/>
            <a:ext cx="941124" cy="307856"/>
          </a:xfrm>
          <a:prstGeom prst="rect">
            <a:avLst/>
          </a:prstGeom>
          <a:noFill/>
          <a:ln w="9525">
            <a:noFill/>
            <a:round/>
            <a:headEnd/>
            <a:tailEnd/>
          </a:ln>
        </p:spPr>
        <p:txBody>
          <a:bodyPr wrap="none" lIns="0" tIns="10584" rIns="0" bIns="0" anchor="ctr">
            <a:prstTxWarp prst="textNoShape">
              <a:avLst/>
            </a:prstTxWarp>
          </a:bodyPr>
          <a:lstStyle/>
          <a:p>
            <a:pPr algn="ctr" hangingPunct="0">
              <a:lnSpc>
                <a:spcPct val="93000"/>
              </a:lnSpc>
              <a:buClr>
                <a:srgbClr val="000000"/>
              </a:buClr>
              <a:buSzPct val="100000"/>
              <a:tabLst>
                <a:tab pos="723900" algn="l"/>
              </a:tabLst>
            </a:pPr>
            <a:r>
              <a:rPr lang="zh-TW" altLang="en-US" sz="1100" b="1" dirty="0">
                <a:solidFill>
                  <a:srgbClr val="C9314B"/>
                </a:solidFill>
                <a:latin typeface="微軟正黑體" panose="020B0604030504040204" pitchFamily="34" charset="-120"/>
                <a:ea typeface="微軟正黑體" panose="020B0604030504040204" pitchFamily="34" charset="-120"/>
                <a:cs typeface="Arial"/>
              </a:rPr>
              <a:t>玩具及青少年產品</a:t>
            </a:r>
            <a:endParaRPr lang="en-US" sz="1100" b="1" dirty="0">
              <a:solidFill>
                <a:srgbClr val="C9314B"/>
              </a:solidFill>
              <a:latin typeface="微軟正黑體" panose="020B0604030504040204" pitchFamily="34" charset="-120"/>
              <a:ea typeface="微軟正黑體" panose="020B0604030504040204" pitchFamily="34" charset="-120"/>
              <a:cs typeface="Arial"/>
            </a:endParaRPr>
          </a:p>
        </p:txBody>
      </p:sp>
      <p:sp>
        <p:nvSpPr>
          <p:cNvPr id="387" name="Text Box 52"/>
          <p:cNvSpPr txBox="1">
            <a:spLocks noChangeArrowheads="1"/>
          </p:cNvSpPr>
          <p:nvPr/>
        </p:nvSpPr>
        <p:spPr bwMode="auto">
          <a:xfrm>
            <a:off x="3752278" y="4006489"/>
            <a:ext cx="1366972" cy="307856"/>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tabLst>
                <a:tab pos="723900" algn="l"/>
              </a:tabLst>
            </a:pPr>
            <a:r>
              <a:rPr lang="zh-TW" altLang="en-US" sz="1100" b="1" dirty="0">
                <a:solidFill>
                  <a:srgbClr val="C9314B"/>
                </a:solidFill>
                <a:latin typeface="微軟正黑體" panose="020B0604030504040204" pitchFamily="34" charset="-120"/>
                <a:ea typeface="微軟正黑體" panose="020B0604030504040204" pitchFamily="34" charset="-120"/>
                <a:cs typeface="Arial"/>
              </a:rPr>
              <a:t>健康、美容</a:t>
            </a:r>
            <a:br>
              <a:rPr lang="en-US" altLang="zh-TW" sz="1100" b="1" dirty="0">
                <a:solidFill>
                  <a:srgbClr val="C9314B"/>
                </a:solidFill>
                <a:latin typeface="微軟正黑體" panose="020B0604030504040204" pitchFamily="34" charset="-120"/>
                <a:ea typeface="微軟正黑體" panose="020B0604030504040204" pitchFamily="34" charset="-120"/>
                <a:cs typeface="Arial"/>
              </a:rPr>
            </a:br>
            <a:r>
              <a:rPr lang="zh-TW" altLang="en-US" sz="1100" b="1" dirty="0">
                <a:solidFill>
                  <a:srgbClr val="C9314B"/>
                </a:solidFill>
                <a:latin typeface="微軟正黑體" panose="020B0604030504040204" pitchFamily="34" charset="-120"/>
                <a:ea typeface="微軟正黑體" panose="020B0604030504040204" pitchFamily="34" charset="-120"/>
                <a:cs typeface="Arial"/>
              </a:rPr>
              <a:t>家庭用及食品</a:t>
            </a:r>
            <a:r>
              <a:rPr lang="en-US" sz="1100" b="1" dirty="0">
                <a:solidFill>
                  <a:srgbClr val="C9314B"/>
                </a:solidFill>
                <a:latin typeface="微軟正黑體" panose="020B0604030504040204" pitchFamily="34" charset="-120"/>
                <a:ea typeface="微軟正黑體" panose="020B0604030504040204" pitchFamily="34" charset="-120"/>
                <a:cs typeface="Arial"/>
              </a:rPr>
              <a:t> </a:t>
            </a:r>
          </a:p>
        </p:txBody>
      </p:sp>
      <p:sp>
        <p:nvSpPr>
          <p:cNvPr id="388" name="Text Box 74"/>
          <p:cNvSpPr txBox="1">
            <a:spLocks noChangeArrowheads="1"/>
          </p:cNvSpPr>
          <p:nvPr/>
        </p:nvSpPr>
        <p:spPr bwMode="auto">
          <a:xfrm>
            <a:off x="8189068" y="1958164"/>
            <a:ext cx="590937"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zh-TW" altLang="en-US" sz="1100" b="1" dirty="0">
                <a:solidFill>
                  <a:srgbClr val="5C8B76"/>
                </a:solidFill>
                <a:latin typeface="微軟正黑體" panose="020B0604030504040204" pitchFamily="34" charset="-120"/>
                <a:ea typeface="微軟正黑體" panose="020B0604030504040204" pitchFamily="34" charset="-120"/>
                <a:cs typeface="Arial"/>
              </a:rPr>
              <a:t>電信通訊</a:t>
            </a:r>
            <a:endParaRPr lang="en-US" sz="1100" b="1" dirty="0">
              <a:solidFill>
                <a:srgbClr val="5C8B76"/>
              </a:solidFill>
              <a:latin typeface="微軟正黑體" panose="020B0604030504040204" pitchFamily="34" charset="-120"/>
              <a:ea typeface="微軟正黑體" panose="020B0604030504040204" pitchFamily="34" charset="-120"/>
              <a:cs typeface="Arial"/>
            </a:endParaRPr>
          </a:p>
        </p:txBody>
      </p:sp>
      <p:sp>
        <p:nvSpPr>
          <p:cNvPr id="389" name="Text Box 71"/>
          <p:cNvSpPr txBox="1">
            <a:spLocks noChangeArrowheads="1"/>
          </p:cNvSpPr>
          <p:nvPr/>
        </p:nvSpPr>
        <p:spPr bwMode="auto">
          <a:xfrm>
            <a:off x="7478323" y="3940083"/>
            <a:ext cx="698912" cy="156115"/>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tabLst>
                <a:tab pos="723900" algn="l"/>
              </a:tabLst>
            </a:pPr>
            <a:r>
              <a:rPr lang="zh-TW" altLang="en-US" sz="1100" b="1" dirty="0">
                <a:solidFill>
                  <a:srgbClr val="5C8B76"/>
                </a:solidFill>
                <a:latin typeface="微軟正黑體" panose="020B0604030504040204" pitchFamily="34" charset="-120"/>
                <a:ea typeface="微軟正黑體" panose="020B0604030504040204" pitchFamily="34" charset="-120"/>
                <a:cs typeface="Arial"/>
              </a:rPr>
              <a:t>汽車產業</a:t>
            </a:r>
            <a:endParaRPr lang="en-US" sz="1100" b="1" dirty="0">
              <a:solidFill>
                <a:srgbClr val="5C8B76"/>
              </a:solidFill>
              <a:latin typeface="微軟正黑體" panose="020B0604030504040204" pitchFamily="34" charset="-120"/>
              <a:ea typeface="微軟正黑體" panose="020B0604030504040204" pitchFamily="34" charset="-120"/>
              <a:cs typeface="Arial"/>
            </a:endParaRPr>
          </a:p>
        </p:txBody>
      </p:sp>
      <p:sp>
        <p:nvSpPr>
          <p:cNvPr id="390" name="Text Box 74"/>
          <p:cNvSpPr txBox="1">
            <a:spLocks noChangeArrowheads="1"/>
          </p:cNvSpPr>
          <p:nvPr/>
        </p:nvSpPr>
        <p:spPr bwMode="auto">
          <a:xfrm>
            <a:off x="8751099" y="3956180"/>
            <a:ext cx="904440" cy="145186"/>
          </a:xfrm>
          <a:prstGeom prst="rect">
            <a:avLst/>
          </a:prstGeom>
          <a:noFill/>
          <a:ln w="9525">
            <a:noFill/>
            <a:round/>
            <a:headEnd/>
            <a:tailEnd/>
          </a:ln>
        </p:spPr>
        <p:txBody>
          <a:bodyPr wrap="none" lIns="0" tIns="10584" rIns="0" bIns="0">
            <a:prstTxWarp prst="textNoShape">
              <a:avLst/>
            </a:prstTxWarp>
          </a:bodyPr>
          <a:lstStyle/>
          <a:p>
            <a:pPr algn="ctr" hangingPunct="0">
              <a:lnSpc>
                <a:spcPct val="93000"/>
              </a:lnSpc>
              <a:buClr>
                <a:srgbClr val="000000"/>
              </a:buClr>
              <a:buSzPct val="100000"/>
              <a:buNone/>
            </a:pPr>
            <a:r>
              <a:rPr lang="zh-TW" altLang="en-US" sz="1100" b="1" dirty="0">
                <a:solidFill>
                  <a:srgbClr val="5C8B76"/>
                </a:solidFill>
                <a:latin typeface="微軟正黑體" panose="020B0604030504040204" pitchFamily="34" charset="-120"/>
                <a:ea typeface="微軟正黑體" panose="020B0604030504040204" pitchFamily="34" charset="-120"/>
                <a:cs typeface="Arial"/>
              </a:rPr>
              <a:t>醫療照護</a:t>
            </a:r>
            <a:endParaRPr lang="en-US" sz="1100" b="1" dirty="0">
              <a:solidFill>
                <a:srgbClr val="5C8B76"/>
              </a:solidFill>
              <a:latin typeface="微軟正黑體" panose="020B0604030504040204" pitchFamily="34" charset="-120"/>
              <a:ea typeface="微軟正黑體" panose="020B0604030504040204" pitchFamily="34" charset="-120"/>
              <a:cs typeface="Arial"/>
            </a:endParaRPr>
          </a:p>
        </p:txBody>
      </p:sp>
    </p:spTree>
    <p:extLst>
      <p:ext uri="{BB962C8B-B14F-4D97-AF65-F5344CB8AC3E}">
        <p14:creationId xmlns:p14="http://schemas.microsoft.com/office/powerpoint/2010/main" val="17043932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1</a:t>
            </a:fld>
            <a:endParaRPr lang="en-GB" dirty="0"/>
          </a:p>
        </p:txBody>
      </p:sp>
      <p:sp>
        <p:nvSpPr>
          <p:cNvPr id="4" name="標題 3"/>
          <p:cNvSpPr>
            <a:spLocks noGrp="1"/>
          </p:cNvSpPr>
          <p:nvPr>
            <p:ph type="title"/>
          </p:nvPr>
        </p:nvSpPr>
        <p:spPr/>
        <p:txBody>
          <a:bodyPr/>
          <a:lstStyle/>
          <a:p>
            <a:r>
              <a:rPr lang="en-US" altLang="zh-TW" dirty="0"/>
              <a:t>Delivered through a global network</a:t>
            </a:r>
            <a:r>
              <a:rPr lang="zh-TW" altLang="en-US" dirty="0"/>
              <a:t> </a:t>
            </a:r>
            <a:r>
              <a:rPr lang="en-US" altLang="zh-TW" dirty="0"/>
              <a:t>–</a:t>
            </a:r>
            <a:r>
              <a:rPr lang="zh-TW" altLang="en-US" dirty="0"/>
              <a:t> </a:t>
            </a:r>
            <a:r>
              <a:rPr lang="zh-TW" altLang="en-US" dirty="0">
                <a:latin typeface="微軟正黑體" panose="020B0604030504040204" pitchFamily="34" charset="-120"/>
              </a:rPr>
              <a:t>全球版圖</a:t>
            </a:r>
            <a:endParaRPr lang="zh-TW" altLang="en-US" dirty="0"/>
          </a:p>
        </p:txBody>
      </p:sp>
      <p:grpSp>
        <p:nvGrpSpPr>
          <p:cNvPr id="5" name="Group 7"/>
          <p:cNvGrpSpPr/>
          <p:nvPr/>
        </p:nvGrpSpPr>
        <p:grpSpPr>
          <a:xfrm>
            <a:off x="-568194" y="-297073"/>
            <a:ext cx="12165712" cy="6776788"/>
            <a:chOff x="-115888" y="206375"/>
            <a:chExt cx="9031288" cy="5030788"/>
          </a:xfrm>
        </p:grpSpPr>
        <p:sp>
          <p:nvSpPr>
            <p:cNvPr id="6" name="Freeform 1"/>
            <p:cNvSpPr>
              <a:spLocks noChangeArrowheads="1"/>
            </p:cNvSpPr>
            <p:nvPr/>
          </p:nvSpPr>
          <p:spPr bwMode="auto">
            <a:xfrm>
              <a:off x="1023938" y="2033588"/>
              <a:ext cx="1738312" cy="931862"/>
            </a:xfrm>
            <a:custGeom>
              <a:avLst/>
              <a:gdLst/>
              <a:ahLst/>
              <a:cxnLst>
                <a:cxn ang="0">
                  <a:pos x="3541" y="2425"/>
                </a:cxn>
                <a:cxn ang="0">
                  <a:pos x="3494" y="2331"/>
                </a:cxn>
                <a:cxn ang="0">
                  <a:pos x="3139" y="2086"/>
                </a:cxn>
                <a:cxn ang="0">
                  <a:pos x="3058" y="2099"/>
                </a:cxn>
                <a:cxn ang="0">
                  <a:pos x="2952" y="2113"/>
                </a:cxn>
                <a:cxn ang="0">
                  <a:pos x="2944" y="2226"/>
                </a:cxn>
                <a:cxn ang="0">
                  <a:pos x="2705" y="2170"/>
                </a:cxn>
                <a:cxn ang="0">
                  <a:pos x="2490" y="2157"/>
                </a:cxn>
                <a:cxn ang="0">
                  <a:pos x="2288" y="2337"/>
                </a:cxn>
                <a:cxn ang="0">
                  <a:pos x="2313" y="2516"/>
                </a:cxn>
                <a:cxn ang="0">
                  <a:pos x="2021" y="2283"/>
                </a:cxn>
                <a:cxn ang="0">
                  <a:pos x="1781" y="2229"/>
                </a:cxn>
                <a:cxn ang="0">
                  <a:pos x="1369" y="2002"/>
                </a:cxn>
                <a:cxn ang="0">
                  <a:pos x="532" y="1764"/>
                </a:cxn>
                <a:cxn ang="0">
                  <a:pos x="241" y="1445"/>
                </a:cxn>
                <a:cxn ang="0">
                  <a:pos x="203" y="1351"/>
                </a:cxn>
                <a:cxn ang="0">
                  <a:pos x="178" y="1337"/>
                </a:cxn>
                <a:cxn ang="0">
                  <a:pos x="55" y="955"/>
                </a:cxn>
                <a:cxn ang="0">
                  <a:pos x="58" y="385"/>
                </a:cxn>
                <a:cxn ang="0">
                  <a:pos x="67" y="341"/>
                </a:cxn>
                <a:cxn ang="0">
                  <a:pos x="8" y="130"/>
                </a:cxn>
                <a:cxn ang="0">
                  <a:pos x="153" y="246"/>
                </a:cxn>
                <a:cxn ang="0">
                  <a:pos x="152" y="58"/>
                </a:cxn>
                <a:cxn ang="0">
                  <a:pos x="2515" y="89"/>
                </a:cxn>
                <a:cxn ang="0">
                  <a:pos x="2790" y="283"/>
                </a:cxn>
                <a:cxn ang="0">
                  <a:pos x="2876" y="351"/>
                </a:cxn>
                <a:cxn ang="0">
                  <a:pos x="3061" y="317"/>
                </a:cxn>
                <a:cxn ang="0">
                  <a:pos x="3304" y="337"/>
                </a:cxn>
                <a:cxn ang="0">
                  <a:pos x="3398" y="432"/>
                </a:cxn>
                <a:cxn ang="0">
                  <a:pos x="3175" y="474"/>
                </a:cxn>
                <a:cxn ang="0">
                  <a:pos x="3073" y="585"/>
                </a:cxn>
                <a:cxn ang="0">
                  <a:pos x="3143" y="531"/>
                </a:cxn>
                <a:cxn ang="0">
                  <a:pos x="3203" y="819"/>
                </a:cxn>
                <a:cxn ang="0">
                  <a:pos x="3258" y="533"/>
                </a:cxn>
                <a:cxn ang="0">
                  <a:pos x="3313" y="461"/>
                </a:cxn>
                <a:cxn ang="0">
                  <a:pos x="3449" y="665"/>
                </a:cxn>
                <a:cxn ang="0">
                  <a:pos x="3512" y="825"/>
                </a:cxn>
                <a:cxn ang="0">
                  <a:pos x="3735" y="863"/>
                </a:cxn>
                <a:cxn ang="0">
                  <a:pos x="4049" y="712"/>
                </a:cxn>
                <a:cxn ang="0">
                  <a:pos x="4085" y="593"/>
                </a:cxn>
                <a:cxn ang="0">
                  <a:pos x="4614" y="251"/>
                </a:cxn>
                <a:cxn ang="0">
                  <a:pos x="4714" y="259"/>
                </a:cxn>
                <a:cxn ang="0">
                  <a:pos x="4818" y="520"/>
                </a:cxn>
                <a:cxn ang="0">
                  <a:pos x="4711" y="639"/>
                </a:cxn>
                <a:cxn ang="0">
                  <a:pos x="4544" y="917"/>
                </a:cxn>
                <a:cxn ang="0">
                  <a:pos x="4580" y="927"/>
                </a:cxn>
                <a:cxn ang="0">
                  <a:pos x="4228" y="1039"/>
                </a:cxn>
                <a:cxn ang="0">
                  <a:pos x="4163" y="1227"/>
                </a:cxn>
                <a:cxn ang="0">
                  <a:pos x="4080" y="1417"/>
                </a:cxn>
                <a:cxn ang="0">
                  <a:pos x="4045" y="1277"/>
                </a:cxn>
                <a:cxn ang="0">
                  <a:pos x="4025" y="1273"/>
                </a:cxn>
                <a:cxn ang="0">
                  <a:pos x="4049" y="1341"/>
                </a:cxn>
                <a:cxn ang="0">
                  <a:pos x="4076" y="1437"/>
                </a:cxn>
                <a:cxn ang="0">
                  <a:pos x="4029" y="1532"/>
                </a:cxn>
                <a:cxn ang="0">
                  <a:pos x="4075" y="1538"/>
                </a:cxn>
                <a:cxn ang="0">
                  <a:pos x="4059" y="1608"/>
                </a:cxn>
                <a:cxn ang="0">
                  <a:pos x="4022" y="1628"/>
                </a:cxn>
                <a:cxn ang="0">
                  <a:pos x="3827" y="1772"/>
                </a:cxn>
                <a:cxn ang="0">
                  <a:pos x="3601" y="2070"/>
                </a:cxn>
                <a:cxn ang="0">
                  <a:pos x="3630" y="2582"/>
                </a:cxn>
                <a:cxn ang="0">
                  <a:pos x="1049" y="950"/>
                </a:cxn>
                <a:cxn ang="0">
                  <a:pos x="995" y="956"/>
                </a:cxn>
              </a:cxnLst>
              <a:rect l="0" t="0" r="r" b="b"/>
              <a:pathLst>
                <a:path w="4827" h="2587">
                  <a:moveTo>
                    <a:pt x="3630" y="2582"/>
                  </a:moveTo>
                  <a:lnTo>
                    <a:pt x="3610" y="2525"/>
                  </a:lnTo>
                  <a:lnTo>
                    <a:pt x="3581" y="2509"/>
                  </a:lnTo>
                  <a:cubicBezTo>
                    <a:pt x="3580" y="2508"/>
                    <a:pt x="3580" y="2507"/>
                    <a:pt x="3579" y="2506"/>
                  </a:cubicBezTo>
                  <a:lnTo>
                    <a:pt x="3551" y="2422"/>
                  </a:lnTo>
                  <a:lnTo>
                    <a:pt x="3543" y="2424"/>
                  </a:lnTo>
                  <a:cubicBezTo>
                    <a:pt x="3542" y="2425"/>
                    <a:pt x="3542" y="2425"/>
                    <a:pt x="3541" y="2425"/>
                  </a:cubicBezTo>
                  <a:cubicBezTo>
                    <a:pt x="3540" y="2425"/>
                    <a:pt x="3539" y="2424"/>
                    <a:pt x="3538" y="2423"/>
                  </a:cubicBezTo>
                  <a:lnTo>
                    <a:pt x="3504" y="2376"/>
                  </a:lnTo>
                  <a:cubicBezTo>
                    <a:pt x="3503" y="2375"/>
                    <a:pt x="3503" y="2374"/>
                    <a:pt x="3503" y="2372"/>
                  </a:cubicBezTo>
                  <a:lnTo>
                    <a:pt x="3514" y="2333"/>
                  </a:lnTo>
                  <a:lnTo>
                    <a:pt x="3499" y="2336"/>
                  </a:lnTo>
                  <a:cubicBezTo>
                    <a:pt x="3498" y="2336"/>
                    <a:pt x="3497" y="2335"/>
                    <a:pt x="3496" y="2335"/>
                  </a:cubicBezTo>
                  <a:cubicBezTo>
                    <a:pt x="3495" y="2334"/>
                    <a:pt x="3494" y="2333"/>
                    <a:pt x="3494" y="2331"/>
                  </a:cubicBezTo>
                  <a:lnTo>
                    <a:pt x="3490" y="2206"/>
                  </a:lnTo>
                  <a:lnTo>
                    <a:pt x="3392" y="2121"/>
                  </a:lnTo>
                  <a:lnTo>
                    <a:pt x="3289" y="2158"/>
                  </a:lnTo>
                  <a:cubicBezTo>
                    <a:pt x="3288" y="2158"/>
                    <a:pt x="3288" y="2158"/>
                    <a:pt x="3287" y="2158"/>
                  </a:cubicBezTo>
                  <a:cubicBezTo>
                    <a:pt x="3286" y="2158"/>
                    <a:pt x="3285" y="2158"/>
                    <a:pt x="3284" y="2157"/>
                  </a:cubicBezTo>
                  <a:lnTo>
                    <a:pt x="3197" y="2082"/>
                  </a:lnTo>
                  <a:lnTo>
                    <a:pt x="3139" y="2086"/>
                  </a:lnTo>
                  <a:cubicBezTo>
                    <a:pt x="3138" y="2086"/>
                    <a:pt x="3137" y="2086"/>
                    <a:pt x="3136" y="2085"/>
                  </a:cubicBezTo>
                  <a:cubicBezTo>
                    <a:pt x="3135" y="2084"/>
                    <a:pt x="3134" y="2083"/>
                    <a:pt x="3134" y="2081"/>
                  </a:cubicBezTo>
                  <a:lnTo>
                    <a:pt x="3134" y="2080"/>
                  </a:lnTo>
                  <a:lnTo>
                    <a:pt x="3064" y="2103"/>
                  </a:lnTo>
                  <a:lnTo>
                    <a:pt x="3063" y="2103"/>
                  </a:lnTo>
                  <a:cubicBezTo>
                    <a:pt x="3062" y="2103"/>
                    <a:pt x="3061" y="2103"/>
                    <a:pt x="3060" y="2102"/>
                  </a:cubicBezTo>
                  <a:cubicBezTo>
                    <a:pt x="3059" y="2102"/>
                    <a:pt x="3058" y="2100"/>
                    <a:pt x="3058" y="2099"/>
                  </a:cubicBezTo>
                  <a:lnTo>
                    <a:pt x="3055" y="2057"/>
                  </a:lnTo>
                  <a:lnTo>
                    <a:pt x="3042" y="2092"/>
                  </a:lnTo>
                  <a:cubicBezTo>
                    <a:pt x="3041" y="2093"/>
                    <a:pt x="3039" y="2095"/>
                    <a:pt x="3037" y="2095"/>
                  </a:cubicBezTo>
                  <a:lnTo>
                    <a:pt x="2869" y="2099"/>
                  </a:lnTo>
                  <a:lnTo>
                    <a:pt x="2872" y="2115"/>
                  </a:lnTo>
                  <a:lnTo>
                    <a:pt x="2948" y="2111"/>
                  </a:lnTo>
                  <a:cubicBezTo>
                    <a:pt x="2950" y="2111"/>
                    <a:pt x="2951" y="2111"/>
                    <a:pt x="2952" y="2113"/>
                  </a:cubicBezTo>
                  <a:cubicBezTo>
                    <a:pt x="2953" y="2114"/>
                    <a:pt x="2953" y="2116"/>
                    <a:pt x="2952" y="2118"/>
                  </a:cubicBezTo>
                  <a:lnTo>
                    <a:pt x="2925" y="2165"/>
                  </a:lnTo>
                  <a:lnTo>
                    <a:pt x="2964" y="2205"/>
                  </a:lnTo>
                  <a:cubicBezTo>
                    <a:pt x="2965" y="2206"/>
                    <a:pt x="2966" y="2207"/>
                    <a:pt x="2966" y="2209"/>
                  </a:cubicBezTo>
                  <a:cubicBezTo>
                    <a:pt x="2966" y="2210"/>
                    <a:pt x="2965" y="2211"/>
                    <a:pt x="2964" y="2212"/>
                  </a:cubicBezTo>
                  <a:lnTo>
                    <a:pt x="2947" y="2225"/>
                  </a:lnTo>
                  <a:cubicBezTo>
                    <a:pt x="2946" y="2226"/>
                    <a:pt x="2945" y="2226"/>
                    <a:pt x="2944" y="2226"/>
                  </a:cubicBezTo>
                  <a:cubicBezTo>
                    <a:pt x="2943" y="2226"/>
                    <a:pt x="2942" y="2225"/>
                    <a:pt x="2941" y="2225"/>
                  </a:cubicBezTo>
                  <a:lnTo>
                    <a:pt x="2894" y="2186"/>
                  </a:lnTo>
                  <a:lnTo>
                    <a:pt x="2880" y="2207"/>
                  </a:lnTo>
                  <a:cubicBezTo>
                    <a:pt x="2879" y="2208"/>
                    <a:pt x="2878" y="2209"/>
                    <a:pt x="2876" y="2209"/>
                  </a:cubicBezTo>
                  <a:lnTo>
                    <a:pt x="2825" y="2209"/>
                  </a:lnTo>
                  <a:lnTo>
                    <a:pt x="2732" y="2155"/>
                  </a:lnTo>
                  <a:lnTo>
                    <a:pt x="2705" y="2170"/>
                  </a:lnTo>
                  <a:lnTo>
                    <a:pt x="2567" y="2154"/>
                  </a:lnTo>
                  <a:lnTo>
                    <a:pt x="2497" y="2183"/>
                  </a:lnTo>
                  <a:cubicBezTo>
                    <a:pt x="2496" y="2183"/>
                    <a:pt x="2496" y="2184"/>
                    <a:pt x="2495" y="2184"/>
                  </a:cubicBezTo>
                  <a:cubicBezTo>
                    <a:pt x="2494" y="2184"/>
                    <a:pt x="2492" y="2183"/>
                    <a:pt x="2491" y="2182"/>
                  </a:cubicBezTo>
                  <a:cubicBezTo>
                    <a:pt x="2490" y="2180"/>
                    <a:pt x="2490" y="2178"/>
                    <a:pt x="2491" y="2176"/>
                  </a:cubicBezTo>
                  <a:lnTo>
                    <a:pt x="2501" y="2163"/>
                  </a:lnTo>
                  <a:lnTo>
                    <a:pt x="2490" y="2157"/>
                  </a:lnTo>
                  <a:lnTo>
                    <a:pt x="2470" y="2235"/>
                  </a:lnTo>
                  <a:cubicBezTo>
                    <a:pt x="2470" y="2236"/>
                    <a:pt x="2468" y="2238"/>
                    <a:pt x="2467" y="2238"/>
                  </a:cubicBezTo>
                  <a:lnTo>
                    <a:pt x="2425" y="2255"/>
                  </a:lnTo>
                  <a:lnTo>
                    <a:pt x="2361" y="2255"/>
                  </a:lnTo>
                  <a:lnTo>
                    <a:pt x="2364" y="2280"/>
                  </a:lnTo>
                  <a:cubicBezTo>
                    <a:pt x="2364" y="2281"/>
                    <a:pt x="2364" y="2283"/>
                    <a:pt x="2362" y="2284"/>
                  </a:cubicBezTo>
                  <a:lnTo>
                    <a:pt x="2288" y="2337"/>
                  </a:lnTo>
                  <a:lnTo>
                    <a:pt x="2296" y="2385"/>
                  </a:lnTo>
                  <a:cubicBezTo>
                    <a:pt x="2297" y="2388"/>
                    <a:pt x="2295" y="2390"/>
                    <a:pt x="2293" y="2391"/>
                  </a:cubicBezTo>
                  <a:lnTo>
                    <a:pt x="2280" y="2393"/>
                  </a:lnTo>
                  <a:lnTo>
                    <a:pt x="2287" y="2400"/>
                  </a:lnTo>
                  <a:cubicBezTo>
                    <a:pt x="2287" y="2401"/>
                    <a:pt x="2288" y="2402"/>
                    <a:pt x="2288" y="2404"/>
                  </a:cubicBezTo>
                  <a:lnTo>
                    <a:pt x="2284" y="2437"/>
                  </a:lnTo>
                  <a:lnTo>
                    <a:pt x="2313" y="2516"/>
                  </a:lnTo>
                  <a:cubicBezTo>
                    <a:pt x="2314" y="2517"/>
                    <a:pt x="2313" y="2519"/>
                    <a:pt x="2312" y="2520"/>
                  </a:cubicBezTo>
                  <a:cubicBezTo>
                    <a:pt x="2311" y="2521"/>
                    <a:pt x="2310" y="2522"/>
                    <a:pt x="2309" y="2522"/>
                  </a:cubicBezTo>
                  <a:cubicBezTo>
                    <a:pt x="2308" y="2522"/>
                    <a:pt x="2308" y="2522"/>
                    <a:pt x="2307" y="2522"/>
                  </a:cubicBezTo>
                  <a:lnTo>
                    <a:pt x="2138" y="2467"/>
                  </a:lnTo>
                  <a:cubicBezTo>
                    <a:pt x="2137" y="2466"/>
                    <a:pt x="2135" y="2465"/>
                    <a:pt x="2135" y="2464"/>
                  </a:cubicBezTo>
                  <a:lnTo>
                    <a:pt x="2084" y="2354"/>
                  </a:lnTo>
                  <a:lnTo>
                    <a:pt x="2021" y="2283"/>
                  </a:lnTo>
                  <a:lnTo>
                    <a:pt x="1995" y="2210"/>
                  </a:lnTo>
                  <a:lnTo>
                    <a:pt x="1930" y="2146"/>
                  </a:lnTo>
                  <a:lnTo>
                    <a:pt x="1833" y="2154"/>
                  </a:lnTo>
                  <a:lnTo>
                    <a:pt x="1788" y="2228"/>
                  </a:lnTo>
                  <a:cubicBezTo>
                    <a:pt x="1787" y="2229"/>
                    <a:pt x="1786" y="2230"/>
                    <a:pt x="1784" y="2230"/>
                  </a:cubicBezTo>
                  <a:cubicBezTo>
                    <a:pt x="1784" y="2230"/>
                    <a:pt x="1784" y="2230"/>
                    <a:pt x="1783" y="2230"/>
                  </a:cubicBezTo>
                  <a:cubicBezTo>
                    <a:pt x="1783" y="2230"/>
                    <a:pt x="1782" y="2230"/>
                    <a:pt x="1781" y="2229"/>
                  </a:cubicBezTo>
                  <a:lnTo>
                    <a:pt x="1688" y="2170"/>
                  </a:lnTo>
                  <a:lnTo>
                    <a:pt x="1657" y="2122"/>
                  </a:lnTo>
                  <a:lnTo>
                    <a:pt x="1639" y="2066"/>
                  </a:lnTo>
                  <a:lnTo>
                    <a:pt x="1519" y="1959"/>
                  </a:lnTo>
                  <a:lnTo>
                    <a:pt x="1373" y="1959"/>
                  </a:lnTo>
                  <a:lnTo>
                    <a:pt x="1373" y="1997"/>
                  </a:lnTo>
                  <a:cubicBezTo>
                    <a:pt x="1373" y="1999"/>
                    <a:pt x="1371" y="2001"/>
                    <a:pt x="1369" y="2002"/>
                  </a:cubicBezTo>
                  <a:lnTo>
                    <a:pt x="1140" y="2010"/>
                  </a:lnTo>
                  <a:lnTo>
                    <a:pt x="824" y="1870"/>
                  </a:lnTo>
                  <a:lnTo>
                    <a:pt x="631" y="1887"/>
                  </a:lnTo>
                  <a:cubicBezTo>
                    <a:pt x="629" y="1887"/>
                    <a:pt x="627" y="1886"/>
                    <a:pt x="627" y="1884"/>
                  </a:cubicBezTo>
                  <a:lnTo>
                    <a:pt x="614" y="1820"/>
                  </a:lnTo>
                  <a:lnTo>
                    <a:pt x="564" y="1776"/>
                  </a:lnTo>
                  <a:lnTo>
                    <a:pt x="532" y="1764"/>
                  </a:lnTo>
                  <a:lnTo>
                    <a:pt x="514" y="1734"/>
                  </a:lnTo>
                  <a:lnTo>
                    <a:pt x="350" y="1680"/>
                  </a:lnTo>
                  <a:cubicBezTo>
                    <a:pt x="348" y="1679"/>
                    <a:pt x="347" y="1678"/>
                    <a:pt x="347" y="1676"/>
                  </a:cubicBezTo>
                  <a:lnTo>
                    <a:pt x="343" y="1625"/>
                  </a:lnTo>
                  <a:lnTo>
                    <a:pt x="238" y="1501"/>
                  </a:lnTo>
                  <a:cubicBezTo>
                    <a:pt x="237" y="1500"/>
                    <a:pt x="237" y="1499"/>
                    <a:pt x="237" y="1497"/>
                  </a:cubicBezTo>
                  <a:lnTo>
                    <a:pt x="241" y="1445"/>
                  </a:lnTo>
                  <a:lnTo>
                    <a:pt x="201" y="1417"/>
                  </a:lnTo>
                  <a:lnTo>
                    <a:pt x="182" y="1360"/>
                  </a:lnTo>
                  <a:cubicBezTo>
                    <a:pt x="181" y="1358"/>
                    <a:pt x="182" y="1356"/>
                    <a:pt x="183" y="1355"/>
                  </a:cubicBezTo>
                  <a:lnTo>
                    <a:pt x="192" y="1346"/>
                  </a:lnTo>
                  <a:cubicBezTo>
                    <a:pt x="192" y="1345"/>
                    <a:pt x="194" y="1345"/>
                    <a:pt x="195" y="1345"/>
                  </a:cubicBezTo>
                  <a:cubicBezTo>
                    <a:pt x="196" y="1345"/>
                    <a:pt x="197" y="1345"/>
                    <a:pt x="198" y="1346"/>
                  </a:cubicBezTo>
                  <a:lnTo>
                    <a:pt x="203" y="1351"/>
                  </a:lnTo>
                  <a:lnTo>
                    <a:pt x="195" y="1335"/>
                  </a:lnTo>
                  <a:cubicBezTo>
                    <a:pt x="194" y="1333"/>
                    <a:pt x="195" y="1330"/>
                    <a:pt x="196" y="1329"/>
                  </a:cubicBezTo>
                  <a:lnTo>
                    <a:pt x="216" y="1315"/>
                  </a:lnTo>
                  <a:lnTo>
                    <a:pt x="190" y="1312"/>
                  </a:lnTo>
                  <a:lnTo>
                    <a:pt x="182" y="1334"/>
                  </a:lnTo>
                  <a:cubicBezTo>
                    <a:pt x="182" y="1336"/>
                    <a:pt x="181" y="1337"/>
                    <a:pt x="179" y="1337"/>
                  </a:cubicBezTo>
                  <a:lnTo>
                    <a:pt x="178" y="1337"/>
                  </a:lnTo>
                  <a:cubicBezTo>
                    <a:pt x="177" y="1337"/>
                    <a:pt x="176" y="1337"/>
                    <a:pt x="175" y="1337"/>
                  </a:cubicBezTo>
                  <a:lnTo>
                    <a:pt x="150" y="1320"/>
                  </a:lnTo>
                  <a:lnTo>
                    <a:pt x="89" y="1234"/>
                  </a:lnTo>
                  <a:lnTo>
                    <a:pt x="76" y="1143"/>
                  </a:lnTo>
                  <a:lnTo>
                    <a:pt x="30" y="1077"/>
                  </a:lnTo>
                  <a:cubicBezTo>
                    <a:pt x="29" y="1076"/>
                    <a:pt x="29" y="1075"/>
                    <a:pt x="29" y="1074"/>
                  </a:cubicBezTo>
                  <a:lnTo>
                    <a:pt x="55" y="955"/>
                  </a:lnTo>
                  <a:lnTo>
                    <a:pt x="42" y="907"/>
                  </a:lnTo>
                  <a:lnTo>
                    <a:pt x="21" y="788"/>
                  </a:lnTo>
                  <a:lnTo>
                    <a:pt x="42" y="726"/>
                  </a:lnTo>
                  <a:lnTo>
                    <a:pt x="63" y="419"/>
                  </a:lnTo>
                  <a:cubicBezTo>
                    <a:pt x="63" y="417"/>
                    <a:pt x="65" y="415"/>
                    <a:pt x="66" y="414"/>
                  </a:cubicBezTo>
                  <a:lnTo>
                    <a:pt x="107" y="402"/>
                  </a:lnTo>
                  <a:lnTo>
                    <a:pt x="58" y="385"/>
                  </a:lnTo>
                  <a:cubicBezTo>
                    <a:pt x="56" y="385"/>
                    <a:pt x="55" y="383"/>
                    <a:pt x="55" y="381"/>
                  </a:cubicBezTo>
                  <a:lnTo>
                    <a:pt x="50" y="348"/>
                  </a:lnTo>
                  <a:cubicBezTo>
                    <a:pt x="50" y="346"/>
                    <a:pt x="51" y="344"/>
                    <a:pt x="53" y="343"/>
                  </a:cubicBezTo>
                  <a:cubicBezTo>
                    <a:pt x="54" y="343"/>
                    <a:pt x="54" y="342"/>
                    <a:pt x="55" y="342"/>
                  </a:cubicBezTo>
                  <a:cubicBezTo>
                    <a:pt x="56" y="342"/>
                    <a:pt x="57" y="343"/>
                    <a:pt x="58" y="344"/>
                  </a:cubicBezTo>
                  <a:lnTo>
                    <a:pt x="67" y="353"/>
                  </a:lnTo>
                  <a:lnTo>
                    <a:pt x="67" y="341"/>
                  </a:lnTo>
                  <a:lnTo>
                    <a:pt x="53" y="334"/>
                  </a:lnTo>
                  <a:cubicBezTo>
                    <a:pt x="51" y="333"/>
                    <a:pt x="50" y="331"/>
                    <a:pt x="50" y="329"/>
                  </a:cubicBezTo>
                  <a:lnTo>
                    <a:pt x="54" y="305"/>
                  </a:lnTo>
                  <a:lnTo>
                    <a:pt x="51" y="305"/>
                  </a:lnTo>
                  <a:cubicBezTo>
                    <a:pt x="49" y="305"/>
                    <a:pt x="47" y="304"/>
                    <a:pt x="46" y="302"/>
                  </a:cubicBezTo>
                  <a:lnTo>
                    <a:pt x="0" y="154"/>
                  </a:lnTo>
                  <a:lnTo>
                    <a:pt x="8" y="130"/>
                  </a:lnTo>
                  <a:cubicBezTo>
                    <a:pt x="9" y="128"/>
                    <a:pt x="11" y="127"/>
                    <a:pt x="13" y="127"/>
                  </a:cubicBezTo>
                  <a:cubicBezTo>
                    <a:pt x="13" y="127"/>
                    <a:pt x="13" y="127"/>
                    <a:pt x="14" y="127"/>
                  </a:cubicBezTo>
                  <a:lnTo>
                    <a:pt x="166" y="160"/>
                  </a:lnTo>
                  <a:cubicBezTo>
                    <a:pt x="168" y="161"/>
                    <a:pt x="170" y="163"/>
                    <a:pt x="170" y="165"/>
                  </a:cubicBezTo>
                  <a:lnTo>
                    <a:pt x="170" y="190"/>
                  </a:lnTo>
                  <a:lnTo>
                    <a:pt x="145" y="237"/>
                  </a:lnTo>
                  <a:lnTo>
                    <a:pt x="153" y="246"/>
                  </a:lnTo>
                  <a:lnTo>
                    <a:pt x="198" y="189"/>
                  </a:lnTo>
                  <a:lnTo>
                    <a:pt x="190" y="138"/>
                  </a:lnTo>
                  <a:lnTo>
                    <a:pt x="175" y="127"/>
                  </a:lnTo>
                  <a:cubicBezTo>
                    <a:pt x="173" y="125"/>
                    <a:pt x="173" y="122"/>
                    <a:pt x="174" y="120"/>
                  </a:cubicBezTo>
                  <a:lnTo>
                    <a:pt x="193" y="94"/>
                  </a:lnTo>
                  <a:lnTo>
                    <a:pt x="154" y="63"/>
                  </a:lnTo>
                  <a:cubicBezTo>
                    <a:pt x="152" y="62"/>
                    <a:pt x="152" y="60"/>
                    <a:pt x="152" y="58"/>
                  </a:cubicBezTo>
                  <a:cubicBezTo>
                    <a:pt x="153" y="56"/>
                    <a:pt x="155" y="55"/>
                    <a:pt x="157" y="55"/>
                  </a:cubicBezTo>
                  <a:lnTo>
                    <a:pt x="2461" y="59"/>
                  </a:lnTo>
                  <a:lnTo>
                    <a:pt x="2465" y="4"/>
                  </a:lnTo>
                  <a:cubicBezTo>
                    <a:pt x="2465" y="2"/>
                    <a:pt x="2467" y="0"/>
                    <a:pt x="2469" y="0"/>
                  </a:cubicBezTo>
                  <a:cubicBezTo>
                    <a:pt x="2469" y="0"/>
                    <a:pt x="2469" y="0"/>
                    <a:pt x="2470" y="0"/>
                  </a:cubicBezTo>
                  <a:cubicBezTo>
                    <a:pt x="2471" y="0"/>
                    <a:pt x="2473" y="1"/>
                    <a:pt x="2474" y="2"/>
                  </a:cubicBezTo>
                  <a:lnTo>
                    <a:pt x="2515" y="89"/>
                  </a:lnTo>
                  <a:lnTo>
                    <a:pt x="2661" y="101"/>
                  </a:lnTo>
                  <a:lnTo>
                    <a:pt x="2781" y="169"/>
                  </a:lnTo>
                  <a:lnTo>
                    <a:pt x="2825" y="160"/>
                  </a:lnTo>
                  <a:lnTo>
                    <a:pt x="2915" y="182"/>
                  </a:lnTo>
                  <a:cubicBezTo>
                    <a:pt x="2918" y="182"/>
                    <a:pt x="2919" y="183"/>
                    <a:pt x="2919" y="185"/>
                  </a:cubicBezTo>
                  <a:cubicBezTo>
                    <a:pt x="2919" y="187"/>
                    <a:pt x="2919" y="189"/>
                    <a:pt x="2917" y="190"/>
                  </a:cubicBezTo>
                  <a:lnTo>
                    <a:pt x="2790" y="283"/>
                  </a:lnTo>
                  <a:lnTo>
                    <a:pt x="2739" y="344"/>
                  </a:lnTo>
                  <a:lnTo>
                    <a:pt x="2815" y="313"/>
                  </a:lnTo>
                  <a:cubicBezTo>
                    <a:pt x="2816" y="313"/>
                    <a:pt x="2816" y="313"/>
                    <a:pt x="2817" y="313"/>
                  </a:cubicBezTo>
                  <a:cubicBezTo>
                    <a:pt x="2818" y="313"/>
                    <a:pt x="2819" y="313"/>
                    <a:pt x="2819" y="313"/>
                  </a:cubicBezTo>
                  <a:cubicBezTo>
                    <a:pt x="2821" y="314"/>
                    <a:pt x="2822" y="315"/>
                    <a:pt x="2822" y="317"/>
                  </a:cubicBezTo>
                  <a:lnTo>
                    <a:pt x="2825" y="355"/>
                  </a:lnTo>
                  <a:lnTo>
                    <a:pt x="2876" y="351"/>
                  </a:lnTo>
                  <a:lnTo>
                    <a:pt x="3073" y="246"/>
                  </a:lnTo>
                  <a:cubicBezTo>
                    <a:pt x="3074" y="245"/>
                    <a:pt x="3075" y="245"/>
                    <a:pt x="3075" y="245"/>
                  </a:cubicBezTo>
                  <a:cubicBezTo>
                    <a:pt x="3077" y="245"/>
                    <a:pt x="3078" y="246"/>
                    <a:pt x="3079" y="247"/>
                  </a:cubicBezTo>
                  <a:cubicBezTo>
                    <a:pt x="3081" y="249"/>
                    <a:pt x="3081" y="251"/>
                    <a:pt x="3079" y="253"/>
                  </a:cubicBezTo>
                  <a:lnTo>
                    <a:pt x="3025" y="315"/>
                  </a:lnTo>
                  <a:lnTo>
                    <a:pt x="3025" y="332"/>
                  </a:lnTo>
                  <a:lnTo>
                    <a:pt x="3061" y="317"/>
                  </a:lnTo>
                  <a:cubicBezTo>
                    <a:pt x="3062" y="317"/>
                    <a:pt x="3062" y="317"/>
                    <a:pt x="3063" y="317"/>
                  </a:cubicBezTo>
                  <a:cubicBezTo>
                    <a:pt x="3064" y="317"/>
                    <a:pt x="3065" y="317"/>
                    <a:pt x="3066" y="318"/>
                  </a:cubicBezTo>
                  <a:lnTo>
                    <a:pt x="3121" y="369"/>
                  </a:lnTo>
                  <a:lnTo>
                    <a:pt x="3167" y="372"/>
                  </a:lnTo>
                  <a:lnTo>
                    <a:pt x="3213" y="339"/>
                  </a:lnTo>
                  <a:lnTo>
                    <a:pt x="3300" y="334"/>
                  </a:lnTo>
                  <a:cubicBezTo>
                    <a:pt x="3302" y="334"/>
                    <a:pt x="3304" y="335"/>
                    <a:pt x="3304" y="337"/>
                  </a:cubicBezTo>
                  <a:lnTo>
                    <a:pt x="3312" y="356"/>
                  </a:lnTo>
                  <a:lnTo>
                    <a:pt x="3356" y="368"/>
                  </a:lnTo>
                  <a:lnTo>
                    <a:pt x="3368" y="368"/>
                  </a:lnTo>
                  <a:cubicBezTo>
                    <a:pt x="3370" y="368"/>
                    <a:pt x="3371" y="369"/>
                    <a:pt x="3372" y="370"/>
                  </a:cubicBezTo>
                  <a:lnTo>
                    <a:pt x="3402" y="425"/>
                  </a:lnTo>
                  <a:cubicBezTo>
                    <a:pt x="3402" y="427"/>
                    <a:pt x="3402" y="428"/>
                    <a:pt x="3401" y="430"/>
                  </a:cubicBezTo>
                  <a:cubicBezTo>
                    <a:pt x="3401" y="431"/>
                    <a:pt x="3399" y="432"/>
                    <a:pt x="3398" y="432"/>
                  </a:cubicBezTo>
                  <a:lnTo>
                    <a:pt x="3345" y="428"/>
                  </a:lnTo>
                  <a:lnTo>
                    <a:pt x="3334" y="447"/>
                  </a:lnTo>
                  <a:cubicBezTo>
                    <a:pt x="3333" y="448"/>
                    <a:pt x="3332" y="449"/>
                    <a:pt x="3331" y="449"/>
                  </a:cubicBezTo>
                  <a:lnTo>
                    <a:pt x="3330" y="449"/>
                  </a:lnTo>
                  <a:cubicBezTo>
                    <a:pt x="3329" y="449"/>
                    <a:pt x="3328" y="449"/>
                    <a:pt x="3327" y="448"/>
                  </a:cubicBezTo>
                  <a:lnTo>
                    <a:pt x="3287" y="424"/>
                  </a:lnTo>
                  <a:lnTo>
                    <a:pt x="3175" y="474"/>
                  </a:lnTo>
                  <a:cubicBezTo>
                    <a:pt x="3174" y="474"/>
                    <a:pt x="3174" y="474"/>
                    <a:pt x="3173" y="474"/>
                  </a:cubicBezTo>
                  <a:cubicBezTo>
                    <a:pt x="3172" y="474"/>
                    <a:pt x="3171" y="474"/>
                    <a:pt x="3170" y="474"/>
                  </a:cubicBezTo>
                  <a:cubicBezTo>
                    <a:pt x="3169" y="473"/>
                    <a:pt x="3168" y="471"/>
                    <a:pt x="3168" y="470"/>
                  </a:cubicBezTo>
                  <a:lnTo>
                    <a:pt x="3168" y="453"/>
                  </a:lnTo>
                  <a:lnTo>
                    <a:pt x="3133" y="478"/>
                  </a:lnTo>
                  <a:lnTo>
                    <a:pt x="3080" y="569"/>
                  </a:lnTo>
                  <a:lnTo>
                    <a:pt x="3073" y="585"/>
                  </a:lnTo>
                  <a:lnTo>
                    <a:pt x="3110" y="564"/>
                  </a:lnTo>
                  <a:lnTo>
                    <a:pt x="3126" y="511"/>
                  </a:lnTo>
                  <a:cubicBezTo>
                    <a:pt x="3127" y="509"/>
                    <a:pt x="3128" y="508"/>
                    <a:pt x="3130" y="507"/>
                  </a:cubicBezTo>
                  <a:lnTo>
                    <a:pt x="3130" y="507"/>
                  </a:lnTo>
                  <a:cubicBezTo>
                    <a:pt x="3132" y="507"/>
                    <a:pt x="3134" y="508"/>
                    <a:pt x="3135" y="510"/>
                  </a:cubicBezTo>
                  <a:lnTo>
                    <a:pt x="3143" y="527"/>
                  </a:lnTo>
                  <a:cubicBezTo>
                    <a:pt x="3144" y="528"/>
                    <a:pt x="3144" y="530"/>
                    <a:pt x="3143" y="531"/>
                  </a:cubicBezTo>
                  <a:lnTo>
                    <a:pt x="3110" y="603"/>
                  </a:lnTo>
                  <a:lnTo>
                    <a:pt x="3076" y="754"/>
                  </a:lnTo>
                  <a:lnTo>
                    <a:pt x="3080" y="854"/>
                  </a:lnTo>
                  <a:lnTo>
                    <a:pt x="3101" y="908"/>
                  </a:lnTo>
                  <a:lnTo>
                    <a:pt x="3130" y="925"/>
                  </a:lnTo>
                  <a:lnTo>
                    <a:pt x="3166" y="894"/>
                  </a:lnTo>
                  <a:lnTo>
                    <a:pt x="3203" y="819"/>
                  </a:lnTo>
                  <a:lnTo>
                    <a:pt x="3202" y="766"/>
                  </a:lnTo>
                  <a:lnTo>
                    <a:pt x="3181" y="704"/>
                  </a:lnTo>
                  <a:lnTo>
                    <a:pt x="3202" y="583"/>
                  </a:lnTo>
                  <a:lnTo>
                    <a:pt x="3250" y="530"/>
                  </a:lnTo>
                  <a:cubicBezTo>
                    <a:pt x="3251" y="529"/>
                    <a:pt x="3252" y="528"/>
                    <a:pt x="3254" y="528"/>
                  </a:cubicBezTo>
                  <a:cubicBezTo>
                    <a:pt x="3254" y="528"/>
                    <a:pt x="3254" y="529"/>
                    <a:pt x="3255" y="529"/>
                  </a:cubicBezTo>
                  <a:cubicBezTo>
                    <a:pt x="3257" y="529"/>
                    <a:pt x="3258" y="531"/>
                    <a:pt x="3258" y="533"/>
                  </a:cubicBezTo>
                  <a:lnTo>
                    <a:pt x="3261" y="558"/>
                  </a:lnTo>
                  <a:lnTo>
                    <a:pt x="3270" y="552"/>
                  </a:lnTo>
                  <a:lnTo>
                    <a:pt x="3270" y="512"/>
                  </a:lnTo>
                  <a:cubicBezTo>
                    <a:pt x="3270" y="510"/>
                    <a:pt x="3272" y="508"/>
                    <a:pt x="3274" y="507"/>
                  </a:cubicBezTo>
                  <a:lnTo>
                    <a:pt x="3308" y="500"/>
                  </a:lnTo>
                  <a:lnTo>
                    <a:pt x="3308" y="465"/>
                  </a:lnTo>
                  <a:cubicBezTo>
                    <a:pt x="3308" y="463"/>
                    <a:pt x="3310" y="461"/>
                    <a:pt x="3313" y="461"/>
                  </a:cubicBezTo>
                  <a:lnTo>
                    <a:pt x="3359" y="461"/>
                  </a:lnTo>
                  <a:lnTo>
                    <a:pt x="3442" y="508"/>
                  </a:lnTo>
                  <a:cubicBezTo>
                    <a:pt x="3444" y="509"/>
                    <a:pt x="3444" y="510"/>
                    <a:pt x="3445" y="511"/>
                  </a:cubicBezTo>
                  <a:lnTo>
                    <a:pt x="3457" y="613"/>
                  </a:lnTo>
                  <a:lnTo>
                    <a:pt x="3409" y="691"/>
                  </a:lnTo>
                  <a:lnTo>
                    <a:pt x="3422" y="693"/>
                  </a:lnTo>
                  <a:lnTo>
                    <a:pt x="3449" y="665"/>
                  </a:lnTo>
                  <a:lnTo>
                    <a:pt x="3485" y="651"/>
                  </a:lnTo>
                  <a:cubicBezTo>
                    <a:pt x="3485" y="651"/>
                    <a:pt x="3486" y="651"/>
                    <a:pt x="3487" y="651"/>
                  </a:cubicBezTo>
                  <a:cubicBezTo>
                    <a:pt x="3487" y="651"/>
                    <a:pt x="3488" y="651"/>
                    <a:pt x="3489" y="651"/>
                  </a:cubicBezTo>
                  <a:cubicBezTo>
                    <a:pt x="3490" y="652"/>
                    <a:pt x="3491" y="653"/>
                    <a:pt x="3491" y="654"/>
                  </a:cubicBezTo>
                  <a:lnTo>
                    <a:pt x="3529" y="768"/>
                  </a:lnTo>
                  <a:lnTo>
                    <a:pt x="3517" y="822"/>
                  </a:lnTo>
                  <a:cubicBezTo>
                    <a:pt x="3516" y="824"/>
                    <a:pt x="3514" y="825"/>
                    <a:pt x="3512" y="825"/>
                  </a:cubicBezTo>
                  <a:lnTo>
                    <a:pt x="3502" y="825"/>
                  </a:lnTo>
                  <a:lnTo>
                    <a:pt x="3491" y="848"/>
                  </a:lnTo>
                  <a:lnTo>
                    <a:pt x="3474" y="890"/>
                  </a:lnTo>
                  <a:lnTo>
                    <a:pt x="3451" y="921"/>
                  </a:lnTo>
                  <a:lnTo>
                    <a:pt x="3480" y="935"/>
                  </a:lnTo>
                  <a:lnTo>
                    <a:pt x="3580" y="935"/>
                  </a:lnTo>
                  <a:lnTo>
                    <a:pt x="3735" y="863"/>
                  </a:lnTo>
                  <a:lnTo>
                    <a:pt x="3820" y="798"/>
                  </a:lnTo>
                  <a:lnTo>
                    <a:pt x="3804" y="755"/>
                  </a:lnTo>
                  <a:cubicBezTo>
                    <a:pt x="3804" y="753"/>
                    <a:pt x="3804" y="752"/>
                    <a:pt x="3804" y="751"/>
                  </a:cubicBezTo>
                  <a:cubicBezTo>
                    <a:pt x="3805" y="750"/>
                    <a:pt x="3806" y="749"/>
                    <a:pt x="3807" y="748"/>
                  </a:cubicBezTo>
                  <a:lnTo>
                    <a:pt x="3888" y="723"/>
                  </a:lnTo>
                  <a:lnTo>
                    <a:pt x="3987" y="736"/>
                  </a:lnTo>
                  <a:lnTo>
                    <a:pt x="4049" y="712"/>
                  </a:lnTo>
                  <a:lnTo>
                    <a:pt x="4041" y="678"/>
                  </a:lnTo>
                  <a:cubicBezTo>
                    <a:pt x="4041" y="677"/>
                    <a:pt x="4041" y="675"/>
                    <a:pt x="4042" y="674"/>
                  </a:cubicBezTo>
                  <a:lnTo>
                    <a:pt x="4051" y="662"/>
                  </a:lnTo>
                  <a:lnTo>
                    <a:pt x="4036" y="656"/>
                  </a:lnTo>
                  <a:cubicBezTo>
                    <a:pt x="4034" y="655"/>
                    <a:pt x="4033" y="654"/>
                    <a:pt x="4033" y="652"/>
                  </a:cubicBezTo>
                  <a:cubicBezTo>
                    <a:pt x="4032" y="651"/>
                    <a:pt x="4033" y="649"/>
                    <a:pt x="4034" y="648"/>
                  </a:cubicBezTo>
                  <a:lnTo>
                    <a:pt x="4085" y="593"/>
                  </a:lnTo>
                  <a:lnTo>
                    <a:pt x="4149" y="546"/>
                  </a:lnTo>
                  <a:lnTo>
                    <a:pt x="4432" y="545"/>
                  </a:lnTo>
                  <a:lnTo>
                    <a:pt x="4448" y="514"/>
                  </a:lnTo>
                  <a:cubicBezTo>
                    <a:pt x="4449" y="513"/>
                    <a:pt x="4450" y="512"/>
                    <a:pt x="4452" y="511"/>
                  </a:cubicBezTo>
                  <a:lnTo>
                    <a:pt x="4512" y="503"/>
                  </a:lnTo>
                  <a:lnTo>
                    <a:pt x="4562" y="329"/>
                  </a:lnTo>
                  <a:lnTo>
                    <a:pt x="4614" y="251"/>
                  </a:lnTo>
                  <a:cubicBezTo>
                    <a:pt x="4614" y="250"/>
                    <a:pt x="4615" y="249"/>
                    <a:pt x="4617" y="249"/>
                  </a:cubicBezTo>
                  <a:cubicBezTo>
                    <a:pt x="4617" y="249"/>
                    <a:pt x="4617" y="249"/>
                    <a:pt x="4618" y="249"/>
                  </a:cubicBezTo>
                  <a:cubicBezTo>
                    <a:pt x="4619" y="249"/>
                    <a:pt x="4620" y="249"/>
                    <a:pt x="4620" y="250"/>
                  </a:cubicBezTo>
                  <a:lnTo>
                    <a:pt x="4665" y="282"/>
                  </a:lnTo>
                  <a:lnTo>
                    <a:pt x="4709" y="258"/>
                  </a:lnTo>
                  <a:cubicBezTo>
                    <a:pt x="4709" y="258"/>
                    <a:pt x="4710" y="257"/>
                    <a:pt x="4711" y="257"/>
                  </a:cubicBezTo>
                  <a:cubicBezTo>
                    <a:pt x="4712" y="257"/>
                    <a:pt x="4713" y="258"/>
                    <a:pt x="4714" y="259"/>
                  </a:cubicBezTo>
                  <a:lnTo>
                    <a:pt x="4756" y="301"/>
                  </a:lnTo>
                  <a:cubicBezTo>
                    <a:pt x="4757" y="302"/>
                    <a:pt x="4758" y="303"/>
                    <a:pt x="4758" y="304"/>
                  </a:cubicBezTo>
                  <a:lnTo>
                    <a:pt x="4758" y="462"/>
                  </a:lnTo>
                  <a:lnTo>
                    <a:pt x="4776" y="469"/>
                  </a:lnTo>
                  <a:cubicBezTo>
                    <a:pt x="4778" y="470"/>
                    <a:pt x="4779" y="471"/>
                    <a:pt x="4779" y="473"/>
                  </a:cubicBezTo>
                  <a:lnTo>
                    <a:pt x="4783" y="512"/>
                  </a:lnTo>
                  <a:lnTo>
                    <a:pt x="4818" y="520"/>
                  </a:lnTo>
                  <a:cubicBezTo>
                    <a:pt x="4820" y="520"/>
                    <a:pt x="4822" y="523"/>
                    <a:pt x="4821" y="525"/>
                  </a:cubicBezTo>
                  <a:lnTo>
                    <a:pt x="4817" y="557"/>
                  </a:lnTo>
                  <a:lnTo>
                    <a:pt x="4825" y="568"/>
                  </a:lnTo>
                  <a:cubicBezTo>
                    <a:pt x="4826" y="570"/>
                    <a:pt x="4826" y="572"/>
                    <a:pt x="4825" y="574"/>
                  </a:cubicBezTo>
                  <a:lnTo>
                    <a:pt x="4816" y="586"/>
                  </a:lnTo>
                  <a:lnTo>
                    <a:pt x="4713" y="639"/>
                  </a:lnTo>
                  <a:cubicBezTo>
                    <a:pt x="4712" y="639"/>
                    <a:pt x="4711" y="639"/>
                    <a:pt x="4711" y="639"/>
                  </a:cubicBezTo>
                  <a:cubicBezTo>
                    <a:pt x="4710" y="639"/>
                    <a:pt x="4709" y="639"/>
                    <a:pt x="4708" y="638"/>
                  </a:cubicBezTo>
                  <a:lnTo>
                    <a:pt x="4670" y="608"/>
                  </a:lnTo>
                  <a:lnTo>
                    <a:pt x="4647" y="662"/>
                  </a:lnTo>
                  <a:cubicBezTo>
                    <a:pt x="4647" y="663"/>
                    <a:pt x="4646" y="664"/>
                    <a:pt x="4645" y="664"/>
                  </a:cubicBezTo>
                  <a:lnTo>
                    <a:pt x="4558" y="701"/>
                  </a:lnTo>
                  <a:lnTo>
                    <a:pt x="4496" y="854"/>
                  </a:lnTo>
                  <a:lnTo>
                    <a:pt x="4544" y="917"/>
                  </a:lnTo>
                  <a:lnTo>
                    <a:pt x="4563" y="917"/>
                  </a:lnTo>
                  <a:lnTo>
                    <a:pt x="4571" y="891"/>
                  </a:lnTo>
                  <a:cubicBezTo>
                    <a:pt x="4571" y="889"/>
                    <a:pt x="4573" y="888"/>
                    <a:pt x="4575" y="888"/>
                  </a:cubicBezTo>
                  <a:lnTo>
                    <a:pt x="4575" y="888"/>
                  </a:lnTo>
                  <a:cubicBezTo>
                    <a:pt x="4578" y="888"/>
                    <a:pt x="4579" y="890"/>
                    <a:pt x="4580" y="892"/>
                  </a:cubicBezTo>
                  <a:lnTo>
                    <a:pt x="4584" y="921"/>
                  </a:lnTo>
                  <a:cubicBezTo>
                    <a:pt x="4585" y="924"/>
                    <a:pt x="4583" y="926"/>
                    <a:pt x="4580" y="927"/>
                  </a:cubicBezTo>
                  <a:lnTo>
                    <a:pt x="4482" y="944"/>
                  </a:lnTo>
                  <a:cubicBezTo>
                    <a:pt x="4481" y="944"/>
                    <a:pt x="4479" y="943"/>
                    <a:pt x="4478" y="942"/>
                  </a:cubicBezTo>
                  <a:lnTo>
                    <a:pt x="4469" y="930"/>
                  </a:lnTo>
                  <a:lnTo>
                    <a:pt x="4443" y="959"/>
                  </a:lnTo>
                  <a:cubicBezTo>
                    <a:pt x="4442" y="960"/>
                    <a:pt x="4441" y="960"/>
                    <a:pt x="4440" y="961"/>
                  </a:cubicBezTo>
                  <a:lnTo>
                    <a:pt x="4322" y="977"/>
                  </a:lnTo>
                  <a:lnTo>
                    <a:pt x="4228" y="1039"/>
                  </a:lnTo>
                  <a:lnTo>
                    <a:pt x="4224" y="1056"/>
                  </a:lnTo>
                  <a:lnTo>
                    <a:pt x="4245" y="1089"/>
                  </a:lnTo>
                  <a:cubicBezTo>
                    <a:pt x="4245" y="1090"/>
                    <a:pt x="4246" y="1092"/>
                    <a:pt x="4245" y="1093"/>
                  </a:cubicBezTo>
                  <a:lnTo>
                    <a:pt x="4224" y="1148"/>
                  </a:lnTo>
                  <a:lnTo>
                    <a:pt x="4168" y="1225"/>
                  </a:lnTo>
                  <a:cubicBezTo>
                    <a:pt x="4167" y="1226"/>
                    <a:pt x="4166" y="1227"/>
                    <a:pt x="4164" y="1227"/>
                  </a:cubicBezTo>
                  <a:cubicBezTo>
                    <a:pt x="4164" y="1227"/>
                    <a:pt x="4164" y="1227"/>
                    <a:pt x="4163" y="1227"/>
                  </a:cubicBezTo>
                  <a:cubicBezTo>
                    <a:pt x="4161" y="1226"/>
                    <a:pt x="4160" y="1225"/>
                    <a:pt x="4160" y="1223"/>
                  </a:cubicBezTo>
                  <a:lnTo>
                    <a:pt x="4156" y="1195"/>
                  </a:lnTo>
                  <a:lnTo>
                    <a:pt x="4120" y="1165"/>
                  </a:lnTo>
                  <a:lnTo>
                    <a:pt x="4156" y="1263"/>
                  </a:lnTo>
                  <a:cubicBezTo>
                    <a:pt x="4156" y="1264"/>
                    <a:pt x="4156" y="1266"/>
                    <a:pt x="4156" y="1267"/>
                  </a:cubicBezTo>
                  <a:lnTo>
                    <a:pt x="4084" y="1415"/>
                  </a:lnTo>
                  <a:cubicBezTo>
                    <a:pt x="4083" y="1416"/>
                    <a:pt x="4081" y="1417"/>
                    <a:pt x="4080" y="1417"/>
                  </a:cubicBezTo>
                  <a:lnTo>
                    <a:pt x="4079" y="1417"/>
                  </a:lnTo>
                  <a:cubicBezTo>
                    <a:pt x="4077" y="1417"/>
                    <a:pt x="4076" y="1416"/>
                    <a:pt x="4075" y="1414"/>
                  </a:cubicBezTo>
                  <a:lnTo>
                    <a:pt x="4067" y="1380"/>
                  </a:lnTo>
                  <a:cubicBezTo>
                    <a:pt x="4066" y="1379"/>
                    <a:pt x="4067" y="1378"/>
                    <a:pt x="4067" y="1377"/>
                  </a:cubicBezTo>
                  <a:lnTo>
                    <a:pt x="4091" y="1329"/>
                  </a:lnTo>
                  <a:lnTo>
                    <a:pt x="4046" y="1281"/>
                  </a:lnTo>
                  <a:cubicBezTo>
                    <a:pt x="4045" y="1279"/>
                    <a:pt x="4045" y="1278"/>
                    <a:pt x="4045" y="1277"/>
                  </a:cubicBezTo>
                  <a:lnTo>
                    <a:pt x="4053" y="1234"/>
                  </a:lnTo>
                  <a:lnTo>
                    <a:pt x="4044" y="1231"/>
                  </a:lnTo>
                  <a:cubicBezTo>
                    <a:pt x="4043" y="1231"/>
                    <a:pt x="4042" y="1230"/>
                    <a:pt x="4041" y="1229"/>
                  </a:cubicBezTo>
                  <a:cubicBezTo>
                    <a:pt x="4041" y="1227"/>
                    <a:pt x="4041" y="1226"/>
                    <a:pt x="4041" y="1225"/>
                  </a:cubicBezTo>
                  <a:lnTo>
                    <a:pt x="4065" y="1171"/>
                  </a:lnTo>
                  <a:lnTo>
                    <a:pt x="4025" y="1195"/>
                  </a:lnTo>
                  <a:lnTo>
                    <a:pt x="4025" y="1273"/>
                  </a:lnTo>
                  <a:lnTo>
                    <a:pt x="4042" y="1309"/>
                  </a:lnTo>
                  <a:cubicBezTo>
                    <a:pt x="4042" y="1311"/>
                    <a:pt x="4042" y="1313"/>
                    <a:pt x="4040" y="1315"/>
                  </a:cubicBezTo>
                  <a:cubicBezTo>
                    <a:pt x="4040" y="1315"/>
                    <a:pt x="4038" y="1316"/>
                    <a:pt x="4037" y="1316"/>
                  </a:cubicBezTo>
                  <a:cubicBezTo>
                    <a:pt x="4036" y="1316"/>
                    <a:pt x="4036" y="1316"/>
                    <a:pt x="4035" y="1315"/>
                  </a:cubicBezTo>
                  <a:lnTo>
                    <a:pt x="3966" y="1273"/>
                  </a:lnTo>
                  <a:lnTo>
                    <a:pt x="3966" y="1275"/>
                  </a:lnTo>
                  <a:lnTo>
                    <a:pt x="4049" y="1341"/>
                  </a:lnTo>
                  <a:cubicBezTo>
                    <a:pt x="4051" y="1343"/>
                    <a:pt x="4051" y="1346"/>
                    <a:pt x="4050" y="1348"/>
                  </a:cubicBezTo>
                  <a:lnTo>
                    <a:pt x="4038" y="1363"/>
                  </a:lnTo>
                  <a:lnTo>
                    <a:pt x="4054" y="1420"/>
                  </a:lnTo>
                  <a:cubicBezTo>
                    <a:pt x="4055" y="1422"/>
                    <a:pt x="4054" y="1424"/>
                    <a:pt x="4052" y="1425"/>
                  </a:cubicBezTo>
                  <a:lnTo>
                    <a:pt x="4044" y="1430"/>
                  </a:lnTo>
                  <a:lnTo>
                    <a:pt x="4072" y="1433"/>
                  </a:lnTo>
                  <a:cubicBezTo>
                    <a:pt x="4074" y="1434"/>
                    <a:pt x="4075" y="1435"/>
                    <a:pt x="4076" y="1437"/>
                  </a:cubicBezTo>
                  <a:lnTo>
                    <a:pt x="4093" y="1522"/>
                  </a:lnTo>
                  <a:cubicBezTo>
                    <a:pt x="4093" y="1523"/>
                    <a:pt x="4093" y="1525"/>
                    <a:pt x="4091" y="1526"/>
                  </a:cubicBezTo>
                  <a:cubicBezTo>
                    <a:pt x="4090" y="1527"/>
                    <a:pt x="4089" y="1527"/>
                    <a:pt x="4088" y="1527"/>
                  </a:cubicBezTo>
                  <a:lnTo>
                    <a:pt x="4087" y="1527"/>
                  </a:lnTo>
                  <a:lnTo>
                    <a:pt x="4057" y="1519"/>
                  </a:lnTo>
                  <a:lnTo>
                    <a:pt x="4031" y="1531"/>
                  </a:lnTo>
                  <a:cubicBezTo>
                    <a:pt x="4030" y="1531"/>
                    <a:pt x="4030" y="1532"/>
                    <a:pt x="4029" y="1532"/>
                  </a:cubicBezTo>
                  <a:cubicBezTo>
                    <a:pt x="4027" y="1532"/>
                    <a:pt x="4025" y="1531"/>
                    <a:pt x="4025" y="1529"/>
                  </a:cubicBezTo>
                  <a:lnTo>
                    <a:pt x="4019" y="1518"/>
                  </a:lnTo>
                  <a:lnTo>
                    <a:pt x="4017" y="1535"/>
                  </a:lnTo>
                  <a:lnTo>
                    <a:pt x="4059" y="1535"/>
                  </a:lnTo>
                  <a:cubicBezTo>
                    <a:pt x="4060" y="1535"/>
                    <a:pt x="4062" y="1536"/>
                    <a:pt x="4063" y="1538"/>
                  </a:cubicBezTo>
                  <a:lnTo>
                    <a:pt x="4070" y="1553"/>
                  </a:lnTo>
                  <a:lnTo>
                    <a:pt x="4075" y="1538"/>
                  </a:lnTo>
                  <a:cubicBezTo>
                    <a:pt x="4076" y="1536"/>
                    <a:pt x="4078" y="1535"/>
                    <a:pt x="4079" y="1535"/>
                  </a:cubicBezTo>
                  <a:lnTo>
                    <a:pt x="4080" y="1535"/>
                  </a:lnTo>
                  <a:cubicBezTo>
                    <a:pt x="4081" y="1535"/>
                    <a:pt x="4083" y="1536"/>
                    <a:pt x="4084" y="1538"/>
                  </a:cubicBezTo>
                  <a:lnTo>
                    <a:pt x="4097" y="1567"/>
                  </a:lnTo>
                  <a:cubicBezTo>
                    <a:pt x="4097" y="1569"/>
                    <a:pt x="4097" y="1571"/>
                    <a:pt x="4096" y="1573"/>
                  </a:cubicBezTo>
                  <a:lnTo>
                    <a:pt x="4062" y="1606"/>
                  </a:lnTo>
                  <a:cubicBezTo>
                    <a:pt x="4061" y="1607"/>
                    <a:pt x="4060" y="1608"/>
                    <a:pt x="4059" y="1608"/>
                  </a:cubicBezTo>
                  <a:cubicBezTo>
                    <a:pt x="4057" y="1608"/>
                    <a:pt x="4056" y="1607"/>
                    <a:pt x="4056" y="1607"/>
                  </a:cubicBezTo>
                  <a:lnTo>
                    <a:pt x="4028" y="1587"/>
                  </a:lnTo>
                  <a:lnTo>
                    <a:pt x="4015" y="1591"/>
                  </a:lnTo>
                  <a:lnTo>
                    <a:pt x="4035" y="1603"/>
                  </a:lnTo>
                  <a:cubicBezTo>
                    <a:pt x="4037" y="1604"/>
                    <a:pt x="4037" y="1605"/>
                    <a:pt x="4038" y="1606"/>
                  </a:cubicBezTo>
                  <a:cubicBezTo>
                    <a:pt x="4038" y="1608"/>
                    <a:pt x="4038" y="1609"/>
                    <a:pt x="4037" y="1610"/>
                  </a:cubicBezTo>
                  <a:lnTo>
                    <a:pt x="4022" y="1628"/>
                  </a:lnTo>
                  <a:lnTo>
                    <a:pt x="4033" y="1628"/>
                  </a:lnTo>
                  <a:cubicBezTo>
                    <a:pt x="4036" y="1628"/>
                    <a:pt x="4038" y="1630"/>
                    <a:pt x="4038" y="1633"/>
                  </a:cubicBezTo>
                  <a:lnTo>
                    <a:pt x="4038" y="1654"/>
                  </a:lnTo>
                  <a:cubicBezTo>
                    <a:pt x="4038" y="1656"/>
                    <a:pt x="4037" y="1658"/>
                    <a:pt x="4035" y="1658"/>
                  </a:cubicBezTo>
                  <a:lnTo>
                    <a:pt x="3950" y="1692"/>
                  </a:lnTo>
                  <a:lnTo>
                    <a:pt x="3923" y="1733"/>
                  </a:lnTo>
                  <a:lnTo>
                    <a:pt x="3827" y="1772"/>
                  </a:lnTo>
                  <a:lnTo>
                    <a:pt x="3800" y="1821"/>
                  </a:lnTo>
                  <a:lnTo>
                    <a:pt x="3727" y="1882"/>
                  </a:lnTo>
                  <a:lnTo>
                    <a:pt x="3679" y="1883"/>
                  </a:lnTo>
                  <a:lnTo>
                    <a:pt x="3686" y="1902"/>
                  </a:lnTo>
                  <a:cubicBezTo>
                    <a:pt x="3687" y="1904"/>
                    <a:pt x="3686" y="1906"/>
                    <a:pt x="3684" y="1908"/>
                  </a:cubicBezTo>
                  <a:lnTo>
                    <a:pt x="3654" y="1924"/>
                  </a:lnTo>
                  <a:lnTo>
                    <a:pt x="3601" y="2070"/>
                  </a:lnTo>
                  <a:lnTo>
                    <a:pt x="3724" y="2414"/>
                  </a:lnTo>
                  <a:lnTo>
                    <a:pt x="3720" y="2496"/>
                  </a:lnTo>
                  <a:lnTo>
                    <a:pt x="3703" y="2560"/>
                  </a:lnTo>
                  <a:cubicBezTo>
                    <a:pt x="3702" y="2562"/>
                    <a:pt x="3701" y="2563"/>
                    <a:pt x="3700" y="2564"/>
                  </a:cubicBezTo>
                  <a:lnTo>
                    <a:pt x="3636" y="2585"/>
                  </a:lnTo>
                  <a:lnTo>
                    <a:pt x="3635" y="2586"/>
                  </a:lnTo>
                  <a:cubicBezTo>
                    <a:pt x="3633" y="2586"/>
                    <a:pt x="3631" y="2584"/>
                    <a:pt x="3630" y="2582"/>
                  </a:cubicBezTo>
                  <a:close/>
                  <a:moveTo>
                    <a:pt x="1025" y="1013"/>
                  </a:moveTo>
                  <a:lnTo>
                    <a:pt x="1042" y="1030"/>
                  </a:lnTo>
                  <a:lnTo>
                    <a:pt x="1060" y="1016"/>
                  </a:lnTo>
                  <a:lnTo>
                    <a:pt x="1062" y="1008"/>
                  </a:lnTo>
                  <a:lnTo>
                    <a:pt x="1042" y="980"/>
                  </a:lnTo>
                  <a:cubicBezTo>
                    <a:pt x="1042" y="979"/>
                    <a:pt x="1041" y="977"/>
                    <a:pt x="1042" y="976"/>
                  </a:cubicBezTo>
                  <a:lnTo>
                    <a:pt x="1049" y="950"/>
                  </a:lnTo>
                  <a:lnTo>
                    <a:pt x="1032" y="942"/>
                  </a:lnTo>
                  <a:lnTo>
                    <a:pt x="1025" y="966"/>
                  </a:lnTo>
                  <a:cubicBezTo>
                    <a:pt x="1025" y="967"/>
                    <a:pt x="1024" y="968"/>
                    <a:pt x="1023" y="969"/>
                  </a:cubicBezTo>
                  <a:cubicBezTo>
                    <a:pt x="1022" y="969"/>
                    <a:pt x="1022" y="969"/>
                    <a:pt x="1021" y="969"/>
                  </a:cubicBezTo>
                  <a:cubicBezTo>
                    <a:pt x="1020" y="969"/>
                    <a:pt x="1020" y="969"/>
                    <a:pt x="1019" y="969"/>
                  </a:cubicBezTo>
                  <a:lnTo>
                    <a:pt x="998" y="961"/>
                  </a:lnTo>
                  <a:cubicBezTo>
                    <a:pt x="996" y="960"/>
                    <a:pt x="995" y="958"/>
                    <a:pt x="995" y="956"/>
                  </a:cubicBezTo>
                  <a:lnTo>
                    <a:pt x="999" y="931"/>
                  </a:lnTo>
                  <a:lnTo>
                    <a:pt x="975" y="928"/>
                  </a:lnTo>
                  <a:lnTo>
                    <a:pt x="1025" y="1013"/>
                  </a:lnTo>
                  <a:close/>
                </a:path>
              </a:pathLst>
            </a:custGeom>
            <a:solidFill>
              <a:srgbClr val="C8C1B7"/>
            </a:solidFill>
            <a:ln w="9525" cap="flat">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 name="Freeform 2"/>
            <p:cNvSpPr>
              <a:spLocks noChangeArrowheads="1"/>
            </p:cNvSpPr>
            <p:nvPr/>
          </p:nvSpPr>
          <p:spPr bwMode="auto">
            <a:xfrm>
              <a:off x="1023938" y="2033588"/>
              <a:ext cx="1738312" cy="931862"/>
            </a:xfrm>
            <a:custGeom>
              <a:avLst/>
              <a:gdLst/>
              <a:ahLst/>
              <a:cxnLst>
                <a:cxn ang="0">
                  <a:pos x="3543" y="2424"/>
                </a:cxn>
                <a:cxn ang="0">
                  <a:pos x="3496" y="2335"/>
                </a:cxn>
                <a:cxn ang="0">
                  <a:pos x="3197" y="2082"/>
                </a:cxn>
                <a:cxn ang="0">
                  <a:pos x="3060" y="2102"/>
                </a:cxn>
                <a:cxn ang="0">
                  <a:pos x="2948" y="2111"/>
                </a:cxn>
                <a:cxn ang="0">
                  <a:pos x="2947" y="2225"/>
                </a:cxn>
                <a:cxn ang="0">
                  <a:pos x="2732" y="2155"/>
                </a:cxn>
                <a:cxn ang="0">
                  <a:pos x="2501" y="2163"/>
                </a:cxn>
                <a:cxn ang="0">
                  <a:pos x="2362" y="2284"/>
                </a:cxn>
                <a:cxn ang="0">
                  <a:pos x="2284" y="2437"/>
                </a:cxn>
                <a:cxn ang="0">
                  <a:pos x="2084" y="2354"/>
                </a:cxn>
                <a:cxn ang="0">
                  <a:pos x="1783" y="2230"/>
                </a:cxn>
                <a:cxn ang="0">
                  <a:pos x="1373" y="1997"/>
                </a:cxn>
                <a:cxn ang="0">
                  <a:pos x="564" y="1776"/>
                </a:cxn>
                <a:cxn ang="0">
                  <a:pos x="237" y="1497"/>
                </a:cxn>
                <a:cxn ang="0">
                  <a:pos x="198" y="1346"/>
                </a:cxn>
                <a:cxn ang="0">
                  <a:pos x="179" y="1337"/>
                </a:cxn>
                <a:cxn ang="0">
                  <a:pos x="29" y="1074"/>
                </a:cxn>
                <a:cxn ang="0">
                  <a:pos x="107" y="402"/>
                </a:cxn>
                <a:cxn ang="0">
                  <a:pos x="67" y="353"/>
                </a:cxn>
                <a:cxn ang="0">
                  <a:pos x="0" y="154"/>
                </a:cxn>
                <a:cxn ang="0">
                  <a:pos x="145" y="237"/>
                </a:cxn>
                <a:cxn ang="0">
                  <a:pos x="154" y="63"/>
                </a:cxn>
                <a:cxn ang="0">
                  <a:pos x="2474" y="2"/>
                </a:cxn>
                <a:cxn ang="0">
                  <a:pos x="2917" y="190"/>
                </a:cxn>
                <a:cxn ang="0">
                  <a:pos x="2825" y="355"/>
                </a:cxn>
                <a:cxn ang="0">
                  <a:pos x="3025" y="332"/>
                </a:cxn>
                <a:cxn ang="0">
                  <a:pos x="3300" y="334"/>
                </a:cxn>
                <a:cxn ang="0">
                  <a:pos x="3401" y="430"/>
                </a:cxn>
                <a:cxn ang="0">
                  <a:pos x="3287" y="424"/>
                </a:cxn>
                <a:cxn ang="0">
                  <a:pos x="3080" y="569"/>
                </a:cxn>
                <a:cxn ang="0">
                  <a:pos x="3143" y="527"/>
                </a:cxn>
                <a:cxn ang="0">
                  <a:pos x="3166" y="894"/>
                </a:cxn>
                <a:cxn ang="0">
                  <a:pos x="3255" y="529"/>
                </a:cxn>
                <a:cxn ang="0">
                  <a:pos x="3308" y="465"/>
                </a:cxn>
                <a:cxn ang="0">
                  <a:pos x="3422" y="693"/>
                </a:cxn>
                <a:cxn ang="0">
                  <a:pos x="3517" y="822"/>
                </a:cxn>
                <a:cxn ang="0">
                  <a:pos x="3580" y="935"/>
                </a:cxn>
                <a:cxn ang="0">
                  <a:pos x="3987" y="736"/>
                </a:cxn>
                <a:cxn ang="0">
                  <a:pos x="4034" y="648"/>
                </a:cxn>
                <a:cxn ang="0">
                  <a:pos x="4562" y="329"/>
                </a:cxn>
                <a:cxn ang="0">
                  <a:pos x="4711" y="257"/>
                </a:cxn>
                <a:cxn ang="0">
                  <a:pos x="4783" y="512"/>
                </a:cxn>
                <a:cxn ang="0">
                  <a:pos x="4713" y="639"/>
                </a:cxn>
                <a:cxn ang="0">
                  <a:pos x="4496" y="854"/>
                </a:cxn>
                <a:cxn ang="0">
                  <a:pos x="4584" y="921"/>
                </a:cxn>
                <a:cxn ang="0">
                  <a:pos x="4322" y="977"/>
                </a:cxn>
                <a:cxn ang="0">
                  <a:pos x="4164" y="1227"/>
                </a:cxn>
                <a:cxn ang="0">
                  <a:pos x="4084" y="1415"/>
                </a:cxn>
                <a:cxn ang="0">
                  <a:pos x="4046" y="1281"/>
                </a:cxn>
                <a:cxn ang="0">
                  <a:pos x="4025" y="1195"/>
                </a:cxn>
                <a:cxn ang="0">
                  <a:pos x="3966" y="1275"/>
                </a:cxn>
                <a:cxn ang="0">
                  <a:pos x="4072" y="1433"/>
                </a:cxn>
                <a:cxn ang="0">
                  <a:pos x="4031" y="1531"/>
                </a:cxn>
                <a:cxn ang="0">
                  <a:pos x="4070" y="1553"/>
                </a:cxn>
                <a:cxn ang="0">
                  <a:pos x="4062" y="1606"/>
                </a:cxn>
                <a:cxn ang="0">
                  <a:pos x="4037" y="1610"/>
                </a:cxn>
                <a:cxn ang="0">
                  <a:pos x="3923" y="1733"/>
                </a:cxn>
                <a:cxn ang="0">
                  <a:pos x="3654" y="1924"/>
                </a:cxn>
                <a:cxn ang="0">
                  <a:pos x="3635" y="2586"/>
                </a:cxn>
              </a:cxnLst>
              <a:rect l="0" t="0" r="r" b="b"/>
              <a:pathLst>
                <a:path w="4827" h="2587">
                  <a:moveTo>
                    <a:pt x="3635" y="2586"/>
                  </a:moveTo>
                  <a:cubicBezTo>
                    <a:pt x="3633" y="2586"/>
                    <a:pt x="3631" y="2584"/>
                    <a:pt x="3630" y="2582"/>
                  </a:cubicBezTo>
                  <a:lnTo>
                    <a:pt x="3610" y="2525"/>
                  </a:lnTo>
                  <a:lnTo>
                    <a:pt x="3581" y="2509"/>
                  </a:lnTo>
                  <a:cubicBezTo>
                    <a:pt x="3580" y="2508"/>
                    <a:pt x="3580" y="2507"/>
                    <a:pt x="3579" y="2506"/>
                  </a:cubicBezTo>
                  <a:lnTo>
                    <a:pt x="3551" y="2422"/>
                  </a:lnTo>
                  <a:lnTo>
                    <a:pt x="3543" y="2424"/>
                  </a:lnTo>
                  <a:cubicBezTo>
                    <a:pt x="3542" y="2425"/>
                    <a:pt x="3542" y="2425"/>
                    <a:pt x="3541" y="2425"/>
                  </a:cubicBezTo>
                  <a:cubicBezTo>
                    <a:pt x="3540" y="2425"/>
                    <a:pt x="3539" y="2424"/>
                    <a:pt x="3538" y="2423"/>
                  </a:cubicBezTo>
                  <a:lnTo>
                    <a:pt x="3504" y="2376"/>
                  </a:lnTo>
                  <a:cubicBezTo>
                    <a:pt x="3503" y="2375"/>
                    <a:pt x="3503" y="2374"/>
                    <a:pt x="3503" y="2372"/>
                  </a:cubicBezTo>
                  <a:lnTo>
                    <a:pt x="3514" y="2333"/>
                  </a:lnTo>
                  <a:lnTo>
                    <a:pt x="3499" y="2336"/>
                  </a:lnTo>
                  <a:cubicBezTo>
                    <a:pt x="3498" y="2336"/>
                    <a:pt x="3497" y="2335"/>
                    <a:pt x="3496" y="2335"/>
                  </a:cubicBezTo>
                  <a:cubicBezTo>
                    <a:pt x="3495" y="2334"/>
                    <a:pt x="3494" y="2333"/>
                    <a:pt x="3494" y="2331"/>
                  </a:cubicBezTo>
                  <a:lnTo>
                    <a:pt x="3490" y="2206"/>
                  </a:lnTo>
                  <a:lnTo>
                    <a:pt x="3392" y="2121"/>
                  </a:lnTo>
                  <a:lnTo>
                    <a:pt x="3289" y="2158"/>
                  </a:lnTo>
                  <a:cubicBezTo>
                    <a:pt x="3288" y="2158"/>
                    <a:pt x="3288" y="2158"/>
                    <a:pt x="3287" y="2158"/>
                  </a:cubicBezTo>
                  <a:cubicBezTo>
                    <a:pt x="3286" y="2158"/>
                    <a:pt x="3285" y="2158"/>
                    <a:pt x="3284" y="2157"/>
                  </a:cubicBezTo>
                  <a:lnTo>
                    <a:pt x="3197" y="2082"/>
                  </a:lnTo>
                  <a:lnTo>
                    <a:pt x="3139" y="2086"/>
                  </a:lnTo>
                  <a:cubicBezTo>
                    <a:pt x="3138" y="2086"/>
                    <a:pt x="3137" y="2086"/>
                    <a:pt x="3136" y="2085"/>
                  </a:cubicBezTo>
                  <a:cubicBezTo>
                    <a:pt x="3135" y="2084"/>
                    <a:pt x="3134" y="2083"/>
                    <a:pt x="3134" y="2081"/>
                  </a:cubicBezTo>
                  <a:lnTo>
                    <a:pt x="3134" y="2080"/>
                  </a:lnTo>
                  <a:lnTo>
                    <a:pt x="3064" y="2103"/>
                  </a:lnTo>
                  <a:lnTo>
                    <a:pt x="3063" y="2103"/>
                  </a:lnTo>
                  <a:cubicBezTo>
                    <a:pt x="3062" y="2103"/>
                    <a:pt x="3061" y="2103"/>
                    <a:pt x="3060" y="2102"/>
                  </a:cubicBezTo>
                  <a:cubicBezTo>
                    <a:pt x="3059" y="2102"/>
                    <a:pt x="3058" y="2100"/>
                    <a:pt x="3058" y="2099"/>
                  </a:cubicBezTo>
                  <a:lnTo>
                    <a:pt x="3055" y="2057"/>
                  </a:lnTo>
                  <a:lnTo>
                    <a:pt x="3042" y="2092"/>
                  </a:lnTo>
                  <a:cubicBezTo>
                    <a:pt x="3041" y="2093"/>
                    <a:pt x="3039" y="2095"/>
                    <a:pt x="3037" y="2095"/>
                  </a:cubicBezTo>
                  <a:lnTo>
                    <a:pt x="2869" y="2099"/>
                  </a:lnTo>
                  <a:lnTo>
                    <a:pt x="2872" y="2115"/>
                  </a:lnTo>
                  <a:lnTo>
                    <a:pt x="2948" y="2111"/>
                  </a:lnTo>
                  <a:cubicBezTo>
                    <a:pt x="2950" y="2111"/>
                    <a:pt x="2951" y="2111"/>
                    <a:pt x="2952" y="2113"/>
                  </a:cubicBezTo>
                  <a:cubicBezTo>
                    <a:pt x="2953" y="2114"/>
                    <a:pt x="2953" y="2116"/>
                    <a:pt x="2952" y="2118"/>
                  </a:cubicBezTo>
                  <a:lnTo>
                    <a:pt x="2925" y="2165"/>
                  </a:lnTo>
                  <a:lnTo>
                    <a:pt x="2964" y="2205"/>
                  </a:lnTo>
                  <a:cubicBezTo>
                    <a:pt x="2965" y="2206"/>
                    <a:pt x="2966" y="2207"/>
                    <a:pt x="2966" y="2209"/>
                  </a:cubicBezTo>
                  <a:cubicBezTo>
                    <a:pt x="2966" y="2210"/>
                    <a:pt x="2965" y="2211"/>
                    <a:pt x="2964" y="2212"/>
                  </a:cubicBezTo>
                  <a:lnTo>
                    <a:pt x="2947" y="2225"/>
                  </a:lnTo>
                  <a:cubicBezTo>
                    <a:pt x="2946" y="2226"/>
                    <a:pt x="2945" y="2226"/>
                    <a:pt x="2944" y="2226"/>
                  </a:cubicBezTo>
                  <a:cubicBezTo>
                    <a:pt x="2943" y="2226"/>
                    <a:pt x="2942" y="2225"/>
                    <a:pt x="2941" y="2225"/>
                  </a:cubicBezTo>
                  <a:lnTo>
                    <a:pt x="2894" y="2186"/>
                  </a:lnTo>
                  <a:lnTo>
                    <a:pt x="2880" y="2207"/>
                  </a:lnTo>
                  <a:cubicBezTo>
                    <a:pt x="2879" y="2208"/>
                    <a:pt x="2878" y="2209"/>
                    <a:pt x="2876" y="2209"/>
                  </a:cubicBezTo>
                  <a:lnTo>
                    <a:pt x="2825" y="2209"/>
                  </a:lnTo>
                  <a:lnTo>
                    <a:pt x="2732" y="2155"/>
                  </a:lnTo>
                  <a:lnTo>
                    <a:pt x="2705" y="2170"/>
                  </a:lnTo>
                  <a:lnTo>
                    <a:pt x="2567" y="2154"/>
                  </a:lnTo>
                  <a:lnTo>
                    <a:pt x="2497" y="2183"/>
                  </a:lnTo>
                  <a:cubicBezTo>
                    <a:pt x="2496" y="2183"/>
                    <a:pt x="2496" y="2184"/>
                    <a:pt x="2495" y="2184"/>
                  </a:cubicBezTo>
                  <a:cubicBezTo>
                    <a:pt x="2494" y="2184"/>
                    <a:pt x="2492" y="2183"/>
                    <a:pt x="2491" y="2182"/>
                  </a:cubicBezTo>
                  <a:cubicBezTo>
                    <a:pt x="2490" y="2180"/>
                    <a:pt x="2490" y="2178"/>
                    <a:pt x="2491" y="2176"/>
                  </a:cubicBezTo>
                  <a:lnTo>
                    <a:pt x="2501" y="2163"/>
                  </a:lnTo>
                  <a:lnTo>
                    <a:pt x="2490" y="2157"/>
                  </a:lnTo>
                  <a:lnTo>
                    <a:pt x="2470" y="2235"/>
                  </a:lnTo>
                  <a:cubicBezTo>
                    <a:pt x="2470" y="2236"/>
                    <a:pt x="2468" y="2238"/>
                    <a:pt x="2467" y="2238"/>
                  </a:cubicBezTo>
                  <a:lnTo>
                    <a:pt x="2425" y="2255"/>
                  </a:lnTo>
                  <a:lnTo>
                    <a:pt x="2361" y="2255"/>
                  </a:lnTo>
                  <a:lnTo>
                    <a:pt x="2364" y="2280"/>
                  </a:lnTo>
                  <a:cubicBezTo>
                    <a:pt x="2364" y="2281"/>
                    <a:pt x="2364" y="2283"/>
                    <a:pt x="2362" y="2284"/>
                  </a:cubicBezTo>
                  <a:lnTo>
                    <a:pt x="2288" y="2337"/>
                  </a:lnTo>
                  <a:lnTo>
                    <a:pt x="2296" y="2385"/>
                  </a:lnTo>
                  <a:cubicBezTo>
                    <a:pt x="2297" y="2388"/>
                    <a:pt x="2295" y="2390"/>
                    <a:pt x="2293" y="2391"/>
                  </a:cubicBezTo>
                  <a:lnTo>
                    <a:pt x="2280" y="2393"/>
                  </a:lnTo>
                  <a:lnTo>
                    <a:pt x="2287" y="2400"/>
                  </a:lnTo>
                  <a:cubicBezTo>
                    <a:pt x="2287" y="2401"/>
                    <a:pt x="2288" y="2402"/>
                    <a:pt x="2288" y="2404"/>
                  </a:cubicBezTo>
                  <a:lnTo>
                    <a:pt x="2284" y="2437"/>
                  </a:lnTo>
                  <a:lnTo>
                    <a:pt x="2313" y="2516"/>
                  </a:lnTo>
                  <a:cubicBezTo>
                    <a:pt x="2314" y="2517"/>
                    <a:pt x="2313" y="2519"/>
                    <a:pt x="2312" y="2520"/>
                  </a:cubicBezTo>
                  <a:cubicBezTo>
                    <a:pt x="2311" y="2521"/>
                    <a:pt x="2310" y="2522"/>
                    <a:pt x="2309" y="2522"/>
                  </a:cubicBezTo>
                  <a:cubicBezTo>
                    <a:pt x="2308" y="2522"/>
                    <a:pt x="2308" y="2522"/>
                    <a:pt x="2307" y="2522"/>
                  </a:cubicBezTo>
                  <a:lnTo>
                    <a:pt x="2138" y="2467"/>
                  </a:lnTo>
                  <a:cubicBezTo>
                    <a:pt x="2137" y="2466"/>
                    <a:pt x="2135" y="2465"/>
                    <a:pt x="2135" y="2464"/>
                  </a:cubicBezTo>
                  <a:lnTo>
                    <a:pt x="2084" y="2354"/>
                  </a:lnTo>
                  <a:lnTo>
                    <a:pt x="2021" y="2283"/>
                  </a:lnTo>
                  <a:lnTo>
                    <a:pt x="1995" y="2210"/>
                  </a:lnTo>
                  <a:lnTo>
                    <a:pt x="1930" y="2146"/>
                  </a:lnTo>
                  <a:lnTo>
                    <a:pt x="1833" y="2154"/>
                  </a:lnTo>
                  <a:lnTo>
                    <a:pt x="1788" y="2228"/>
                  </a:lnTo>
                  <a:cubicBezTo>
                    <a:pt x="1787" y="2229"/>
                    <a:pt x="1786" y="2230"/>
                    <a:pt x="1784" y="2230"/>
                  </a:cubicBezTo>
                  <a:cubicBezTo>
                    <a:pt x="1784" y="2230"/>
                    <a:pt x="1784" y="2230"/>
                    <a:pt x="1783" y="2230"/>
                  </a:cubicBezTo>
                  <a:cubicBezTo>
                    <a:pt x="1783" y="2230"/>
                    <a:pt x="1782" y="2230"/>
                    <a:pt x="1781" y="2229"/>
                  </a:cubicBezTo>
                  <a:lnTo>
                    <a:pt x="1688" y="2170"/>
                  </a:lnTo>
                  <a:lnTo>
                    <a:pt x="1657" y="2122"/>
                  </a:lnTo>
                  <a:lnTo>
                    <a:pt x="1639" y="2066"/>
                  </a:lnTo>
                  <a:lnTo>
                    <a:pt x="1519" y="1959"/>
                  </a:lnTo>
                  <a:lnTo>
                    <a:pt x="1373" y="1959"/>
                  </a:lnTo>
                  <a:lnTo>
                    <a:pt x="1373" y="1997"/>
                  </a:lnTo>
                  <a:cubicBezTo>
                    <a:pt x="1373" y="1999"/>
                    <a:pt x="1371" y="2001"/>
                    <a:pt x="1369" y="2002"/>
                  </a:cubicBezTo>
                  <a:lnTo>
                    <a:pt x="1140" y="2010"/>
                  </a:lnTo>
                  <a:lnTo>
                    <a:pt x="824" y="1870"/>
                  </a:lnTo>
                  <a:lnTo>
                    <a:pt x="631" y="1887"/>
                  </a:lnTo>
                  <a:cubicBezTo>
                    <a:pt x="629" y="1887"/>
                    <a:pt x="627" y="1886"/>
                    <a:pt x="627" y="1884"/>
                  </a:cubicBezTo>
                  <a:lnTo>
                    <a:pt x="614" y="1820"/>
                  </a:lnTo>
                  <a:lnTo>
                    <a:pt x="564" y="1776"/>
                  </a:lnTo>
                  <a:lnTo>
                    <a:pt x="532" y="1764"/>
                  </a:lnTo>
                  <a:lnTo>
                    <a:pt x="514" y="1734"/>
                  </a:lnTo>
                  <a:lnTo>
                    <a:pt x="350" y="1680"/>
                  </a:lnTo>
                  <a:cubicBezTo>
                    <a:pt x="348" y="1679"/>
                    <a:pt x="347" y="1678"/>
                    <a:pt x="347" y="1676"/>
                  </a:cubicBezTo>
                  <a:lnTo>
                    <a:pt x="343" y="1625"/>
                  </a:lnTo>
                  <a:lnTo>
                    <a:pt x="238" y="1501"/>
                  </a:lnTo>
                  <a:cubicBezTo>
                    <a:pt x="237" y="1500"/>
                    <a:pt x="237" y="1499"/>
                    <a:pt x="237" y="1497"/>
                  </a:cubicBezTo>
                  <a:lnTo>
                    <a:pt x="241" y="1445"/>
                  </a:lnTo>
                  <a:lnTo>
                    <a:pt x="201" y="1417"/>
                  </a:lnTo>
                  <a:lnTo>
                    <a:pt x="182" y="1360"/>
                  </a:lnTo>
                  <a:cubicBezTo>
                    <a:pt x="181" y="1358"/>
                    <a:pt x="182" y="1356"/>
                    <a:pt x="183" y="1355"/>
                  </a:cubicBezTo>
                  <a:lnTo>
                    <a:pt x="192" y="1346"/>
                  </a:lnTo>
                  <a:cubicBezTo>
                    <a:pt x="192" y="1345"/>
                    <a:pt x="194" y="1345"/>
                    <a:pt x="195" y="1345"/>
                  </a:cubicBezTo>
                  <a:cubicBezTo>
                    <a:pt x="196" y="1345"/>
                    <a:pt x="197" y="1345"/>
                    <a:pt x="198" y="1346"/>
                  </a:cubicBezTo>
                  <a:lnTo>
                    <a:pt x="203" y="1351"/>
                  </a:lnTo>
                  <a:lnTo>
                    <a:pt x="195" y="1335"/>
                  </a:lnTo>
                  <a:cubicBezTo>
                    <a:pt x="194" y="1333"/>
                    <a:pt x="195" y="1330"/>
                    <a:pt x="196" y="1329"/>
                  </a:cubicBezTo>
                  <a:lnTo>
                    <a:pt x="216" y="1315"/>
                  </a:lnTo>
                  <a:lnTo>
                    <a:pt x="190" y="1312"/>
                  </a:lnTo>
                  <a:lnTo>
                    <a:pt x="182" y="1334"/>
                  </a:lnTo>
                  <a:cubicBezTo>
                    <a:pt x="182" y="1336"/>
                    <a:pt x="181" y="1337"/>
                    <a:pt x="179" y="1337"/>
                  </a:cubicBezTo>
                  <a:lnTo>
                    <a:pt x="178" y="1337"/>
                  </a:lnTo>
                  <a:cubicBezTo>
                    <a:pt x="177" y="1337"/>
                    <a:pt x="176" y="1337"/>
                    <a:pt x="175" y="1337"/>
                  </a:cubicBezTo>
                  <a:lnTo>
                    <a:pt x="150" y="1320"/>
                  </a:lnTo>
                  <a:lnTo>
                    <a:pt x="89" y="1234"/>
                  </a:lnTo>
                  <a:lnTo>
                    <a:pt x="76" y="1143"/>
                  </a:lnTo>
                  <a:lnTo>
                    <a:pt x="30" y="1077"/>
                  </a:lnTo>
                  <a:cubicBezTo>
                    <a:pt x="29" y="1076"/>
                    <a:pt x="29" y="1075"/>
                    <a:pt x="29" y="1074"/>
                  </a:cubicBezTo>
                  <a:lnTo>
                    <a:pt x="55" y="955"/>
                  </a:lnTo>
                  <a:lnTo>
                    <a:pt x="42" y="907"/>
                  </a:lnTo>
                  <a:lnTo>
                    <a:pt x="21" y="788"/>
                  </a:lnTo>
                  <a:lnTo>
                    <a:pt x="42" y="726"/>
                  </a:lnTo>
                  <a:lnTo>
                    <a:pt x="63" y="419"/>
                  </a:lnTo>
                  <a:cubicBezTo>
                    <a:pt x="63" y="417"/>
                    <a:pt x="65" y="415"/>
                    <a:pt x="66" y="414"/>
                  </a:cubicBezTo>
                  <a:lnTo>
                    <a:pt x="107" y="402"/>
                  </a:lnTo>
                  <a:lnTo>
                    <a:pt x="58" y="385"/>
                  </a:lnTo>
                  <a:cubicBezTo>
                    <a:pt x="56" y="385"/>
                    <a:pt x="55" y="383"/>
                    <a:pt x="55" y="381"/>
                  </a:cubicBezTo>
                  <a:lnTo>
                    <a:pt x="50" y="348"/>
                  </a:lnTo>
                  <a:cubicBezTo>
                    <a:pt x="50" y="346"/>
                    <a:pt x="51" y="344"/>
                    <a:pt x="53" y="343"/>
                  </a:cubicBezTo>
                  <a:cubicBezTo>
                    <a:pt x="54" y="343"/>
                    <a:pt x="54" y="342"/>
                    <a:pt x="55" y="342"/>
                  </a:cubicBezTo>
                  <a:cubicBezTo>
                    <a:pt x="56" y="342"/>
                    <a:pt x="57" y="343"/>
                    <a:pt x="58" y="344"/>
                  </a:cubicBezTo>
                  <a:lnTo>
                    <a:pt x="67" y="353"/>
                  </a:lnTo>
                  <a:lnTo>
                    <a:pt x="67" y="341"/>
                  </a:lnTo>
                  <a:lnTo>
                    <a:pt x="53" y="334"/>
                  </a:lnTo>
                  <a:cubicBezTo>
                    <a:pt x="51" y="333"/>
                    <a:pt x="50" y="331"/>
                    <a:pt x="50" y="329"/>
                  </a:cubicBezTo>
                  <a:lnTo>
                    <a:pt x="54" y="305"/>
                  </a:lnTo>
                  <a:lnTo>
                    <a:pt x="51" y="305"/>
                  </a:lnTo>
                  <a:cubicBezTo>
                    <a:pt x="49" y="305"/>
                    <a:pt x="47" y="304"/>
                    <a:pt x="46" y="302"/>
                  </a:cubicBezTo>
                  <a:lnTo>
                    <a:pt x="0" y="154"/>
                  </a:lnTo>
                  <a:lnTo>
                    <a:pt x="8" y="130"/>
                  </a:lnTo>
                  <a:cubicBezTo>
                    <a:pt x="9" y="128"/>
                    <a:pt x="11" y="127"/>
                    <a:pt x="13" y="127"/>
                  </a:cubicBezTo>
                  <a:cubicBezTo>
                    <a:pt x="13" y="127"/>
                    <a:pt x="13" y="127"/>
                    <a:pt x="14" y="127"/>
                  </a:cubicBezTo>
                  <a:lnTo>
                    <a:pt x="166" y="160"/>
                  </a:lnTo>
                  <a:cubicBezTo>
                    <a:pt x="168" y="161"/>
                    <a:pt x="170" y="163"/>
                    <a:pt x="170" y="165"/>
                  </a:cubicBezTo>
                  <a:lnTo>
                    <a:pt x="170" y="190"/>
                  </a:lnTo>
                  <a:lnTo>
                    <a:pt x="145" y="237"/>
                  </a:lnTo>
                  <a:lnTo>
                    <a:pt x="153" y="246"/>
                  </a:lnTo>
                  <a:lnTo>
                    <a:pt x="198" y="189"/>
                  </a:lnTo>
                  <a:lnTo>
                    <a:pt x="190" y="138"/>
                  </a:lnTo>
                  <a:lnTo>
                    <a:pt x="175" y="127"/>
                  </a:lnTo>
                  <a:cubicBezTo>
                    <a:pt x="173" y="125"/>
                    <a:pt x="173" y="122"/>
                    <a:pt x="174" y="120"/>
                  </a:cubicBezTo>
                  <a:lnTo>
                    <a:pt x="193" y="94"/>
                  </a:lnTo>
                  <a:lnTo>
                    <a:pt x="154" y="63"/>
                  </a:lnTo>
                  <a:cubicBezTo>
                    <a:pt x="152" y="62"/>
                    <a:pt x="152" y="60"/>
                    <a:pt x="152" y="58"/>
                  </a:cubicBezTo>
                  <a:cubicBezTo>
                    <a:pt x="153" y="56"/>
                    <a:pt x="155" y="55"/>
                    <a:pt x="157" y="55"/>
                  </a:cubicBezTo>
                  <a:lnTo>
                    <a:pt x="2461" y="59"/>
                  </a:lnTo>
                  <a:lnTo>
                    <a:pt x="2465" y="4"/>
                  </a:lnTo>
                  <a:cubicBezTo>
                    <a:pt x="2465" y="2"/>
                    <a:pt x="2467" y="0"/>
                    <a:pt x="2469" y="0"/>
                  </a:cubicBezTo>
                  <a:cubicBezTo>
                    <a:pt x="2469" y="0"/>
                    <a:pt x="2469" y="0"/>
                    <a:pt x="2470" y="0"/>
                  </a:cubicBezTo>
                  <a:cubicBezTo>
                    <a:pt x="2471" y="0"/>
                    <a:pt x="2473" y="1"/>
                    <a:pt x="2474" y="2"/>
                  </a:cubicBezTo>
                  <a:lnTo>
                    <a:pt x="2515" y="89"/>
                  </a:lnTo>
                  <a:lnTo>
                    <a:pt x="2661" y="101"/>
                  </a:lnTo>
                  <a:lnTo>
                    <a:pt x="2781" y="169"/>
                  </a:lnTo>
                  <a:lnTo>
                    <a:pt x="2825" y="160"/>
                  </a:lnTo>
                  <a:lnTo>
                    <a:pt x="2915" y="182"/>
                  </a:lnTo>
                  <a:cubicBezTo>
                    <a:pt x="2918" y="182"/>
                    <a:pt x="2919" y="183"/>
                    <a:pt x="2919" y="185"/>
                  </a:cubicBezTo>
                  <a:cubicBezTo>
                    <a:pt x="2919" y="187"/>
                    <a:pt x="2919" y="189"/>
                    <a:pt x="2917" y="190"/>
                  </a:cubicBezTo>
                  <a:lnTo>
                    <a:pt x="2790" y="283"/>
                  </a:lnTo>
                  <a:lnTo>
                    <a:pt x="2739" y="344"/>
                  </a:lnTo>
                  <a:lnTo>
                    <a:pt x="2815" y="313"/>
                  </a:lnTo>
                  <a:cubicBezTo>
                    <a:pt x="2816" y="313"/>
                    <a:pt x="2816" y="313"/>
                    <a:pt x="2817" y="313"/>
                  </a:cubicBezTo>
                  <a:cubicBezTo>
                    <a:pt x="2818" y="313"/>
                    <a:pt x="2819" y="313"/>
                    <a:pt x="2819" y="313"/>
                  </a:cubicBezTo>
                  <a:cubicBezTo>
                    <a:pt x="2821" y="314"/>
                    <a:pt x="2822" y="315"/>
                    <a:pt x="2822" y="317"/>
                  </a:cubicBezTo>
                  <a:lnTo>
                    <a:pt x="2825" y="355"/>
                  </a:lnTo>
                  <a:lnTo>
                    <a:pt x="2876" y="351"/>
                  </a:lnTo>
                  <a:lnTo>
                    <a:pt x="3073" y="246"/>
                  </a:lnTo>
                  <a:cubicBezTo>
                    <a:pt x="3074" y="245"/>
                    <a:pt x="3075" y="245"/>
                    <a:pt x="3075" y="245"/>
                  </a:cubicBezTo>
                  <a:cubicBezTo>
                    <a:pt x="3077" y="245"/>
                    <a:pt x="3078" y="246"/>
                    <a:pt x="3079" y="247"/>
                  </a:cubicBezTo>
                  <a:cubicBezTo>
                    <a:pt x="3081" y="249"/>
                    <a:pt x="3081" y="251"/>
                    <a:pt x="3079" y="253"/>
                  </a:cubicBezTo>
                  <a:lnTo>
                    <a:pt x="3025" y="315"/>
                  </a:lnTo>
                  <a:lnTo>
                    <a:pt x="3025" y="332"/>
                  </a:lnTo>
                  <a:lnTo>
                    <a:pt x="3061" y="317"/>
                  </a:lnTo>
                  <a:cubicBezTo>
                    <a:pt x="3062" y="317"/>
                    <a:pt x="3062" y="317"/>
                    <a:pt x="3063" y="317"/>
                  </a:cubicBezTo>
                  <a:cubicBezTo>
                    <a:pt x="3064" y="317"/>
                    <a:pt x="3065" y="317"/>
                    <a:pt x="3066" y="318"/>
                  </a:cubicBezTo>
                  <a:lnTo>
                    <a:pt x="3121" y="369"/>
                  </a:lnTo>
                  <a:lnTo>
                    <a:pt x="3167" y="372"/>
                  </a:lnTo>
                  <a:lnTo>
                    <a:pt x="3213" y="339"/>
                  </a:lnTo>
                  <a:lnTo>
                    <a:pt x="3300" y="334"/>
                  </a:lnTo>
                  <a:cubicBezTo>
                    <a:pt x="3302" y="334"/>
                    <a:pt x="3304" y="335"/>
                    <a:pt x="3304" y="337"/>
                  </a:cubicBezTo>
                  <a:lnTo>
                    <a:pt x="3312" y="356"/>
                  </a:lnTo>
                  <a:lnTo>
                    <a:pt x="3356" y="368"/>
                  </a:lnTo>
                  <a:lnTo>
                    <a:pt x="3368" y="368"/>
                  </a:lnTo>
                  <a:cubicBezTo>
                    <a:pt x="3370" y="368"/>
                    <a:pt x="3371" y="369"/>
                    <a:pt x="3372" y="370"/>
                  </a:cubicBezTo>
                  <a:lnTo>
                    <a:pt x="3402" y="425"/>
                  </a:lnTo>
                  <a:cubicBezTo>
                    <a:pt x="3402" y="427"/>
                    <a:pt x="3402" y="428"/>
                    <a:pt x="3401" y="430"/>
                  </a:cubicBezTo>
                  <a:cubicBezTo>
                    <a:pt x="3401" y="431"/>
                    <a:pt x="3399" y="432"/>
                    <a:pt x="3398" y="432"/>
                  </a:cubicBezTo>
                  <a:lnTo>
                    <a:pt x="3345" y="428"/>
                  </a:lnTo>
                  <a:lnTo>
                    <a:pt x="3334" y="447"/>
                  </a:lnTo>
                  <a:cubicBezTo>
                    <a:pt x="3333" y="448"/>
                    <a:pt x="3332" y="449"/>
                    <a:pt x="3331" y="449"/>
                  </a:cubicBezTo>
                  <a:lnTo>
                    <a:pt x="3330" y="449"/>
                  </a:lnTo>
                  <a:cubicBezTo>
                    <a:pt x="3329" y="449"/>
                    <a:pt x="3328" y="449"/>
                    <a:pt x="3327" y="448"/>
                  </a:cubicBezTo>
                  <a:lnTo>
                    <a:pt x="3287" y="424"/>
                  </a:lnTo>
                  <a:lnTo>
                    <a:pt x="3175" y="474"/>
                  </a:lnTo>
                  <a:cubicBezTo>
                    <a:pt x="3174" y="474"/>
                    <a:pt x="3174" y="474"/>
                    <a:pt x="3173" y="474"/>
                  </a:cubicBezTo>
                  <a:cubicBezTo>
                    <a:pt x="3172" y="474"/>
                    <a:pt x="3171" y="474"/>
                    <a:pt x="3170" y="474"/>
                  </a:cubicBezTo>
                  <a:cubicBezTo>
                    <a:pt x="3169" y="473"/>
                    <a:pt x="3168" y="471"/>
                    <a:pt x="3168" y="470"/>
                  </a:cubicBezTo>
                  <a:lnTo>
                    <a:pt x="3168" y="453"/>
                  </a:lnTo>
                  <a:lnTo>
                    <a:pt x="3133" y="478"/>
                  </a:lnTo>
                  <a:lnTo>
                    <a:pt x="3080" y="569"/>
                  </a:lnTo>
                  <a:lnTo>
                    <a:pt x="3073" y="585"/>
                  </a:lnTo>
                  <a:lnTo>
                    <a:pt x="3110" y="564"/>
                  </a:lnTo>
                  <a:lnTo>
                    <a:pt x="3126" y="511"/>
                  </a:lnTo>
                  <a:cubicBezTo>
                    <a:pt x="3127" y="509"/>
                    <a:pt x="3128" y="508"/>
                    <a:pt x="3130" y="507"/>
                  </a:cubicBezTo>
                  <a:lnTo>
                    <a:pt x="3130" y="507"/>
                  </a:lnTo>
                  <a:cubicBezTo>
                    <a:pt x="3132" y="507"/>
                    <a:pt x="3134" y="508"/>
                    <a:pt x="3135" y="510"/>
                  </a:cubicBezTo>
                  <a:lnTo>
                    <a:pt x="3143" y="527"/>
                  </a:lnTo>
                  <a:cubicBezTo>
                    <a:pt x="3144" y="528"/>
                    <a:pt x="3144" y="530"/>
                    <a:pt x="3143" y="531"/>
                  </a:cubicBezTo>
                  <a:lnTo>
                    <a:pt x="3110" y="603"/>
                  </a:lnTo>
                  <a:lnTo>
                    <a:pt x="3076" y="754"/>
                  </a:lnTo>
                  <a:lnTo>
                    <a:pt x="3080" y="854"/>
                  </a:lnTo>
                  <a:lnTo>
                    <a:pt x="3101" y="908"/>
                  </a:lnTo>
                  <a:lnTo>
                    <a:pt x="3130" y="925"/>
                  </a:lnTo>
                  <a:lnTo>
                    <a:pt x="3166" y="894"/>
                  </a:lnTo>
                  <a:lnTo>
                    <a:pt x="3203" y="819"/>
                  </a:lnTo>
                  <a:lnTo>
                    <a:pt x="3202" y="766"/>
                  </a:lnTo>
                  <a:lnTo>
                    <a:pt x="3181" y="704"/>
                  </a:lnTo>
                  <a:lnTo>
                    <a:pt x="3202" y="583"/>
                  </a:lnTo>
                  <a:lnTo>
                    <a:pt x="3250" y="530"/>
                  </a:lnTo>
                  <a:cubicBezTo>
                    <a:pt x="3251" y="529"/>
                    <a:pt x="3252" y="528"/>
                    <a:pt x="3254" y="528"/>
                  </a:cubicBezTo>
                  <a:cubicBezTo>
                    <a:pt x="3254" y="528"/>
                    <a:pt x="3254" y="529"/>
                    <a:pt x="3255" y="529"/>
                  </a:cubicBezTo>
                  <a:cubicBezTo>
                    <a:pt x="3257" y="529"/>
                    <a:pt x="3258" y="531"/>
                    <a:pt x="3258" y="533"/>
                  </a:cubicBezTo>
                  <a:lnTo>
                    <a:pt x="3261" y="558"/>
                  </a:lnTo>
                  <a:lnTo>
                    <a:pt x="3270" y="552"/>
                  </a:lnTo>
                  <a:lnTo>
                    <a:pt x="3270" y="512"/>
                  </a:lnTo>
                  <a:cubicBezTo>
                    <a:pt x="3270" y="510"/>
                    <a:pt x="3272" y="508"/>
                    <a:pt x="3274" y="507"/>
                  </a:cubicBezTo>
                  <a:lnTo>
                    <a:pt x="3308" y="500"/>
                  </a:lnTo>
                  <a:lnTo>
                    <a:pt x="3308" y="465"/>
                  </a:lnTo>
                  <a:cubicBezTo>
                    <a:pt x="3308" y="463"/>
                    <a:pt x="3310" y="461"/>
                    <a:pt x="3313" y="461"/>
                  </a:cubicBezTo>
                  <a:lnTo>
                    <a:pt x="3359" y="461"/>
                  </a:lnTo>
                  <a:lnTo>
                    <a:pt x="3442" y="508"/>
                  </a:lnTo>
                  <a:cubicBezTo>
                    <a:pt x="3444" y="509"/>
                    <a:pt x="3444" y="510"/>
                    <a:pt x="3445" y="511"/>
                  </a:cubicBezTo>
                  <a:lnTo>
                    <a:pt x="3457" y="613"/>
                  </a:lnTo>
                  <a:lnTo>
                    <a:pt x="3409" y="691"/>
                  </a:lnTo>
                  <a:lnTo>
                    <a:pt x="3422" y="693"/>
                  </a:lnTo>
                  <a:lnTo>
                    <a:pt x="3449" y="665"/>
                  </a:lnTo>
                  <a:lnTo>
                    <a:pt x="3485" y="651"/>
                  </a:lnTo>
                  <a:cubicBezTo>
                    <a:pt x="3485" y="651"/>
                    <a:pt x="3486" y="651"/>
                    <a:pt x="3487" y="651"/>
                  </a:cubicBezTo>
                  <a:cubicBezTo>
                    <a:pt x="3487" y="651"/>
                    <a:pt x="3488" y="651"/>
                    <a:pt x="3489" y="651"/>
                  </a:cubicBezTo>
                  <a:cubicBezTo>
                    <a:pt x="3490" y="652"/>
                    <a:pt x="3491" y="653"/>
                    <a:pt x="3491" y="654"/>
                  </a:cubicBezTo>
                  <a:lnTo>
                    <a:pt x="3529" y="768"/>
                  </a:lnTo>
                  <a:lnTo>
                    <a:pt x="3517" y="822"/>
                  </a:lnTo>
                  <a:cubicBezTo>
                    <a:pt x="3516" y="824"/>
                    <a:pt x="3514" y="825"/>
                    <a:pt x="3512" y="825"/>
                  </a:cubicBezTo>
                  <a:lnTo>
                    <a:pt x="3502" y="825"/>
                  </a:lnTo>
                  <a:lnTo>
                    <a:pt x="3491" y="848"/>
                  </a:lnTo>
                  <a:lnTo>
                    <a:pt x="3474" y="890"/>
                  </a:lnTo>
                  <a:lnTo>
                    <a:pt x="3451" y="921"/>
                  </a:lnTo>
                  <a:lnTo>
                    <a:pt x="3480" y="935"/>
                  </a:lnTo>
                  <a:lnTo>
                    <a:pt x="3580" y="935"/>
                  </a:lnTo>
                  <a:lnTo>
                    <a:pt x="3735" y="863"/>
                  </a:lnTo>
                  <a:lnTo>
                    <a:pt x="3820" y="798"/>
                  </a:lnTo>
                  <a:lnTo>
                    <a:pt x="3804" y="755"/>
                  </a:lnTo>
                  <a:cubicBezTo>
                    <a:pt x="3804" y="753"/>
                    <a:pt x="3804" y="752"/>
                    <a:pt x="3804" y="751"/>
                  </a:cubicBezTo>
                  <a:cubicBezTo>
                    <a:pt x="3805" y="750"/>
                    <a:pt x="3806" y="749"/>
                    <a:pt x="3807" y="748"/>
                  </a:cubicBezTo>
                  <a:lnTo>
                    <a:pt x="3888" y="723"/>
                  </a:lnTo>
                  <a:lnTo>
                    <a:pt x="3987" y="736"/>
                  </a:lnTo>
                  <a:lnTo>
                    <a:pt x="4049" y="712"/>
                  </a:lnTo>
                  <a:lnTo>
                    <a:pt x="4041" y="678"/>
                  </a:lnTo>
                  <a:cubicBezTo>
                    <a:pt x="4041" y="677"/>
                    <a:pt x="4041" y="675"/>
                    <a:pt x="4042" y="674"/>
                  </a:cubicBezTo>
                  <a:lnTo>
                    <a:pt x="4051" y="662"/>
                  </a:lnTo>
                  <a:lnTo>
                    <a:pt x="4036" y="656"/>
                  </a:lnTo>
                  <a:cubicBezTo>
                    <a:pt x="4034" y="655"/>
                    <a:pt x="4033" y="654"/>
                    <a:pt x="4033" y="652"/>
                  </a:cubicBezTo>
                  <a:cubicBezTo>
                    <a:pt x="4032" y="651"/>
                    <a:pt x="4033" y="649"/>
                    <a:pt x="4034" y="648"/>
                  </a:cubicBezTo>
                  <a:lnTo>
                    <a:pt x="4085" y="593"/>
                  </a:lnTo>
                  <a:lnTo>
                    <a:pt x="4149" y="546"/>
                  </a:lnTo>
                  <a:lnTo>
                    <a:pt x="4432" y="545"/>
                  </a:lnTo>
                  <a:lnTo>
                    <a:pt x="4448" y="514"/>
                  </a:lnTo>
                  <a:cubicBezTo>
                    <a:pt x="4449" y="513"/>
                    <a:pt x="4450" y="512"/>
                    <a:pt x="4452" y="511"/>
                  </a:cubicBezTo>
                  <a:lnTo>
                    <a:pt x="4512" y="503"/>
                  </a:lnTo>
                  <a:lnTo>
                    <a:pt x="4562" y="329"/>
                  </a:lnTo>
                  <a:lnTo>
                    <a:pt x="4614" y="251"/>
                  </a:lnTo>
                  <a:cubicBezTo>
                    <a:pt x="4614" y="250"/>
                    <a:pt x="4615" y="249"/>
                    <a:pt x="4617" y="249"/>
                  </a:cubicBezTo>
                  <a:cubicBezTo>
                    <a:pt x="4617" y="249"/>
                    <a:pt x="4617" y="249"/>
                    <a:pt x="4618" y="249"/>
                  </a:cubicBezTo>
                  <a:cubicBezTo>
                    <a:pt x="4619" y="249"/>
                    <a:pt x="4620" y="249"/>
                    <a:pt x="4620" y="250"/>
                  </a:cubicBezTo>
                  <a:lnTo>
                    <a:pt x="4665" y="282"/>
                  </a:lnTo>
                  <a:lnTo>
                    <a:pt x="4709" y="258"/>
                  </a:lnTo>
                  <a:cubicBezTo>
                    <a:pt x="4709" y="258"/>
                    <a:pt x="4710" y="257"/>
                    <a:pt x="4711" y="257"/>
                  </a:cubicBezTo>
                  <a:cubicBezTo>
                    <a:pt x="4712" y="257"/>
                    <a:pt x="4713" y="258"/>
                    <a:pt x="4714" y="259"/>
                  </a:cubicBezTo>
                  <a:lnTo>
                    <a:pt x="4756" y="301"/>
                  </a:lnTo>
                  <a:cubicBezTo>
                    <a:pt x="4757" y="302"/>
                    <a:pt x="4758" y="303"/>
                    <a:pt x="4758" y="304"/>
                  </a:cubicBezTo>
                  <a:lnTo>
                    <a:pt x="4758" y="462"/>
                  </a:lnTo>
                  <a:lnTo>
                    <a:pt x="4776" y="469"/>
                  </a:lnTo>
                  <a:cubicBezTo>
                    <a:pt x="4778" y="470"/>
                    <a:pt x="4779" y="471"/>
                    <a:pt x="4779" y="473"/>
                  </a:cubicBezTo>
                  <a:lnTo>
                    <a:pt x="4783" y="512"/>
                  </a:lnTo>
                  <a:lnTo>
                    <a:pt x="4818" y="520"/>
                  </a:lnTo>
                  <a:cubicBezTo>
                    <a:pt x="4820" y="520"/>
                    <a:pt x="4822" y="523"/>
                    <a:pt x="4821" y="525"/>
                  </a:cubicBezTo>
                  <a:lnTo>
                    <a:pt x="4817" y="557"/>
                  </a:lnTo>
                  <a:lnTo>
                    <a:pt x="4825" y="568"/>
                  </a:lnTo>
                  <a:cubicBezTo>
                    <a:pt x="4826" y="570"/>
                    <a:pt x="4826" y="572"/>
                    <a:pt x="4825" y="574"/>
                  </a:cubicBezTo>
                  <a:lnTo>
                    <a:pt x="4816" y="586"/>
                  </a:lnTo>
                  <a:lnTo>
                    <a:pt x="4713" y="639"/>
                  </a:lnTo>
                  <a:cubicBezTo>
                    <a:pt x="4712" y="639"/>
                    <a:pt x="4711" y="639"/>
                    <a:pt x="4711" y="639"/>
                  </a:cubicBezTo>
                  <a:cubicBezTo>
                    <a:pt x="4710" y="639"/>
                    <a:pt x="4709" y="639"/>
                    <a:pt x="4708" y="638"/>
                  </a:cubicBezTo>
                  <a:lnTo>
                    <a:pt x="4670" y="608"/>
                  </a:lnTo>
                  <a:lnTo>
                    <a:pt x="4647" y="662"/>
                  </a:lnTo>
                  <a:cubicBezTo>
                    <a:pt x="4647" y="663"/>
                    <a:pt x="4646" y="664"/>
                    <a:pt x="4645" y="664"/>
                  </a:cubicBezTo>
                  <a:lnTo>
                    <a:pt x="4558" y="701"/>
                  </a:lnTo>
                  <a:lnTo>
                    <a:pt x="4496" y="854"/>
                  </a:lnTo>
                  <a:lnTo>
                    <a:pt x="4544" y="917"/>
                  </a:lnTo>
                  <a:lnTo>
                    <a:pt x="4563" y="917"/>
                  </a:lnTo>
                  <a:lnTo>
                    <a:pt x="4571" y="891"/>
                  </a:lnTo>
                  <a:cubicBezTo>
                    <a:pt x="4571" y="889"/>
                    <a:pt x="4573" y="888"/>
                    <a:pt x="4575" y="888"/>
                  </a:cubicBezTo>
                  <a:lnTo>
                    <a:pt x="4575" y="888"/>
                  </a:lnTo>
                  <a:cubicBezTo>
                    <a:pt x="4578" y="888"/>
                    <a:pt x="4579" y="890"/>
                    <a:pt x="4580" y="892"/>
                  </a:cubicBezTo>
                  <a:lnTo>
                    <a:pt x="4584" y="921"/>
                  </a:lnTo>
                  <a:cubicBezTo>
                    <a:pt x="4585" y="924"/>
                    <a:pt x="4583" y="926"/>
                    <a:pt x="4580" y="927"/>
                  </a:cubicBezTo>
                  <a:lnTo>
                    <a:pt x="4482" y="944"/>
                  </a:lnTo>
                  <a:cubicBezTo>
                    <a:pt x="4481" y="944"/>
                    <a:pt x="4479" y="943"/>
                    <a:pt x="4478" y="942"/>
                  </a:cubicBezTo>
                  <a:lnTo>
                    <a:pt x="4469" y="930"/>
                  </a:lnTo>
                  <a:lnTo>
                    <a:pt x="4443" y="959"/>
                  </a:lnTo>
                  <a:cubicBezTo>
                    <a:pt x="4442" y="960"/>
                    <a:pt x="4441" y="960"/>
                    <a:pt x="4440" y="961"/>
                  </a:cubicBezTo>
                  <a:lnTo>
                    <a:pt x="4322" y="977"/>
                  </a:lnTo>
                  <a:lnTo>
                    <a:pt x="4228" y="1039"/>
                  </a:lnTo>
                  <a:lnTo>
                    <a:pt x="4224" y="1056"/>
                  </a:lnTo>
                  <a:lnTo>
                    <a:pt x="4245" y="1089"/>
                  </a:lnTo>
                  <a:cubicBezTo>
                    <a:pt x="4245" y="1090"/>
                    <a:pt x="4246" y="1092"/>
                    <a:pt x="4245" y="1093"/>
                  </a:cubicBezTo>
                  <a:lnTo>
                    <a:pt x="4224" y="1148"/>
                  </a:lnTo>
                  <a:lnTo>
                    <a:pt x="4168" y="1225"/>
                  </a:lnTo>
                  <a:cubicBezTo>
                    <a:pt x="4167" y="1226"/>
                    <a:pt x="4166" y="1227"/>
                    <a:pt x="4164" y="1227"/>
                  </a:cubicBezTo>
                  <a:cubicBezTo>
                    <a:pt x="4164" y="1227"/>
                    <a:pt x="4164" y="1227"/>
                    <a:pt x="4163" y="1227"/>
                  </a:cubicBezTo>
                  <a:cubicBezTo>
                    <a:pt x="4161" y="1226"/>
                    <a:pt x="4160" y="1225"/>
                    <a:pt x="4160" y="1223"/>
                  </a:cubicBezTo>
                  <a:lnTo>
                    <a:pt x="4156" y="1195"/>
                  </a:lnTo>
                  <a:lnTo>
                    <a:pt x="4120" y="1165"/>
                  </a:lnTo>
                  <a:lnTo>
                    <a:pt x="4156" y="1263"/>
                  </a:lnTo>
                  <a:cubicBezTo>
                    <a:pt x="4156" y="1264"/>
                    <a:pt x="4156" y="1266"/>
                    <a:pt x="4156" y="1267"/>
                  </a:cubicBezTo>
                  <a:lnTo>
                    <a:pt x="4084" y="1415"/>
                  </a:lnTo>
                  <a:cubicBezTo>
                    <a:pt x="4083" y="1416"/>
                    <a:pt x="4081" y="1417"/>
                    <a:pt x="4080" y="1417"/>
                  </a:cubicBezTo>
                  <a:cubicBezTo>
                    <a:pt x="4079" y="1417"/>
                    <a:pt x="4079" y="1417"/>
                    <a:pt x="4079" y="1417"/>
                  </a:cubicBezTo>
                  <a:cubicBezTo>
                    <a:pt x="4077" y="1417"/>
                    <a:pt x="4076" y="1416"/>
                    <a:pt x="4075" y="1414"/>
                  </a:cubicBezTo>
                  <a:lnTo>
                    <a:pt x="4067" y="1380"/>
                  </a:lnTo>
                  <a:cubicBezTo>
                    <a:pt x="4066" y="1379"/>
                    <a:pt x="4067" y="1378"/>
                    <a:pt x="4067" y="1377"/>
                  </a:cubicBezTo>
                  <a:lnTo>
                    <a:pt x="4091" y="1329"/>
                  </a:lnTo>
                  <a:lnTo>
                    <a:pt x="4046" y="1281"/>
                  </a:lnTo>
                  <a:cubicBezTo>
                    <a:pt x="4045" y="1279"/>
                    <a:pt x="4045" y="1278"/>
                    <a:pt x="4045" y="1277"/>
                  </a:cubicBezTo>
                  <a:lnTo>
                    <a:pt x="4053" y="1234"/>
                  </a:lnTo>
                  <a:lnTo>
                    <a:pt x="4044" y="1231"/>
                  </a:lnTo>
                  <a:cubicBezTo>
                    <a:pt x="4043" y="1231"/>
                    <a:pt x="4042" y="1230"/>
                    <a:pt x="4041" y="1229"/>
                  </a:cubicBezTo>
                  <a:cubicBezTo>
                    <a:pt x="4041" y="1227"/>
                    <a:pt x="4041" y="1226"/>
                    <a:pt x="4041" y="1225"/>
                  </a:cubicBezTo>
                  <a:lnTo>
                    <a:pt x="4065" y="1171"/>
                  </a:lnTo>
                  <a:lnTo>
                    <a:pt x="4025" y="1195"/>
                  </a:lnTo>
                  <a:lnTo>
                    <a:pt x="4025" y="1273"/>
                  </a:lnTo>
                  <a:lnTo>
                    <a:pt x="4042" y="1309"/>
                  </a:lnTo>
                  <a:cubicBezTo>
                    <a:pt x="4042" y="1311"/>
                    <a:pt x="4042" y="1313"/>
                    <a:pt x="4040" y="1315"/>
                  </a:cubicBezTo>
                  <a:cubicBezTo>
                    <a:pt x="4040" y="1315"/>
                    <a:pt x="4038" y="1316"/>
                    <a:pt x="4037" y="1316"/>
                  </a:cubicBezTo>
                  <a:cubicBezTo>
                    <a:pt x="4036" y="1316"/>
                    <a:pt x="4036" y="1316"/>
                    <a:pt x="4035" y="1315"/>
                  </a:cubicBezTo>
                  <a:lnTo>
                    <a:pt x="3966" y="1273"/>
                  </a:lnTo>
                  <a:lnTo>
                    <a:pt x="3966" y="1275"/>
                  </a:lnTo>
                  <a:lnTo>
                    <a:pt x="4049" y="1341"/>
                  </a:lnTo>
                  <a:cubicBezTo>
                    <a:pt x="4051" y="1343"/>
                    <a:pt x="4051" y="1346"/>
                    <a:pt x="4050" y="1348"/>
                  </a:cubicBezTo>
                  <a:lnTo>
                    <a:pt x="4038" y="1363"/>
                  </a:lnTo>
                  <a:lnTo>
                    <a:pt x="4054" y="1420"/>
                  </a:lnTo>
                  <a:cubicBezTo>
                    <a:pt x="4055" y="1422"/>
                    <a:pt x="4054" y="1424"/>
                    <a:pt x="4052" y="1425"/>
                  </a:cubicBezTo>
                  <a:lnTo>
                    <a:pt x="4044" y="1430"/>
                  </a:lnTo>
                  <a:lnTo>
                    <a:pt x="4072" y="1433"/>
                  </a:lnTo>
                  <a:cubicBezTo>
                    <a:pt x="4074" y="1434"/>
                    <a:pt x="4075" y="1435"/>
                    <a:pt x="4076" y="1437"/>
                  </a:cubicBezTo>
                  <a:lnTo>
                    <a:pt x="4093" y="1522"/>
                  </a:lnTo>
                  <a:cubicBezTo>
                    <a:pt x="4093" y="1523"/>
                    <a:pt x="4093" y="1525"/>
                    <a:pt x="4091" y="1526"/>
                  </a:cubicBezTo>
                  <a:cubicBezTo>
                    <a:pt x="4090" y="1527"/>
                    <a:pt x="4089" y="1527"/>
                    <a:pt x="4088" y="1527"/>
                  </a:cubicBezTo>
                  <a:lnTo>
                    <a:pt x="4087" y="1527"/>
                  </a:lnTo>
                  <a:lnTo>
                    <a:pt x="4057" y="1519"/>
                  </a:lnTo>
                  <a:lnTo>
                    <a:pt x="4031" y="1531"/>
                  </a:lnTo>
                  <a:cubicBezTo>
                    <a:pt x="4030" y="1531"/>
                    <a:pt x="4030" y="1532"/>
                    <a:pt x="4029" y="1532"/>
                  </a:cubicBezTo>
                  <a:cubicBezTo>
                    <a:pt x="4027" y="1532"/>
                    <a:pt x="4025" y="1531"/>
                    <a:pt x="4025" y="1529"/>
                  </a:cubicBezTo>
                  <a:lnTo>
                    <a:pt x="4019" y="1518"/>
                  </a:lnTo>
                  <a:lnTo>
                    <a:pt x="4017" y="1535"/>
                  </a:lnTo>
                  <a:lnTo>
                    <a:pt x="4059" y="1535"/>
                  </a:lnTo>
                  <a:cubicBezTo>
                    <a:pt x="4060" y="1535"/>
                    <a:pt x="4062" y="1536"/>
                    <a:pt x="4063" y="1538"/>
                  </a:cubicBezTo>
                  <a:lnTo>
                    <a:pt x="4070" y="1553"/>
                  </a:lnTo>
                  <a:lnTo>
                    <a:pt x="4075" y="1538"/>
                  </a:lnTo>
                  <a:cubicBezTo>
                    <a:pt x="4076" y="1536"/>
                    <a:pt x="4078" y="1535"/>
                    <a:pt x="4079" y="1535"/>
                  </a:cubicBezTo>
                  <a:lnTo>
                    <a:pt x="4080" y="1535"/>
                  </a:lnTo>
                  <a:cubicBezTo>
                    <a:pt x="4081" y="1535"/>
                    <a:pt x="4083" y="1536"/>
                    <a:pt x="4084" y="1538"/>
                  </a:cubicBezTo>
                  <a:lnTo>
                    <a:pt x="4097" y="1567"/>
                  </a:lnTo>
                  <a:cubicBezTo>
                    <a:pt x="4097" y="1569"/>
                    <a:pt x="4097" y="1571"/>
                    <a:pt x="4096" y="1573"/>
                  </a:cubicBezTo>
                  <a:lnTo>
                    <a:pt x="4062" y="1606"/>
                  </a:lnTo>
                  <a:cubicBezTo>
                    <a:pt x="4061" y="1607"/>
                    <a:pt x="4060" y="1608"/>
                    <a:pt x="4059" y="1608"/>
                  </a:cubicBezTo>
                  <a:cubicBezTo>
                    <a:pt x="4057" y="1608"/>
                    <a:pt x="4056" y="1607"/>
                    <a:pt x="4056" y="1607"/>
                  </a:cubicBezTo>
                  <a:lnTo>
                    <a:pt x="4028" y="1587"/>
                  </a:lnTo>
                  <a:lnTo>
                    <a:pt x="4015" y="1591"/>
                  </a:lnTo>
                  <a:lnTo>
                    <a:pt x="4035" y="1603"/>
                  </a:lnTo>
                  <a:cubicBezTo>
                    <a:pt x="4037" y="1604"/>
                    <a:pt x="4037" y="1605"/>
                    <a:pt x="4038" y="1606"/>
                  </a:cubicBezTo>
                  <a:cubicBezTo>
                    <a:pt x="4038" y="1608"/>
                    <a:pt x="4038" y="1609"/>
                    <a:pt x="4037" y="1610"/>
                  </a:cubicBezTo>
                  <a:lnTo>
                    <a:pt x="4022" y="1628"/>
                  </a:lnTo>
                  <a:lnTo>
                    <a:pt x="4033" y="1628"/>
                  </a:lnTo>
                  <a:cubicBezTo>
                    <a:pt x="4036" y="1628"/>
                    <a:pt x="4038" y="1630"/>
                    <a:pt x="4038" y="1633"/>
                  </a:cubicBezTo>
                  <a:lnTo>
                    <a:pt x="4038" y="1654"/>
                  </a:lnTo>
                  <a:cubicBezTo>
                    <a:pt x="4038" y="1656"/>
                    <a:pt x="4037" y="1658"/>
                    <a:pt x="4035" y="1658"/>
                  </a:cubicBezTo>
                  <a:lnTo>
                    <a:pt x="3950" y="1692"/>
                  </a:lnTo>
                  <a:lnTo>
                    <a:pt x="3923" y="1733"/>
                  </a:lnTo>
                  <a:lnTo>
                    <a:pt x="3827" y="1772"/>
                  </a:lnTo>
                  <a:lnTo>
                    <a:pt x="3800" y="1821"/>
                  </a:lnTo>
                  <a:lnTo>
                    <a:pt x="3727" y="1882"/>
                  </a:lnTo>
                  <a:lnTo>
                    <a:pt x="3679" y="1883"/>
                  </a:lnTo>
                  <a:lnTo>
                    <a:pt x="3686" y="1902"/>
                  </a:lnTo>
                  <a:cubicBezTo>
                    <a:pt x="3687" y="1904"/>
                    <a:pt x="3686" y="1906"/>
                    <a:pt x="3684" y="1908"/>
                  </a:cubicBezTo>
                  <a:lnTo>
                    <a:pt x="3654" y="1924"/>
                  </a:lnTo>
                  <a:lnTo>
                    <a:pt x="3601" y="2070"/>
                  </a:lnTo>
                  <a:lnTo>
                    <a:pt x="3724" y="2414"/>
                  </a:lnTo>
                  <a:lnTo>
                    <a:pt x="3720" y="2496"/>
                  </a:lnTo>
                  <a:lnTo>
                    <a:pt x="3703" y="2560"/>
                  </a:lnTo>
                  <a:cubicBezTo>
                    <a:pt x="3702" y="2562"/>
                    <a:pt x="3701" y="2563"/>
                    <a:pt x="3700" y="2564"/>
                  </a:cubicBezTo>
                  <a:lnTo>
                    <a:pt x="3636" y="2585"/>
                  </a:lnTo>
                  <a:lnTo>
                    <a:pt x="3635" y="258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 name="Freeform 3"/>
            <p:cNvSpPr>
              <a:spLocks noChangeArrowheads="1"/>
            </p:cNvSpPr>
            <p:nvPr/>
          </p:nvSpPr>
          <p:spPr bwMode="auto">
            <a:xfrm>
              <a:off x="1374775" y="2366963"/>
              <a:ext cx="31750" cy="36512"/>
            </a:xfrm>
            <a:custGeom>
              <a:avLst/>
              <a:gdLst/>
              <a:ahLst/>
              <a:cxnLst>
                <a:cxn ang="0">
                  <a:pos x="50" y="85"/>
                </a:cxn>
                <a:cxn ang="0">
                  <a:pos x="0" y="0"/>
                </a:cxn>
                <a:cxn ang="0">
                  <a:pos x="24" y="3"/>
                </a:cxn>
                <a:cxn ang="0">
                  <a:pos x="20" y="28"/>
                </a:cxn>
                <a:cxn ang="0">
                  <a:pos x="23" y="33"/>
                </a:cxn>
                <a:cxn ang="0">
                  <a:pos x="44" y="41"/>
                </a:cxn>
                <a:cxn ang="0">
                  <a:pos x="46" y="41"/>
                </a:cxn>
                <a:cxn ang="0">
                  <a:pos x="48" y="41"/>
                </a:cxn>
                <a:cxn ang="0">
                  <a:pos x="50" y="38"/>
                </a:cxn>
                <a:cxn ang="0">
                  <a:pos x="57" y="14"/>
                </a:cxn>
                <a:cxn ang="0">
                  <a:pos x="74" y="22"/>
                </a:cxn>
                <a:cxn ang="0">
                  <a:pos x="67" y="48"/>
                </a:cxn>
                <a:cxn ang="0">
                  <a:pos x="67" y="52"/>
                </a:cxn>
                <a:cxn ang="0">
                  <a:pos x="87" y="80"/>
                </a:cxn>
                <a:cxn ang="0">
                  <a:pos x="85" y="88"/>
                </a:cxn>
                <a:cxn ang="0">
                  <a:pos x="67" y="102"/>
                </a:cxn>
                <a:cxn ang="0">
                  <a:pos x="50" y="85"/>
                </a:cxn>
              </a:cxnLst>
              <a:rect l="0" t="0" r="r" b="b"/>
              <a:pathLst>
                <a:path w="88" h="103">
                  <a:moveTo>
                    <a:pt x="50" y="85"/>
                  </a:moveTo>
                  <a:lnTo>
                    <a:pt x="0" y="0"/>
                  </a:lnTo>
                  <a:lnTo>
                    <a:pt x="24" y="3"/>
                  </a:lnTo>
                  <a:lnTo>
                    <a:pt x="20" y="28"/>
                  </a:lnTo>
                  <a:cubicBezTo>
                    <a:pt x="20" y="30"/>
                    <a:pt x="21" y="32"/>
                    <a:pt x="23" y="33"/>
                  </a:cubicBezTo>
                  <a:lnTo>
                    <a:pt x="44" y="41"/>
                  </a:lnTo>
                  <a:cubicBezTo>
                    <a:pt x="45" y="41"/>
                    <a:pt x="45" y="41"/>
                    <a:pt x="46" y="41"/>
                  </a:cubicBezTo>
                  <a:cubicBezTo>
                    <a:pt x="47" y="41"/>
                    <a:pt x="47" y="41"/>
                    <a:pt x="48" y="41"/>
                  </a:cubicBezTo>
                  <a:cubicBezTo>
                    <a:pt x="49" y="40"/>
                    <a:pt x="50" y="39"/>
                    <a:pt x="50" y="38"/>
                  </a:cubicBezTo>
                  <a:lnTo>
                    <a:pt x="57" y="14"/>
                  </a:lnTo>
                  <a:lnTo>
                    <a:pt x="74" y="22"/>
                  </a:lnTo>
                  <a:lnTo>
                    <a:pt x="67" y="48"/>
                  </a:lnTo>
                  <a:cubicBezTo>
                    <a:pt x="66" y="49"/>
                    <a:pt x="67" y="51"/>
                    <a:pt x="67" y="52"/>
                  </a:cubicBezTo>
                  <a:lnTo>
                    <a:pt x="87" y="80"/>
                  </a:lnTo>
                  <a:lnTo>
                    <a:pt x="85" y="88"/>
                  </a:lnTo>
                  <a:lnTo>
                    <a:pt x="67" y="102"/>
                  </a:lnTo>
                  <a:lnTo>
                    <a:pt x="50" y="8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 name="Freeform 4"/>
            <p:cNvSpPr>
              <a:spLocks noChangeArrowheads="1"/>
            </p:cNvSpPr>
            <p:nvPr/>
          </p:nvSpPr>
          <p:spPr bwMode="auto">
            <a:xfrm>
              <a:off x="777875" y="1433513"/>
              <a:ext cx="2325688" cy="923925"/>
            </a:xfrm>
            <a:custGeom>
              <a:avLst/>
              <a:gdLst/>
              <a:ahLst/>
              <a:cxnLst>
                <a:cxn ang="0">
                  <a:pos x="3309" y="345"/>
                </a:cxn>
                <a:cxn ang="0">
                  <a:pos x="3917" y="812"/>
                </a:cxn>
                <a:cxn ang="0">
                  <a:pos x="4297" y="1291"/>
                </a:cxn>
                <a:cxn ang="0">
                  <a:pos x="4383" y="1417"/>
                </a:cxn>
                <a:cxn ang="0">
                  <a:pos x="4488" y="1350"/>
                </a:cxn>
                <a:cxn ang="0">
                  <a:pos x="4726" y="724"/>
                </a:cxn>
                <a:cxn ang="0">
                  <a:pos x="4515" y="283"/>
                </a:cxn>
                <a:cxn ang="0">
                  <a:pos x="4601" y="138"/>
                </a:cxn>
                <a:cxn ang="0">
                  <a:pos x="5304" y="125"/>
                </a:cxn>
                <a:cxn ang="0">
                  <a:pos x="5298" y="271"/>
                </a:cxn>
                <a:cxn ang="0">
                  <a:pos x="5376" y="312"/>
                </a:cxn>
                <a:cxn ang="0">
                  <a:pos x="5433" y="385"/>
                </a:cxn>
                <a:cxn ang="0">
                  <a:pos x="5596" y="351"/>
                </a:cxn>
                <a:cxn ang="0">
                  <a:pos x="5678" y="82"/>
                </a:cxn>
                <a:cxn ang="0">
                  <a:pos x="5780" y="210"/>
                </a:cxn>
                <a:cxn ang="0">
                  <a:pos x="5854" y="351"/>
                </a:cxn>
                <a:cxn ang="0">
                  <a:pos x="5897" y="460"/>
                </a:cxn>
                <a:cxn ang="0">
                  <a:pos x="5973" y="612"/>
                </a:cxn>
                <a:cxn ang="0">
                  <a:pos x="5945" y="675"/>
                </a:cxn>
                <a:cxn ang="0">
                  <a:pos x="6072" y="846"/>
                </a:cxn>
                <a:cxn ang="0">
                  <a:pos x="6194" y="928"/>
                </a:cxn>
                <a:cxn ang="0">
                  <a:pos x="6200" y="1041"/>
                </a:cxn>
                <a:cxn ang="0">
                  <a:pos x="6256" y="1040"/>
                </a:cxn>
                <a:cxn ang="0">
                  <a:pos x="6433" y="1113"/>
                </a:cxn>
                <a:cxn ang="0">
                  <a:pos x="6446" y="1248"/>
                </a:cxn>
                <a:cxn ang="0">
                  <a:pos x="6088" y="1566"/>
                </a:cxn>
                <a:cxn ang="0">
                  <a:pos x="5483" y="1678"/>
                </a:cxn>
                <a:cxn ang="0">
                  <a:pos x="5536" y="1697"/>
                </a:cxn>
                <a:cxn ang="0">
                  <a:pos x="5606" y="1853"/>
                </a:cxn>
                <a:cxn ang="0">
                  <a:pos x="5699" y="2030"/>
                </a:cxn>
                <a:cxn ang="0">
                  <a:pos x="5940" y="2128"/>
                </a:cxn>
                <a:cxn ang="0">
                  <a:pos x="5792" y="2273"/>
                </a:cxn>
                <a:cxn ang="0">
                  <a:pos x="5576" y="2265"/>
                </a:cxn>
                <a:cxn ang="0">
                  <a:pos x="5461" y="2188"/>
                </a:cxn>
                <a:cxn ang="0">
                  <a:pos x="5254" y="2000"/>
                </a:cxn>
                <a:cxn ang="0">
                  <a:pos x="4657" y="2319"/>
                </a:cxn>
                <a:cxn ang="0">
                  <a:pos x="4508" y="2471"/>
                </a:cxn>
                <a:cxn ang="0">
                  <a:pos x="4165" y="2511"/>
                </a:cxn>
                <a:cxn ang="0">
                  <a:pos x="4275" y="2174"/>
                </a:cxn>
                <a:cxn ang="0">
                  <a:pos x="4353" y="2238"/>
                </a:cxn>
                <a:cxn ang="0">
                  <a:pos x="4067" y="2061"/>
                </a:cxn>
                <a:cxn ang="0">
                  <a:pos x="4016" y="1929"/>
                </a:cxn>
                <a:cxn ang="0">
                  <a:pos x="3817" y="1813"/>
                </a:cxn>
                <a:cxn ang="0">
                  <a:pos x="3672" y="1787"/>
                </a:cxn>
                <a:cxn ang="0">
                  <a:pos x="840" y="1731"/>
                </a:cxn>
                <a:cxn ang="0">
                  <a:pos x="770" y="1671"/>
                </a:cxn>
                <a:cxn ang="0">
                  <a:pos x="559" y="1528"/>
                </a:cxn>
                <a:cxn ang="0">
                  <a:pos x="420" y="1428"/>
                </a:cxn>
                <a:cxn ang="0">
                  <a:pos x="418" y="1383"/>
                </a:cxn>
                <a:cxn ang="0">
                  <a:pos x="306" y="1195"/>
                </a:cxn>
                <a:cxn ang="0">
                  <a:pos x="208" y="952"/>
                </a:cxn>
                <a:cxn ang="0">
                  <a:pos x="3022" y="1540"/>
                </a:cxn>
                <a:cxn ang="0">
                  <a:pos x="2927" y="1070"/>
                </a:cxn>
                <a:cxn ang="0">
                  <a:pos x="2909" y="1024"/>
                </a:cxn>
                <a:cxn ang="0">
                  <a:pos x="2874" y="1180"/>
                </a:cxn>
                <a:cxn ang="0">
                  <a:pos x="2954" y="1310"/>
                </a:cxn>
                <a:cxn ang="0">
                  <a:pos x="3038" y="1432"/>
                </a:cxn>
                <a:cxn ang="0">
                  <a:pos x="2000" y="239"/>
                </a:cxn>
                <a:cxn ang="0">
                  <a:pos x="1978" y="178"/>
                </a:cxn>
              </a:cxnLst>
              <a:rect l="0" t="0" r="r" b="b"/>
              <a:pathLst>
                <a:path w="6459" h="2565">
                  <a:moveTo>
                    <a:pt x="0" y="0"/>
                  </a:moveTo>
                  <a:lnTo>
                    <a:pt x="3206" y="0"/>
                  </a:lnTo>
                  <a:lnTo>
                    <a:pt x="3182" y="57"/>
                  </a:lnTo>
                  <a:lnTo>
                    <a:pt x="3178" y="266"/>
                  </a:lnTo>
                  <a:lnTo>
                    <a:pt x="3171" y="290"/>
                  </a:lnTo>
                  <a:lnTo>
                    <a:pt x="3207" y="322"/>
                  </a:lnTo>
                  <a:lnTo>
                    <a:pt x="3216" y="362"/>
                  </a:lnTo>
                  <a:lnTo>
                    <a:pt x="3224" y="333"/>
                  </a:lnTo>
                  <a:cubicBezTo>
                    <a:pt x="3225" y="331"/>
                    <a:pt x="3227" y="329"/>
                    <a:pt x="3229" y="329"/>
                  </a:cubicBezTo>
                  <a:lnTo>
                    <a:pt x="3306" y="342"/>
                  </a:lnTo>
                  <a:cubicBezTo>
                    <a:pt x="3308" y="342"/>
                    <a:pt x="3309" y="344"/>
                    <a:pt x="3309" y="345"/>
                  </a:cubicBezTo>
                  <a:lnTo>
                    <a:pt x="3377" y="540"/>
                  </a:lnTo>
                  <a:lnTo>
                    <a:pt x="3378" y="592"/>
                  </a:lnTo>
                  <a:cubicBezTo>
                    <a:pt x="3378" y="593"/>
                    <a:pt x="3377" y="595"/>
                    <a:pt x="3376" y="595"/>
                  </a:cubicBezTo>
                  <a:lnTo>
                    <a:pt x="3358" y="614"/>
                  </a:lnTo>
                  <a:lnTo>
                    <a:pt x="3481" y="567"/>
                  </a:lnTo>
                  <a:cubicBezTo>
                    <a:pt x="3482" y="566"/>
                    <a:pt x="3482" y="566"/>
                    <a:pt x="3483" y="566"/>
                  </a:cubicBezTo>
                  <a:cubicBezTo>
                    <a:pt x="3484" y="566"/>
                    <a:pt x="3484" y="566"/>
                    <a:pt x="3485" y="567"/>
                  </a:cubicBezTo>
                  <a:lnTo>
                    <a:pt x="3646" y="643"/>
                  </a:lnTo>
                  <a:lnTo>
                    <a:pt x="3731" y="694"/>
                  </a:lnTo>
                  <a:lnTo>
                    <a:pt x="3783" y="771"/>
                  </a:lnTo>
                  <a:lnTo>
                    <a:pt x="3917" y="812"/>
                  </a:lnTo>
                  <a:lnTo>
                    <a:pt x="3969" y="855"/>
                  </a:lnTo>
                  <a:cubicBezTo>
                    <a:pt x="3970" y="856"/>
                    <a:pt x="3971" y="858"/>
                    <a:pt x="3970" y="860"/>
                  </a:cubicBezTo>
                  <a:lnTo>
                    <a:pt x="3968" y="867"/>
                  </a:lnTo>
                  <a:lnTo>
                    <a:pt x="3970" y="867"/>
                  </a:lnTo>
                  <a:lnTo>
                    <a:pt x="4221" y="892"/>
                  </a:lnTo>
                  <a:cubicBezTo>
                    <a:pt x="4223" y="892"/>
                    <a:pt x="4225" y="895"/>
                    <a:pt x="4225" y="897"/>
                  </a:cubicBezTo>
                  <a:lnTo>
                    <a:pt x="4216" y="1037"/>
                  </a:lnTo>
                  <a:lnTo>
                    <a:pt x="4233" y="1158"/>
                  </a:lnTo>
                  <a:lnTo>
                    <a:pt x="4225" y="1196"/>
                  </a:lnTo>
                  <a:lnTo>
                    <a:pt x="4296" y="1287"/>
                  </a:lnTo>
                  <a:cubicBezTo>
                    <a:pt x="4297" y="1288"/>
                    <a:pt x="4297" y="1290"/>
                    <a:pt x="4297" y="1291"/>
                  </a:cubicBezTo>
                  <a:cubicBezTo>
                    <a:pt x="4296" y="1292"/>
                    <a:pt x="4296" y="1294"/>
                    <a:pt x="4294" y="1294"/>
                  </a:cubicBezTo>
                  <a:lnTo>
                    <a:pt x="4251" y="1319"/>
                  </a:lnTo>
                  <a:lnTo>
                    <a:pt x="4313" y="1319"/>
                  </a:lnTo>
                  <a:cubicBezTo>
                    <a:pt x="4315" y="1319"/>
                    <a:pt x="4316" y="1320"/>
                    <a:pt x="4317" y="1321"/>
                  </a:cubicBezTo>
                  <a:lnTo>
                    <a:pt x="4359" y="1363"/>
                  </a:lnTo>
                  <a:lnTo>
                    <a:pt x="4369" y="1408"/>
                  </a:lnTo>
                  <a:cubicBezTo>
                    <a:pt x="4369" y="1409"/>
                    <a:pt x="4369" y="1411"/>
                    <a:pt x="4368" y="1412"/>
                  </a:cubicBezTo>
                  <a:lnTo>
                    <a:pt x="4343" y="1441"/>
                  </a:lnTo>
                  <a:lnTo>
                    <a:pt x="4378" y="1417"/>
                  </a:lnTo>
                  <a:lnTo>
                    <a:pt x="4381" y="1417"/>
                  </a:lnTo>
                  <a:lnTo>
                    <a:pt x="4383" y="1417"/>
                  </a:lnTo>
                  <a:lnTo>
                    <a:pt x="4435" y="1447"/>
                  </a:lnTo>
                  <a:lnTo>
                    <a:pt x="4432" y="1413"/>
                  </a:lnTo>
                  <a:cubicBezTo>
                    <a:pt x="4431" y="1411"/>
                    <a:pt x="4433" y="1409"/>
                    <a:pt x="4435" y="1408"/>
                  </a:cubicBezTo>
                  <a:lnTo>
                    <a:pt x="4447" y="1404"/>
                  </a:lnTo>
                  <a:lnTo>
                    <a:pt x="4458" y="1393"/>
                  </a:lnTo>
                  <a:cubicBezTo>
                    <a:pt x="4459" y="1392"/>
                    <a:pt x="4460" y="1391"/>
                    <a:pt x="4461" y="1391"/>
                  </a:cubicBezTo>
                  <a:cubicBezTo>
                    <a:pt x="4462" y="1391"/>
                    <a:pt x="4463" y="1392"/>
                    <a:pt x="4464" y="1392"/>
                  </a:cubicBezTo>
                  <a:lnTo>
                    <a:pt x="4506" y="1423"/>
                  </a:lnTo>
                  <a:lnTo>
                    <a:pt x="4520" y="1396"/>
                  </a:lnTo>
                  <a:lnTo>
                    <a:pt x="4488" y="1357"/>
                  </a:lnTo>
                  <a:cubicBezTo>
                    <a:pt x="4486" y="1355"/>
                    <a:pt x="4486" y="1352"/>
                    <a:pt x="4488" y="1350"/>
                  </a:cubicBezTo>
                  <a:lnTo>
                    <a:pt x="4543" y="1299"/>
                  </a:lnTo>
                  <a:cubicBezTo>
                    <a:pt x="4544" y="1299"/>
                    <a:pt x="4545" y="1298"/>
                    <a:pt x="4546" y="1298"/>
                  </a:cubicBezTo>
                  <a:lnTo>
                    <a:pt x="4549" y="1298"/>
                  </a:lnTo>
                  <a:lnTo>
                    <a:pt x="4517" y="1268"/>
                  </a:lnTo>
                  <a:lnTo>
                    <a:pt x="4495" y="1066"/>
                  </a:lnTo>
                  <a:lnTo>
                    <a:pt x="4441" y="984"/>
                  </a:lnTo>
                  <a:cubicBezTo>
                    <a:pt x="4439" y="982"/>
                    <a:pt x="4440" y="979"/>
                    <a:pt x="4442" y="977"/>
                  </a:cubicBezTo>
                  <a:lnTo>
                    <a:pt x="4607" y="859"/>
                  </a:lnTo>
                  <a:lnTo>
                    <a:pt x="4682" y="734"/>
                  </a:lnTo>
                  <a:cubicBezTo>
                    <a:pt x="4683" y="732"/>
                    <a:pt x="4684" y="732"/>
                    <a:pt x="4685" y="731"/>
                  </a:cubicBezTo>
                  <a:lnTo>
                    <a:pt x="4726" y="724"/>
                  </a:lnTo>
                  <a:lnTo>
                    <a:pt x="4711" y="687"/>
                  </a:lnTo>
                  <a:lnTo>
                    <a:pt x="4690" y="721"/>
                  </a:lnTo>
                  <a:cubicBezTo>
                    <a:pt x="4689" y="723"/>
                    <a:pt x="4688" y="724"/>
                    <a:pt x="4686" y="724"/>
                  </a:cubicBezTo>
                  <a:lnTo>
                    <a:pt x="4685" y="724"/>
                  </a:lnTo>
                  <a:cubicBezTo>
                    <a:pt x="4683" y="723"/>
                    <a:pt x="4682" y="722"/>
                    <a:pt x="4681" y="720"/>
                  </a:cubicBezTo>
                  <a:lnTo>
                    <a:pt x="4669" y="618"/>
                  </a:lnTo>
                  <a:lnTo>
                    <a:pt x="4614" y="416"/>
                  </a:lnTo>
                  <a:lnTo>
                    <a:pt x="4514" y="333"/>
                  </a:lnTo>
                  <a:cubicBezTo>
                    <a:pt x="4513" y="332"/>
                    <a:pt x="4512" y="331"/>
                    <a:pt x="4512" y="330"/>
                  </a:cubicBezTo>
                  <a:lnTo>
                    <a:pt x="4512" y="287"/>
                  </a:lnTo>
                  <a:cubicBezTo>
                    <a:pt x="4512" y="286"/>
                    <a:pt x="4513" y="284"/>
                    <a:pt x="4515" y="283"/>
                  </a:cubicBezTo>
                  <a:lnTo>
                    <a:pt x="4601" y="250"/>
                  </a:lnTo>
                  <a:lnTo>
                    <a:pt x="4601" y="194"/>
                  </a:lnTo>
                  <a:cubicBezTo>
                    <a:pt x="4601" y="193"/>
                    <a:pt x="4601" y="192"/>
                    <a:pt x="4603" y="191"/>
                  </a:cubicBezTo>
                  <a:cubicBezTo>
                    <a:pt x="4603" y="190"/>
                    <a:pt x="4605" y="190"/>
                    <a:pt x="4606" y="190"/>
                  </a:cubicBezTo>
                  <a:lnTo>
                    <a:pt x="4631" y="194"/>
                  </a:lnTo>
                  <a:lnTo>
                    <a:pt x="4625" y="190"/>
                  </a:lnTo>
                  <a:cubicBezTo>
                    <a:pt x="4622" y="189"/>
                    <a:pt x="4621" y="186"/>
                    <a:pt x="4622" y="184"/>
                  </a:cubicBezTo>
                  <a:lnTo>
                    <a:pt x="4641" y="144"/>
                  </a:lnTo>
                  <a:lnTo>
                    <a:pt x="4606" y="144"/>
                  </a:lnTo>
                  <a:cubicBezTo>
                    <a:pt x="4604" y="144"/>
                    <a:pt x="4603" y="143"/>
                    <a:pt x="4602" y="142"/>
                  </a:cubicBezTo>
                  <a:cubicBezTo>
                    <a:pt x="4601" y="141"/>
                    <a:pt x="4601" y="139"/>
                    <a:pt x="4601" y="138"/>
                  </a:cubicBezTo>
                  <a:lnTo>
                    <a:pt x="4613" y="105"/>
                  </a:lnTo>
                  <a:lnTo>
                    <a:pt x="4597" y="65"/>
                  </a:lnTo>
                  <a:lnTo>
                    <a:pt x="4588" y="22"/>
                  </a:lnTo>
                  <a:cubicBezTo>
                    <a:pt x="4588" y="20"/>
                    <a:pt x="4589" y="17"/>
                    <a:pt x="4591" y="16"/>
                  </a:cubicBezTo>
                  <a:lnTo>
                    <a:pt x="4603" y="12"/>
                  </a:lnTo>
                  <a:lnTo>
                    <a:pt x="4566" y="0"/>
                  </a:lnTo>
                  <a:cubicBezTo>
                    <a:pt x="4565" y="0"/>
                    <a:pt x="4565" y="0"/>
                    <a:pt x="4565" y="0"/>
                  </a:cubicBezTo>
                  <a:lnTo>
                    <a:pt x="5297" y="0"/>
                  </a:lnTo>
                  <a:lnTo>
                    <a:pt x="5276" y="51"/>
                  </a:lnTo>
                  <a:lnTo>
                    <a:pt x="5305" y="121"/>
                  </a:lnTo>
                  <a:cubicBezTo>
                    <a:pt x="5305" y="122"/>
                    <a:pt x="5305" y="124"/>
                    <a:pt x="5304" y="125"/>
                  </a:cubicBezTo>
                  <a:cubicBezTo>
                    <a:pt x="5303" y="126"/>
                    <a:pt x="5302" y="127"/>
                    <a:pt x="5301" y="127"/>
                  </a:cubicBezTo>
                  <a:lnTo>
                    <a:pt x="5188" y="130"/>
                  </a:lnTo>
                  <a:lnTo>
                    <a:pt x="5280" y="147"/>
                  </a:lnTo>
                  <a:cubicBezTo>
                    <a:pt x="5282" y="148"/>
                    <a:pt x="5283" y="149"/>
                    <a:pt x="5283" y="150"/>
                  </a:cubicBezTo>
                  <a:lnTo>
                    <a:pt x="5305" y="192"/>
                  </a:lnTo>
                  <a:lnTo>
                    <a:pt x="5305" y="196"/>
                  </a:lnTo>
                  <a:lnTo>
                    <a:pt x="5286" y="241"/>
                  </a:lnTo>
                  <a:lnTo>
                    <a:pt x="5314" y="245"/>
                  </a:lnTo>
                  <a:cubicBezTo>
                    <a:pt x="5316" y="245"/>
                    <a:pt x="5317" y="246"/>
                    <a:pt x="5317" y="248"/>
                  </a:cubicBezTo>
                  <a:cubicBezTo>
                    <a:pt x="5318" y="250"/>
                    <a:pt x="5318" y="251"/>
                    <a:pt x="5316" y="253"/>
                  </a:cubicBezTo>
                  <a:lnTo>
                    <a:pt x="5298" y="271"/>
                  </a:lnTo>
                  <a:lnTo>
                    <a:pt x="5317" y="302"/>
                  </a:lnTo>
                  <a:cubicBezTo>
                    <a:pt x="5318" y="303"/>
                    <a:pt x="5318" y="304"/>
                    <a:pt x="5318" y="306"/>
                  </a:cubicBezTo>
                  <a:lnTo>
                    <a:pt x="5315" y="309"/>
                  </a:lnTo>
                  <a:lnTo>
                    <a:pt x="5281" y="326"/>
                  </a:lnTo>
                  <a:lnTo>
                    <a:pt x="5279" y="326"/>
                  </a:lnTo>
                  <a:lnTo>
                    <a:pt x="5277" y="326"/>
                  </a:lnTo>
                  <a:lnTo>
                    <a:pt x="5256" y="315"/>
                  </a:lnTo>
                  <a:lnTo>
                    <a:pt x="5262" y="328"/>
                  </a:lnTo>
                  <a:cubicBezTo>
                    <a:pt x="5263" y="330"/>
                    <a:pt x="5263" y="333"/>
                    <a:pt x="5260" y="334"/>
                  </a:cubicBezTo>
                  <a:lnTo>
                    <a:pt x="5250" y="340"/>
                  </a:lnTo>
                  <a:lnTo>
                    <a:pt x="5376" y="312"/>
                  </a:lnTo>
                  <a:cubicBezTo>
                    <a:pt x="5379" y="312"/>
                    <a:pt x="5381" y="314"/>
                    <a:pt x="5381" y="316"/>
                  </a:cubicBezTo>
                  <a:lnTo>
                    <a:pt x="5402" y="388"/>
                  </a:lnTo>
                  <a:lnTo>
                    <a:pt x="5400" y="412"/>
                  </a:lnTo>
                  <a:lnTo>
                    <a:pt x="5423" y="358"/>
                  </a:lnTo>
                  <a:cubicBezTo>
                    <a:pt x="5424" y="356"/>
                    <a:pt x="5426" y="355"/>
                    <a:pt x="5428" y="355"/>
                  </a:cubicBezTo>
                  <a:lnTo>
                    <a:pt x="5429" y="355"/>
                  </a:lnTo>
                  <a:cubicBezTo>
                    <a:pt x="5431" y="356"/>
                    <a:pt x="5433" y="358"/>
                    <a:pt x="5432" y="360"/>
                  </a:cubicBezTo>
                  <a:lnTo>
                    <a:pt x="5427" y="388"/>
                  </a:lnTo>
                  <a:lnTo>
                    <a:pt x="5429" y="386"/>
                  </a:lnTo>
                  <a:cubicBezTo>
                    <a:pt x="5429" y="385"/>
                    <a:pt x="5431" y="384"/>
                    <a:pt x="5432" y="384"/>
                  </a:cubicBezTo>
                  <a:cubicBezTo>
                    <a:pt x="5432" y="384"/>
                    <a:pt x="5433" y="384"/>
                    <a:pt x="5433" y="385"/>
                  </a:cubicBezTo>
                  <a:cubicBezTo>
                    <a:pt x="5435" y="385"/>
                    <a:pt x="5436" y="387"/>
                    <a:pt x="5437" y="388"/>
                  </a:cubicBezTo>
                  <a:lnTo>
                    <a:pt x="5444" y="432"/>
                  </a:lnTo>
                  <a:lnTo>
                    <a:pt x="5522" y="377"/>
                  </a:lnTo>
                  <a:lnTo>
                    <a:pt x="5542" y="320"/>
                  </a:lnTo>
                  <a:cubicBezTo>
                    <a:pt x="5542" y="318"/>
                    <a:pt x="5544" y="317"/>
                    <a:pt x="5545" y="317"/>
                  </a:cubicBezTo>
                  <a:lnTo>
                    <a:pt x="5546" y="317"/>
                  </a:lnTo>
                  <a:cubicBezTo>
                    <a:pt x="5547" y="317"/>
                    <a:pt x="5548" y="317"/>
                    <a:pt x="5549" y="318"/>
                  </a:cubicBezTo>
                  <a:lnTo>
                    <a:pt x="5583" y="343"/>
                  </a:lnTo>
                  <a:cubicBezTo>
                    <a:pt x="5584" y="344"/>
                    <a:pt x="5585" y="345"/>
                    <a:pt x="5585" y="347"/>
                  </a:cubicBezTo>
                  <a:lnTo>
                    <a:pt x="5585" y="371"/>
                  </a:lnTo>
                  <a:lnTo>
                    <a:pt x="5596" y="351"/>
                  </a:lnTo>
                  <a:lnTo>
                    <a:pt x="5572" y="316"/>
                  </a:lnTo>
                  <a:cubicBezTo>
                    <a:pt x="5571" y="314"/>
                    <a:pt x="5571" y="312"/>
                    <a:pt x="5572" y="311"/>
                  </a:cubicBezTo>
                  <a:cubicBezTo>
                    <a:pt x="5573" y="309"/>
                    <a:pt x="5574" y="308"/>
                    <a:pt x="5576" y="308"/>
                  </a:cubicBezTo>
                  <a:lnTo>
                    <a:pt x="5602" y="308"/>
                  </a:lnTo>
                  <a:lnTo>
                    <a:pt x="5614" y="269"/>
                  </a:lnTo>
                  <a:lnTo>
                    <a:pt x="5605" y="251"/>
                  </a:lnTo>
                  <a:cubicBezTo>
                    <a:pt x="5605" y="249"/>
                    <a:pt x="5605" y="247"/>
                    <a:pt x="5607" y="246"/>
                  </a:cubicBezTo>
                  <a:lnTo>
                    <a:pt x="5642" y="223"/>
                  </a:lnTo>
                  <a:lnTo>
                    <a:pt x="5618" y="180"/>
                  </a:lnTo>
                  <a:cubicBezTo>
                    <a:pt x="5618" y="178"/>
                    <a:pt x="5618" y="176"/>
                    <a:pt x="5619" y="175"/>
                  </a:cubicBezTo>
                  <a:lnTo>
                    <a:pt x="5678" y="82"/>
                  </a:lnTo>
                  <a:cubicBezTo>
                    <a:pt x="5679" y="81"/>
                    <a:pt x="5680" y="80"/>
                    <a:pt x="5682" y="80"/>
                  </a:cubicBezTo>
                  <a:lnTo>
                    <a:pt x="5707" y="80"/>
                  </a:lnTo>
                  <a:cubicBezTo>
                    <a:pt x="5709" y="80"/>
                    <a:pt x="5711" y="81"/>
                    <a:pt x="5712" y="83"/>
                  </a:cubicBezTo>
                  <a:lnTo>
                    <a:pt x="5729" y="125"/>
                  </a:lnTo>
                  <a:cubicBezTo>
                    <a:pt x="5729" y="126"/>
                    <a:pt x="5729" y="128"/>
                    <a:pt x="5728" y="129"/>
                  </a:cubicBezTo>
                  <a:lnTo>
                    <a:pt x="5719" y="147"/>
                  </a:lnTo>
                  <a:lnTo>
                    <a:pt x="5733" y="147"/>
                  </a:lnTo>
                  <a:cubicBezTo>
                    <a:pt x="5735" y="147"/>
                    <a:pt x="5737" y="149"/>
                    <a:pt x="5737" y="151"/>
                  </a:cubicBezTo>
                  <a:lnTo>
                    <a:pt x="5749" y="203"/>
                  </a:lnTo>
                  <a:lnTo>
                    <a:pt x="5776" y="207"/>
                  </a:lnTo>
                  <a:cubicBezTo>
                    <a:pt x="5777" y="207"/>
                    <a:pt x="5779" y="208"/>
                    <a:pt x="5780" y="210"/>
                  </a:cubicBezTo>
                  <a:cubicBezTo>
                    <a:pt x="5780" y="212"/>
                    <a:pt x="5780" y="213"/>
                    <a:pt x="5778" y="215"/>
                  </a:cubicBezTo>
                  <a:lnTo>
                    <a:pt x="5762" y="231"/>
                  </a:lnTo>
                  <a:lnTo>
                    <a:pt x="5811" y="258"/>
                  </a:lnTo>
                  <a:cubicBezTo>
                    <a:pt x="5813" y="259"/>
                    <a:pt x="5813" y="260"/>
                    <a:pt x="5813" y="262"/>
                  </a:cubicBezTo>
                  <a:cubicBezTo>
                    <a:pt x="5813" y="264"/>
                    <a:pt x="5813" y="265"/>
                    <a:pt x="5811" y="266"/>
                  </a:cubicBezTo>
                  <a:lnTo>
                    <a:pt x="5761" y="294"/>
                  </a:lnTo>
                  <a:lnTo>
                    <a:pt x="5822" y="283"/>
                  </a:lnTo>
                  <a:cubicBezTo>
                    <a:pt x="5823" y="283"/>
                    <a:pt x="5824" y="283"/>
                    <a:pt x="5825" y="284"/>
                  </a:cubicBezTo>
                  <a:cubicBezTo>
                    <a:pt x="5826" y="285"/>
                    <a:pt x="5826" y="287"/>
                    <a:pt x="5826" y="288"/>
                  </a:cubicBezTo>
                  <a:lnTo>
                    <a:pt x="5822" y="328"/>
                  </a:lnTo>
                  <a:lnTo>
                    <a:pt x="5854" y="351"/>
                  </a:lnTo>
                  <a:cubicBezTo>
                    <a:pt x="5855" y="352"/>
                    <a:pt x="5856" y="354"/>
                    <a:pt x="5856" y="356"/>
                  </a:cubicBezTo>
                  <a:cubicBezTo>
                    <a:pt x="5856" y="357"/>
                    <a:pt x="5855" y="359"/>
                    <a:pt x="5853" y="360"/>
                  </a:cubicBezTo>
                  <a:lnTo>
                    <a:pt x="5808" y="379"/>
                  </a:lnTo>
                  <a:lnTo>
                    <a:pt x="5878" y="393"/>
                  </a:lnTo>
                  <a:cubicBezTo>
                    <a:pt x="5879" y="393"/>
                    <a:pt x="5881" y="395"/>
                    <a:pt x="5881" y="396"/>
                  </a:cubicBezTo>
                  <a:cubicBezTo>
                    <a:pt x="5882" y="398"/>
                    <a:pt x="5881" y="400"/>
                    <a:pt x="5880" y="401"/>
                  </a:cubicBezTo>
                  <a:lnTo>
                    <a:pt x="5838" y="440"/>
                  </a:lnTo>
                  <a:lnTo>
                    <a:pt x="5876" y="431"/>
                  </a:lnTo>
                  <a:cubicBezTo>
                    <a:pt x="5878" y="431"/>
                    <a:pt x="5879" y="432"/>
                    <a:pt x="5880" y="433"/>
                  </a:cubicBezTo>
                  <a:lnTo>
                    <a:pt x="5897" y="454"/>
                  </a:lnTo>
                  <a:cubicBezTo>
                    <a:pt x="5899" y="456"/>
                    <a:pt x="5899" y="458"/>
                    <a:pt x="5897" y="460"/>
                  </a:cubicBezTo>
                  <a:lnTo>
                    <a:pt x="5886" y="471"/>
                  </a:lnTo>
                  <a:lnTo>
                    <a:pt x="5902" y="469"/>
                  </a:lnTo>
                  <a:cubicBezTo>
                    <a:pt x="5904" y="469"/>
                    <a:pt x="5905" y="470"/>
                    <a:pt x="5906" y="471"/>
                  </a:cubicBezTo>
                  <a:lnTo>
                    <a:pt x="5940" y="518"/>
                  </a:lnTo>
                  <a:cubicBezTo>
                    <a:pt x="5941" y="519"/>
                    <a:pt x="5941" y="520"/>
                    <a:pt x="5941" y="521"/>
                  </a:cubicBezTo>
                  <a:cubicBezTo>
                    <a:pt x="5940" y="522"/>
                    <a:pt x="5940" y="524"/>
                    <a:pt x="5938" y="524"/>
                  </a:cubicBezTo>
                  <a:lnTo>
                    <a:pt x="5906" y="543"/>
                  </a:lnTo>
                  <a:lnTo>
                    <a:pt x="5928" y="541"/>
                  </a:lnTo>
                  <a:cubicBezTo>
                    <a:pt x="5929" y="541"/>
                    <a:pt x="5931" y="542"/>
                    <a:pt x="5931" y="543"/>
                  </a:cubicBezTo>
                  <a:lnTo>
                    <a:pt x="5974" y="606"/>
                  </a:lnTo>
                  <a:cubicBezTo>
                    <a:pt x="5975" y="608"/>
                    <a:pt x="5975" y="611"/>
                    <a:pt x="5973" y="612"/>
                  </a:cubicBezTo>
                  <a:lnTo>
                    <a:pt x="5945" y="644"/>
                  </a:lnTo>
                  <a:lnTo>
                    <a:pt x="5949" y="659"/>
                  </a:lnTo>
                  <a:cubicBezTo>
                    <a:pt x="5949" y="660"/>
                    <a:pt x="5949" y="662"/>
                    <a:pt x="5948" y="663"/>
                  </a:cubicBezTo>
                  <a:cubicBezTo>
                    <a:pt x="5947" y="664"/>
                    <a:pt x="5946" y="665"/>
                    <a:pt x="5944" y="665"/>
                  </a:cubicBezTo>
                  <a:cubicBezTo>
                    <a:pt x="5944" y="665"/>
                    <a:pt x="5943" y="665"/>
                    <a:pt x="5943" y="664"/>
                  </a:cubicBezTo>
                  <a:lnTo>
                    <a:pt x="5911" y="654"/>
                  </a:lnTo>
                  <a:lnTo>
                    <a:pt x="5911" y="657"/>
                  </a:lnTo>
                  <a:cubicBezTo>
                    <a:pt x="5910" y="659"/>
                    <a:pt x="5909" y="660"/>
                    <a:pt x="5907" y="660"/>
                  </a:cubicBezTo>
                  <a:lnTo>
                    <a:pt x="5876" y="667"/>
                  </a:lnTo>
                  <a:lnTo>
                    <a:pt x="5941" y="672"/>
                  </a:lnTo>
                  <a:cubicBezTo>
                    <a:pt x="5943" y="672"/>
                    <a:pt x="5944" y="674"/>
                    <a:pt x="5945" y="675"/>
                  </a:cubicBezTo>
                  <a:cubicBezTo>
                    <a:pt x="5945" y="677"/>
                    <a:pt x="5945" y="679"/>
                    <a:pt x="5944" y="680"/>
                  </a:cubicBezTo>
                  <a:lnTo>
                    <a:pt x="5930" y="694"/>
                  </a:lnTo>
                  <a:lnTo>
                    <a:pt x="5948" y="716"/>
                  </a:lnTo>
                  <a:cubicBezTo>
                    <a:pt x="5950" y="718"/>
                    <a:pt x="5949" y="721"/>
                    <a:pt x="5948" y="723"/>
                  </a:cubicBezTo>
                  <a:lnTo>
                    <a:pt x="5940" y="730"/>
                  </a:lnTo>
                  <a:lnTo>
                    <a:pt x="5978" y="727"/>
                  </a:lnTo>
                  <a:cubicBezTo>
                    <a:pt x="5981" y="727"/>
                    <a:pt x="5983" y="729"/>
                    <a:pt x="5983" y="731"/>
                  </a:cubicBezTo>
                  <a:lnTo>
                    <a:pt x="5987" y="775"/>
                  </a:lnTo>
                  <a:lnTo>
                    <a:pt x="6064" y="795"/>
                  </a:lnTo>
                  <a:cubicBezTo>
                    <a:pt x="6066" y="796"/>
                    <a:pt x="6068" y="797"/>
                    <a:pt x="6068" y="799"/>
                  </a:cubicBezTo>
                  <a:lnTo>
                    <a:pt x="6072" y="846"/>
                  </a:lnTo>
                  <a:lnTo>
                    <a:pt x="6060" y="865"/>
                  </a:lnTo>
                  <a:lnTo>
                    <a:pt x="6114" y="858"/>
                  </a:lnTo>
                  <a:cubicBezTo>
                    <a:pt x="6115" y="858"/>
                    <a:pt x="6116" y="859"/>
                    <a:pt x="6117" y="860"/>
                  </a:cubicBezTo>
                  <a:lnTo>
                    <a:pt x="6134" y="877"/>
                  </a:lnTo>
                  <a:cubicBezTo>
                    <a:pt x="6135" y="878"/>
                    <a:pt x="6136" y="880"/>
                    <a:pt x="6135" y="882"/>
                  </a:cubicBezTo>
                  <a:lnTo>
                    <a:pt x="6127" y="906"/>
                  </a:lnTo>
                  <a:lnTo>
                    <a:pt x="6153" y="877"/>
                  </a:lnTo>
                  <a:cubicBezTo>
                    <a:pt x="6154" y="876"/>
                    <a:pt x="6155" y="875"/>
                    <a:pt x="6156" y="875"/>
                  </a:cubicBezTo>
                  <a:lnTo>
                    <a:pt x="6157" y="875"/>
                  </a:lnTo>
                  <a:cubicBezTo>
                    <a:pt x="6158" y="875"/>
                    <a:pt x="6159" y="876"/>
                    <a:pt x="6160" y="877"/>
                  </a:cubicBezTo>
                  <a:lnTo>
                    <a:pt x="6194" y="928"/>
                  </a:lnTo>
                  <a:lnTo>
                    <a:pt x="6223" y="938"/>
                  </a:lnTo>
                  <a:lnTo>
                    <a:pt x="6250" y="911"/>
                  </a:lnTo>
                  <a:cubicBezTo>
                    <a:pt x="6251" y="910"/>
                    <a:pt x="6252" y="909"/>
                    <a:pt x="6254" y="909"/>
                  </a:cubicBezTo>
                  <a:cubicBezTo>
                    <a:pt x="6255" y="909"/>
                    <a:pt x="6257" y="910"/>
                    <a:pt x="6257" y="911"/>
                  </a:cubicBezTo>
                  <a:lnTo>
                    <a:pt x="6308" y="970"/>
                  </a:lnTo>
                  <a:cubicBezTo>
                    <a:pt x="6309" y="971"/>
                    <a:pt x="6309" y="973"/>
                    <a:pt x="6309" y="974"/>
                  </a:cubicBezTo>
                  <a:cubicBezTo>
                    <a:pt x="6309" y="976"/>
                    <a:pt x="6308" y="977"/>
                    <a:pt x="6306" y="977"/>
                  </a:cubicBezTo>
                  <a:lnTo>
                    <a:pt x="6168" y="1034"/>
                  </a:lnTo>
                  <a:lnTo>
                    <a:pt x="6199" y="1032"/>
                  </a:lnTo>
                  <a:cubicBezTo>
                    <a:pt x="6201" y="1032"/>
                    <a:pt x="6203" y="1033"/>
                    <a:pt x="6203" y="1036"/>
                  </a:cubicBezTo>
                  <a:cubicBezTo>
                    <a:pt x="6204" y="1038"/>
                    <a:pt x="6202" y="1040"/>
                    <a:pt x="6200" y="1041"/>
                  </a:cubicBezTo>
                  <a:lnTo>
                    <a:pt x="6100" y="1074"/>
                  </a:lnTo>
                  <a:lnTo>
                    <a:pt x="6080" y="1111"/>
                  </a:lnTo>
                  <a:cubicBezTo>
                    <a:pt x="6079" y="1112"/>
                    <a:pt x="6078" y="1113"/>
                    <a:pt x="6076" y="1113"/>
                  </a:cubicBezTo>
                  <a:cubicBezTo>
                    <a:pt x="6075" y="1113"/>
                    <a:pt x="6074" y="1113"/>
                    <a:pt x="6073" y="1112"/>
                  </a:cubicBezTo>
                  <a:lnTo>
                    <a:pt x="6021" y="1084"/>
                  </a:lnTo>
                  <a:lnTo>
                    <a:pt x="6009" y="1094"/>
                  </a:lnTo>
                  <a:lnTo>
                    <a:pt x="6069" y="1117"/>
                  </a:lnTo>
                  <a:cubicBezTo>
                    <a:pt x="6071" y="1117"/>
                    <a:pt x="6072" y="1119"/>
                    <a:pt x="6072" y="1122"/>
                  </a:cubicBezTo>
                  <a:lnTo>
                    <a:pt x="6069" y="1149"/>
                  </a:lnTo>
                  <a:lnTo>
                    <a:pt x="6196" y="1050"/>
                  </a:lnTo>
                  <a:lnTo>
                    <a:pt x="6256" y="1040"/>
                  </a:lnTo>
                  <a:lnTo>
                    <a:pt x="6244" y="1037"/>
                  </a:lnTo>
                  <a:cubicBezTo>
                    <a:pt x="6242" y="1036"/>
                    <a:pt x="6240" y="1034"/>
                    <a:pt x="6240" y="1032"/>
                  </a:cubicBezTo>
                  <a:cubicBezTo>
                    <a:pt x="6241" y="1030"/>
                    <a:pt x="6243" y="1028"/>
                    <a:pt x="6245" y="1028"/>
                  </a:cubicBezTo>
                  <a:lnTo>
                    <a:pt x="6317" y="1023"/>
                  </a:lnTo>
                  <a:cubicBezTo>
                    <a:pt x="6318" y="1023"/>
                    <a:pt x="6319" y="1024"/>
                    <a:pt x="6320" y="1025"/>
                  </a:cubicBezTo>
                  <a:cubicBezTo>
                    <a:pt x="6321" y="1026"/>
                    <a:pt x="6322" y="1027"/>
                    <a:pt x="6322" y="1028"/>
                  </a:cubicBezTo>
                  <a:lnTo>
                    <a:pt x="6322" y="1120"/>
                  </a:lnTo>
                  <a:lnTo>
                    <a:pt x="6343" y="1081"/>
                  </a:lnTo>
                  <a:cubicBezTo>
                    <a:pt x="6344" y="1079"/>
                    <a:pt x="6345" y="1078"/>
                    <a:pt x="6347" y="1078"/>
                  </a:cubicBezTo>
                  <a:cubicBezTo>
                    <a:pt x="6347" y="1078"/>
                    <a:pt x="6348" y="1079"/>
                    <a:pt x="6349" y="1079"/>
                  </a:cubicBezTo>
                  <a:lnTo>
                    <a:pt x="6433" y="1113"/>
                  </a:lnTo>
                  <a:cubicBezTo>
                    <a:pt x="6435" y="1113"/>
                    <a:pt x="6436" y="1114"/>
                    <a:pt x="6436" y="1116"/>
                  </a:cubicBezTo>
                  <a:cubicBezTo>
                    <a:pt x="6436" y="1118"/>
                    <a:pt x="6436" y="1119"/>
                    <a:pt x="6435" y="1120"/>
                  </a:cubicBezTo>
                  <a:lnTo>
                    <a:pt x="6429" y="1126"/>
                  </a:lnTo>
                  <a:lnTo>
                    <a:pt x="6452" y="1165"/>
                  </a:lnTo>
                  <a:cubicBezTo>
                    <a:pt x="6453" y="1167"/>
                    <a:pt x="6453" y="1169"/>
                    <a:pt x="6453" y="1170"/>
                  </a:cubicBezTo>
                  <a:cubicBezTo>
                    <a:pt x="6452" y="1172"/>
                    <a:pt x="6450" y="1172"/>
                    <a:pt x="6448" y="1172"/>
                  </a:cubicBezTo>
                  <a:lnTo>
                    <a:pt x="6409" y="1172"/>
                  </a:lnTo>
                  <a:lnTo>
                    <a:pt x="6434" y="1189"/>
                  </a:lnTo>
                  <a:cubicBezTo>
                    <a:pt x="6435" y="1190"/>
                    <a:pt x="6436" y="1191"/>
                    <a:pt x="6436" y="1192"/>
                  </a:cubicBezTo>
                  <a:lnTo>
                    <a:pt x="6449" y="1243"/>
                  </a:lnTo>
                  <a:cubicBezTo>
                    <a:pt x="6449" y="1245"/>
                    <a:pt x="6448" y="1247"/>
                    <a:pt x="6446" y="1248"/>
                  </a:cubicBezTo>
                  <a:lnTo>
                    <a:pt x="6431" y="1254"/>
                  </a:lnTo>
                  <a:lnTo>
                    <a:pt x="6456" y="1279"/>
                  </a:lnTo>
                  <a:cubicBezTo>
                    <a:pt x="6457" y="1280"/>
                    <a:pt x="6458" y="1282"/>
                    <a:pt x="6457" y="1284"/>
                  </a:cubicBezTo>
                  <a:cubicBezTo>
                    <a:pt x="6456" y="1286"/>
                    <a:pt x="6454" y="1287"/>
                    <a:pt x="6453" y="1287"/>
                  </a:cubicBezTo>
                  <a:lnTo>
                    <a:pt x="6436" y="1284"/>
                  </a:lnTo>
                  <a:lnTo>
                    <a:pt x="6456" y="1304"/>
                  </a:lnTo>
                  <a:cubicBezTo>
                    <a:pt x="6458" y="1306"/>
                    <a:pt x="6458" y="1309"/>
                    <a:pt x="6456" y="1311"/>
                  </a:cubicBezTo>
                  <a:lnTo>
                    <a:pt x="6376" y="1395"/>
                  </a:lnTo>
                  <a:lnTo>
                    <a:pt x="6225" y="1426"/>
                  </a:lnTo>
                  <a:lnTo>
                    <a:pt x="6092" y="1564"/>
                  </a:lnTo>
                  <a:cubicBezTo>
                    <a:pt x="6091" y="1565"/>
                    <a:pt x="6090" y="1566"/>
                    <a:pt x="6088" y="1566"/>
                  </a:cubicBezTo>
                  <a:lnTo>
                    <a:pt x="6087" y="1566"/>
                  </a:lnTo>
                  <a:lnTo>
                    <a:pt x="6070" y="1562"/>
                  </a:lnTo>
                  <a:cubicBezTo>
                    <a:pt x="6068" y="1561"/>
                    <a:pt x="6066" y="1558"/>
                    <a:pt x="6067" y="1556"/>
                  </a:cubicBezTo>
                  <a:lnTo>
                    <a:pt x="6069" y="1548"/>
                  </a:lnTo>
                  <a:lnTo>
                    <a:pt x="5959" y="1587"/>
                  </a:lnTo>
                  <a:lnTo>
                    <a:pt x="5957" y="1587"/>
                  </a:lnTo>
                  <a:lnTo>
                    <a:pt x="5955" y="1587"/>
                  </a:lnTo>
                  <a:lnTo>
                    <a:pt x="5904" y="1566"/>
                  </a:lnTo>
                  <a:lnTo>
                    <a:pt x="5563" y="1566"/>
                  </a:lnTo>
                  <a:lnTo>
                    <a:pt x="5519" y="1603"/>
                  </a:lnTo>
                  <a:lnTo>
                    <a:pt x="5483" y="1678"/>
                  </a:lnTo>
                  <a:cubicBezTo>
                    <a:pt x="5482" y="1679"/>
                    <a:pt x="5481" y="1680"/>
                    <a:pt x="5479" y="1680"/>
                  </a:cubicBezTo>
                  <a:lnTo>
                    <a:pt x="5416" y="1689"/>
                  </a:lnTo>
                  <a:lnTo>
                    <a:pt x="5350" y="1747"/>
                  </a:lnTo>
                  <a:lnTo>
                    <a:pt x="5309" y="1813"/>
                  </a:lnTo>
                  <a:lnTo>
                    <a:pt x="5273" y="1832"/>
                  </a:lnTo>
                  <a:lnTo>
                    <a:pt x="5233" y="1915"/>
                  </a:lnTo>
                  <a:lnTo>
                    <a:pt x="5180" y="1973"/>
                  </a:lnTo>
                  <a:lnTo>
                    <a:pt x="5193" y="1967"/>
                  </a:lnTo>
                  <a:lnTo>
                    <a:pt x="5284" y="1850"/>
                  </a:lnTo>
                  <a:lnTo>
                    <a:pt x="5387" y="1769"/>
                  </a:lnTo>
                  <a:lnTo>
                    <a:pt x="5536" y="1697"/>
                  </a:lnTo>
                  <a:lnTo>
                    <a:pt x="5669" y="1688"/>
                  </a:lnTo>
                  <a:lnTo>
                    <a:pt x="5731" y="1722"/>
                  </a:lnTo>
                  <a:cubicBezTo>
                    <a:pt x="5732" y="1723"/>
                    <a:pt x="5733" y="1724"/>
                    <a:pt x="5733" y="1726"/>
                  </a:cubicBezTo>
                  <a:lnTo>
                    <a:pt x="5737" y="1777"/>
                  </a:lnTo>
                  <a:cubicBezTo>
                    <a:pt x="5737" y="1778"/>
                    <a:pt x="5737" y="1780"/>
                    <a:pt x="5735" y="1781"/>
                  </a:cubicBezTo>
                  <a:lnTo>
                    <a:pt x="5655" y="1844"/>
                  </a:lnTo>
                  <a:cubicBezTo>
                    <a:pt x="5654" y="1845"/>
                    <a:pt x="5653" y="1845"/>
                    <a:pt x="5652" y="1845"/>
                  </a:cubicBezTo>
                  <a:lnTo>
                    <a:pt x="5651" y="1845"/>
                  </a:lnTo>
                  <a:lnTo>
                    <a:pt x="5600" y="1832"/>
                  </a:lnTo>
                  <a:lnTo>
                    <a:pt x="5562" y="1844"/>
                  </a:lnTo>
                  <a:lnTo>
                    <a:pt x="5606" y="1853"/>
                  </a:lnTo>
                  <a:cubicBezTo>
                    <a:pt x="5608" y="1853"/>
                    <a:pt x="5609" y="1854"/>
                    <a:pt x="5610" y="1855"/>
                  </a:cubicBezTo>
                  <a:lnTo>
                    <a:pt x="5620" y="1877"/>
                  </a:lnTo>
                  <a:lnTo>
                    <a:pt x="5663" y="1857"/>
                  </a:lnTo>
                  <a:lnTo>
                    <a:pt x="5665" y="1857"/>
                  </a:lnTo>
                  <a:cubicBezTo>
                    <a:pt x="5666" y="1857"/>
                    <a:pt x="5667" y="1857"/>
                    <a:pt x="5667" y="1858"/>
                  </a:cubicBezTo>
                  <a:lnTo>
                    <a:pt x="5693" y="1875"/>
                  </a:lnTo>
                  <a:cubicBezTo>
                    <a:pt x="5695" y="1876"/>
                    <a:pt x="5695" y="1879"/>
                    <a:pt x="5694" y="1881"/>
                  </a:cubicBezTo>
                  <a:lnTo>
                    <a:pt x="5655" y="1955"/>
                  </a:lnTo>
                  <a:lnTo>
                    <a:pt x="5687" y="1958"/>
                  </a:lnTo>
                  <a:cubicBezTo>
                    <a:pt x="5689" y="1959"/>
                    <a:pt x="5690" y="1960"/>
                    <a:pt x="5691" y="1963"/>
                  </a:cubicBezTo>
                  <a:lnTo>
                    <a:pt x="5699" y="2030"/>
                  </a:lnTo>
                  <a:lnTo>
                    <a:pt x="5715" y="2054"/>
                  </a:lnTo>
                  <a:lnTo>
                    <a:pt x="5777" y="2077"/>
                  </a:lnTo>
                  <a:cubicBezTo>
                    <a:pt x="5778" y="2078"/>
                    <a:pt x="5779" y="2079"/>
                    <a:pt x="5780" y="2081"/>
                  </a:cubicBezTo>
                  <a:cubicBezTo>
                    <a:pt x="5780" y="2083"/>
                    <a:pt x="5779" y="2084"/>
                    <a:pt x="5778" y="2085"/>
                  </a:cubicBezTo>
                  <a:lnTo>
                    <a:pt x="5768" y="2093"/>
                  </a:lnTo>
                  <a:lnTo>
                    <a:pt x="5864" y="2127"/>
                  </a:lnTo>
                  <a:lnTo>
                    <a:pt x="5926" y="2103"/>
                  </a:lnTo>
                  <a:cubicBezTo>
                    <a:pt x="5926" y="2102"/>
                    <a:pt x="5927" y="2102"/>
                    <a:pt x="5928" y="2102"/>
                  </a:cubicBezTo>
                  <a:cubicBezTo>
                    <a:pt x="5928" y="2102"/>
                    <a:pt x="5929" y="2102"/>
                    <a:pt x="5929" y="2103"/>
                  </a:cubicBezTo>
                  <a:cubicBezTo>
                    <a:pt x="5931" y="2103"/>
                    <a:pt x="5932" y="2104"/>
                    <a:pt x="5932" y="2105"/>
                  </a:cubicBezTo>
                  <a:lnTo>
                    <a:pt x="5940" y="2128"/>
                  </a:lnTo>
                  <a:lnTo>
                    <a:pt x="5983" y="2136"/>
                  </a:lnTo>
                  <a:cubicBezTo>
                    <a:pt x="5986" y="2137"/>
                    <a:pt x="5988" y="2139"/>
                    <a:pt x="5987" y="2142"/>
                  </a:cubicBezTo>
                  <a:lnTo>
                    <a:pt x="5984" y="2163"/>
                  </a:lnTo>
                  <a:lnTo>
                    <a:pt x="6009" y="2170"/>
                  </a:lnTo>
                  <a:cubicBezTo>
                    <a:pt x="6011" y="2171"/>
                    <a:pt x="6013" y="2172"/>
                    <a:pt x="6013" y="2174"/>
                  </a:cubicBezTo>
                  <a:cubicBezTo>
                    <a:pt x="6013" y="2176"/>
                    <a:pt x="6012" y="2178"/>
                    <a:pt x="6010" y="2179"/>
                  </a:cubicBezTo>
                  <a:lnTo>
                    <a:pt x="5853" y="2242"/>
                  </a:lnTo>
                  <a:lnTo>
                    <a:pt x="5797" y="2247"/>
                  </a:lnTo>
                  <a:lnTo>
                    <a:pt x="5797" y="2268"/>
                  </a:lnTo>
                  <a:cubicBezTo>
                    <a:pt x="5797" y="2269"/>
                    <a:pt x="5796" y="2271"/>
                    <a:pt x="5795" y="2271"/>
                  </a:cubicBezTo>
                  <a:cubicBezTo>
                    <a:pt x="5794" y="2272"/>
                    <a:pt x="5793" y="2273"/>
                    <a:pt x="5792" y="2273"/>
                  </a:cubicBezTo>
                  <a:lnTo>
                    <a:pt x="5752" y="2265"/>
                  </a:lnTo>
                  <a:lnTo>
                    <a:pt x="5737" y="2295"/>
                  </a:lnTo>
                  <a:lnTo>
                    <a:pt x="5643" y="2390"/>
                  </a:lnTo>
                  <a:cubicBezTo>
                    <a:pt x="5642" y="2391"/>
                    <a:pt x="5641" y="2391"/>
                    <a:pt x="5639" y="2391"/>
                  </a:cubicBezTo>
                  <a:cubicBezTo>
                    <a:pt x="5638" y="2391"/>
                    <a:pt x="5637" y="2391"/>
                    <a:pt x="5637" y="2390"/>
                  </a:cubicBezTo>
                  <a:lnTo>
                    <a:pt x="5582" y="2352"/>
                  </a:lnTo>
                  <a:cubicBezTo>
                    <a:pt x="5580" y="2351"/>
                    <a:pt x="5580" y="2350"/>
                    <a:pt x="5580" y="2349"/>
                  </a:cubicBezTo>
                  <a:lnTo>
                    <a:pt x="5575" y="2306"/>
                  </a:lnTo>
                  <a:lnTo>
                    <a:pt x="5593" y="2266"/>
                  </a:lnTo>
                  <a:lnTo>
                    <a:pt x="5580" y="2268"/>
                  </a:lnTo>
                  <a:cubicBezTo>
                    <a:pt x="5578" y="2268"/>
                    <a:pt x="5576" y="2267"/>
                    <a:pt x="5576" y="2265"/>
                  </a:cubicBezTo>
                  <a:cubicBezTo>
                    <a:pt x="5575" y="2263"/>
                    <a:pt x="5576" y="2261"/>
                    <a:pt x="5578" y="2260"/>
                  </a:cubicBezTo>
                  <a:lnTo>
                    <a:pt x="5716" y="2174"/>
                  </a:lnTo>
                  <a:lnTo>
                    <a:pt x="5690" y="2175"/>
                  </a:lnTo>
                  <a:cubicBezTo>
                    <a:pt x="5688" y="2175"/>
                    <a:pt x="5686" y="2174"/>
                    <a:pt x="5686" y="2172"/>
                  </a:cubicBezTo>
                  <a:lnTo>
                    <a:pt x="5681" y="2155"/>
                  </a:lnTo>
                  <a:cubicBezTo>
                    <a:pt x="5681" y="2153"/>
                    <a:pt x="5681" y="2151"/>
                    <a:pt x="5683" y="2150"/>
                  </a:cubicBezTo>
                  <a:lnTo>
                    <a:pt x="5721" y="2112"/>
                  </a:lnTo>
                  <a:lnTo>
                    <a:pt x="5712" y="2105"/>
                  </a:lnTo>
                  <a:lnTo>
                    <a:pt x="5621" y="2183"/>
                  </a:lnTo>
                  <a:lnTo>
                    <a:pt x="5500" y="2196"/>
                  </a:lnTo>
                  <a:lnTo>
                    <a:pt x="5461" y="2188"/>
                  </a:lnTo>
                  <a:cubicBezTo>
                    <a:pt x="5458" y="2187"/>
                    <a:pt x="5457" y="2186"/>
                    <a:pt x="5457" y="2184"/>
                  </a:cubicBezTo>
                  <a:lnTo>
                    <a:pt x="5453" y="2144"/>
                  </a:lnTo>
                  <a:lnTo>
                    <a:pt x="5434" y="2137"/>
                  </a:lnTo>
                  <a:cubicBezTo>
                    <a:pt x="5432" y="2136"/>
                    <a:pt x="5431" y="2134"/>
                    <a:pt x="5431" y="2133"/>
                  </a:cubicBezTo>
                  <a:lnTo>
                    <a:pt x="5431" y="1974"/>
                  </a:lnTo>
                  <a:lnTo>
                    <a:pt x="5393" y="1935"/>
                  </a:lnTo>
                  <a:lnTo>
                    <a:pt x="5349" y="1959"/>
                  </a:lnTo>
                  <a:lnTo>
                    <a:pt x="5347" y="1959"/>
                  </a:lnTo>
                  <a:lnTo>
                    <a:pt x="5344" y="1959"/>
                  </a:lnTo>
                  <a:lnTo>
                    <a:pt x="5302" y="1928"/>
                  </a:lnTo>
                  <a:lnTo>
                    <a:pt x="5254" y="2000"/>
                  </a:lnTo>
                  <a:lnTo>
                    <a:pt x="5203" y="2176"/>
                  </a:lnTo>
                  <a:cubicBezTo>
                    <a:pt x="5203" y="2178"/>
                    <a:pt x="5201" y="2179"/>
                    <a:pt x="5200" y="2179"/>
                  </a:cubicBezTo>
                  <a:lnTo>
                    <a:pt x="5138" y="2188"/>
                  </a:lnTo>
                  <a:lnTo>
                    <a:pt x="5123" y="2219"/>
                  </a:lnTo>
                  <a:cubicBezTo>
                    <a:pt x="5122" y="2221"/>
                    <a:pt x="5120" y="2222"/>
                    <a:pt x="5118" y="2222"/>
                  </a:cubicBezTo>
                  <a:lnTo>
                    <a:pt x="4834" y="2222"/>
                  </a:lnTo>
                  <a:lnTo>
                    <a:pt x="4774" y="2267"/>
                  </a:lnTo>
                  <a:lnTo>
                    <a:pt x="4672" y="2323"/>
                  </a:lnTo>
                  <a:lnTo>
                    <a:pt x="4669" y="2323"/>
                  </a:lnTo>
                  <a:lnTo>
                    <a:pt x="4668" y="2323"/>
                  </a:lnTo>
                  <a:lnTo>
                    <a:pt x="4657" y="2319"/>
                  </a:lnTo>
                  <a:lnTo>
                    <a:pt x="4665" y="2338"/>
                  </a:lnTo>
                  <a:cubicBezTo>
                    <a:pt x="4666" y="2339"/>
                    <a:pt x="4666" y="2341"/>
                    <a:pt x="4665" y="2343"/>
                  </a:cubicBezTo>
                  <a:cubicBezTo>
                    <a:pt x="4664" y="2344"/>
                    <a:pt x="4663" y="2345"/>
                    <a:pt x="4661" y="2345"/>
                  </a:cubicBezTo>
                  <a:lnTo>
                    <a:pt x="4572" y="2340"/>
                  </a:lnTo>
                  <a:lnTo>
                    <a:pt x="4484" y="2366"/>
                  </a:lnTo>
                  <a:lnTo>
                    <a:pt x="4442" y="2408"/>
                  </a:lnTo>
                  <a:lnTo>
                    <a:pt x="4492" y="2416"/>
                  </a:lnTo>
                  <a:cubicBezTo>
                    <a:pt x="4494" y="2416"/>
                    <a:pt x="4495" y="2417"/>
                    <a:pt x="4496" y="2419"/>
                  </a:cubicBezTo>
                  <a:lnTo>
                    <a:pt x="4513" y="2465"/>
                  </a:lnTo>
                  <a:cubicBezTo>
                    <a:pt x="4513" y="2466"/>
                    <a:pt x="4513" y="2468"/>
                    <a:pt x="4512" y="2469"/>
                  </a:cubicBezTo>
                  <a:cubicBezTo>
                    <a:pt x="4511" y="2471"/>
                    <a:pt x="4510" y="2471"/>
                    <a:pt x="4508" y="2471"/>
                  </a:cubicBezTo>
                  <a:lnTo>
                    <a:pt x="4407" y="2471"/>
                  </a:lnTo>
                  <a:lnTo>
                    <a:pt x="4367" y="2496"/>
                  </a:lnTo>
                  <a:cubicBezTo>
                    <a:pt x="4366" y="2497"/>
                    <a:pt x="4365" y="2497"/>
                    <a:pt x="4364" y="2497"/>
                  </a:cubicBezTo>
                  <a:lnTo>
                    <a:pt x="4363" y="2497"/>
                  </a:lnTo>
                  <a:lnTo>
                    <a:pt x="4319" y="2485"/>
                  </a:lnTo>
                  <a:lnTo>
                    <a:pt x="4210" y="2564"/>
                  </a:lnTo>
                  <a:lnTo>
                    <a:pt x="4208" y="2564"/>
                  </a:lnTo>
                  <a:lnTo>
                    <a:pt x="4152" y="2560"/>
                  </a:lnTo>
                  <a:cubicBezTo>
                    <a:pt x="4151" y="2560"/>
                    <a:pt x="4149" y="2559"/>
                    <a:pt x="4148" y="2558"/>
                  </a:cubicBezTo>
                  <a:cubicBezTo>
                    <a:pt x="4148" y="2557"/>
                    <a:pt x="4147" y="2555"/>
                    <a:pt x="4148" y="2554"/>
                  </a:cubicBezTo>
                  <a:lnTo>
                    <a:pt x="4165" y="2511"/>
                  </a:lnTo>
                  <a:cubicBezTo>
                    <a:pt x="4166" y="2510"/>
                    <a:pt x="4168" y="2508"/>
                    <a:pt x="4169" y="2508"/>
                  </a:cubicBezTo>
                  <a:lnTo>
                    <a:pt x="4200" y="2512"/>
                  </a:lnTo>
                  <a:lnTo>
                    <a:pt x="4190" y="2490"/>
                  </a:lnTo>
                  <a:lnTo>
                    <a:pt x="4203" y="2436"/>
                  </a:lnTo>
                  <a:cubicBezTo>
                    <a:pt x="4203" y="2435"/>
                    <a:pt x="4204" y="2434"/>
                    <a:pt x="4205" y="2433"/>
                  </a:cubicBezTo>
                  <a:lnTo>
                    <a:pt x="4258" y="2401"/>
                  </a:lnTo>
                  <a:lnTo>
                    <a:pt x="4262" y="2310"/>
                  </a:lnTo>
                  <a:lnTo>
                    <a:pt x="4291" y="2242"/>
                  </a:lnTo>
                  <a:lnTo>
                    <a:pt x="4271" y="2181"/>
                  </a:lnTo>
                  <a:cubicBezTo>
                    <a:pt x="4270" y="2179"/>
                    <a:pt x="4271" y="2177"/>
                    <a:pt x="4272" y="2176"/>
                  </a:cubicBezTo>
                  <a:cubicBezTo>
                    <a:pt x="4273" y="2175"/>
                    <a:pt x="4274" y="2174"/>
                    <a:pt x="4275" y="2174"/>
                  </a:cubicBezTo>
                  <a:cubicBezTo>
                    <a:pt x="4276" y="2174"/>
                    <a:pt x="4305" y="2178"/>
                    <a:pt x="4305" y="2178"/>
                  </a:cubicBezTo>
                  <a:cubicBezTo>
                    <a:pt x="4307" y="2179"/>
                    <a:pt x="4309" y="2180"/>
                    <a:pt x="4309" y="2182"/>
                  </a:cubicBezTo>
                  <a:lnTo>
                    <a:pt x="4317" y="2216"/>
                  </a:lnTo>
                  <a:lnTo>
                    <a:pt x="4329" y="2212"/>
                  </a:lnTo>
                  <a:lnTo>
                    <a:pt x="4330" y="2212"/>
                  </a:lnTo>
                  <a:cubicBezTo>
                    <a:pt x="4331" y="2212"/>
                    <a:pt x="4332" y="2213"/>
                    <a:pt x="4333" y="2213"/>
                  </a:cubicBezTo>
                  <a:cubicBezTo>
                    <a:pt x="4334" y="2214"/>
                    <a:pt x="4335" y="2215"/>
                    <a:pt x="4335" y="2217"/>
                  </a:cubicBezTo>
                  <a:lnTo>
                    <a:pt x="4338" y="2249"/>
                  </a:lnTo>
                  <a:lnTo>
                    <a:pt x="4348" y="2239"/>
                  </a:lnTo>
                  <a:cubicBezTo>
                    <a:pt x="4349" y="2238"/>
                    <a:pt x="4350" y="2238"/>
                    <a:pt x="4351" y="2238"/>
                  </a:cubicBezTo>
                  <a:lnTo>
                    <a:pt x="4353" y="2238"/>
                  </a:lnTo>
                  <a:lnTo>
                    <a:pt x="4402" y="2257"/>
                  </a:lnTo>
                  <a:lnTo>
                    <a:pt x="4402" y="2226"/>
                  </a:lnTo>
                  <a:cubicBezTo>
                    <a:pt x="4402" y="2224"/>
                    <a:pt x="4403" y="2223"/>
                    <a:pt x="4404" y="2222"/>
                  </a:cubicBezTo>
                  <a:cubicBezTo>
                    <a:pt x="4404" y="2221"/>
                    <a:pt x="4406" y="2221"/>
                    <a:pt x="4407" y="2221"/>
                  </a:cubicBezTo>
                  <a:lnTo>
                    <a:pt x="4408" y="2221"/>
                  </a:lnTo>
                  <a:lnTo>
                    <a:pt x="4427" y="2226"/>
                  </a:lnTo>
                  <a:lnTo>
                    <a:pt x="4403" y="2199"/>
                  </a:lnTo>
                  <a:cubicBezTo>
                    <a:pt x="4402" y="2198"/>
                    <a:pt x="4402" y="2197"/>
                    <a:pt x="4402" y="2196"/>
                  </a:cubicBezTo>
                  <a:lnTo>
                    <a:pt x="4402" y="2172"/>
                  </a:lnTo>
                  <a:lnTo>
                    <a:pt x="4344" y="2110"/>
                  </a:lnTo>
                  <a:lnTo>
                    <a:pt x="4067" y="2061"/>
                  </a:lnTo>
                  <a:cubicBezTo>
                    <a:pt x="4065" y="2061"/>
                    <a:pt x="4064" y="2060"/>
                    <a:pt x="4063" y="2058"/>
                  </a:cubicBezTo>
                  <a:lnTo>
                    <a:pt x="4055" y="2040"/>
                  </a:lnTo>
                  <a:lnTo>
                    <a:pt x="4055" y="2041"/>
                  </a:lnTo>
                  <a:cubicBezTo>
                    <a:pt x="4054" y="2043"/>
                    <a:pt x="4053" y="2044"/>
                    <a:pt x="4051" y="2044"/>
                  </a:cubicBezTo>
                  <a:lnTo>
                    <a:pt x="4038" y="2044"/>
                  </a:lnTo>
                  <a:cubicBezTo>
                    <a:pt x="4037" y="2044"/>
                    <a:pt x="4035" y="2043"/>
                    <a:pt x="4034" y="2042"/>
                  </a:cubicBezTo>
                  <a:cubicBezTo>
                    <a:pt x="4034" y="2042"/>
                    <a:pt x="4033" y="2040"/>
                    <a:pt x="4033" y="2039"/>
                  </a:cubicBezTo>
                  <a:lnTo>
                    <a:pt x="4037" y="1992"/>
                  </a:lnTo>
                  <a:lnTo>
                    <a:pt x="4019" y="1984"/>
                  </a:lnTo>
                  <a:cubicBezTo>
                    <a:pt x="4017" y="1984"/>
                    <a:pt x="4016" y="1982"/>
                    <a:pt x="4016" y="1980"/>
                  </a:cubicBezTo>
                  <a:lnTo>
                    <a:pt x="4016" y="1929"/>
                  </a:lnTo>
                  <a:lnTo>
                    <a:pt x="3992" y="1898"/>
                  </a:lnTo>
                  <a:cubicBezTo>
                    <a:pt x="3991" y="1897"/>
                    <a:pt x="3991" y="1896"/>
                    <a:pt x="3991" y="1895"/>
                  </a:cubicBezTo>
                  <a:lnTo>
                    <a:pt x="3994" y="1858"/>
                  </a:lnTo>
                  <a:lnTo>
                    <a:pt x="3932" y="1862"/>
                  </a:lnTo>
                  <a:cubicBezTo>
                    <a:pt x="3930" y="1862"/>
                    <a:pt x="3929" y="1861"/>
                    <a:pt x="3928" y="1859"/>
                  </a:cubicBezTo>
                  <a:lnTo>
                    <a:pt x="3878" y="1760"/>
                  </a:lnTo>
                  <a:lnTo>
                    <a:pt x="3827" y="1757"/>
                  </a:lnTo>
                  <a:lnTo>
                    <a:pt x="3827" y="1811"/>
                  </a:lnTo>
                  <a:cubicBezTo>
                    <a:pt x="3827" y="1813"/>
                    <a:pt x="3825" y="1815"/>
                    <a:pt x="3823" y="1815"/>
                  </a:cubicBezTo>
                  <a:lnTo>
                    <a:pt x="3822" y="1816"/>
                  </a:lnTo>
                  <a:cubicBezTo>
                    <a:pt x="3820" y="1816"/>
                    <a:pt x="3818" y="1814"/>
                    <a:pt x="3817" y="1813"/>
                  </a:cubicBezTo>
                  <a:lnTo>
                    <a:pt x="3793" y="1747"/>
                  </a:lnTo>
                  <a:lnTo>
                    <a:pt x="3744" y="1732"/>
                  </a:lnTo>
                  <a:lnTo>
                    <a:pt x="3716" y="1796"/>
                  </a:lnTo>
                  <a:cubicBezTo>
                    <a:pt x="3715" y="1798"/>
                    <a:pt x="3714" y="1799"/>
                    <a:pt x="3712" y="1799"/>
                  </a:cubicBezTo>
                  <a:lnTo>
                    <a:pt x="3711" y="1799"/>
                  </a:lnTo>
                  <a:cubicBezTo>
                    <a:pt x="3709" y="1798"/>
                    <a:pt x="3707" y="1796"/>
                    <a:pt x="3707" y="1794"/>
                  </a:cubicBezTo>
                  <a:lnTo>
                    <a:pt x="3707" y="1766"/>
                  </a:lnTo>
                  <a:lnTo>
                    <a:pt x="3686" y="1805"/>
                  </a:lnTo>
                  <a:cubicBezTo>
                    <a:pt x="3685" y="1806"/>
                    <a:pt x="3684" y="1807"/>
                    <a:pt x="3682" y="1807"/>
                  </a:cubicBezTo>
                  <a:cubicBezTo>
                    <a:pt x="3680" y="1807"/>
                    <a:pt x="3678" y="1806"/>
                    <a:pt x="3678" y="1804"/>
                  </a:cubicBezTo>
                  <a:lnTo>
                    <a:pt x="3672" y="1787"/>
                  </a:lnTo>
                  <a:lnTo>
                    <a:pt x="3635" y="1839"/>
                  </a:lnTo>
                  <a:lnTo>
                    <a:pt x="3600" y="1857"/>
                  </a:lnTo>
                  <a:lnTo>
                    <a:pt x="3507" y="1837"/>
                  </a:lnTo>
                  <a:lnTo>
                    <a:pt x="3463" y="1845"/>
                  </a:lnTo>
                  <a:lnTo>
                    <a:pt x="3341" y="1777"/>
                  </a:lnTo>
                  <a:lnTo>
                    <a:pt x="3195" y="1765"/>
                  </a:lnTo>
                  <a:cubicBezTo>
                    <a:pt x="3193" y="1765"/>
                    <a:pt x="3191" y="1764"/>
                    <a:pt x="3191" y="1762"/>
                  </a:cubicBezTo>
                  <a:lnTo>
                    <a:pt x="3156" y="1689"/>
                  </a:lnTo>
                  <a:lnTo>
                    <a:pt x="3153" y="1731"/>
                  </a:lnTo>
                  <a:cubicBezTo>
                    <a:pt x="3153" y="1733"/>
                    <a:pt x="3151" y="1735"/>
                    <a:pt x="3148" y="1735"/>
                  </a:cubicBezTo>
                  <a:lnTo>
                    <a:pt x="840" y="1731"/>
                  </a:lnTo>
                  <a:cubicBezTo>
                    <a:pt x="838" y="1731"/>
                    <a:pt x="837" y="1730"/>
                    <a:pt x="836" y="1729"/>
                  </a:cubicBezTo>
                  <a:lnTo>
                    <a:pt x="819" y="1708"/>
                  </a:lnTo>
                  <a:cubicBezTo>
                    <a:pt x="818" y="1707"/>
                    <a:pt x="818" y="1705"/>
                    <a:pt x="818" y="1704"/>
                  </a:cubicBezTo>
                  <a:cubicBezTo>
                    <a:pt x="819" y="1702"/>
                    <a:pt x="820" y="1701"/>
                    <a:pt x="821" y="1701"/>
                  </a:cubicBezTo>
                  <a:lnTo>
                    <a:pt x="835" y="1695"/>
                  </a:lnTo>
                  <a:lnTo>
                    <a:pt x="805" y="1693"/>
                  </a:lnTo>
                  <a:cubicBezTo>
                    <a:pt x="803" y="1693"/>
                    <a:pt x="801" y="1691"/>
                    <a:pt x="801" y="1688"/>
                  </a:cubicBezTo>
                  <a:lnTo>
                    <a:pt x="801" y="1645"/>
                  </a:lnTo>
                  <a:lnTo>
                    <a:pt x="775" y="1670"/>
                  </a:lnTo>
                  <a:cubicBezTo>
                    <a:pt x="774" y="1671"/>
                    <a:pt x="773" y="1672"/>
                    <a:pt x="772" y="1672"/>
                  </a:cubicBezTo>
                  <a:cubicBezTo>
                    <a:pt x="771" y="1672"/>
                    <a:pt x="771" y="1672"/>
                    <a:pt x="770" y="1671"/>
                  </a:cubicBezTo>
                  <a:cubicBezTo>
                    <a:pt x="768" y="1671"/>
                    <a:pt x="767" y="1669"/>
                    <a:pt x="767" y="1667"/>
                  </a:cubicBezTo>
                  <a:lnTo>
                    <a:pt x="767" y="1633"/>
                  </a:lnTo>
                  <a:lnTo>
                    <a:pt x="747" y="1602"/>
                  </a:lnTo>
                  <a:lnTo>
                    <a:pt x="747" y="1616"/>
                  </a:lnTo>
                  <a:cubicBezTo>
                    <a:pt x="747" y="1619"/>
                    <a:pt x="745" y="1620"/>
                    <a:pt x="743" y="1621"/>
                  </a:cubicBezTo>
                  <a:lnTo>
                    <a:pt x="722" y="1625"/>
                  </a:lnTo>
                  <a:lnTo>
                    <a:pt x="685" y="1608"/>
                  </a:lnTo>
                  <a:lnTo>
                    <a:pt x="670" y="1585"/>
                  </a:lnTo>
                  <a:lnTo>
                    <a:pt x="670" y="1581"/>
                  </a:lnTo>
                  <a:lnTo>
                    <a:pt x="681" y="1544"/>
                  </a:lnTo>
                  <a:lnTo>
                    <a:pt x="559" y="1528"/>
                  </a:lnTo>
                  <a:cubicBezTo>
                    <a:pt x="558" y="1528"/>
                    <a:pt x="556" y="1527"/>
                    <a:pt x="556" y="1525"/>
                  </a:cubicBezTo>
                  <a:cubicBezTo>
                    <a:pt x="555" y="1523"/>
                    <a:pt x="555" y="1522"/>
                    <a:pt x="556" y="1520"/>
                  </a:cubicBezTo>
                  <a:lnTo>
                    <a:pt x="570" y="1503"/>
                  </a:lnTo>
                  <a:lnTo>
                    <a:pt x="537" y="1485"/>
                  </a:lnTo>
                  <a:cubicBezTo>
                    <a:pt x="534" y="1484"/>
                    <a:pt x="534" y="1481"/>
                    <a:pt x="535" y="1479"/>
                  </a:cubicBezTo>
                  <a:lnTo>
                    <a:pt x="539" y="1470"/>
                  </a:lnTo>
                  <a:lnTo>
                    <a:pt x="475" y="1481"/>
                  </a:lnTo>
                  <a:lnTo>
                    <a:pt x="473" y="1481"/>
                  </a:lnTo>
                  <a:lnTo>
                    <a:pt x="430" y="1455"/>
                  </a:lnTo>
                  <a:lnTo>
                    <a:pt x="420" y="1432"/>
                  </a:lnTo>
                  <a:lnTo>
                    <a:pt x="420" y="1428"/>
                  </a:lnTo>
                  <a:cubicBezTo>
                    <a:pt x="421" y="1427"/>
                    <a:pt x="422" y="1426"/>
                    <a:pt x="423" y="1426"/>
                  </a:cubicBezTo>
                  <a:lnTo>
                    <a:pt x="440" y="1421"/>
                  </a:lnTo>
                  <a:lnTo>
                    <a:pt x="423" y="1413"/>
                  </a:lnTo>
                  <a:cubicBezTo>
                    <a:pt x="421" y="1412"/>
                    <a:pt x="420" y="1411"/>
                    <a:pt x="420" y="1409"/>
                  </a:cubicBezTo>
                  <a:cubicBezTo>
                    <a:pt x="420" y="1407"/>
                    <a:pt x="421" y="1405"/>
                    <a:pt x="423" y="1405"/>
                  </a:cubicBezTo>
                  <a:lnTo>
                    <a:pt x="448" y="1396"/>
                  </a:lnTo>
                  <a:cubicBezTo>
                    <a:pt x="446" y="1395"/>
                    <a:pt x="445" y="1394"/>
                    <a:pt x="445" y="1392"/>
                  </a:cubicBezTo>
                  <a:lnTo>
                    <a:pt x="445" y="1370"/>
                  </a:lnTo>
                  <a:lnTo>
                    <a:pt x="423" y="1383"/>
                  </a:lnTo>
                  <a:cubicBezTo>
                    <a:pt x="422" y="1384"/>
                    <a:pt x="421" y="1384"/>
                    <a:pt x="420" y="1384"/>
                  </a:cubicBezTo>
                  <a:cubicBezTo>
                    <a:pt x="419" y="1384"/>
                    <a:pt x="419" y="1384"/>
                    <a:pt x="418" y="1383"/>
                  </a:cubicBezTo>
                  <a:cubicBezTo>
                    <a:pt x="417" y="1383"/>
                    <a:pt x="416" y="1381"/>
                    <a:pt x="416" y="1380"/>
                  </a:cubicBezTo>
                  <a:lnTo>
                    <a:pt x="407" y="1276"/>
                  </a:lnTo>
                  <a:lnTo>
                    <a:pt x="379" y="1286"/>
                  </a:lnTo>
                  <a:cubicBezTo>
                    <a:pt x="379" y="1287"/>
                    <a:pt x="378" y="1287"/>
                    <a:pt x="378" y="1287"/>
                  </a:cubicBezTo>
                  <a:cubicBezTo>
                    <a:pt x="377" y="1287"/>
                    <a:pt x="376" y="1286"/>
                    <a:pt x="375" y="1286"/>
                  </a:cubicBezTo>
                  <a:cubicBezTo>
                    <a:pt x="374" y="1285"/>
                    <a:pt x="373" y="1284"/>
                    <a:pt x="373" y="1282"/>
                  </a:cubicBezTo>
                  <a:lnTo>
                    <a:pt x="373" y="1258"/>
                  </a:lnTo>
                  <a:lnTo>
                    <a:pt x="341" y="1266"/>
                  </a:lnTo>
                  <a:cubicBezTo>
                    <a:pt x="340" y="1266"/>
                    <a:pt x="340" y="1266"/>
                    <a:pt x="340" y="1266"/>
                  </a:cubicBezTo>
                  <a:cubicBezTo>
                    <a:pt x="338" y="1266"/>
                    <a:pt x="336" y="1265"/>
                    <a:pt x="335" y="1263"/>
                  </a:cubicBezTo>
                  <a:lnTo>
                    <a:pt x="306" y="1195"/>
                  </a:lnTo>
                  <a:lnTo>
                    <a:pt x="309" y="1133"/>
                  </a:lnTo>
                  <a:lnTo>
                    <a:pt x="295" y="1138"/>
                  </a:lnTo>
                  <a:cubicBezTo>
                    <a:pt x="294" y="1139"/>
                    <a:pt x="294" y="1139"/>
                    <a:pt x="293" y="1139"/>
                  </a:cubicBezTo>
                  <a:cubicBezTo>
                    <a:pt x="292" y="1139"/>
                    <a:pt x="290" y="1138"/>
                    <a:pt x="290" y="1137"/>
                  </a:cubicBezTo>
                  <a:lnTo>
                    <a:pt x="226" y="1061"/>
                  </a:lnTo>
                  <a:cubicBezTo>
                    <a:pt x="225" y="1060"/>
                    <a:pt x="225" y="1058"/>
                    <a:pt x="225" y="1056"/>
                  </a:cubicBezTo>
                  <a:lnTo>
                    <a:pt x="237" y="1026"/>
                  </a:lnTo>
                  <a:lnTo>
                    <a:pt x="197" y="998"/>
                  </a:lnTo>
                  <a:cubicBezTo>
                    <a:pt x="196" y="997"/>
                    <a:pt x="195" y="995"/>
                    <a:pt x="195" y="993"/>
                  </a:cubicBezTo>
                  <a:lnTo>
                    <a:pt x="204" y="955"/>
                  </a:lnTo>
                  <a:cubicBezTo>
                    <a:pt x="204" y="953"/>
                    <a:pt x="206" y="952"/>
                    <a:pt x="208" y="952"/>
                  </a:cubicBezTo>
                  <a:lnTo>
                    <a:pt x="224" y="952"/>
                  </a:lnTo>
                  <a:lnTo>
                    <a:pt x="220" y="906"/>
                  </a:lnTo>
                  <a:lnTo>
                    <a:pt x="225" y="764"/>
                  </a:lnTo>
                  <a:lnTo>
                    <a:pt x="70" y="677"/>
                  </a:lnTo>
                  <a:lnTo>
                    <a:pt x="0" y="535"/>
                  </a:lnTo>
                  <a:lnTo>
                    <a:pt x="0" y="0"/>
                  </a:lnTo>
                  <a:close/>
                  <a:moveTo>
                    <a:pt x="5746" y="2194"/>
                  </a:moveTo>
                  <a:lnTo>
                    <a:pt x="5792" y="2172"/>
                  </a:lnTo>
                  <a:lnTo>
                    <a:pt x="5729" y="2174"/>
                  </a:lnTo>
                  <a:lnTo>
                    <a:pt x="5746" y="2194"/>
                  </a:lnTo>
                  <a:close/>
                  <a:moveTo>
                    <a:pt x="3022" y="1540"/>
                  </a:moveTo>
                  <a:lnTo>
                    <a:pt x="3034" y="1513"/>
                  </a:lnTo>
                  <a:cubicBezTo>
                    <a:pt x="3035" y="1512"/>
                    <a:pt x="3035" y="1511"/>
                    <a:pt x="3037" y="1510"/>
                  </a:cubicBezTo>
                  <a:lnTo>
                    <a:pt x="3038" y="1510"/>
                  </a:lnTo>
                  <a:lnTo>
                    <a:pt x="3040" y="1510"/>
                  </a:lnTo>
                  <a:lnTo>
                    <a:pt x="3044" y="1512"/>
                  </a:lnTo>
                  <a:lnTo>
                    <a:pt x="3063" y="1435"/>
                  </a:lnTo>
                  <a:lnTo>
                    <a:pt x="2987" y="1310"/>
                  </a:lnTo>
                  <a:lnTo>
                    <a:pt x="2970" y="1198"/>
                  </a:lnTo>
                  <a:lnTo>
                    <a:pt x="2946" y="1166"/>
                  </a:lnTo>
                  <a:lnTo>
                    <a:pt x="2928" y="1093"/>
                  </a:lnTo>
                  <a:lnTo>
                    <a:pt x="2927" y="1070"/>
                  </a:lnTo>
                  <a:cubicBezTo>
                    <a:pt x="2927" y="1069"/>
                    <a:pt x="2928" y="1068"/>
                    <a:pt x="2930" y="1067"/>
                  </a:cubicBezTo>
                  <a:lnTo>
                    <a:pt x="2943" y="1056"/>
                  </a:lnTo>
                  <a:lnTo>
                    <a:pt x="2939" y="1047"/>
                  </a:lnTo>
                  <a:lnTo>
                    <a:pt x="2909" y="1062"/>
                  </a:lnTo>
                  <a:cubicBezTo>
                    <a:pt x="2908" y="1062"/>
                    <a:pt x="2908" y="1063"/>
                    <a:pt x="2907" y="1063"/>
                  </a:cubicBezTo>
                  <a:cubicBezTo>
                    <a:pt x="2906" y="1063"/>
                    <a:pt x="2904" y="1062"/>
                    <a:pt x="2903" y="1061"/>
                  </a:cubicBezTo>
                  <a:cubicBezTo>
                    <a:pt x="2902" y="1060"/>
                    <a:pt x="2902" y="1057"/>
                    <a:pt x="2903" y="1055"/>
                  </a:cubicBezTo>
                  <a:lnTo>
                    <a:pt x="2918" y="1028"/>
                  </a:lnTo>
                  <a:lnTo>
                    <a:pt x="2909" y="1016"/>
                  </a:lnTo>
                  <a:lnTo>
                    <a:pt x="2889" y="1014"/>
                  </a:lnTo>
                  <a:lnTo>
                    <a:pt x="2909" y="1024"/>
                  </a:lnTo>
                  <a:cubicBezTo>
                    <a:pt x="2910" y="1025"/>
                    <a:pt x="2911" y="1025"/>
                    <a:pt x="2911" y="1027"/>
                  </a:cubicBezTo>
                  <a:cubicBezTo>
                    <a:pt x="2912" y="1028"/>
                    <a:pt x="2912" y="1029"/>
                    <a:pt x="2911" y="1030"/>
                  </a:cubicBezTo>
                  <a:lnTo>
                    <a:pt x="2899" y="1054"/>
                  </a:lnTo>
                  <a:lnTo>
                    <a:pt x="2920" y="1094"/>
                  </a:lnTo>
                  <a:cubicBezTo>
                    <a:pt x="2920" y="1095"/>
                    <a:pt x="2920" y="1097"/>
                    <a:pt x="2919" y="1099"/>
                  </a:cubicBezTo>
                  <a:cubicBezTo>
                    <a:pt x="2918" y="1100"/>
                    <a:pt x="2917" y="1101"/>
                    <a:pt x="2915" y="1101"/>
                  </a:cubicBezTo>
                  <a:lnTo>
                    <a:pt x="2914" y="1101"/>
                  </a:lnTo>
                  <a:lnTo>
                    <a:pt x="2838" y="1084"/>
                  </a:lnTo>
                  <a:lnTo>
                    <a:pt x="2814" y="1140"/>
                  </a:lnTo>
                  <a:lnTo>
                    <a:pt x="2818" y="1164"/>
                  </a:lnTo>
                  <a:lnTo>
                    <a:pt x="2874" y="1180"/>
                  </a:lnTo>
                  <a:cubicBezTo>
                    <a:pt x="2876" y="1181"/>
                    <a:pt x="2877" y="1182"/>
                    <a:pt x="2878" y="1184"/>
                  </a:cubicBezTo>
                  <a:cubicBezTo>
                    <a:pt x="2878" y="1186"/>
                    <a:pt x="2877" y="1188"/>
                    <a:pt x="2875" y="1189"/>
                  </a:cubicBezTo>
                  <a:lnTo>
                    <a:pt x="2845" y="1208"/>
                  </a:lnTo>
                  <a:lnTo>
                    <a:pt x="2856" y="1247"/>
                  </a:lnTo>
                  <a:lnTo>
                    <a:pt x="2902" y="1287"/>
                  </a:lnTo>
                  <a:lnTo>
                    <a:pt x="2911" y="1341"/>
                  </a:lnTo>
                  <a:lnTo>
                    <a:pt x="2929" y="1341"/>
                  </a:lnTo>
                  <a:lnTo>
                    <a:pt x="2945" y="1310"/>
                  </a:lnTo>
                  <a:cubicBezTo>
                    <a:pt x="2946" y="1308"/>
                    <a:pt x="2948" y="1307"/>
                    <a:pt x="2949" y="1307"/>
                  </a:cubicBezTo>
                  <a:lnTo>
                    <a:pt x="2950" y="1307"/>
                  </a:lnTo>
                  <a:cubicBezTo>
                    <a:pt x="2952" y="1307"/>
                    <a:pt x="2953" y="1308"/>
                    <a:pt x="2954" y="1310"/>
                  </a:cubicBezTo>
                  <a:lnTo>
                    <a:pt x="2980" y="1392"/>
                  </a:lnTo>
                  <a:lnTo>
                    <a:pt x="2992" y="1369"/>
                  </a:lnTo>
                  <a:cubicBezTo>
                    <a:pt x="2992" y="1367"/>
                    <a:pt x="2994" y="1366"/>
                    <a:pt x="2996" y="1366"/>
                  </a:cubicBezTo>
                  <a:lnTo>
                    <a:pt x="2997" y="1366"/>
                  </a:lnTo>
                  <a:lnTo>
                    <a:pt x="3023" y="1375"/>
                  </a:lnTo>
                  <a:cubicBezTo>
                    <a:pt x="3025" y="1376"/>
                    <a:pt x="3026" y="1378"/>
                    <a:pt x="3026" y="1380"/>
                  </a:cubicBezTo>
                  <a:lnTo>
                    <a:pt x="3015" y="1432"/>
                  </a:lnTo>
                  <a:lnTo>
                    <a:pt x="3032" y="1426"/>
                  </a:lnTo>
                  <a:cubicBezTo>
                    <a:pt x="3033" y="1426"/>
                    <a:pt x="3033" y="1425"/>
                    <a:pt x="3034" y="1425"/>
                  </a:cubicBezTo>
                  <a:cubicBezTo>
                    <a:pt x="3035" y="1425"/>
                    <a:pt x="3036" y="1426"/>
                    <a:pt x="3037" y="1427"/>
                  </a:cubicBezTo>
                  <a:cubicBezTo>
                    <a:pt x="3039" y="1428"/>
                    <a:pt x="3039" y="1430"/>
                    <a:pt x="3038" y="1432"/>
                  </a:cubicBezTo>
                  <a:lnTo>
                    <a:pt x="3004" y="1508"/>
                  </a:lnTo>
                  <a:lnTo>
                    <a:pt x="3012" y="1540"/>
                  </a:lnTo>
                  <a:lnTo>
                    <a:pt x="3022" y="1540"/>
                  </a:lnTo>
                  <a:close/>
                  <a:moveTo>
                    <a:pt x="1886" y="319"/>
                  </a:moveTo>
                  <a:lnTo>
                    <a:pt x="1886" y="313"/>
                  </a:lnTo>
                  <a:cubicBezTo>
                    <a:pt x="1886" y="311"/>
                    <a:pt x="1887" y="310"/>
                    <a:pt x="1888" y="309"/>
                  </a:cubicBezTo>
                  <a:lnTo>
                    <a:pt x="1977" y="271"/>
                  </a:lnTo>
                  <a:lnTo>
                    <a:pt x="2184" y="248"/>
                  </a:lnTo>
                  <a:lnTo>
                    <a:pt x="2101" y="229"/>
                  </a:lnTo>
                  <a:lnTo>
                    <a:pt x="2005" y="242"/>
                  </a:lnTo>
                  <a:cubicBezTo>
                    <a:pt x="2003" y="242"/>
                    <a:pt x="2001" y="241"/>
                    <a:pt x="2000" y="239"/>
                  </a:cubicBezTo>
                  <a:cubicBezTo>
                    <a:pt x="2000" y="238"/>
                    <a:pt x="2000" y="236"/>
                    <a:pt x="2001" y="234"/>
                  </a:cubicBezTo>
                  <a:lnTo>
                    <a:pt x="2014" y="219"/>
                  </a:lnTo>
                  <a:lnTo>
                    <a:pt x="1979" y="225"/>
                  </a:lnTo>
                  <a:cubicBezTo>
                    <a:pt x="1978" y="225"/>
                    <a:pt x="1977" y="224"/>
                    <a:pt x="1976" y="224"/>
                  </a:cubicBezTo>
                  <a:cubicBezTo>
                    <a:pt x="1975" y="223"/>
                    <a:pt x="1975" y="222"/>
                    <a:pt x="1975" y="220"/>
                  </a:cubicBezTo>
                  <a:lnTo>
                    <a:pt x="1975" y="190"/>
                  </a:lnTo>
                  <a:cubicBezTo>
                    <a:pt x="1975" y="189"/>
                    <a:pt x="1975" y="188"/>
                    <a:pt x="1976" y="187"/>
                  </a:cubicBezTo>
                  <a:lnTo>
                    <a:pt x="1935" y="195"/>
                  </a:lnTo>
                  <a:lnTo>
                    <a:pt x="1837" y="319"/>
                  </a:lnTo>
                  <a:lnTo>
                    <a:pt x="1886" y="319"/>
                  </a:lnTo>
                  <a:close/>
                  <a:moveTo>
                    <a:pt x="1978" y="178"/>
                  </a:moveTo>
                  <a:cubicBezTo>
                    <a:pt x="1979" y="180"/>
                    <a:pt x="1980" y="181"/>
                    <a:pt x="1979" y="183"/>
                  </a:cubicBezTo>
                  <a:lnTo>
                    <a:pt x="1979" y="185"/>
                  </a:lnTo>
                  <a:lnTo>
                    <a:pt x="2017" y="156"/>
                  </a:lnTo>
                  <a:lnTo>
                    <a:pt x="1968" y="153"/>
                  </a:lnTo>
                  <a:lnTo>
                    <a:pt x="1957" y="161"/>
                  </a:lnTo>
                  <a:lnTo>
                    <a:pt x="1978" y="178"/>
                  </a:lnTo>
                  <a:close/>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 name="Freeform 5"/>
            <p:cNvSpPr>
              <a:spLocks noChangeArrowheads="1"/>
            </p:cNvSpPr>
            <p:nvPr/>
          </p:nvSpPr>
          <p:spPr bwMode="auto">
            <a:xfrm>
              <a:off x="777875" y="1433513"/>
              <a:ext cx="2325688" cy="923925"/>
            </a:xfrm>
            <a:custGeom>
              <a:avLst/>
              <a:gdLst/>
              <a:ahLst/>
              <a:cxnLst>
                <a:cxn ang="0">
                  <a:pos x="3229" y="329"/>
                </a:cxn>
                <a:cxn ang="0">
                  <a:pos x="3485" y="567"/>
                </a:cxn>
                <a:cxn ang="0">
                  <a:pos x="4221" y="892"/>
                </a:cxn>
                <a:cxn ang="0">
                  <a:pos x="4313" y="1319"/>
                </a:cxn>
                <a:cxn ang="0">
                  <a:pos x="4435" y="1447"/>
                </a:cxn>
                <a:cxn ang="0">
                  <a:pos x="4488" y="1357"/>
                </a:cxn>
                <a:cxn ang="0">
                  <a:pos x="4607" y="859"/>
                </a:cxn>
                <a:cxn ang="0">
                  <a:pos x="4669" y="618"/>
                </a:cxn>
                <a:cxn ang="0">
                  <a:pos x="4606" y="190"/>
                </a:cxn>
                <a:cxn ang="0">
                  <a:pos x="4597" y="65"/>
                </a:cxn>
                <a:cxn ang="0">
                  <a:pos x="5304" y="125"/>
                </a:cxn>
                <a:cxn ang="0">
                  <a:pos x="5317" y="248"/>
                </a:cxn>
                <a:cxn ang="0">
                  <a:pos x="5256" y="315"/>
                </a:cxn>
                <a:cxn ang="0">
                  <a:pos x="5428" y="355"/>
                </a:cxn>
                <a:cxn ang="0">
                  <a:pos x="5522" y="377"/>
                </a:cxn>
                <a:cxn ang="0">
                  <a:pos x="5572" y="316"/>
                </a:cxn>
                <a:cxn ang="0">
                  <a:pos x="5619" y="175"/>
                </a:cxn>
                <a:cxn ang="0">
                  <a:pos x="5737" y="151"/>
                </a:cxn>
                <a:cxn ang="0">
                  <a:pos x="5761" y="294"/>
                </a:cxn>
                <a:cxn ang="0">
                  <a:pos x="5878" y="393"/>
                </a:cxn>
                <a:cxn ang="0">
                  <a:pos x="5902" y="469"/>
                </a:cxn>
                <a:cxn ang="0">
                  <a:pos x="5973" y="612"/>
                </a:cxn>
                <a:cxn ang="0">
                  <a:pos x="5876" y="667"/>
                </a:cxn>
                <a:cxn ang="0">
                  <a:pos x="5983" y="731"/>
                </a:cxn>
                <a:cxn ang="0">
                  <a:pos x="6135" y="882"/>
                </a:cxn>
                <a:cxn ang="0">
                  <a:pos x="6254" y="909"/>
                </a:cxn>
                <a:cxn ang="0">
                  <a:pos x="6100" y="1074"/>
                </a:cxn>
                <a:cxn ang="0">
                  <a:pos x="6196" y="1050"/>
                </a:cxn>
                <a:cxn ang="0">
                  <a:pos x="6343" y="1081"/>
                </a:cxn>
                <a:cxn ang="0">
                  <a:pos x="6448" y="1172"/>
                </a:cxn>
                <a:cxn ang="0">
                  <a:pos x="6453" y="1287"/>
                </a:cxn>
                <a:cxn ang="0">
                  <a:pos x="6070" y="1562"/>
                </a:cxn>
                <a:cxn ang="0">
                  <a:pos x="5483" y="1678"/>
                </a:cxn>
                <a:cxn ang="0">
                  <a:pos x="5284" y="1850"/>
                </a:cxn>
                <a:cxn ang="0">
                  <a:pos x="5652" y="1845"/>
                </a:cxn>
                <a:cxn ang="0">
                  <a:pos x="5667" y="1858"/>
                </a:cxn>
                <a:cxn ang="0">
                  <a:pos x="5780" y="2081"/>
                </a:cxn>
                <a:cxn ang="0">
                  <a:pos x="5983" y="2136"/>
                </a:cxn>
                <a:cxn ang="0">
                  <a:pos x="5795" y="2271"/>
                </a:cxn>
                <a:cxn ang="0">
                  <a:pos x="5575" y="2306"/>
                </a:cxn>
                <a:cxn ang="0">
                  <a:pos x="5683" y="2150"/>
                </a:cxn>
                <a:cxn ang="0">
                  <a:pos x="5431" y="2133"/>
                </a:cxn>
                <a:cxn ang="0">
                  <a:pos x="5200" y="2179"/>
                </a:cxn>
                <a:cxn ang="0">
                  <a:pos x="4657" y="2319"/>
                </a:cxn>
                <a:cxn ang="0">
                  <a:pos x="4513" y="2465"/>
                </a:cxn>
                <a:cxn ang="0">
                  <a:pos x="4208" y="2564"/>
                </a:cxn>
                <a:cxn ang="0">
                  <a:pos x="4205" y="2433"/>
                </a:cxn>
                <a:cxn ang="0">
                  <a:pos x="4317" y="2216"/>
                </a:cxn>
                <a:cxn ang="0">
                  <a:pos x="4402" y="2257"/>
                </a:cxn>
                <a:cxn ang="0">
                  <a:pos x="4344" y="2110"/>
                </a:cxn>
                <a:cxn ang="0">
                  <a:pos x="4037" y="1992"/>
                </a:cxn>
                <a:cxn ang="0">
                  <a:pos x="3878" y="1760"/>
                </a:cxn>
                <a:cxn ang="0">
                  <a:pos x="3712" y="1799"/>
                </a:cxn>
                <a:cxn ang="0">
                  <a:pos x="3600" y="1857"/>
                </a:cxn>
                <a:cxn ang="0">
                  <a:pos x="840" y="1731"/>
                </a:cxn>
                <a:cxn ang="0">
                  <a:pos x="775" y="1670"/>
                </a:cxn>
                <a:cxn ang="0">
                  <a:pos x="685" y="1608"/>
                </a:cxn>
                <a:cxn ang="0">
                  <a:pos x="535" y="1479"/>
                </a:cxn>
                <a:cxn ang="0">
                  <a:pos x="423" y="1413"/>
                </a:cxn>
                <a:cxn ang="0">
                  <a:pos x="416" y="1380"/>
                </a:cxn>
                <a:cxn ang="0">
                  <a:pos x="335" y="1263"/>
                </a:cxn>
                <a:cxn ang="0">
                  <a:pos x="197" y="998"/>
                </a:cxn>
                <a:cxn ang="0">
                  <a:pos x="0" y="0"/>
                </a:cxn>
              </a:cxnLst>
              <a:rect l="0" t="0" r="r" b="b"/>
              <a:pathLst>
                <a:path w="6459" h="2565">
                  <a:moveTo>
                    <a:pt x="0" y="0"/>
                  </a:moveTo>
                  <a:lnTo>
                    <a:pt x="3206" y="0"/>
                  </a:lnTo>
                  <a:lnTo>
                    <a:pt x="3182" y="57"/>
                  </a:lnTo>
                  <a:lnTo>
                    <a:pt x="3178" y="266"/>
                  </a:lnTo>
                  <a:lnTo>
                    <a:pt x="3171" y="290"/>
                  </a:lnTo>
                  <a:lnTo>
                    <a:pt x="3207" y="322"/>
                  </a:lnTo>
                  <a:lnTo>
                    <a:pt x="3216" y="362"/>
                  </a:lnTo>
                  <a:lnTo>
                    <a:pt x="3224" y="333"/>
                  </a:lnTo>
                  <a:cubicBezTo>
                    <a:pt x="3225" y="331"/>
                    <a:pt x="3227" y="329"/>
                    <a:pt x="3229" y="329"/>
                  </a:cubicBezTo>
                  <a:lnTo>
                    <a:pt x="3306" y="342"/>
                  </a:lnTo>
                  <a:cubicBezTo>
                    <a:pt x="3308" y="342"/>
                    <a:pt x="3309" y="344"/>
                    <a:pt x="3309" y="345"/>
                  </a:cubicBezTo>
                  <a:lnTo>
                    <a:pt x="3377" y="540"/>
                  </a:lnTo>
                  <a:lnTo>
                    <a:pt x="3378" y="592"/>
                  </a:lnTo>
                  <a:cubicBezTo>
                    <a:pt x="3378" y="593"/>
                    <a:pt x="3377" y="595"/>
                    <a:pt x="3376" y="595"/>
                  </a:cubicBezTo>
                  <a:lnTo>
                    <a:pt x="3358" y="614"/>
                  </a:lnTo>
                  <a:lnTo>
                    <a:pt x="3481" y="567"/>
                  </a:lnTo>
                  <a:cubicBezTo>
                    <a:pt x="3482" y="566"/>
                    <a:pt x="3482" y="566"/>
                    <a:pt x="3483" y="566"/>
                  </a:cubicBezTo>
                  <a:cubicBezTo>
                    <a:pt x="3484" y="566"/>
                    <a:pt x="3484" y="566"/>
                    <a:pt x="3485" y="567"/>
                  </a:cubicBezTo>
                  <a:lnTo>
                    <a:pt x="3646" y="643"/>
                  </a:lnTo>
                  <a:lnTo>
                    <a:pt x="3731" y="694"/>
                  </a:lnTo>
                  <a:lnTo>
                    <a:pt x="3783" y="771"/>
                  </a:lnTo>
                  <a:lnTo>
                    <a:pt x="3917" y="812"/>
                  </a:lnTo>
                  <a:lnTo>
                    <a:pt x="3969" y="855"/>
                  </a:lnTo>
                  <a:cubicBezTo>
                    <a:pt x="3970" y="856"/>
                    <a:pt x="3971" y="858"/>
                    <a:pt x="3970" y="860"/>
                  </a:cubicBezTo>
                  <a:lnTo>
                    <a:pt x="3968" y="867"/>
                  </a:lnTo>
                  <a:lnTo>
                    <a:pt x="3970" y="867"/>
                  </a:lnTo>
                  <a:lnTo>
                    <a:pt x="4221" y="892"/>
                  </a:lnTo>
                  <a:cubicBezTo>
                    <a:pt x="4223" y="892"/>
                    <a:pt x="4225" y="895"/>
                    <a:pt x="4225" y="897"/>
                  </a:cubicBezTo>
                  <a:lnTo>
                    <a:pt x="4216" y="1037"/>
                  </a:lnTo>
                  <a:lnTo>
                    <a:pt x="4233" y="1158"/>
                  </a:lnTo>
                  <a:lnTo>
                    <a:pt x="4225" y="1196"/>
                  </a:lnTo>
                  <a:lnTo>
                    <a:pt x="4296" y="1287"/>
                  </a:lnTo>
                  <a:cubicBezTo>
                    <a:pt x="4297" y="1288"/>
                    <a:pt x="4297" y="1290"/>
                    <a:pt x="4297" y="1291"/>
                  </a:cubicBezTo>
                  <a:cubicBezTo>
                    <a:pt x="4296" y="1292"/>
                    <a:pt x="4296" y="1294"/>
                    <a:pt x="4294" y="1294"/>
                  </a:cubicBezTo>
                  <a:lnTo>
                    <a:pt x="4251" y="1319"/>
                  </a:lnTo>
                  <a:lnTo>
                    <a:pt x="4313" y="1319"/>
                  </a:lnTo>
                  <a:cubicBezTo>
                    <a:pt x="4315" y="1319"/>
                    <a:pt x="4316" y="1320"/>
                    <a:pt x="4317" y="1321"/>
                  </a:cubicBezTo>
                  <a:lnTo>
                    <a:pt x="4359" y="1363"/>
                  </a:lnTo>
                  <a:lnTo>
                    <a:pt x="4369" y="1408"/>
                  </a:lnTo>
                  <a:cubicBezTo>
                    <a:pt x="4369" y="1409"/>
                    <a:pt x="4369" y="1411"/>
                    <a:pt x="4368" y="1412"/>
                  </a:cubicBezTo>
                  <a:lnTo>
                    <a:pt x="4343" y="1441"/>
                  </a:lnTo>
                  <a:lnTo>
                    <a:pt x="4378" y="1417"/>
                  </a:lnTo>
                  <a:lnTo>
                    <a:pt x="4381" y="1417"/>
                  </a:lnTo>
                  <a:lnTo>
                    <a:pt x="4383" y="1417"/>
                  </a:lnTo>
                  <a:lnTo>
                    <a:pt x="4435" y="1447"/>
                  </a:lnTo>
                  <a:lnTo>
                    <a:pt x="4432" y="1413"/>
                  </a:lnTo>
                  <a:cubicBezTo>
                    <a:pt x="4431" y="1411"/>
                    <a:pt x="4433" y="1409"/>
                    <a:pt x="4435" y="1408"/>
                  </a:cubicBezTo>
                  <a:lnTo>
                    <a:pt x="4447" y="1404"/>
                  </a:lnTo>
                  <a:lnTo>
                    <a:pt x="4458" y="1393"/>
                  </a:lnTo>
                  <a:cubicBezTo>
                    <a:pt x="4459" y="1392"/>
                    <a:pt x="4460" y="1391"/>
                    <a:pt x="4461" y="1391"/>
                  </a:cubicBezTo>
                  <a:cubicBezTo>
                    <a:pt x="4462" y="1391"/>
                    <a:pt x="4463" y="1392"/>
                    <a:pt x="4464" y="1392"/>
                  </a:cubicBezTo>
                  <a:lnTo>
                    <a:pt x="4506" y="1423"/>
                  </a:lnTo>
                  <a:lnTo>
                    <a:pt x="4520" y="1396"/>
                  </a:lnTo>
                  <a:lnTo>
                    <a:pt x="4488" y="1357"/>
                  </a:lnTo>
                  <a:cubicBezTo>
                    <a:pt x="4486" y="1355"/>
                    <a:pt x="4486" y="1352"/>
                    <a:pt x="4488" y="1350"/>
                  </a:cubicBezTo>
                  <a:lnTo>
                    <a:pt x="4543" y="1299"/>
                  </a:lnTo>
                  <a:cubicBezTo>
                    <a:pt x="4544" y="1299"/>
                    <a:pt x="4545" y="1298"/>
                    <a:pt x="4546" y="1298"/>
                  </a:cubicBezTo>
                  <a:lnTo>
                    <a:pt x="4549" y="1298"/>
                  </a:lnTo>
                  <a:lnTo>
                    <a:pt x="4517" y="1268"/>
                  </a:lnTo>
                  <a:lnTo>
                    <a:pt x="4495" y="1066"/>
                  </a:lnTo>
                  <a:lnTo>
                    <a:pt x="4441" y="984"/>
                  </a:lnTo>
                  <a:cubicBezTo>
                    <a:pt x="4439" y="982"/>
                    <a:pt x="4440" y="979"/>
                    <a:pt x="4442" y="977"/>
                  </a:cubicBezTo>
                  <a:lnTo>
                    <a:pt x="4607" y="859"/>
                  </a:lnTo>
                  <a:lnTo>
                    <a:pt x="4682" y="734"/>
                  </a:lnTo>
                  <a:cubicBezTo>
                    <a:pt x="4683" y="732"/>
                    <a:pt x="4684" y="732"/>
                    <a:pt x="4685" y="731"/>
                  </a:cubicBezTo>
                  <a:lnTo>
                    <a:pt x="4726" y="724"/>
                  </a:lnTo>
                  <a:lnTo>
                    <a:pt x="4711" y="687"/>
                  </a:lnTo>
                  <a:lnTo>
                    <a:pt x="4690" y="721"/>
                  </a:lnTo>
                  <a:cubicBezTo>
                    <a:pt x="4689" y="723"/>
                    <a:pt x="4688" y="724"/>
                    <a:pt x="4686" y="724"/>
                  </a:cubicBezTo>
                  <a:lnTo>
                    <a:pt x="4685" y="724"/>
                  </a:lnTo>
                  <a:cubicBezTo>
                    <a:pt x="4683" y="723"/>
                    <a:pt x="4682" y="722"/>
                    <a:pt x="4681" y="720"/>
                  </a:cubicBezTo>
                  <a:lnTo>
                    <a:pt x="4669" y="618"/>
                  </a:lnTo>
                  <a:lnTo>
                    <a:pt x="4614" y="416"/>
                  </a:lnTo>
                  <a:lnTo>
                    <a:pt x="4514" y="333"/>
                  </a:lnTo>
                  <a:cubicBezTo>
                    <a:pt x="4513" y="332"/>
                    <a:pt x="4512" y="331"/>
                    <a:pt x="4512" y="330"/>
                  </a:cubicBezTo>
                  <a:lnTo>
                    <a:pt x="4512" y="287"/>
                  </a:lnTo>
                  <a:cubicBezTo>
                    <a:pt x="4512" y="286"/>
                    <a:pt x="4513" y="284"/>
                    <a:pt x="4515" y="283"/>
                  </a:cubicBezTo>
                  <a:lnTo>
                    <a:pt x="4601" y="250"/>
                  </a:lnTo>
                  <a:lnTo>
                    <a:pt x="4601" y="194"/>
                  </a:lnTo>
                  <a:cubicBezTo>
                    <a:pt x="4601" y="193"/>
                    <a:pt x="4601" y="192"/>
                    <a:pt x="4603" y="191"/>
                  </a:cubicBezTo>
                  <a:cubicBezTo>
                    <a:pt x="4603" y="190"/>
                    <a:pt x="4605" y="190"/>
                    <a:pt x="4606" y="190"/>
                  </a:cubicBezTo>
                  <a:lnTo>
                    <a:pt x="4631" y="194"/>
                  </a:lnTo>
                  <a:lnTo>
                    <a:pt x="4625" y="190"/>
                  </a:lnTo>
                  <a:cubicBezTo>
                    <a:pt x="4622" y="189"/>
                    <a:pt x="4621" y="186"/>
                    <a:pt x="4622" y="184"/>
                  </a:cubicBezTo>
                  <a:lnTo>
                    <a:pt x="4641" y="144"/>
                  </a:lnTo>
                  <a:lnTo>
                    <a:pt x="4606" y="144"/>
                  </a:lnTo>
                  <a:cubicBezTo>
                    <a:pt x="4604" y="144"/>
                    <a:pt x="4603" y="143"/>
                    <a:pt x="4602" y="142"/>
                  </a:cubicBezTo>
                  <a:cubicBezTo>
                    <a:pt x="4601" y="141"/>
                    <a:pt x="4601" y="139"/>
                    <a:pt x="4601" y="138"/>
                  </a:cubicBezTo>
                  <a:lnTo>
                    <a:pt x="4613" y="105"/>
                  </a:lnTo>
                  <a:lnTo>
                    <a:pt x="4597" y="65"/>
                  </a:lnTo>
                  <a:lnTo>
                    <a:pt x="4588" y="22"/>
                  </a:lnTo>
                  <a:cubicBezTo>
                    <a:pt x="4588" y="20"/>
                    <a:pt x="4589" y="17"/>
                    <a:pt x="4591" y="16"/>
                  </a:cubicBezTo>
                  <a:lnTo>
                    <a:pt x="4603" y="12"/>
                  </a:lnTo>
                  <a:lnTo>
                    <a:pt x="4566" y="0"/>
                  </a:lnTo>
                  <a:cubicBezTo>
                    <a:pt x="4565" y="0"/>
                    <a:pt x="4565" y="0"/>
                    <a:pt x="4565" y="0"/>
                  </a:cubicBezTo>
                  <a:lnTo>
                    <a:pt x="5297" y="0"/>
                  </a:lnTo>
                  <a:lnTo>
                    <a:pt x="5276" y="51"/>
                  </a:lnTo>
                  <a:lnTo>
                    <a:pt x="5305" y="121"/>
                  </a:lnTo>
                  <a:cubicBezTo>
                    <a:pt x="5305" y="122"/>
                    <a:pt x="5305" y="124"/>
                    <a:pt x="5304" y="125"/>
                  </a:cubicBezTo>
                  <a:cubicBezTo>
                    <a:pt x="5303" y="126"/>
                    <a:pt x="5302" y="127"/>
                    <a:pt x="5301" y="127"/>
                  </a:cubicBezTo>
                  <a:lnTo>
                    <a:pt x="5188" y="130"/>
                  </a:lnTo>
                  <a:lnTo>
                    <a:pt x="5280" y="147"/>
                  </a:lnTo>
                  <a:cubicBezTo>
                    <a:pt x="5282" y="148"/>
                    <a:pt x="5283" y="149"/>
                    <a:pt x="5283" y="150"/>
                  </a:cubicBezTo>
                  <a:lnTo>
                    <a:pt x="5305" y="192"/>
                  </a:lnTo>
                  <a:lnTo>
                    <a:pt x="5305" y="196"/>
                  </a:lnTo>
                  <a:lnTo>
                    <a:pt x="5286" y="241"/>
                  </a:lnTo>
                  <a:lnTo>
                    <a:pt x="5314" y="245"/>
                  </a:lnTo>
                  <a:cubicBezTo>
                    <a:pt x="5316" y="245"/>
                    <a:pt x="5317" y="246"/>
                    <a:pt x="5317" y="248"/>
                  </a:cubicBezTo>
                  <a:cubicBezTo>
                    <a:pt x="5318" y="250"/>
                    <a:pt x="5318" y="251"/>
                    <a:pt x="5316" y="253"/>
                  </a:cubicBezTo>
                  <a:lnTo>
                    <a:pt x="5298" y="271"/>
                  </a:lnTo>
                  <a:lnTo>
                    <a:pt x="5317" y="302"/>
                  </a:lnTo>
                  <a:cubicBezTo>
                    <a:pt x="5318" y="303"/>
                    <a:pt x="5318" y="304"/>
                    <a:pt x="5318" y="306"/>
                  </a:cubicBezTo>
                  <a:lnTo>
                    <a:pt x="5315" y="309"/>
                  </a:lnTo>
                  <a:lnTo>
                    <a:pt x="5281" y="326"/>
                  </a:lnTo>
                  <a:lnTo>
                    <a:pt x="5279" y="326"/>
                  </a:lnTo>
                  <a:lnTo>
                    <a:pt x="5277" y="326"/>
                  </a:lnTo>
                  <a:lnTo>
                    <a:pt x="5256" y="315"/>
                  </a:lnTo>
                  <a:lnTo>
                    <a:pt x="5262" y="328"/>
                  </a:lnTo>
                  <a:cubicBezTo>
                    <a:pt x="5263" y="330"/>
                    <a:pt x="5263" y="333"/>
                    <a:pt x="5260" y="334"/>
                  </a:cubicBezTo>
                  <a:lnTo>
                    <a:pt x="5250" y="340"/>
                  </a:lnTo>
                  <a:lnTo>
                    <a:pt x="5376" y="312"/>
                  </a:lnTo>
                  <a:cubicBezTo>
                    <a:pt x="5379" y="312"/>
                    <a:pt x="5381" y="314"/>
                    <a:pt x="5381" y="316"/>
                  </a:cubicBezTo>
                  <a:lnTo>
                    <a:pt x="5402" y="388"/>
                  </a:lnTo>
                  <a:lnTo>
                    <a:pt x="5400" y="412"/>
                  </a:lnTo>
                  <a:lnTo>
                    <a:pt x="5423" y="358"/>
                  </a:lnTo>
                  <a:cubicBezTo>
                    <a:pt x="5424" y="356"/>
                    <a:pt x="5426" y="355"/>
                    <a:pt x="5428" y="355"/>
                  </a:cubicBezTo>
                  <a:lnTo>
                    <a:pt x="5429" y="355"/>
                  </a:lnTo>
                  <a:cubicBezTo>
                    <a:pt x="5431" y="356"/>
                    <a:pt x="5433" y="358"/>
                    <a:pt x="5432" y="360"/>
                  </a:cubicBezTo>
                  <a:lnTo>
                    <a:pt x="5427" y="388"/>
                  </a:lnTo>
                  <a:lnTo>
                    <a:pt x="5429" y="386"/>
                  </a:lnTo>
                  <a:cubicBezTo>
                    <a:pt x="5429" y="385"/>
                    <a:pt x="5431" y="384"/>
                    <a:pt x="5432" y="384"/>
                  </a:cubicBezTo>
                  <a:cubicBezTo>
                    <a:pt x="5432" y="384"/>
                    <a:pt x="5433" y="384"/>
                    <a:pt x="5433" y="385"/>
                  </a:cubicBezTo>
                  <a:cubicBezTo>
                    <a:pt x="5435" y="385"/>
                    <a:pt x="5436" y="387"/>
                    <a:pt x="5437" y="388"/>
                  </a:cubicBezTo>
                  <a:lnTo>
                    <a:pt x="5444" y="432"/>
                  </a:lnTo>
                  <a:lnTo>
                    <a:pt x="5522" y="377"/>
                  </a:lnTo>
                  <a:lnTo>
                    <a:pt x="5542" y="320"/>
                  </a:lnTo>
                  <a:cubicBezTo>
                    <a:pt x="5542" y="318"/>
                    <a:pt x="5544" y="317"/>
                    <a:pt x="5545" y="317"/>
                  </a:cubicBezTo>
                  <a:lnTo>
                    <a:pt x="5546" y="317"/>
                  </a:lnTo>
                  <a:cubicBezTo>
                    <a:pt x="5547" y="317"/>
                    <a:pt x="5548" y="317"/>
                    <a:pt x="5549" y="318"/>
                  </a:cubicBezTo>
                  <a:lnTo>
                    <a:pt x="5583" y="343"/>
                  </a:lnTo>
                  <a:cubicBezTo>
                    <a:pt x="5584" y="344"/>
                    <a:pt x="5585" y="345"/>
                    <a:pt x="5585" y="347"/>
                  </a:cubicBezTo>
                  <a:lnTo>
                    <a:pt x="5585" y="371"/>
                  </a:lnTo>
                  <a:lnTo>
                    <a:pt x="5596" y="351"/>
                  </a:lnTo>
                  <a:lnTo>
                    <a:pt x="5572" y="316"/>
                  </a:lnTo>
                  <a:cubicBezTo>
                    <a:pt x="5571" y="314"/>
                    <a:pt x="5571" y="312"/>
                    <a:pt x="5572" y="311"/>
                  </a:cubicBezTo>
                  <a:cubicBezTo>
                    <a:pt x="5573" y="309"/>
                    <a:pt x="5574" y="308"/>
                    <a:pt x="5576" y="308"/>
                  </a:cubicBezTo>
                  <a:lnTo>
                    <a:pt x="5602" y="308"/>
                  </a:lnTo>
                  <a:lnTo>
                    <a:pt x="5614" y="269"/>
                  </a:lnTo>
                  <a:lnTo>
                    <a:pt x="5605" y="251"/>
                  </a:lnTo>
                  <a:cubicBezTo>
                    <a:pt x="5605" y="249"/>
                    <a:pt x="5605" y="247"/>
                    <a:pt x="5607" y="246"/>
                  </a:cubicBezTo>
                  <a:lnTo>
                    <a:pt x="5642" y="223"/>
                  </a:lnTo>
                  <a:lnTo>
                    <a:pt x="5618" y="180"/>
                  </a:lnTo>
                  <a:cubicBezTo>
                    <a:pt x="5618" y="178"/>
                    <a:pt x="5618" y="176"/>
                    <a:pt x="5619" y="175"/>
                  </a:cubicBezTo>
                  <a:lnTo>
                    <a:pt x="5678" y="82"/>
                  </a:lnTo>
                  <a:cubicBezTo>
                    <a:pt x="5679" y="81"/>
                    <a:pt x="5680" y="80"/>
                    <a:pt x="5682" y="80"/>
                  </a:cubicBezTo>
                  <a:lnTo>
                    <a:pt x="5707" y="80"/>
                  </a:lnTo>
                  <a:cubicBezTo>
                    <a:pt x="5709" y="80"/>
                    <a:pt x="5711" y="81"/>
                    <a:pt x="5712" y="83"/>
                  </a:cubicBezTo>
                  <a:lnTo>
                    <a:pt x="5729" y="125"/>
                  </a:lnTo>
                  <a:cubicBezTo>
                    <a:pt x="5729" y="126"/>
                    <a:pt x="5729" y="128"/>
                    <a:pt x="5728" y="129"/>
                  </a:cubicBezTo>
                  <a:lnTo>
                    <a:pt x="5719" y="147"/>
                  </a:lnTo>
                  <a:lnTo>
                    <a:pt x="5733" y="147"/>
                  </a:lnTo>
                  <a:cubicBezTo>
                    <a:pt x="5735" y="147"/>
                    <a:pt x="5737" y="149"/>
                    <a:pt x="5737" y="151"/>
                  </a:cubicBezTo>
                  <a:lnTo>
                    <a:pt x="5749" y="203"/>
                  </a:lnTo>
                  <a:lnTo>
                    <a:pt x="5776" y="207"/>
                  </a:lnTo>
                  <a:cubicBezTo>
                    <a:pt x="5777" y="207"/>
                    <a:pt x="5779" y="208"/>
                    <a:pt x="5780" y="210"/>
                  </a:cubicBezTo>
                  <a:cubicBezTo>
                    <a:pt x="5780" y="212"/>
                    <a:pt x="5780" y="213"/>
                    <a:pt x="5778" y="215"/>
                  </a:cubicBezTo>
                  <a:lnTo>
                    <a:pt x="5762" y="231"/>
                  </a:lnTo>
                  <a:lnTo>
                    <a:pt x="5811" y="258"/>
                  </a:lnTo>
                  <a:cubicBezTo>
                    <a:pt x="5813" y="259"/>
                    <a:pt x="5813" y="260"/>
                    <a:pt x="5813" y="262"/>
                  </a:cubicBezTo>
                  <a:cubicBezTo>
                    <a:pt x="5813" y="264"/>
                    <a:pt x="5813" y="265"/>
                    <a:pt x="5811" y="266"/>
                  </a:cubicBezTo>
                  <a:lnTo>
                    <a:pt x="5761" y="294"/>
                  </a:lnTo>
                  <a:lnTo>
                    <a:pt x="5822" y="283"/>
                  </a:lnTo>
                  <a:cubicBezTo>
                    <a:pt x="5823" y="283"/>
                    <a:pt x="5824" y="283"/>
                    <a:pt x="5825" y="284"/>
                  </a:cubicBezTo>
                  <a:cubicBezTo>
                    <a:pt x="5826" y="285"/>
                    <a:pt x="5826" y="287"/>
                    <a:pt x="5826" y="288"/>
                  </a:cubicBezTo>
                  <a:lnTo>
                    <a:pt x="5822" y="328"/>
                  </a:lnTo>
                  <a:lnTo>
                    <a:pt x="5854" y="351"/>
                  </a:lnTo>
                  <a:cubicBezTo>
                    <a:pt x="5855" y="352"/>
                    <a:pt x="5856" y="354"/>
                    <a:pt x="5856" y="356"/>
                  </a:cubicBezTo>
                  <a:cubicBezTo>
                    <a:pt x="5856" y="357"/>
                    <a:pt x="5855" y="359"/>
                    <a:pt x="5853" y="360"/>
                  </a:cubicBezTo>
                  <a:lnTo>
                    <a:pt x="5808" y="379"/>
                  </a:lnTo>
                  <a:lnTo>
                    <a:pt x="5878" y="393"/>
                  </a:lnTo>
                  <a:cubicBezTo>
                    <a:pt x="5879" y="393"/>
                    <a:pt x="5881" y="395"/>
                    <a:pt x="5881" y="396"/>
                  </a:cubicBezTo>
                  <a:cubicBezTo>
                    <a:pt x="5882" y="398"/>
                    <a:pt x="5881" y="400"/>
                    <a:pt x="5880" y="401"/>
                  </a:cubicBezTo>
                  <a:lnTo>
                    <a:pt x="5838" y="440"/>
                  </a:lnTo>
                  <a:lnTo>
                    <a:pt x="5876" y="431"/>
                  </a:lnTo>
                  <a:cubicBezTo>
                    <a:pt x="5878" y="431"/>
                    <a:pt x="5879" y="432"/>
                    <a:pt x="5880" y="433"/>
                  </a:cubicBezTo>
                  <a:lnTo>
                    <a:pt x="5897" y="454"/>
                  </a:lnTo>
                  <a:cubicBezTo>
                    <a:pt x="5899" y="456"/>
                    <a:pt x="5899" y="458"/>
                    <a:pt x="5897" y="460"/>
                  </a:cubicBezTo>
                  <a:lnTo>
                    <a:pt x="5886" y="471"/>
                  </a:lnTo>
                  <a:lnTo>
                    <a:pt x="5902" y="469"/>
                  </a:lnTo>
                  <a:cubicBezTo>
                    <a:pt x="5904" y="469"/>
                    <a:pt x="5905" y="470"/>
                    <a:pt x="5906" y="471"/>
                  </a:cubicBezTo>
                  <a:lnTo>
                    <a:pt x="5940" y="518"/>
                  </a:lnTo>
                  <a:cubicBezTo>
                    <a:pt x="5941" y="519"/>
                    <a:pt x="5941" y="520"/>
                    <a:pt x="5941" y="521"/>
                  </a:cubicBezTo>
                  <a:cubicBezTo>
                    <a:pt x="5940" y="522"/>
                    <a:pt x="5940" y="524"/>
                    <a:pt x="5938" y="524"/>
                  </a:cubicBezTo>
                  <a:lnTo>
                    <a:pt x="5906" y="543"/>
                  </a:lnTo>
                  <a:lnTo>
                    <a:pt x="5928" y="541"/>
                  </a:lnTo>
                  <a:cubicBezTo>
                    <a:pt x="5929" y="541"/>
                    <a:pt x="5931" y="542"/>
                    <a:pt x="5931" y="543"/>
                  </a:cubicBezTo>
                  <a:lnTo>
                    <a:pt x="5974" y="606"/>
                  </a:lnTo>
                  <a:cubicBezTo>
                    <a:pt x="5975" y="608"/>
                    <a:pt x="5975" y="611"/>
                    <a:pt x="5973" y="612"/>
                  </a:cubicBezTo>
                  <a:lnTo>
                    <a:pt x="5945" y="644"/>
                  </a:lnTo>
                  <a:lnTo>
                    <a:pt x="5949" y="659"/>
                  </a:lnTo>
                  <a:cubicBezTo>
                    <a:pt x="5949" y="660"/>
                    <a:pt x="5949" y="662"/>
                    <a:pt x="5948" y="663"/>
                  </a:cubicBezTo>
                  <a:cubicBezTo>
                    <a:pt x="5947" y="664"/>
                    <a:pt x="5946" y="665"/>
                    <a:pt x="5944" y="665"/>
                  </a:cubicBezTo>
                  <a:cubicBezTo>
                    <a:pt x="5944" y="665"/>
                    <a:pt x="5943" y="665"/>
                    <a:pt x="5943" y="664"/>
                  </a:cubicBezTo>
                  <a:lnTo>
                    <a:pt x="5911" y="654"/>
                  </a:lnTo>
                  <a:lnTo>
                    <a:pt x="5911" y="657"/>
                  </a:lnTo>
                  <a:cubicBezTo>
                    <a:pt x="5910" y="659"/>
                    <a:pt x="5909" y="660"/>
                    <a:pt x="5907" y="660"/>
                  </a:cubicBezTo>
                  <a:lnTo>
                    <a:pt x="5876" y="667"/>
                  </a:lnTo>
                  <a:lnTo>
                    <a:pt x="5941" y="672"/>
                  </a:lnTo>
                  <a:cubicBezTo>
                    <a:pt x="5943" y="672"/>
                    <a:pt x="5944" y="674"/>
                    <a:pt x="5945" y="675"/>
                  </a:cubicBezTo>
                  <a:cubicBezTo>
                    <a:pt x="5945" y="677"/>
                    <a:pt x="5945" y="679"/>
                    <a:pt x="5944" y="680"/>
                  </a:cubicBezTo>
                  <a:lnTo>
                    <a:pt x="5930" y="694"/>
                  </a:lnTo>
                  <a:lnTo>
                    <a:pt x="5948" y="716"/>
                  </a:lnTo>
                  <a:cubicBezTo>
                    <a:pt x="5950" y="718"/>
                    <a:pt x="5949" y="721"/>
                    <a:pt x="5948" y="723"/>
                  </a:cubicBezTo>
                  <a:lnTo>
                    <a:pt x="5940" y="730"/>
                  </a:lnTo>
                  <a:lnTo>
                    <a:pt x="5978" y="727"/>
                  </a:lnTo>
                  <a:cubicBezTo>
                    <a:pt x="5981" y="727"/>
                    <a:pt x="5983" y="729"/>
                    <a:pt x="5983" y="731"/>
                  </a:cubicBezTo>
                  <a:lnTo>
                    <a:pt x="5987" y="775"/>
                  </a:lnTo>
                  <a:lnTo>
                    <a:pt x="6064" y="795"/>
                  </a:lnTo>
                  <a:cubicBezTo>
                    <a:pt x="6066" y="796"/>
                    <a:pt x="6068" y="797"/>
                    <a:pt x="6068" y="799"/>
                  </a:cubicBezTo>
                  <a:lnTo>
                    <a:pt x="6072" y="846"/>
                  </a:lnTo>
                  <a:lnTo>
                    <a:pt x="6060" y="865"/>
                  </a:lnTo>
                  <a:lnTo>
                    <a:pt x="6114" y="858"/>
                  </a:lnTo>
                  <a:cubicBezTo>
                    <a:pt x="6115" y="858"/>
                    <a:pt x="6116" y="859"/>
                    <a:pt x="6117" y="860"/>
                  </a:cubicBezTo>
                  <a:lnTo>
                    <a:pt x="6134" y="877"/>
                  </a:lnTo>
                  <a:cubicBezTo>
                    <a:pt x="6135" y="878"/>
                    <a:pt x="6136" y="880"/>
                    <a:pt x="6135" y="882"/>
                  </a:cubicBezTo>
                  <a:lnTo>
                    <a:pt x="6127" y="906"/>
                  </a:lnTo>
                  <a:lnTo>
                    <a:pt x="6153" y="877"/>
                  </a:lnTo>
                  <a:cubicBezTo>
                    <a:pt x="6154" y="876"/>
                    <a:pt x="6155" y="875"/>
                    <a:pt x="6156" y="875"/>
                  </a:cubicBezTo>
                  <a:lnTo>
                    <a:pt x="6157" y="875"/>
                  </a:lnTo>
                  <a:cubicBezTo>
                    <a:pt x="6158" y="875"/>
                    <a:pt x="6159" y="876"/>
                    <a:pt x="6160" y="877"/>
                  </a:cubicBezTo>
                  <a:lnTo>
                    <a:pt x="6194" y="928"/>
                  </a:lnTo>
                  <a:lnTo>
                    <a:pt x="6223" y="938"/>
                  </a:lnTo>
                  <a:lnTo>
                    <a:pt x="6250" y="911"/>
                  </a:lnTo>
                  <a:cubicBezTo>
                    <a:pt x="6251" y="910"/>
                    <a:pt x="6252" y="909"/>
                    <a:pt x="6254" y="909"/>
                  </a:cubicBezTo>
                  <a:cubicBezTo>
                    <a:pt x="6255" y="909"/>
                    <a:pt x="6257" y="910"/>
                    <a:pt x="6257" y="911"/>
                  </a:cubicBezTo>
                  <a:lnTo>
                    <a:pt x="6308" y="970"/>
                  </a:lnTo>
                  <a:cubicBezTo>
                    <a:pt x="6309" y="971"/>
                    <a:pt x="6309" y="973"/>
                    <a:pt x="6309" y="974"/>
                  </a:cubicBezTo>
                  <a:cubicBezTo>
                    <a:pt x="6309" y="976"/>
                    <a:pt x="6308" y="977"/>
                    <a:pt x="6306" y="977"/>
                  </a:cubicBezTo>
                  <a:lnTo>
                    <a:pt x="6168" y="1034"/>
                  </a:lnTo>
                  <a:lnTo>
                    <a:pt x="6199" y="1032"/>
                  </a:lnTo>
                  <a:cubicBezTo>
                    <a:pt x="6201" y="1032"/>
                    <a:pt x="6203" y="1033"/>
                    <a:pt x="6203" y="1036"/>
                  </a:cubicBezTo>
                  <a:cubicBezTo>
                    <a:pt x="6204" y="1038"/>
                    <a:pt x="6202" y="1040"/>
                    <a:pt x="6200" y="1041"/>
                  </a:cubicBezTo>
                  <a:lnTo>
                    <a:pt x="6100" y="1074"/>
                  </a:lnTo>
                  <a:lnTo>
                    <a:pt x="6080" y="1111"/>
                  </a:lnTo>
                  <a:cubicBezTo>
                    <a:pt x="6079" y="1112"/>
                    <a:pt x="6078" y="1113"/>
                    <a:pt x="6076" y="1113"/>
                  </a:cubicBezTo>
                  <a:cubicBezTo>
                    <a:pt x="6075" y="1113"/>
                    <a:pt x="6074" y="1113"/>
                    <a:pt x="6073" y="1112"/>
                  </a:cubicBezTo>
                  <a:lnTo>
                    <a:pt x="6021" y="1084"/>
                  </a:lnTo>
                  <a:lnTo>
                    <a:pt x="6009" y="1094"/>
                  </a:lnTo>
                  <a:lnTo>
                    <a:pt x="6069" y="1117"/>
                  </a:lnTo>
                  <a:cubicBezTo>
                    <a:pt x="6071" y="1117"/>
                    <a:pt x="6072" y="1119"/>
                    <a:pt x="6072" y="1122"/>
                  </a:cubicBezTo>
                  <a:lnTo>
                    <a:pt x="6069" y="1149"/>
                  </a:lnTo>
                  <a:lnTo>
                    <a:pt x="6196" y="1050"/>
                  </a:lnTo>
                  <a:lnTo>
                    <a:pt x="6256" y="1040"/>
                  </a:lnTo>
                  <a:lnTo>
                    <a:pt x="6244" y="1037"/>
                  </a:lnTo>
                  <a:cubicBezTo>
                    <a:pt x="6242" y="1036"/>
                    <a:pt x="6240" y="1034"/>
                    <a:pt x="6240" y="1032"/>
                  </a:cubicBezTo>
                  <a:cubicBezTo>
                    <a:pt x="6241" y="1030"/>
                    <a:pt x="6243" y="1028"/>
                    <a:pt x="6245" y="1028"/>
                  </a:cubicBezTo>
                  <a:lnTo>
                    <a:pt x="6317" y="1023"/>
                  </a:lnTo>
                  <a:cubicBezTo>
                    <a:pt x="6318" y="1023"/>
                    <a:pt x="6319" y="1024"/>
                    <a:pt x="6320" y="1025"/>
                  </a:cubicBezTo>
                  <a:cubicBezTo>
                    <a:pt x="6321" y="1026"/>
                    <a:pt x="6322" y="1027"/>
                    <a:pt x="6322" y="1028"/>
                  </a:cubicBezTo>
                  <a:lnTo>
                    <a:pt x="6322" y="1120"/>
                  </a:lnTo>
                  <a:lnTo>
                    <a:pt x="6343" y="1081"/>
                  </a:lnTo>
                  <a:cubicBezTo>
                    <a:pt x="6344" y="1079"/>
                    <a:pt x="6345" y="1078"/>
                    <a:pt x="6347" y="1078"/>
                  </a:cubicBezTo>
                  <a:cubicBezTo>
                    <a:pt x="6347" y="1078"/>
                    <a:pt x="6348" y="1079"/>
                    <a:pt x="6349" y="1079"/>
                  </a:cubicBezTo>
                  <a:lnTo>
                    <a:pt x="6433" y="1113"/>
                  </a:lnTo>
                  <a:cubicBezTo>
                    <a:pt x="6435" y="1113"/>
                    <a:pt x="6436" y="1114"/>
                    <a:pt x="6436" y="1116"/>
                  </a:cubicBezTo>
                  <a:cubicBezTo>
                    <a:pt x="6436" y="1118"/>
                    <a:pt x="6436" y="1119"/>
                    <a:pt x="6435" y="1120"/>
                  </a:cubicBezTo>
                  <a:lnTo>
                    <a:pt x="6429" y="1126"/>
                  </a:lnTo>
                  <a:lnTo>
                    <a:pt x="6452" y="1165"/>
                  </a:lnTo>
                  <a:cubicBezTo>
                    <a:pt x="6453" y="1167"/>
                    <a:pt x="6453" y="1169"/>
                    <a:pt x="6453" y="1170"/>
                  </a:cubicBezTo>
                  <a:cubicBezTo>
                    <a:pt x="6452" y="1172"/>
                    <a:pt x="6450" y="1172"/>
                    <a:pt x="6448" y="1172"/>
                  </a:cubicBezTo>
                  <a:lnTo>
                    <a:pt x="6409" y="1172"/>
                  </a:lnTo>
                  <a:lnTo>
                    <a:pt x="6434" y="1189"/>
                  </a:lnTo>
                  <a:cubicBezTo>
                    <a:pt x="6435" y="1190"/>
                    <a:pt x="6436" y="1191"/>
                    <a:pt x="6436" y="1192"/>
                  </a:cubicBezTo>
                  <a:lnTo>
                    <a:pt x="6449" y="1243"/>
                  </a:lnTo>
                  <a:cubicBezTo>
                    <a:pt x="6449" y="1245"/>
                    <a:pt x="6448" y="1247"/>
                    <a:pt x="6446" y="1248"/>
                  </a:cubicBezTo>
                  <a:lnTo>
                    <a:pt x="6431" y="1254"/>
                  </a:lnTo>
                  <a:lnTo>
                    <a:pt x="6456" y="1279"/>
                  </a:lnTo>
                  <a:cubicBezTo>
                    <a:pt x="6457" y="1280"/>
                    <a:pt x="6458" y="1282"/>
                    <a:pt x="6457" y="1284"/>
                  </a:cubicBezTo>
                  <a:cubicBezTo>
                    <a:pt x="6456" y="1286"/>
                    <a:pt x="6454" y="1287"/>
                    <a:pt x="6453" y="1287"/>
                  </a:cubicBezTo>
                  <a:lnTo>
                    <a:pt x="6436" y="1284"/>
                  </a:lnTo>
                  <a:lnTo>
                    <a:pt x="6456" y="1304"/>
                  </a:lnTo>
                  <a:cubicBezTo>
                    <a:pt x="6458" y="1306"/>
                    <a:pt x="6458" y="1309"/>
                    <a:pt x="6456" y="1311"/>
                  </a:cubicBezTo>
                  <a:lnTo>
                    <a:pt x="6376" y="1395"/>
                  </a:lnTo>
                  <a:lnTo>
                    <a:pt x="6225" y="1426"/>
                  </a:lnTo>
                  <a:lnTo>
                    <a:pt x="6092" y="1564"/>
                  </a:lnTo>
                  <a:cubicBezTo>
                    <a:pt x="6091" y="1565"/>
                    <a:pt x="6090" y="1566"/>
                    <a:pt x="6088" y="1566"/>
                  </a:cubicBezTo>
                  <a:lnTo>
                    <a:pt x="6087" y="1566"/>
                  </a:lnTo>
                  <a:lnTo>
                    <a:pt x="6070" y="1562"/>
                  </a:lnTo>
                  <a:cubicBezTo>
                    <a:pt x="6068" y="1561"/>
                    <a:pt x="6066" y="1558"/>
                    <a:pt x="6067" y="1556"/>
                  </a:cubicBezTo>
                  <a:lnTo>
                    <a:pt x="6069" y="1548"/>
                  </a:lnTo>
                  <a:lnTo>
                    <a:pt x="5959" y="1587"/>
                  </a:lnTo>
                  <a:lnTo>
                    <a:pt x="5957" y="1587"/>
                  </a:lnTo>
                  <a:lnTo>
                    <a:pt x="5955" y="1587"/>
                  </a:lnTo>
                  <a:lnTo>
                    <a:pt x="5904" y="1566"/>
                  </a:lnTo>
                  <a:lnTo>
                    <a:pt x="5563" y="1566"/>
                  </a:lnTo>
                  <a:lnTo>
                    <a:pt x="5519" y="1603"/>
                  </a:lnTo>
                  <a:lnTo>
                    <a:pt x="5483" y="1678"/>
                  </a:lnTo>
                  <a:cubicBezTo>
                    <a:pt x="5482" y="1679"/>
                    <a:pt x="5481" y="1680"/>
                    <a:pt x="5479" y="1680"/>
                  </a:cubicBezTo>
                  <a:lnTo>
                    <a:pt x="5416" y="1689"/>
                  </a:lnTo>
                  <a:lnTo>
                    <a:pt x="5350" y="1747"/>
                  </a:lnTo>
                  <a:lnTo>
                    <a:pt x="5309" y="1813"/>
                  </a:lnTo>
                  <a:lnTo>
                    <a:pt x="5273" y="1832"/>
                  </a:lnTo>
                  <a:lnTo>
                    <a:pt x="5233" y="1915"/>
                  </a:lnTo>
                  <a:lnTo>
                    <a:pt x="5180" y="1973"/>
                  </a:lnTo>
                  <a:lnTo>
                    <a:pt x="5193" y="1967"/>
                  </a:lnTo>
                  <a:lnTo>
                    <a:pt x="5284" y="1850"/>
                  </a:lnTo>
                  <a:lnTo>
                    <a:pt x="5387" y="1769"/>
                  </a:lnTo>
                  <a:lnTo>
                    <a:pt x="5536" y="1697"/>
                  </a:lnTo>
                  <a:lnTo>
                    <a:pt x="5669" y="1688"/>
                  </a:lnTo>
                  <a:lnTo>
                    <a:pt x="5731" y="1722"/>
                  </a:lnTo>
                  <a:cubicBezTo>
                    <a:pt x="5732" y="1723"/>
                    <a:pt x="5733" y="1724"/>
                    <a:pt x="5733" y="1726"/>
                  </a:cubicBezTo>
                  <a:lnTo>
                    <a:pt x="5737" y="1777"/>
                  </a:lnTo>
                  <a:cubicBezTo>
                    <a:pt x="5737" y="1778"/>
                    <a:pt x="5737" y="1780"/>
                    <a:pt x="5735" y="1781"/>
                  </a:cubicBezTo>
                  <a:lnTo>
                    <a:pt x="5655" y="1844"/>
                  </a:lnTo>
                  <a:cubicBezTo>
                    <a:pt x="5654" y="1845"/>
                    <a:pt x="5653" y="1845"/>
                    <a:pt x="5652" y="1845"/>
                  </a:cubicBezTo>
                  <a:lnTo>
                    <a:pt x="5651" y="1845"/>
                  </a:lnTo>
                  <a:lnTo>
                    <a:pt x="5600" y="1832"/>
                  </a:lnTo>
                  <a:lnTo>
                    <a:pt x="5562" y="1844"/>
                  </a:lnTo>
                  <a:lnTo>
                    <a:pt x="5606" y="1853"/>
                  </a:lnTo>
                  <a:cubicBezTo>
                    <a:pt x="5608" y="1853"/>
                    <a:pt x="5609" y="1854"/>
                    <a:pt x="5610" y="1855"/>
                  </a:cubicBezTo>
                  <a:lnTo>
                    <a:pt x="5620" y="1877"/>
                  </a:lnTo>
                  <a:lnTo>
                    <a:pt x="5663" y="1857"/>
                  </a:lnTo>
                  <a:lnTo>
                    <a:pt x="5665" y="1857"/>
                  </a:lnTo>
                  <a:cubicBezTo>
                    <a:pt x="5666" y="1857"/>
                    <a:pt x="5667" y="1857"/>
                    <a:pt x="5667" y="1858"/>
                  </a:cubicBezTo>
                  <a:lnTo>
                    <a:pt x="5693" y="1875"/>
                  </a:lnTo>
                  <a:cubicBezTo>
                    <a:pt x="5695" y="1876"/>
                    <a:pt x="5695" y="1879"/>
                    <a:pt x="5694" y="1881"/>
                  </a:cubicBezTo>
                  <a:lnTo>
                    <a:pt x="5655" y="1955"/>
                  </a:lnTo>
                  <a:lnTo>
                    <a:pt x="5687" y="1958"/>
                  </a:lnTo>
                  <a:cubicBezTo>
                    <a:pt x="5689" y="1959"/>
                    <a:pt x="5690" y="1960"/>
                    <a:pt x="5691" y="1963"/>
                  </a:cubicBezTo>
                  <a:lnTo>
                    <a:pt x="5699" y="2030"/>
                  </a:lnTo>
                  <a:lnTo>
                    <a:pt x="5715" y="2054"/>
                  </a:lnTo>
                  <a:lnTo>
                    <a:pt x="5777" y="2077"/>
                  </a:lnTo>
                  <a:cubicBezTo>
                    <a:pt x="5778" y="2078"/>
                    <a:pt x="5779" y="2079"/>
                    <a:pt x="5780" y="2081"/>
                  </a:cubicBezTo>
                  <a:cubicBezTo>
                    <a:pt x="5780" y="2083"/>
                    <a:pt x="5779" y="2084"/>
                    <a:pt x="5778" y="2085"/>
                  </a:cubicBezTo>
                  <a:lnTo>
                    <a:pt x="5768" y="2093"/>
                  </a:lnTo>
                  <a:lnTo>
                    <a:pt x="5864" y="2127"/>
                  </a:lnTo>
                  <a:lnTo>
                    <a:pt x="5926" y="2103"/>
                  </a:lnTo>
                  <a:cubicBezTo>
                    <a:pt x="5926" y="2102"/>
                    <a:pt x="5927" y="2102"/>
                    <a:pt x="5928" y="2102"/>
                  </a:cubicBezTo>
                  <a:cubicBezTo>
                    <a:pt x="5928" y="2102"/>
                    <a:pt x="5929" y="2102"/>
                    <a:pt x="5929" y="2103"/>
                  </a:cubicBezTo>
                  <a:cubicBezTo>
                    <a:pt x="5931" y="2103"/>
                    <a:pt x="5932" y="2104"/>
                    <a:pt x="5932" y="2105"/>
                  </a:cubicBezTo>
                  <a:lnTo>
                    <a:pt x="5940" y="2128"/>
                  </a:lnTo>
                  <a:lnTo>
                    <a:pt x="5983" y="2136"/>
                  </a:lnTo>
                  <a:cubicBezTo>
                    <a:pt x="5986" y="2137"/>
                    <a:pt x="5988" y="2139"/>
                    <a:pt x="5987" y="2142"/>
                  </a:cubicBezTo>
                  <a:lnTo>
                    <a:pt x="5984" y="2163"/>
                  </a:lnTo>
                  <a:lnTo>
                    <a:pt x="6009" y="2170"/>
                  </a:lnTo>
                  <a:cubicBezTo>
                    <a:pt x="6011" y="2171"/>
                    <a:pt x="6013" y="2172"/>
                    <a:pt x="6013" y="2174"/>
                  </a:cubicBezTo>
                  <a:cubicBezTo>
                    <a:pt x="6013" y="2176"/>
                    <a:pt x="6012" y="2178"/>
                    <a:pt x="6010" y="2179"/>
                  </a:cubicBezTo>
                  <a:lnTo>
                    <a:pt x="5853" y="2242"/>
                  </a:lnTo>
                  <a:lnTo>
                    <a:pt x="5797" y="2247"/>
                  </a:lnTo>
                  <a:lnTo>
                    <a:pt x="5797" y="2268"/>
                  </a:lnTo>
                  <a:cubicBezTo>
                    <a:pt x="5797" y="2269"/>
                    <a:pt x="5796" y="2271"/>
                    <a:pt x="5795" y="2271"/>
                  </a:cubicBezTo>
                  <a:cubicBezTo>
                    <a:pt x="5794" y="2272"/>
                    <a:pt x="5793" y="2273"/>
                    <a:pt x="5792" y="2273"/>
                  </a:cubicBezTo>
                  <a:lnTo>
                    <a:pt x="5752" y="2265"/>
                  </a:lnTo>
                  <a:lnTo>
                    <a:pt x="5737" y="2295"/>
                  </a:lnTo>
                  <a:lnTo>
                    <a:pt x="5643" y="2390"/>
                  </a:lnTo>
                  <a:cubicBezTo>
                    <a:pt x="5642" y="2391"/>
                    <a:pt x="5641" y="2391"/>
                    <a:pt x="5639" y="2391"/>
                  </a:cubicBezTo>
                  <a:cubicBezTo>
                    <a:pt x="5638" y="2391"/>
                    <a:pt x="5637" y="2391"/>
                    <a:pt x="5637" y="2390"/>
                  </a:cubicBezTo>
                  <a:lnTo>
                    <a:pt x="5582" y="2352"/>
                  </a:lnTo>
                  <a:cubicBezTo>
                    <a:pt x="5580" y="2351"/>
                    <a:pt x="5580" y="2350"/>
                    <a:pt x="5580" y="2349"/>
                  </a:cubicBezTo>
                  <a:lnTo>
                    <a:pt x="5575" y="2306"/>
                  </a:lnTo>
                  <a:lnTo>
                    <a:pt x="5593" y="2266"/>
                  </a:lnTo>
                  <a:lnTo>
                    <a:pt x="5580" y="2268"/>
                  </a:lnTo>
                  <a:cubicBezTo>
                    <a:pt x="5578" y="2268"/>
                    <a:pt x="5576" y="2267"/>
                    <a:pt x="5576" y="2265"/>
                  </a:cubicBezTo>
                  <a:cubicBezTo>
                    <a:pt x="5575" y="2263"/>
                    <a:pt x="5576" y="2261"/>
                    <a:pt x="5578" y="2260"/>
                  </a:cubicBezTo>
                  <a:lnTo>
                    <a:pt x="5716" y="2174"/>
                  </a:lnTo>
                  <a:lnTo>
                    <a:pt x="5690" y="2175"/>
                  </a:lnTo>
                  <a:cubicBezTo>
                    <a:pt x="5688" y="2175"/>
                    <a:pt x="5686" y="2174"/>
                    <a:pt x="5686" y="2172"/>
                  </a:cubicBezTo>
                  <a:lnTo>
                    <a:pt x="5681" y="2155"/>
                  </a:lnTo>
                  <a:cubicBezTo>
                    <a:pt x="5681" y="2153"/>
                    <a:pt x="5681" y="2151"/>
                    <a:pt x="5683" y="2150"/>
                  </a:cubicBezTo>
                  <a:lnTo>
                    <a:pt x="5721" y="2112"/>
                  </a:lnTo>
                  <a:lnTo>
                    <a:pt x="5712" y="2105"/>
                  </a:lnTo>
                  <a:lnTo>
                    <a:pt x="5621" y="2183"/>
                  </a:lnTo>
                  <a:lnTo>
                    <a:pt x="5500" y="2196"/>
                  </a:lnTo>
                  <a:lnTo>
                    <a:pt x="5461" y="2188"/>
                  </a:lnTo>
                  <a:cubicBezTo>
                    <a:pt x="5458" y="2187"/>
                    <a:pt x="5457" y="2186"/>
                    <a:pt x="5457" y="2184"/>
                  </a:cubicBezTo>
                  <a:lnTo>
                    <a:pt x="5453" y="2144"/>
                  </a:lnTo>
                  <a:lnTo>
                    <a:pt x="5434" y="2137"/>
                  </a:lnTo>
                  <a:cubicBezTo>
                    <a:pt x="5432" y="2136"/>
                    <a:pt x="5431" y="2134"/>
                    <a:pt x="5431" y="2133"/>
                  </a:cubicBezTo>
                  <a:lnTo>
                    <a:pt x="5431" y="1974"/>
                  </a:lnTo>
                  <a:lnTo>
                    <a:pt x="5393" y="1935"/>
                  </a:lnTo>
                  <a:lnTo>
                    <a:pt x="5349" y="1959"/>
                  </a:lnTo>
                  <a:lnTo>
                    <a:pt x="5347" y="1959"/>
                  </a:lnTo>
                  <a:lnTo>
                    <a:pt x="5344" y="1959"/>
                  </a:lnTo>
                  <a:lnTo>
                    <a:pt x="5302" y="1928"/>
                  </a:lnTo>
                  <a:lnTo>
                    <a:pt x="5254" y="2000"/>
                  </a:lnTo>
                  <a:lnTo>
                    <a:pt x="5203" y="2176"/>
                  </a:lnTo>
                  <a:cubicBezTo>
                    <a:pt x="5203" y="2178"/>
                    <a:pt x="5201" y="2179"/>
                    <a:pt x="5200" y="2179"/>
                  </a:cubicBezTo>
                  <a:lnTo>
                    <a:pt x="5138" y="2188"/>
                  </a:lnTo>
                  <a:lnTo>
                    <a:pt x="5123" y="2219"/>
                  </a:lnTo>
                  <a:cubicBezTo>
                    <a:pt x="5122" y="2221"/>
                    <a:pt x="5120" y="2222"/>
                    <a:pt x="5118" y="2222"/>
                  </a:cubicBezTo>
                  <a:lnTo>
                    <a:pt x="4834" y="2222"/>
                  </a:lnTo>
                  <a:lnTo>
                    <a:pt x="4774" y="2267"/>
                  </a:lnTo>
                  <a:lnTo>
                    <a:pt x="4672" y="2323"/>
                  </a:lnTo>
                  <a:lnTo>
                    <a:pt x="4669" y="2323"/>
                  </a:lnTo>
                  <a:lnTo>
                    <a:pt x="4668" y="2323"/>
                  </a:lnTo>
                  <a:lnTo>
                    <a:pt x="4657" y="2319"/>
                  </a:lnTo>
                  <a:lnTo>
                    <a:pt x="4665" y="2338"/>
                  </a:lnTo>
                  <a:cubicBezTo>
                    <a:pt x="4666" y="2339"/>
                    <a:pt x="4666" y="2341"/>
                    <a:pt x="4665" y="2343"/>
                  </a:cubicBezTo>
                  <a:cubicBezTo>
                    <a:pt x="4664" y="2344"/>
                    <a:pt x="4663" y="2345"/>
                    <a:pt x="4661" y="2345"/>
                  </a:cubicBezTo>
                  <a:lnTo>
                    <a:pt x="4572" y="2340"/>
                  </a:lnTo>
                  <a:lnTo>
                    <a:pt x="4484" y="2366"/>
                  </a:lnTo>
                  <a:lnTo>
                    <a:pt x="4442" y="2408"/>
                  </a:lnTo>
                  <a:lnTo>
                    <a:pt x="4492" y="2416"/>
                  </a:lnTo>
                  <a:cubicBezTo>
                    <a:pt x="4494" y="2416"/>
                    <a:pt x="4495" y="2417"/>
                    <a:pt x="4496" y="2419"/>
                  </a:cubicBezTo>
                  <a:lnTo>
                    <a:pt x="4513" y="2465"/>
                  </a:lnTo>
                  <a:cubicBezTo>
                    <a:pt x="4513" y="2466"/>
                    <a:pt x="4513" y="2468"/>
                    <a:pt x="4512" y="2469"/>
                  </a:cubicBezTo>
                  <a:cubicBezTo>
                    <a:pt x="4511" y="2471"/>
                    <a:pt x="4510" y="2471"/>
                    <a:pt x="4508" y="2471"/>
                  </a:cubicBezTo>
                  <a:lnTo>
                    <a:pt x="4407" y="2471"/>
                  </a:lnTo>
                  <a:lnTo>
                    <a:pt x="4367" y="2496"/>
                  </a:lnTo>
                  <a:cubicBezTo>
                    <a:pt x="4366" y="2497"/>
                    <a:pt x="4365" y="2497"/>
                    <a:pt x="4364" y="2497"/>
                  </a:cubicBezTo>
                  <a:lnTo>
                    <a:pt x="4363" y="2497"/>
                  </a:lnTo>
                  <a:lnTo>
                    <a:pt x="4319" y="2485"/>
                  </a:lnTo>
                  <a:lnTo>
                    <a:pt x="4210" y="2564"/>
                  </a:lnTo>
                  <a:lnTo>
                    <a:pt x="4208" y="2564"/>
                  </a:lnTo>
                  <a:lnTo>
                    <a:pt x="4152" y="2560"/>
                  </a:lnTo>
                  <a:cubicBezTo>
                    <a:pt x="4151" y="2560"/>
                    <a:pt x="4149" y="2559"/>
                    <a:pt x="4148" y="2558"/>
                  </a:cubicBezTo>
                  <a:cubicBezTo>
                    <a:pt x="4148" y="2557"/>
                    <a:pt x="4147" y="2555"/>
                    <a:pt x="4148" y="2554"/>
                  </a:cubicBezTo>
                  <a:lnTo>
                    <a:pt x="4165" y="2511"/>
                  </a:lnTo>
                  <a:cubicBezTo>
                    <a:pt x="4166" y="2510"/>
                    <a:pt x="4168" y="2508"/>
                    <a:pt x="4169" y="2508"/>
                  </a:cubicBezTo>
                  <a:lnTo>
                    <a:pt x="4200" y="2512"/>
                  </a:lnTo>
                  <a:lnTo>
                    <a:pt x="4190" y="2490"/>
                  </a:lnTo>
                  <a:lnTo>
                    <a:pt x="4203" y="2436"/>
                  </a:lnTo>
                  <a:cubicBezTo>
                    <a:pt x="4203" y="2435"/>
                    <a:pt x="4204" y="2434"/>
                    <a:pt x="4205" y="2433"/>
                  </a:cubicBezTo>
                  <a:lnTo>
                    <a:pt x="4258" y="2401"/>
                  </a:lnTo>
                  <a:lnTo>
                    <a:pt x="4262" y="2310"/>
                  </a:lnTo>
                  <a:lnTo>
                    <a:pt x="4291" y="2242"/>
                  </a:lnTo>
                  <a:lnTo>
                    <a:pt x="4271" y="2181"/>
                  </a:lnTo>
                  <a:cubicBezTo>
                    <a:pt x="4270" y="2179"/>
                    <a:pt x="4271" y="2177"/>
                    <a:pt x="4272" y="2176"/>
                  </a:cubicBezTo>
                  <a:cubicBezTo>
                    <a:pt x="4273" y="2175"/>
                    <a:pt x="4274" y="2174"/>
                    <a:pt x="4275" y="2174"/>
                  </a:cubicBezTo>
                  <a:cubicBezTo>
                    <a:pt x="4276" y="2174"/>
                    <a:pt x="4305" y="2178"/>
                    <a:pt x="4305" y="2178"/>
                  </a:cubicBezTo>
                  <a:cubicBezTo>
                    <a:pt x="4307" y="2179"/>
                    <a:pt x="4309" y="2180"/>
                    <a:pt x="4309" y="2182"/>
                  </a:cubicBezTo>
                  <a:lnTo>
                    <a:pt x="4317" y="2216"/>
                  </a:lnTo>
                  <a:lnTo>
                    <a:pt x="4329" y="2212"/>
                  </a:lnTo>
                  <a:lnTo>
                    <a:pt x="4330" y="2212"/>
                  </a:lnTo>
                  <a:cubicBezTo>
                    <a:pt x="4331" y="2212"/>
                    <a:pt x="4332" y="2213"/>
                    <a:pt x="4333" y="2213"/>
                  </a:cubicBezTo>
                  <a:cubicBezTo>
                    <a:pt x="4334" y="2214"/>
                    <a:pt x="4335" y="2215"/>
                    <a:pt x="4335" y="2217"/>
                  </a:cubicBezTo>
                  <a:lnTo>
                    <a:pt x="4338" y="2249"/>
                  </a:lnTo>
                  <a:lnTo>
                    <a:pt x="4348" y="2239"/>
                  </a:lnTo>
                  <a:cubicBezTo>
                    <a:pt x="4349" y="2238"/>
                    <a:pt x="4350" y="2238"/>
                    <a:pt x="4351" y="2238"/>
                  </a:cubicBezTo>
                  <a:lnTo>
                    <a:pt x="4353" y="2238"/>
                  </a:lnTo>
                  <a:lnTo>
                    <a:pt x="4402" y="2257"/>
                  </a:lnTo>
                  <a:lnTo>
                    <a:pt x="4402" y="2226"/>
                  </a:lnTo>
                  <a:cubicBezTo>
                    <a:pt x="4402" y="2224"/>
                    <a:pt x="4403" y="2223"/>
                    <a:pt x="4404" y="2222"/>
                  </a:cubicBezTo>
                  <a:cubicBezTo>
                    <a:pt x="4404" y="2221"/>
                    <a:pt x="4406" y="2221"/>
                    <a:pt x="4407" y="2221"/>
                  </a:cubicBezTo>
                  <a:lnTo>
                    <a:pt x="4408" y="2221"/>
                  </a:lnTo>
                  <a:lnTo>
                    <a:pt x="4427" y="2226"/>
                  </a:lnTo>
                  <a:lnTo>
                    <a:pt x="4403" y="2199"/>
                  </a:lnTo>
                  <a:cubicBezTo>
                    <a:pt x="4402" y="2198"/>
                    <a:pt x="4402" y="2197"/>
                    <a:pt x="4402" y="2196"/>
                  </a:cubicBezTo>
                  <a:lnTo>
                    <a:pt x="4402" y="2172"/>
                  </a:lnTo>
                  <a:lnTo>
                    <a:pt x="4344" y="2110"/>
                  </a:lnTo>
                  <a:lnTo>
                    <a:pt x="4067" y="2061"/>
                  </a:lnTo>
                  <a:cubicBezTo>
                    <a:pt x="4065" y="2061"/>
                    <a:pt x="4064" y="2060"/>
                    <a:pt x="4063" y="2058"/>
                  </a:cubicBezTo>
                  <a:lnTo>
                    <a:pt x="4055" y="2040"/>
                  </a:lnTo>
                  <a:lnTo>
                    <a:pt x="4055" y="2041"/>
                  </a:lnTo>
                  <a:cubicBezTo>
                    <a:pt x="4054" y="2043"/>
                    <a:pt x="4053" y="2044"/>
                    <a:pt x="4051" y="2044"/>
                  </a:cubicBezTo>
                  <a:lnTo>
                    <a:pt x="4038" y="2044"/>
                  </a:lnTo>
                  <a:cubicBezTo>
                    <a:pt x="4037" y="2044"/>
                    <a:pt x="4035" y="2043"/>
                    <a:pt x="4034" y="2042"/>
                  </a:cubicBezTo>
                  <a:cubicBezTo>
                    <a:pt x="4034" y="2042"/>
                    <a:pt x="4033" y="2040"/>
                    <a:pt x="4033" y="2039"/>
                  </a:cubicBezTo>
                  <a:lnTo>
                    <a:pt x="4037" y="1992"/>
                  </a:lnTo>
                  <a:lnTo>
                    <a:pt x="4019" y="1984"/>
                  </a:lnTo>
                  <a:cubicBezTo>
                    <a:pt x="4017" y="1984"/>
                    <a:pt x="4016" y="1982"/>
                    <a:pt x="4016" y="1980"/>
                  </a:cubicBezTo>
                  <a:lnTo>
                    <a:pt x="4016" y="1929"/>
                  </a:lnTo>
                  <a:lnTo>
                    <a:pt x="3992" y="1898"/>
                  </a:lnTo>
                  <a:cubicBezTo>
                    <a:pt x="3991" y="1897"/>
                    <a:pt x="3991" y="1896"/>
                    <a:pt x="3991" y="1895"/>
                  </a:cubicBezTo>
                  <a:lnTo>
                    <a:pt x="3994" y="1858"/>
                  </a:lnTo>
                  <a:lnTo>
                    <a:pt x="3932" y="1862"/>
                  </a:lnTo>
                  <a:cubicBezTo>
                    <a:pt x="3930" y="1862"/>
                    <a:pt x="3929" y="1861"/>
                    <a:pt x="3928" y="1859"/>
                  </a:cubicBezTo>
                  <a:lnTo>
                    <a:pt x="3878" y="1760"/>
                  </a:lnTo>
                  <a:lnTo>
                    <a:pt x="3827" y="1757"/>
                  </a:lnTo>
                  <a:lnTo>
                    <a:pt x="3827" y="1811"/>
                  </a:lnTo>
                  <a:cubicBezTo>
                    <a:pt x="3827" y="1813"/>
                    <a:pt x="3825" y="1815"/>
                    <a:pt x="3823" y="1815"/>
                  </a:cubicBezTo>
                  <a:lnTo>
                    <a:pt x="3822" y="1816"/>
                  </a:lnTo>
                  <a:cubicBezTo>
                    <a:pt x="3820" y="1816"/>
                    <a:pt x="3818" y="1814"/>
                    <a:pt x="3817" y="1813"/>
                  </a:cubicBezTo>
                  <a:lnTo>
                    <a:pt x="3793" y="1747"/>
                  </a:lnTo>
                  <a:lnTo>
                    <a:pt x="3744" y="1732"/>
                  </a:lnTo>
                  <a:lnTo>
                    <a:pt x="3716" y="1796"/>
                  </a:lnTo>
                  <a:cubicBezTo>
                    <a:pt x="3715" y="1798"/>
                    <a:pt x="3714" y="1799"/>
                    <a:pt x="3712" y="1799"/>
                  </a:cubicBezTo>
                  <a:lnTo>
                    <a:pt x="3711" y="1799"/>
                  </a:lnTo>
                  <a:cubicBezTo>
                    <a:pt x="3709" y="1798"/>
                    <a:pt x="3707" y="1796"/>
                    <a:pt x="3707" y="1794"/>
                  </a:cubicBezTo>
                  <a:lnTo>
                    <a:pt x="3707" y="1766"/>
                  </a:lnTo>
                  <a:lnTo>
                    <a:pt x="3686" y="1805"/>
                  </a:lnTo>
                  <a:cubicBezTo>
                    <a:pt x="3685" y="1806"/>
                    <a:pt x="3684" y="1807"/>
                    <a:pt x="3682" y="1807"/>
                  </a:cubicBezTo>
                  <a:cubicBezTo>
                    <a:pt x="3680" y="1807"/>
                    <a:pt x="3678" y="1806"/>
                    <a:pt x="3678" y="1804"/>
                  </a:cubicBezTo>
                  <a:lnTo>
                    <a:pt x="3672" y="1787"/>
                  </a:lnTo>
                  <a:lnTo>
                    <a:pt x="3635" y="1839"/>
                  </a:lnTo>
                  <a:lnTo>
                    <a:pt x="3600" y="1857"/>
                  </a:lnTo>
                  <a:lnTo>
                    <a:pt x="3507" y="1837"/>
                  </a:lnTo>
                  <a:lnTo>
                    <a:pt x="3463" y="1845"/>
                  </a:lnTo>
                  <a:lnTo>
                    <a:pt x="3341" y="1777"/>
                  </a:lnTo>
                  <a:lnTo>
                    <a:pt x="3195" y="1765"/>
                  </a:lnTo>
                  <a:cubicBezTo>
                    <a:pt x="3193" y="1765"/>
                    <a:pt x="3191" y="1764"/>
                    <a:pt x="3191" y="1762"/>
                  </a:cubicBezTo>
                  <a:lnTo>
                    <a:pt x="3156" y="1689"/>
                  </a:lnTo>
                  <a:lnTo>
                    <a:pt x="3153" y="1731"/>
                  </a:lnTo>
                  <a:cubicBezTo>
                    <a:pt x="3153" y="1733"/>
                    <a:pt x="3151" y="1735"/>
                    <a:pt x="3148" y="1735"/>
                  </a:cubicBezTo>
                  <a:lnTo>
                    <a:pt x="840" y="1731"/>
                  </a:lnTo>
                  <a:cubicBezTo>
                    <a:pt x="838" y="1731"/>
                    <a:pt x="837" y="1730"/>
                    <a:pt x="836" y="1729"/>
                  </a:cubicBezTo>
                  <a:lnTo>
                    <a:pt x="819" y="1708"/>
                  </a:lnTo>
                  <a:cubicBezTo>
                    <a:pt x="818" y="1707"/>
                    <a:pt x="818" y="1705"/>
                    <a:pt x="818" y="1704"/>
                  </a:cubicBezTo>
                  <a:cubicBezTo>
                    <a:pt x="819" y="1702"/>
                    <a:pt x="820" y="1701"/>
                    <a:pt x="821" y="1701"/>
                  </a:cubicBezTo>
                  <a:lnTo>
                    <a:pt x="835" y="1695"/>
                  </a:lnTo>
                  <a:lnTo>
                    <a:pt x="805" y="1693"/>
                  </a:lnTo>
                  <a:cubicBezTo>
                    <a:pt x="803" y="1693"/>
                    <a:pt x="801" y="1691"/>
                    <a:pt x="801" y="1688"/>
                  </a:cubicBezTo>
                  <a:lnTo>
                    <a:pt x="801" y="1645"/>
                  </a:lnTo>
                  <a:lnTo>
                    <a:pt x="775" y="1670"/>
                  </a:lnTo>
                  <a:cubicBezTo>
                    <a:pt x="774" y="1671"/>
                    <a:pt x="773" y="1672"/>
                    <a:pt x="772" y="1672"/>
                  </a:cubicBezTo>
                  <a:cubicBezTo>
                    <a:pt x="771" y="1672"/>
                    <a:pt x="771" y="1672"/>
                    <a:pt x="770" y="1671"/>
                  </a:cubicBezTo>
                  <a:cubicBezTo>
                    <a:pt x="768" y="1671"/>
                    <a:pt x="767" y="1669"/>
                    <a:pt x="767" y="1667"/>
                  </a:cubicBezTo>
                  <a:lnTo>
                    <a:pt x="767" y="1633"/>
                  </a:lnTo>
                  <a:lnTo>
                    <a:pt x="747" y="1602"/>
                  </a:lnTo>
                  <a:lnTo>
                    <a:pt x="747" y="1616"/>
                  </a:lnTo>
                  <a:cubicBezTo>
                    <a:pt x="747" y="1619"/>
                    <a:pt x="745" y="1620"/>
                    <a:pt x="743" y="1621"/>
                  </a:cubicBezTo>
                  <a:lnTo>
                    <a:pt x="722" y="1625"/>
                  </a:lnTo>
                  <a:lnTo>
                    <a:pt x="685" y="1608"/>
                  </a:lnTo>
                  <a:lnTo>
                    <a:pt x="670" y="1585"/>
                  </a:lnTo>
                  <a:lnTo>
                    <a:pt x="670" y="1581"/>
                  </a:lnTo>
                  <a:lnTo>
                    <a:pt x="681" y="1544"/>
                  </a:lnTo>
                  <a:lnTo>
                    <a:pt x="559" y="1528"/>
                  </a:lnTo>
                  <a:cubicBezTo>
                    <a:pt x="558" y="1528"/>
                    <a:pt x="556" y="1527"/>
                    <a:pt x="556" y="1525"/>
                  </a:cubicBezTo>
                  <a:cubicBezTo>
                    <a:pt x="555" y="1523"/>
                    <a:pt x="555" y="1522"/>
                    <a:pt x="556" y="1520"/>
                  </a:cubicBezTo>
                  <a:lnTo>
                    <a:pt x="570" y="1503"/>
                  </a:lnTo>
                  <a:lnTo>
                    <a:pt x="537" y="1485"/>
                  </a:lnTo>
                  <a:cubicBezTo>
                    <a:pt x="534" y="1484"/>
                    <a:pt x="534" y="1481"/>
                    <a:pt x="535" y="1479"/>
                  </a:cubicBezTo>
                  <a:lnTo>
                    <a:pt x="539" y="1470"/>
                  </a:lnTo>
                  <a:lnTo>
                    <a:pt x="475" y="1481"/>
                  </a:lnTo>
                  <a:lnTo>
                    <a:pt x="473" y="1481"/>
                  </a:lnTo>
                  <a:lnTo>
                    <a:pt x="430" y="1455"/>
                  </a:lnTo>
                  <a:lnTo>
                    <a:pt x="420" y="1432"/>
                  </a:lnTo>
                  <a:lnTo>
                    <a:pt x="420" y="1428"/>
                  </a:lnTo>
                  <a:cubicBezTo>
                    <a:pt x="421" y="1427"/>
                    <a:pt x="422" y="1426"/>
                    <a:pt x="423" y="1426"/>
                  </a:cubicBezTo>
                  <a:lnTo>
                    <a:pt x="440" y="1421"/>
                  </a:lnTo>
                  <a:lnTo>
                    <a:pt x="423" y="1413"/>
                  </a:lnTo>
                  <a:cubicBezTo>
                    <a:pt x="421" y="1412"/>
                    <a:pt x="420" y="1411"/>
                    <a:pt x="420" y="1409"/>
                  </a:cubicBezTo>
                  <a:cubicBezTo>
                    <a:pt x="420" y="1407"/>
                    <a:pt x="421" y="1405"/>
                    <a:pt x="423" y="1405"/>
                  </a:cubicBezTo>
                  <a:lnTo>
                    <a:pt x="448" y="1396"/>
                  </a:lnTo>
                  <a:cubicBezTo>
                    <a:pt x="446" y="1395"/>
                    <a:pt x="445" y="1394"/>
                    <a:pt x="445" y="1392"/>
                  </a:cubicBezTo>
                  <a:lnTo>
                    <a:pt x="445" y="1370"/>
                  </a:lnTo>
                  <a:lnTo>
                    <a:pt x="423" y="1383"/>
                  </a:lnTo>
                  <a:cubicBezTo>
                    <a:pt x="422" y="1384"/>
                    <a:pt x="421" y="1384"/>
                    <a:pt x="420" y="1384"/>
                  </a:cubicBezTo>
                  <a:cubicBezTo>
                    <a:pt x="419" y="1384"/>
                    <a:pt x="419" y="1384"/>
                    <a:pt x="418" y="1383"/>
                  </a:cubicBezTo>
                  <a:cubicBezTo>
                    <a:pt x="417" y="1383"/>
                    <a:pt x="416" y="1381"/>
                    <a:pt x="416" y="1380"/>
                  </a:cubicBezTo>
                  <a:lnTo>
                    <a:pt x="407" y="1276"/>
                  </a:lnTo>
                  <a:lnTo>
                    <a:pt x="379" y="1286"/>
                  </a:lnTo>
                  <a:cubicBezTo>
                    <a:pt x="379" y="1287"/>
                    <a:pt x="378" y="1287"/>
                    <a:pt x="378" y="1287"/>
                  </a:cubicBezTo>
                  <a:cubicBezTo>
                    <a:pt x="377" y="1287"/>
                    <a:pt x="376" y="1286"/>
                    <a:pt x="375" y="1286"/>
                  </a:cubicBezTo>
                  <a:cubicBezTo>
                    <a:pt x="374" y="1285"/>
                    <a:pt x="373" y="1284"/>
                    <a:pt x="373" y="1282"/>
                  </a:cubicBezTo>
                  <a:lnTo>
                    <a:pt x="373" y="1258"/>
                  </a:lnTo>
                  <a:lnTo>
                    <a:pt x="341" y="1266"/>
                  </a:lnTo>
                  <a:cubicBezTo>
                    <a:pt x="340" y="1266"/>
                    <a:pt x="340" y="1266"/>
                    <a:pt x="340" y="1266"/>
                  </a:cubicBezTo>
                  <a:cubicBezTo>
                    <a:pt x="338" y="1266"/>
                    <a:pt x="336" y="1265"/>
                    <a:pt x="335" y="1263"/>
                  </a:cubicBezTo>
                  <a:lnTo>
                    <a:pt x="306" y="1195"/>
                  </a:lnTo>
                  <a:lnTo>
                    <a:pt x="309" y="1133"/>
                  </a:lnTo>
                  <a:lnTo>
                    <a:pt x="295" y="1138"/>
                  </a:lnTo>
                  <a:cubicBezTo>
                    <a:pt x="294" y="1139"/>
                    <a:pt x="294" y="1139"/>
                    <a:pt x="293" y="1139"/>
                  </a:cubicBezTo>
                  <a:cubicBezTo>
                    <a:pt x="292" y="1139"/>
                    <a:pt x="290" y="1138"/>
                    <a:pt x="290" y="1137"/>
                  </a:cubicBezTo>
                  <a:lnTo>
                    <a:pt x="226" y="1061"/>
                  </a:lnTo>
                  <a:cubicBezTo>
                    <a:pt x="225" y="1060"/>
                    <a:pt x="225" y="1058"/>
                    <a:pt x="225" y="1056"/>
                  </a:cubicBezTo>
                  <a:lnTo>
                    <a:pt x="237" y="1026"/>
                  </a:lnTo>
                  <a:lnTo>
                    <a:pt x="197" y="998"/>
                  </a:lnTo>
                  <a:cubicBezTo>
                    <a:pt x="196" y="997"/>
                    <a:pt x="195" y="995"/>
                    <a:pt x="195" y="993"/>
                  </a:cubicBezTo>
                  <a:lnTo>
                    <a:pt x="204" y="955"/>
                  </a:lnTo>
                  <a:cubicBezTo>
                    <a:pt x="204" y="953"/>
                    <a:pt x="206" y="952"/>
                    <a:pt x="208" y="952"/>
                  </a:cubicBezTo>
                  <a:lnTo>
                    <a:pt x="224" y="952"/>
                  </a:lnTo>
                  <a:lnTo>
                    <a:pt x="220" y="906"/>
                  </a:lnTo>
                  <a:lnTo>
                    <a:pt x="225" y="764"/>
                  </a:lnTo>
                  <a:lnTo>
                    <a:pt x="70" y="677"/>
                  </a:lnTo>
                  <a:lnTo>
                    <a:pt x="0" y="535"/>
                  </a:lnTo>
                  <a:lnTo>
                    <a:pt x="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 name="Freeform 6"/>
            <p:cNvSpPr>
              <a:spLocks noChangeArrowheads="1"/>
            </p:cNvSpPr>
            <p:nvPr/>
          </p:nvSpPr>
          <p:spPr bwMode="auto">
            <a:xfrm>
              <a:off x="2840038" y="2216150"/>
              <a:ext cx="23812" cy="7938"/>
            </a:xfrm>
            <a:custGeom>
              <a:avLst/>
              <a:gdLst/>
              <a:ahLst/>
              <a:cxnLst>
                <a:cxn ang="0">
                  <a:pos x="17" y="22"/>
                </a:cxn>
                <a:cxn ang="0">
                  <a:pos x="0" y="2"/>
                </a:cxn>
                <a:cxn ang="0">
                  <a:pos x="63" y="0"/>
                </a:cxn>
                <a:cxn ang="0">
                  <a:pos x="17" y="22"/>
                </a:cxn>
              </a:cxnLst>
              <a:rect l="0" t="0" r="r" b="b"/>
              <a:pathLst>
                <a:path w="64" h="23">
                  <a:moveTo>
                    <a:pt x="17" y="22"/>
                  </a:moveTo>
                  <a:lnTo>
                    <a:pt x="0" y="2"/>
                  </a:lnTo>
                  <a:lnTo>
                    <a:pt x="63" y="0"/>
                  </a:lnTo>
                  <a:lnTo>
                    <a:pt x="17" y="2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 name="Freeform 7"/>
            <p:cNvSpPr>
              <a:spLocks noChangeArrowheads="1"/>
            </p:cNvSpPr>
            <p:nvPr/>
          </p:nvSpPr>
          <p:spPr bwMode="auto">
            <a:xfrm>
              <a:off x="1790700" y="1798638"/>
              <a:ext cx="90488" cy="190500"/>
            </a:xfrm>
            <a:custGeom>
              <a:avLst/>
              <a:gdLst/>
              <a:ahLst/>
              <a:cxnLst>
                <a:cxn ang="0">
                  <a:pos x="208" y="526"/>
                </a:cxn>
                <a:cxn ang="0">
                  <a:pos x="198" y="526"/>
                </a:cxn>
                <a:cxn ang="0">
                  <a:pos x="190" y="494"/>
                </a:cxn>
                <a:cxn ang="0">
                  <a:pos x="224" y="418"/>
                </a:cxn>
                <a:cxn ang="0">
                  <a:pos x="223" y="413"/>
                </a:cxn>
                <a:cxn ang="0">
                  <a:pos x="220" y="411"/>
                </a:cxn>
                <a:cxn ang="0">
                  <a:pos x="218" y="412"/>
                </a:cxn>
                <a:cxn ang="0">
                  <a:pos x="201" y="418"/>
                </a:cxn>
                <a:cxn ang="0">
                  <a:pos x="212" y="366"/>
                </a:cxn>
                <a:cxn ang="0">
                  <a:pos x="209" y="361"/>
                </a:cxn>
                <a:cxn ang="0">
                  <a:pos x="183" y="352"/>
                </a:cxn>
                <a:cxn ang="0">
                  <a:pos x="182" y="352"/>
                </a:cxn>
                <a:cxn ang="0">
                  <a:pos x="178" y="355"/>
                </a:cxn>
                <a:cxn ang="0">
                  <a:pos x="166" y="378"/>
                </a:cxn>
                <a:cxn ang="0">
                  <a:pos x="140" y="296"/>
                </a:cxn>
                <a:cxn ang="0">
                  <a:pos x="136" y="293"/>
                </a:cxn>
                <a:cxn ang="0">
                  <a:pos x="135" y="293"/>
                </a:cxn>
                <a:cxn ang="0">
                  <a:pos x="131" y="296"/>
                </a:cxn>
                <a:cxn ang="0">
                  <a:pos x="115" y="327"/>
                </a:cxn>
                <a:cxn ang="0">
                  <a:pos x="97" y="327"/>
                </a:cxn>
                <a:cxn ang="0">
                  <a:pos x="88" y="273"/>
                </a:cxn>
                <a:cxn ang="0">
                  <a:pos x="42" y="233"/>
                </a:cxn>
                <a:cxn ang="0">
                  <a:pos x="31" y="194"/>
                </a:cxn>
                <a:cxn ang="0">
                  <a:pos x="61" y="175"/>
                </a:cxn>
                <a:cxn ang="0">
                  <a:pos x="64" y="170"/>
                </a:cxn>
                <a:cxn ang="0">
                  <a:pos x="60" y="166"/>
                </a:cxn>
                <a:cxn ang="0">
                  <a:pos x="4" y="150"/>
                </a:cxn>
                <a:cxn ang="0">
                  <a:pos x="0" y="126"/>
                </a:cxn>
                <a:cxn ang="0">
                  <a:pos x="24" y="70"/>
                </a:cxn>
                <a:cxn ang="0">
                  <a:pos x="100" y="87"/>
                </a:cxn>
                <a:cxn ang="0">
                  <a:pos x="101" y="87"/>
                </a:cxn>
                <a:cxn ang="0">
                  <a:pos x="105" y="85"/>
                </a:cxn>
                <a:cxn ang="0">
                  <a:pos x="106" y="80"/>
                </a:cxn>
                <a:cxn ang="0">
                  <a:pos x="85" y="40"/>
                </a:cxn>
                <a:cxn ang="0">
                  <a:pos x="97" y="16"/>
                </a:cxn>
                <a:cxn ang="0">
                  <a:pos x="97" y="13"/>
                </a:cxn>
                <a:cxn ang="0">
                  <a:pos x="95" y="10"/>
                </a:cxn>
                <a:cxn ang="0">
                  <a:pos x="75" y="0"/>
                </a:cxn>
                <a:cxn ang="0">
                  <a:pos x="95" y="2"/>
                </a:cxn>
                <a:cxn ang="0">
                  <a:pos x="104" y="14"/>
                </a:cxn>
                <a:cxn ang="0">
                  <a:pos x="89" y="41"/>
                </a:cxn>
                <a:cxn ang="0">
                  <a:pos x="89" y="47"/>
                </a:cxn>
                <a:cxn ang="0">
                  <a:pos x="93" y="49"/>
                </a:cxn>
                <a:cxn ang="0">
                  <a:pos x="95" y="48"/>
                </a:cxn>
                <a:cxn ang="0">
                  <a:pos x="125" y="33"/>
                </a:cxn>
                <a:cxn ang="0">
                  <a:pos x="129" y="42"/>
                </a:cxn>
                <a:cxn ang="0">
                  <a:pos x="116" y="53"/>
                </a:cxn>
                <a:cxn ang="0">
                  <a:pos x="113" y="56"/>
                </a:cxn>
                <a:cxn ang="0">
                  <a:pos x="114" y="79"/>
                </a:cxn>
                <a:cxn ang="0">
                  <a:pos x="132" y="152"/>
                </a:cxn>
                <a:cxn ang="0">
                  <a:pos x="156" y="184"/>
                </a:cxn>
                <a:cxn ang="0">
                  <a:pos x="173" y="296"/>
                </a:cxn>
                <a:cxn ang="0">
                  <a:pos x="249" y="421"/>
                </a:cxn>
                <a:cxn ang="0">
                  <a:pos x="230" y="498"/>
                </a:cxn>
                <a:cxn ang="0">
                  <a:pos x="226" y="496"/>
                </a:cxn>
                <a:cxn ang="0">
                  <a:pos x="224" y="496"/>
                </a:cxn>
                <a:cxn ang="0">
                  <a:pos x="223" y="496"/>
                </a:cxn>
                <a:cxn ang="0">
                  <a:pos x="220" y="499"/>
                </a:cxn>
                <a:cxn ang="0">
                  <a:pos x="208" y="526"/>
                </a:cxn>
              </a:cxnLst>
              <a:rect l="0" t="0" r="r" b="b"/>
              <a:pathLst>
                <a:path w="250" h="527">
                  <a:moveTo>
                    <a:pt x="208" y="526"/>
                  </a:moveTo>
                  <a:lnTo>
                    <a:pt x="198" y="526"/>
                  </a:lnTo>
                  <a:lnTo>
                    <a:pt x="190" y="494"/>
                  </a:lnTo>
                  <a:lnTo>
                    <a:pt x="224" y="418"/>
                  </a:lnTo>
                  <a:cubicBezTo>
                    <a:pt x="225" y="416"/>
                    <a:pt x="225" y="414"/>
                    <a:pt x="223" y="413"/>
                  </a:cubicBezTo>
                  <a:cubicBezTo>
                    <a:pt x="222" y="412"/>
                    <a:pt x="221" y="411"/>
                    <a:pt x="220" y="411"/>
                  </a:cubicBezTo>
                  <a:cubicBezTo>
                    <a:pt x="219" y="411"/>
                    <a:pt x="219" y="412"/>
                    <a:pt x="218" y="412"/>
                  </a:cubicBezTo>
                  <a:lnTo>
                    <a:pt x="201" y="418"/>
                  </a:lnTo>
                  <a:lnTo>
                    <a:pt x="212" y="366"/>
                  </a:lnTo>
                  <a:cubicBezTo>
                    <a:pt x="212" y="364"/>
                    <a:pt x="211" y="362"/>
                    <a:pt x="209" y="361"/>
                  </a:cubicBezTo>
                  <a:lnTo>
                    <a:pt x="183" y="352"/>
                  </a:lnTo>
                  <a:lnTo>
                    <a:pt x="182" y="352"/>
                  </a:lnTo>
                  <a:cubicBezTo>
                    <a:pt x="180" y="352"/>
                    <a:pt x="178" y="353"/>
                    <a:pt x="178" y="355"/>
                  </a:cubicBezTo>
                  <a:lnTo>
                    <a:pt x="166" y="378"/>
                  </a:lnTo>
                  <a:lnTo>
                    <a:pt x="140" y="296"/>
                  </a:lnTo>
                  <a:cubicBezTo>
                    <a:pt x="139" y="294"/>
                    <a:pt x="138" y="293"/>
                    <a:pt x="136" y="293"/>
                  </a:cubicBezTo>
                  <a:lnTo>
                    <a:pt x="135" y="293"/>
                  </a:lnTo>
                  <a:cubicBezTo>
                    <a:pt x="134" y="293"/>
                    <a:pt x="132" y="294"/>
                    <a:pt x="131" y="296"/>
                  </a:cubicBezTo>
                  <a:lnTo>
                    <a:pt x="115" y="327"/>
                  </a:lnTo>
                  <a:lnTo>
                    <a:pt x="97" y="327"/>
                  </a:lnTo>
                  <a:lnTo>
                    <a:pt x="88" y="273"/>
                  </a:lnTo>
                  <a:lnTo>
                    <a:pt x="42" y="233"/>
                  </a:lnTo>
                  <a:lnTo>
                    <a:pt x="31" y="194"/>
                  </a:lnTo>
                  <a:lnTo>
                    <a:pt x="61" y="175"/>
                  </a:lnTo>
                  <a:cubicBezTo>
                    <a:pt x="63" y="174"/>
                    <a:pt x="64" y="172"/>
                    <a:pt x="64" y="170"/>
                  </a:cubicBezTo>
                  <a:cubicBezTo>
                    <a:pt x="63" y="168"/>
                    <a:pt x="62" y="167"/>
                    <a:pt x="60" y="166"/>
                  </a:cubicBezTo>
                  <a:lnTo>
                    <a:pt x="4" y="150"/>
                  </a:lnTo>
                  <a:lnTo>
                    <a:pt x="0" y="126"/>
                  </a:lnTo>
                  <a:lnTo>
                    <a:pt x="24" y="70"/>
                  </a:lnTo>
                  <a:lnTo>
                    <a:pt x="100" y="87"/>
                  </a:lnTo>
                  <a:cubicBezTo>
                    <a:pt x="101" y="87"/>
                    <a:pt x="101" y="87"/>
                    <a:pt x="101" y="87"/>
                  </a:cubicBezTo>
                  <a:cubicBezTo>
                    <a:pt x="103" y="87"/>
                    <a:pt x="104" y="86"/>
                    <a:pt x="105" y="85"/>
                  </a:cubicBezTo>
                  <a:cubicBezTo>
                    <a:pt x="106" y="83"/>
                    <a:pt x="106" y="81"/>
                    <a:pt x="106" y="80"/>
                  </a:cubicBezTo>
                  <a:lnTo>
                    <a:pt x="85" y="40"/>
                  </a:lnTo>
                  <a:lnTo>
                    <a:pt x="97" y="16"/>
                  </a:lnTo>
                  <a:cubicBezTo>
                    <a:pt x="98" y="15"/>
                    <a:pt x="98" y="14"/>
                    <a:pt x="97" y="13"/>
                  </a:cubicBezTo>
                  <a:cubicBezTo>
                    <a:pt x="97" y="11"/>
                    <a:pt x="96" y="11"/>
                    <a:pt x="95" y="10"/>
                  </a:cubicBezTo>
                  <a:lnTo>
                    <a:pt x="75" y="0"/>
                  </a:lnTo>
                  <a:lnTo>
                    <a:pt x="95" y="2"/>
                  </a:lnTo>
                  <a:lnTo>
                    <a:pt x="104" y="14"/>
                  </a:lnTo>
                  <a:lnTo>
                    <a:pt x="89" y="41"/>
                  </a:lnTo>
                  <a:cubicBezTo>
                    <a:pt x="88" y="43"/>
                    <a:pt x="88" y="46"/>
                    <a:pt x="89" y="47"/>
                  </a:cubicBezTo>
                  <a:cubicBezTo>
                    <a:pt x="90" y="48"/>
                    <a:pt x="92" y="49"/>
                    <a:pt x="93" y="49"/>
                  </a:cubicBezTo>
                  <a:cubicBezTo>
                    <a:pt x="94" y="49"/>
                    <a:pt x="94" y="48"/>
                    <a:pt x="95" y="48"/>
                  </a:cubicBezTo>
                  <a:lnTo>
                    <a:pt x="125" y="33"/>
                  </a:lnTo>
                  <a:lnTo>
                    <a:pt x="129" y="42"/>
                  </a:lnTo>
                  <a:lnTo>
                    <a:pt x="116" y="53"/>
                  </a:lnTo>
                  <a:cubicBezTo>
                    <a:pt x="114" y="54"/>
                    <a:pt x="113" y="55"/>
                    <a:pt x="113" y="56"/>
                  </a:cubicBezTo>
                  <a:lnTo>
                    <a:pt x="114" y="79"/>
                  </a:lnTo>
                  <a:lnTo>
                    <a:pt x="132" y="152"/>
                  </a:lnTo>
                  <a:lnTo>
                    <a:pt x="156" y="184"/>
                  </a:lnTo>
                  <a:lnTo>
                    <a:pt x="173" y="296"/>
                  </a:lnTo>
                  <a:lnTo>
                    <a:pt x="249" y="421"/>
                  </a:lnTo>
                  <a:lnTo>
                    <a:pt x="230" y="498"/>
                  </a:lnTo>
                  <a:lnTo>
                    <a:pt x="226" y="496"/>
                  </a:lnTo>
                  <a:cubicBezTo>
                    <a:pt x="226" y="496"/>
                    <a:pt x="225" y="496"/>
                    <a:pt x="224" y="496"/>
                  </a:cubicBezTo>
                  <a:lnTo>
                    <a:pt x="223" y="496"/>
                  </a:lnTo>
                  <a:cubicBezTo>
                    <a:pt x="221" y="497"/>
                    <a:pt x="221" y="498"/>
                    <a:pt x="220" y="499"/>
                  </a:cubicBezTo>
                  <a:lnTo>
                    <a:pt x="208" y="52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 name="Freeform 8"/>
            <p:cNvSpPr>
              <a:spLocks noChangeArrowheads="1"/>
            </p:cNvSpPr>
            <p:nvPr/>
          </p:nvSpPr>
          <p:spPr bwMode="auto">
            <a:xfrm>
              <a:off x="1439863" y="1500188"/>
              <a:ext cx="125412" cy="47625"/>
            </a:xfrm>
            <a:custGeom>
              <a:avLst/>
              <a:gdLst/>
              <a:ahLst/>
              <a:cxnLst>
                <a:cxn ang="0">
                  <a:pos x="49" y="132"/>
                </a:cxn>
                <a:cxn ang="0">
                  <a:pos x="0" y="132"/>
                </a:cxn>
                <a:cxn ang="0">
                  <a:pos x="98" y="8"/>
                </a:cxn>
                <a:cxn ang="0">
                  <a:pos x="139" y="0"/>
                </a:cxn>
                <a:cxn ang="0">
                  <a:pos x="138" y="3"/>
                </a:cxn>
                <a:cxn ang="0">
                  <a:pos x="138" y="33"/>
                </a:cxn>
                <a:cxn ang="0">
                  <a:pos x="139" y="37"/>
                </a:cxn>
                <a:cxn ang="0">
                  <a:pos x="142" y="38"/>
                </a:cxn>
                <a:cxn ang="0">
                  <a:pos x="177" y="32"/>
                </a:cxn>
                <a:cxn ang="0">
                  <a:pos x="164" y="47"/>
                </a:cxn>
                <a:cxn ang="0">
                  <a:pos x="163" y="52"/>
                </a:cxn>
                <a:cxn ang="0">
                  <a:pos x="168" y="55"/>
                </a:cxn>
                <a:cxn ang="0">
                  <a:pos x="264" y="42"/>
                </a:cxn>
                <a:cxn ang="0">
                  <a:pos x="347" y="61"/>
                </a:cxn>
                <a:cxn ang="0">
                  <a:pos x="140" y="84"/>
                </a:cxn>
                <a:cxn ang="0">
                  <a:pos x="51" y="122"/>
                </a:cxn>
                <a:cxn ang="0">
                  <a:pos x="49" y="126"/>
                </a:cxn>
                <a:cxn ang="0">
                  <a:pos x="49" y="132"/>
                </a:cxn>
              </a:cxnLst>
              <a:rect l="0" t="0" r="r" b="b"/>
              <a:pathLst>
                <a:path w="348" h="133">
                  <a:moveTo>
                    <a:pt x="49" y="132"/>
                  </a:moveTo>
                  <a:lnTo>
                    <a:pt x="0" y="132"/>
                  </a:lnTo>
                  <a:lnTo>
                    <a:pt x="98" y="8"/>
                  </a:lnTo>
                  <a:lnTo>
                    <a:pt x="139" y="0"/>
                  </a:lnTo>
                  <a:cubicBezTo>
                    <a:pt x="138" y="1"/>
                    <a:pt x="138" y="2"/>
                    <a:pt x="138" y="3"/>
                  </a:cubicBezTo>
                  <a:lnTo>
                    <a:pt x="138" y="33"/>
                  </a:lnTo>
                  <a:cubicBezTo>
                    <a:pt x="138" y="35"/>
                    <a:pt x="138" y="36"/>
                    <a:pt x="139" y="37"/>
                  </a:cubicBezTo>
                  <a:cubicBezTo>
                    <a:pt x="140" y="37"/>
                    <a:pt x="141" y="38"/>
                    <a:pt x="142" y="38"/>
                  </a:cubicBezTo>
                  <a:lnTo>
                    <a:pt x="177" y="32"/>
                  </a:lnTo>
                  <a:lnTo>
                    <a:pt x="164" y="47"/>
                  </a:lnTo>
                  <a:cubicBezTo>
                    <a:pt x="163" y="49"/>
                    <a:pt x="163" y="51"/>
                    <a:pt x="163" y="52"/>
                  </a:cubicBezTo>
                  <a:cubicBezTo>
                    <a:pt x="164" y="54"/>
                    <a:pt x="166" y="55"/>
                    <a:pt x="168" y="55"/>
                  </a:cubicBezTo>
                  <a:lnTo>
                    <a:pt x="264" y="42"/>
                  </a:lnTo>
                  <a:lnTo>
                    <a:pt x="347" y="61"/>
                  </a:lnTo>
                  <a:lnTo>
                    <a:pt x="140" y="84"/>
                  </a:lnTo>
                  <a:lnTo>
                    <a:pt x="51" y="122"/>
                  </a:lnTo>
                  <a:cubicBezTo>
                    <a:pt x="50" y="123"/>
                    <a:pt x="49" y="124"/>
                    <a:pt x="49" y="126"/>
                  </a:cubicBezTo>
                  <a:lnTo>
                    <a:pt x="49" y="13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 name="Freeform 9"/>
            <p:cNvSpPr>
              <a:spLocks noChangeArrowheads="1"/>
            </p:cNvSpPr>
            <p:nvPr/>
          </p:nvSpPr>
          <p:spPr bwMode="auto">
            <a:xfrm>
              <a:off x="1482725" y="1489075"/>
              <a:ext cx="22225" cy="11113"/>
            </a:xfrm>
            <a:custGeom>
              <a:avLst/>
              <a:gdLst/>
              <a:ahLst/>
              <a:cxnLst>
                <a:cxn ang="0">
                  <a:pos x="21" y="25"/>
                </a:cxn>
                <a:cxn ang="0">
                  <a:pos x="0" y="8"/>
                </a:cxn>
                <a:cxn ang="0">
                  <a:pos x="11" y="0"/>
                </a:cxn>
                <a:cxn ang="0">
                  <a:pos x="60" y="3"/>
                </a:cxn>
                <a:cxn ang="0">
                  <a:pos x="22" y="32"/>
                </a:cxn>
                <a:cxn ang="0">
                  <a:pos x="22" y="30"/>
                </a:cxn>
                <a:cxn ang="0">
                  <a:pos x="21" y="25"/>
                </a:cxn>
              </a:cxnLst>
              <a:rect l="0" t="0" r="r" b="b"/>
              <a:pathLst>
                <a:path w="61" h="33">
                  <a:moveTo>
                    <a:pt x="21" y="25"/>
                  </a:moveTo>
                  <a:lnTo>
                    <a:pt x="0" y="8"/>
                  </a:lnTo>
                  <a:lnTo>
                    <a:pt x="11" y="0"/>
                  </a:lnTo>
                  <a:lnTo>
                    <a:pt x="60" y="3"/>
                  </a:lnTo>
                  <a:lnTo>
                    <a:pt x="22" y="32"/>
                  </a:lnTo>
                  <a:cubicBezTo>
                    <a:pt x="22" y="32"/>
                    <a:pt x="22" y="31"/>
                    <a:pt x="22" y="30"/>
                  </a:cubicBezTo>
                  <a:cubicBezTo>
                    <a:pt x="23" y="28"/>
                    <a:pt x="22" y="27"/>
                    <a:pt x="21" y="2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 name="Freeform 10"/>
            <p:cNvSpPr>
              <a:spLocks noChangeArrowheads="1"/>
            </p:cNvSpPr>
            <p:nvPr/>
          </p:nvSpPr>
          <p:spPr bwMode="auto">
            <a:xfrm>
              <a:off x="6632575" y="3441700"/>
              <a:ext cx="69850" cy="120650"/>
            </a:xfrm>
            <a:custGeom>
              <a:avLst/>
              <a:gdLst/>
              <a:ahLst/>
              <a:cxnLst>
                <a:cxn ang="0">
                  <a:pos x="46" y="327"/>
                </a:cxn>
                <a:cxn ang="0">
                  <a:pos x="43" y="324"/>
                </a:cxn>
                <a:cxn ang="0">
                  <a:pos x="13" y="260"/>
                </a:cxn>
                <a:cxn ang="0">
                  <a:pos x="0" y="149"/>
                </a:cxn>
                <a:cxn ang="0">
                  <a:pos x="1" y="145"/>
                </a:cxn>
                <a:cxn ang="0">
                  <a:pos x="5" y="144"/>
                </a:cxn>
                <a:cxn ang="0">
                  <a:pos x="13" y="144"/>
                </a:cxn>
                <a:cxn ang="0">
                  <a:pos x="34" y="42"/>
                </a:cxn>
                <a:cxn ang="0">
                  <a:pos x="36" y="38"/>
                </a:cxn>
                <a:cxn ang="0">
                  <a:pos x="47" y="33"/>
                </a:cxn>
                <a:cxn ang="0">
                  <a:pos x="27" y="17"/>
                </a:cxn>
                <a:cxn ang="0">
                  <a:pos x="25" y="13"/>
                </a:cxn>
                <a:cxn ang="0">
                  <a:pos x="27" y="10"/>
                </a:cxn>
                <a:cxn ang="0">
                  <a:pos x="35" y="1"/>
                </a:cxn>
                <a:cxn ang="0">
                  <a:pos x="39" y="0"/>
                </a:cxn>
                <a:cxn ang="0">
                  <a:pos x="40" y="0"/>
                </a:cxn>
                <a:cxn ang="0">
                  <a:pos x="62" y="9"/>
                </a:cxn>
                <a:cxn ang="0">
                  <a:pos x="110" y="56"/>
                </a:cxn>
                <a:cxn ang="0">
                  <a:pos x="191" y="193"/>
                </a:cxn>
                <a:cxn ang="0">
                  <a:pos x="187" y="267"/>
                </a:cxn>
                <a:cxn ang="0">
                  <a:pos x="186" y="271"/>
                </a:cxn>
                <a:cxn ang="0">
                  <a:pos x="101" y="334"/>
                </a:cxn>
                <a:cxn ang="0">
                  <a:pos x="98" y="335"/>
                </a:cxn>
                <a:cxn ang="0">
                  <a:pos x="46" y="327"/>
                </a:cxn>
              </a:cxnLst>
              <a:rect l="0" t="0" r="r" b="b"/>
              <a:pathLst>
                <a:path w="192" h="336">
                  <a:moveTo>
                    <a:pt x="46" y="327"/>
                  </a:moveTo>
                  <a:cubicBezTo>
                    <a:pt x="45" y="326"/>
                    <a:pt x="43" y="325"/>
                    <a:pt x="43" y="324"/>
                  </a:cubicBezTo>
                  <a:lnTo>
                    <a:pt x="13" y="260"/>
                  </a:lnTo>
                  <a:lnTo>
                    <a:pt x="0" y="149"/>
                  </a:lnTo>
                  <a:cubicBezTo>
                    <a:pt x="0" y="148"/>
                    <a:pt x="0" y="146"/>
                    <a:pt x="1" y="145"/>
                  </a:cubicBezTo>
                  <a:cubicBezTo>
                    <a:pt x="2" y="144"/>
                    <a:pt x="3" y="144"/>
                    <a:pt x="5" y="144"/>
                  </a:cubicBezTo>
                  <a:lnTo>
                    <a:pt x="13" y="144"/>
                  </a:lnTo>
                  <a:lnTo>
                    <a:pt x="34" y="42"/>
                  </a:lnTo>
                  <a:cubicBezTo>
                    <a:pt x="34" y="40"/>
                    <a:pt x="35" y="39"/>
                    <a:pt x="36" y="38"/>
                  </a:cubicBezTo>
                  <a:lnTo>
                    <a:pt x="47" y="33"/>
                  </a:lnTo>
                  <a:lnTo>
                    <a:pt x="27" y="17"/>
                  </a:lnTo>
                  <a:cubicBezTo>
                    <a:pt x="26" y="16"/>
                    <a:pt x="26" y="15"/>
                    <a:pt x="25" y="13"/>
                  </a:cubicBezTo>
                  <a:cubicBezTo>
                    <a:pt x="25" y="12"/>
                    <a:pt x="26" y="11"/>
                    <a:pt x="27" y="10"/>
                  </a:cubicBezTo>
                  <a:lnTo>
                    <a:pt x="35" y="1"/>
                  </a:lnTo>
                  <a:cubicBezTo>
                    <a:pt x="36" y="0"/>
                    <a:pt x="37" y="0"/>
                    <a:pt x="39" y="0"/>
                  </a:cubicBezTo>
                  <a:lnTo>
                    <a:pt x="40" y="0"/>
                  </a:lnTo>
                  <a:lnTo>
                    <a:pt x="62" y="9"/>
                  </a:lnTo>
                  <a:lnTo>
                    <a:pt x="110" y="56"/>
                  </a:lnTo>
                  <a:lnTo>
                    <a:pt x="191" y="193"/>
                  </a:lnTo>
                  <a:lnTo>
                    <a:pt x="187" y="267"/>
                  </a:lnTo>
                  <a:cubicBezTo>
                    <a:pt x="187" y="269"/>
                    <a:pt x="187" y="270"/>
                    <a:pt x="186" y="271"/>
                  </a:cubicBezTo>
                  <a:lnTo>
                    <a:pt x="101" y="334"/>
                  </a:lnTo>
                  <a:cubicBezTo>
                    <a:pt x="100" y="335"/>
                    <a:pt x="99" y="335"/>
                    <a:pt x="98" y="335"/>
                  </a:cubicBezTo>
                  <a:lnTo>
                    <a:pt x="46" y="327"/>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 name="Freeform 11"/>
            <p:cNvSpPr>
              <a:spLocks noChangeArrowheads="1"/>
            </p:cNvSpPr>
            <p:nvPr/>
          </p:nvSpPr>
          <p:spPr bwMode="auto">
            <a:xfrm>
              <a:off x="6632575" y="3441700"/>
              <a:ext cx="69850" cy="120650"/>
            </a:xfrm>
            <a:custGeom>
              <a:avLst/>
              <a:gdLst/>
              <a:ahLst/>
              <a:cxnLst>
                <a:cxn ang="0">
                  <a:pos x="46" y="327"/>
                </a:cxn>
                <a:cxn ang="0">
                  <a:pos x="43" y="324"/>
                </a:cxn>
                <a:cxn ang="0">
                  <a:pos x="13" y="260"/>
                </a:cxn>
                <a:cxn ang="0">
                  <a:pos x="0" y="149"/>
                </a:cxn>
                <a:cxn ang="0">
                  <a:pos x="1" y="145"/>
                </a:cxn>
                <a:cxn ang="0">
                  <a:pos x="5" y="144"/>
                </a:cxn>
                <a:cxn ang="0">
                  <a:pos x="13" y="144"/>
                </a:cxn>
                <a:cxn ang="0">
                  <a:pos x="34" y="42"/>
                </a:cxn>
                <a:cxn ang="0">
                  <a:pos x="36" y="38"/>
                </a:cxn>
                <a:cxn ang="0">
                  <a:pos x="47" y="33"/>
                </a:cxn>
                <a:cxn ang="0">
                  <a:pos x="27" y="17"/>
                </a:cxn>
                <a:cxn ang="0">
                  <a:pos x="25" y="13"/>
                </a:cxn>
                <a:cxn ang="0">
                  <a:pos x="27" y="10"/>
                </a:cxn>
                <a:cxn ang="0">
                  <a:pos x="35" y="1"/>
                </a:cxn>
                <a:cxn ang="0">
                  <a:pos x="39" y="0"/>
                </a:cxn>
                <a:cxn ang="0">
                  <a:pos x="40" y="0"/>
                </a:cxn>
                <a:cxn ang="0">
                  <a:pos x="62" y="9"/>
                </a:cxn>
                <a:cxn ang="0">
                  <a:pos x="110" y="56"/>
                </a:cxn>
                <a:cxn ang="0">
                  <a:pos x="191" y="193"/>
                </a:cxn>
                <a:cxn ang="0">
                  <a:pos x="187" y="267"/>
                </a:cxn>
                <a:cxn ang="0">
                  <a:pos x="186" y="271"/>
                </a:cxn>
                <a:cxn ang="0">
                  <a:pos x="101" y="334"/>
                </a:cxn>
                <a:cxn ang="0">
                  <a:pos x="98" y="335"/>
                </a:cxn>
                <a:cxn ang="0">
                  <a:pos x="46" y="327"/>
                </a:cxn>
              </a:cxnLst>
              <a:rect l="0" t="0" r="r" b="b"/>
              <a:pathLst>
                <a:path w="192" h="336">
                  <a:moveTo>
                    <a:pt x="46" y="327"/>
                  </a:moveTo>
                  <a:cubicBezTo>
                    <a:pt x="45" y="326"/>
                    <a:pt x="43" y="325"/>
                    <a:pt x="43" y="324"/>
                  </a:cubicBezTo>
                  <a:lnTo>
                    <a:pt x="13" y="260"/>
                  </a:lnTo>
                  <a:lnTo>
                    <a:pt x="0" y="149"/>
                  </a:lnTo>
                  <a:cubicBezTo>
                    <a:pt x="0" y="148"/>
                    <a:pt x="0" y="146"/>
                    <a:pt x="1" y="145"/>
                  </a:cubicBezTo>
                  <a:cubicBezTo>
                    <a:pt x="2" y="144"/>
                    <a:pt x="3" y="144"/>
                    <a:pt x="5" y="144"/>
                  </a:cubicBezTo>
                  <a:lnTo>
                    <a:pt x="13" y="144"/>
                  </a:lnTo>
                  <a:lnTo>
                    <a:pt x="34" y="42"/>
                  </a:lnTo>
                  <a:cubicBezTo>
                    <a:pt x="34" y="40"/>
                    <a:pt x="35" y="39"/>
                    <a:pt x="36" y="38"/>
                  </a:cubicBezTo>
                  <a:lnTo>
                    <a:pt x="47" y="33"/>
                  </a:lnTo>
                  <a:lnTo>
                    <a:pt x="27" y="17"/>
                  </a:lnTo>
                  <a:cubicBezTo>
                    <a:pt x="26" y="16"/>
                    <a:pt x="26" y="15"/>
                    <a:pt x="25" y="13"/>
                  </a:cubicBezTo>
                  <a:cubicBezTo>
                    <a:pt x="25" y="12"/>
                    <a:pt x="26" y="11"/>
                    <a:pt x="27" y="10"/>
                  </a:cubicBezTo>
                  <a:lnTo>
                    <a:pt x="35" y="1"/>
                  </a:lnTo>
                  <a:cubicBezTo>
                    <a:pt x="36" y="0"/>
                    <a:pt x="37" y="0"/>
                    <a:pt x="39" y="0"/>
                  </a:cubicBezTo>
                  <a:lnTo>
                    <a:pt x="40" y="0"/>
                  </a:lnTo>
                  <a:lnTo>
                    <a:pt x="62" y="9"/>
                  </a:lnTo>
                  <a:lnTo>
                    <a:pt x="110" y="56"/>
                  </a:lnTo>
                  <a:lnTo>
                    <a:pt x="191" y="193"/>
                  </a:lnTo>
                  <a:lnTo>
                    <a:pt x="187" y="267"/>
                  </a:lnTo>
                  <a:cubicBezTo>
                    <a:pt x="187" y="269"/>
                    <a:pt x="187" y="270"/>
                    <a:pt x="186" y="271"/>
                  </a:cubicBezTo>
                  <a:lnTo>
                    <a:pt x="101" y="334"/>
                  </a:lnTo>
                  <a:cubicBezTo>
                    <a:pt x="100" y="335"/>
                    <a:pt x="99" y="335"/>
                    <a:pt x="98" y="335"/>
                  </a:cubicBezTo>
                  <a:lnTo>
                    <a:pt x="46" y="32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 name="Freeform 12"/>
            <p:cNvSpPr>
              <a:spLocks noChangeArrowheads="1"/>
            </p:cNvSpPr>
            <p:nvPr/>
          </p:nvSpPr>
          <p:spPr bwMode="auto">
            <a:xfrm>
              <a:off x="2747963" y="3173413"/>
              <a:ext cx="50800" cy="20637"/>
            </a:xfrm>
            <a:custGeom>
              <a:avLst/>
              <a:gdLst/>
              <a:ahLst/>
              <a:cxnLst>
                <a:cxn ang="0">
                  <a:pos x="22" y="56"/>
                </a:cxn>
                <a:cxn ang="0">
                  <a:pos x="18" y="54"/>
                </a:cxn>
                <a:cxn ang="0">
                  <a:pos x="2" y="29"/>
                </a:cxn>
                <a:cxn ang="0">
                  <a:pos x="1" y="24"/>
                </a:cxn>
                <a:cxn ang="0">
                  <a:pos x="14" y="3"/>
                </a:cxn>
                <a:cxn ang="0">
                  <a:pos x="18" y="0"/>
                </a:cxn>
                <a:cxn ang="0">
                  <a:pos x="124" y="5"/>
                </a:cxn>
                <a:cxn ang="0">
                  <a:pos x="128" y="7"/>
                </a:cxn>
                <a:cxn ang="0">
                  <a:pos x="137" y="29"/>
                </a:cxn>
                <a:cxn ang="0">
                  <a:pos x="134" y="35"/>
                </a:cxn>
                <a:cxn ang="0">
                  <a:pos x="88" y="56"/>
                </a:cxn>
                <a:cxn ang="0">
                  <a:pos x="86" y="56"/>
                </a:cxn>
                <a:cxn ang="0">
                  <a:pos x="22" y="56"/>
                </a:cxn>
              </a:cxnLst>
              <a:rect l="0" t="0" r="r" b="b"/>
              <a:pathLst>
                <a:path w="139" h="57">
                  <a:moveTo>
                    <a:pt x="22" y="56"/>
                  </a:moveTo>
                  <a:cubicBezTo>
                    <a:pt x="21" y="56"/>
                    <a:pt x="19" y="56"/>
                    <a:pt x="18" y="54"/>
                  </a:cubicBezTo>
                  <a:lnTo>
                    <a:pt x="2" y="29"/>
                  </a:lnTo>
                  <a:cubicBezTo>
                    <a:pt x="0" y="27"/>
                    <a:pt x="0" y="25"/>
                    <a:pt x="1" y="24"/>
                  </a:cubicBezTo>
                  <a:lnTo>
                    <a:pt x="14" y="3"/>
                  </a:lnTo>
                  <a:cubicBezTo>
                    <a:pt x="15" y="1"/>
                    <a:pt x="16" y="0"/>
                    <a:pt x="18" y="0"/>
                  </a:cubicBezTo>
                  <a:lnTo>
                    <a:pt x="124" y="5"/>
                  </a:lnTo>
                  <a:cubicBezTo>
                    <a:pt x="126" y="5"/>
                    <a:pt x="128" y="6"/>
                    <a:pt x="128" y="7"/>
                  </a:cubicBezTo>
                  <a:lnTo>
                    <a:pt x="137" y="29"/>
                  </a:lnTo>
                  <a:cubicBezTo>
                    <a:pt x="138" y="31"/>
                    <a:pt x="137" y="34"/>
                    <a:pt x="134" y="35"/>
                  </a:cubicBezTo>
                  <a:lnTo>
                    <a:pt x="88" y="56"/>
                  </a:lnTo>
                  <a:cubicBezTo>
                    <a:pt x="87" y="56"/>
                    <a:pt x="86" y="56"/>
                    <a:pt x="86" y="56"/>
                  </a:cubicBezTo>
                  <a:lnTo>
                    <a:pt x="22" y="5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 name="Freeform 13"/>
            <p:cNvSpPr>
              <a:spLocks noChangeArrowheads="1"/>
            </p:cNvSpPr>
            <p:nvPr/>
          </p:nvSpPr>
          <p:spPr bwMode="auto">
            <a:xfrm>
              <a:off x="2747963" y="3173413"/>
              <a:ext cx="50800" cy="20637"/>
            </a:xfrm>
            <a:custGeom>
              <a:avLst/>
              <a:gdLst/>
              <a:ahLst/>
              <a:cxnLst>
                <a:cxn ang="0">
                  <a:pos x="22" y="56"/>
                </a:cxn>
                <a:cxn ang="0">
                  <a:pos x="18" y="54"/>
                </a:cxn>
                <a:cxn ang="0">
                  <a:pos x="2" y="29"/>
                </a:cxn>
                <a:cxn ang="0">
                  <a:pos x="1" y="24"/>
                </a:cxn>
                <a:cxn ang="0">
                  <a:pos x="14" y="3"/>
                </a:cxn>
                <a:cxn ang="0">
                  <a:pos x="18" y="0"/>
                </a:cxn>
                <a:cxn ang="0">
                  <a:pos x="124" y="5"/>
                </a:cxn>
                <a:cxn ang="0">
                  <a:pos x="128" y="7"/>
                </a:cxn>
                <a:cxn ang="0">
                  <a:pos x="137" y="29"/>
                </a:cxn>
                <a:cxn ang="0">
                  <a:pos x="134" y="35"/>
                </a:cxn>
                <a:cxn ang="0">
                  <a:pos x="88" y="56"/>
                </a:cxn>
                <a:cxn ang="0">
                  <a:pos x="86" y="56"/>
                </a:cxn>
                <a:cxn ang="0">
                  <a:pos x="22" y="56"/>
                </a:cxn>
              </a:cxnLst>
              <a:rect l="0" t="0" r="r" b="b"/>
              <a:pathLst>
                <a:path w="139" h="57">
                  <a:moveTo>
                    <a:pt x="22" y="56"/>
                  </a:moveTo>
                  <a:cubicBezTo>
                    <a:pt x="21" y="56"/>
                    <a:pt x="19" y="56"/>
                    <a:pt x="18" y="54"/>
                  </a:cubicBezTo>
                  <a:lnTo>
                    <a:pt x="2" y="29"/>
                  </a:lnTo>
                  <a:cubicBezTo>
                    <a:pt x="0" y="27"/>
                    <a:pt x="0" y="25"/>
                    <a:pt x="1" y="24"/>
                  </a:cubicBezTo>
                  <a:lnTo>
                    <a:pt x="14" y="3"/>
                  </a:lnTo>
                  <a:cubicBezTo>
                    <a:pt x="15" y="1"/>
                    <a:pt x="16" y="0"/>
                    <a:pt x="18" y="0"/>
                  </a:cubicBezTo>
                  <a:lnTo>
                    <a:pt x="124" y="5"/>
                  </a:lnTo>
                  <a:cubicBezTo>
                    <a:pt x="126" y="5"/>
                    <a:pt x="128" y="6"/>
                    <a:pt x="128" y="7"/>
                  </a:cubicBezTo>
                  <a:lnTo>
                    <a:pt x="137" y="29"/>
                  </a:lnTo>
                  <a:cubicBezTo>
                    <a:pt x="138" y="31"/>
                    <a:pt x="137" y="34"/>
                    <a:pt x="134" y="35"/>
                  </a:cubicBezTo>
                  <a:lnTo>
                    <a:pt x="88" y="56"/>
                  </a:lnTo>
                  <a:cubicBezTo>
                    <a:pt x="87" y="56"/>
                    <a:pt x="86" y="56"/>
                    <a:pt x="86" y="56"/>
                  </a:cubicBezTo>
                  <a:lnTo>
                    <a:pt x="22" y="5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 name="Freeform 14"/>
            <p:cNvSpPr>
              <a:spLocks noChangeArrowheads="1"/>
            </p:cNvSpPr>
            <p:nvPr/>
          </p:nvSpPr>
          <p:spPr bwMode="auto">
            <a:xfrm>
              <a:off x="777875" y="1619250"/>
              <a:ext cx="85725" cy="155575"/>
            </a:xfrm>
            <a:custGeom>
              <a:avLst/>
              <a:gdLst/>
              <a:ahLst/>
              <a:cxnLst>
                <a:cxn ang="0">
                  <a:pos x="0" y="0"/>
                </a:cxn>
                <a:cxn ang="0">
                  <a:pos x="77" y="156"/>
                </a:cxn>
                <a:cxn ang="0">
                  <a:pos x="232" y="243"/>
                </a:cxn>
                <a:cxn ang="0">
                  <a:pos x="235" y="247"/>
                </a:cxn>
                <a:cxn ang="0">
                  <a:pos x="230" y="391"/>
                </a:cxn>
                <a:cxn ang="0">
                  <a:pos x="228" y="395"/>
                </a:cxn>
                <a:cxn ang="0">
                  <a:pos x="164" y="433"/>
                </a:cxn>
                <a:cxn ang="0">
                  <a:pos x="162" y="433"/>
                </a:cxn>
                <a:cxn ang="0">
                  <a:pos x="160" y="433"/>
                </a:cxn>
                <a:cxn ang="0">
                  <a:pos x="157" y="429"/>
                </a:cxn>
                <a:cxn ang="0">
                  <a:pos x="153" y="391"/>
                </a:cxn>
                <a:cxn ang="0">
                  <a:pos x="155" y="386"/>
                </a:cxn>
                <a:cxn ang="0">
                  <a:pos x="182" y="371"/>
                </a:cxn>
                <a:cxn ang="0">
                  <a:pos x="179" y="353"/>
                </a:cxn>
                <a:cxn ang="0">
                  <a:pos x="162" y="353"/>
                </a:cxn>
                <a:cxn ang="0">
                  <a:pos x="157" y="349"/>
                </a:cxn>
                <a:cxn ang="0">
                  <a:pos x="137" y="237"/>
                </a:cxn>
                <a:cxn ang="0">
                  <a:pos x="88" y="267"/>
                </a:cxn>
                <a:cxn ang="0">
                  <a:pos x="60" y="313"/>
                </a:cxn>
                <a:cxn ang="0">
                  <a:pos x="56" y="315"/>
                </a:cxn>
                <a:cxn ang="0">
                  <a:pos x="52" y="312"/>
                </a:cxn>
                <a:cxn ang="0">
                  <a:pos x="39" y="291"/>
                </a:cxn>
                <a:cxn ang="0">
                  <a:pos x="39" y="287"/>
                </a:cxn>
                <a:cxn ang="0">
                  <a:pos x="69" y="223"/>
                </a:cxn>
                <a:cxn ang="0">
                  <a:pos x="72" y="221"/>
                </a:cxn>
                <a:cxn ang="0">
                  <a:pos x="91" y="215"/>
                </a:cxn>
                <a:cxn ang="0">
                  <a:pos x="53" y="191"/>
                </a:cxn>
                <a:cxn ang="0">
                  <a:pos x="35" y="147"/>
                </a:cxn>
                <a:cxn ang="0">
                  <a:pos x="0" y="123"/>
                </a:cxn>
                <a:cxn ang="0">
                  <a:pos x="0" y="0"/>
                </a:cxn>
              </a:cxnLst>
              <a:rect l="0" t="0" r="r" b="b"/>
              <a:pathLst>
                <a:path w="236" h="434">
                  <a:moveTo>
                    <a:pt x="0" y="0"/>
                  </a:moveTo>
                  <a:lnTo>
                    <a:pt x="77" y="156"/>
                  </a:lnTo>
                  <a:lnTo>
                    <a:pt x="232" y="243"/>
                  </a:lnTo>
                  <a:cubicBezTo>
                    <a:pt x="234" y="244"/>
                    <a:pt x="235" y="245"/>
                    <a:pt x="235" y="247"/>
                  </a:cubicBezTo>
                  <a:lnTo>
                    <a:pt x="230" y="391"/>
                  </a:lnTo>
                  <a:cubicBezTo>
                    <a:pt x="230" y="392"/>
                    <a:pt x="229" y="394"/>
                    <a:pt x="228" y="395"/>
                  </a:cubicBezTo>
                  <a:lnTo>
                    <a:pt x="164" y="433"/>
                  </a:lnTo>
                  <a:lnTo>
                    <a:pt x="162" y="433"/>
                  </a:lnTo>
                  <a:lnTo>
                    <a:pt x="160" y="433"/>
                  </a:lnTo>
                  <a:cubicBezTo>
                    <a:pt x="158" y="432"/>
                    <a:pt x="157" y="431"/>
                    <a:pt x="157" y="429"/>
                  </a:cubicBezTo>
                  <a:lnTo>
                    <a:pt x="153" y="391"/>
                  </a:lnTo>
                  <a:cubicBezTo>
                    <a:pt x="153" y="389"/>
                    <a:pt x="154" y="387"/>
                    <a:pt x="155" y="386"/>
                  </a:cubicBezTo>
                  <a:lnTo>
                    <a:pt x="182" y="371"/>
                  </a:lnTo>
                  <a:lnTo>
                    <a:pt x="179" y="353"/>
                  </a:lnTo>
                  <a:lnTo>
                    <a:pt x="162" y="353"/>
                  </a:lnTo>
                  <a:cubicBezTo>
                    <a:pt x="160" y="353"/>
                    <a:pt x="158" y="351"/>
                    <a:pt x="157" y="349"/>
                  </a:cubicBezTo>
                  <a:lnTo>
                    <a:pt x="137" y="237"/>
                  </a:lnTo>
                  <a:lnTo>
                    <a:pt x="88" y="267"/>
                  </a:lnTo>
                  <a:lnTo>
                    <a:pt x="60" y="313"/>
                  </a:lnTo>
                  <a:cubicBezTo>
                    <a:pt x="59" y="314"/>
                    <a:pt x="58" y="315"/>
                    <a:pt x="56" y="315"/>
                  </a:cubicBezTo>
                  <a:cubicBezTo>
                    <a:pt x="54" y="315"/>
                    <a:pt x="53" y="314"/>
                    <a:pt x="52" y="312"/>
                  </a:cubicBezTo>
                  <a:lnTo>
                    <a:pt x="39" y="291"/>
                  </a:lnTo>
                  <a:cubicBezTo>
                    <a:pt x="38" y="290"/>
                    <a:pt x="38" y="288"/>
                    <a:pt x="39" y="287"/>
                  </a:cubicBezTo>
                  <a:lnTo>
                    <a:pt x="69" y="223"/>
                  </a:lnTo>
                  <a:cubicBezTo>
                    <a:pt x="69" y="222"/>
                    <a:pt x="70" y="221"/>
                    <a:pt x="72" y="221"/>
                  </a:cubicBezTo>
                  <a:lnTo>
                    <a:pt x="91" y="215"/>
                  </a:lnTo>
                  <a:lnTo>
                    <a:pt x="53" y="191"/>
                  </a:lnTo>
                  <a:lnTo>
                    <a:pt x="35" y="147"/>
                  </a:lnTo>
                  <a:lnTo>
                    <a:pt x="0" y="123"/>
                  </a:lnTo>
                  <a:lnTo>
                    <a:pt x="0" y="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 name="Freeform 15"/>
            <p:cNvSpPr>
              <a:spLocks noChangeArrowheads="1"/>
            </p:cNvSpPr>
            <p:nvPr/>
          </p:nvSpPr>
          <p:spPr bwMode="auto">
            <a:xfrm>
              <a:off x="-115888" y="1619250"/>
              <a:ext cx="979488" cy="155575"/>
            </a:xfrm>
            <a:custGeom>
              <a:avLst/>
              <a:gdLst/>
              <a:ahLst/>
              <a:cxnLst>
                <a:cxn ang="0">
                  <a:pos x="2486" y="0"/>
                </a:cxn>
                <a:cxn ang="0">
                  <a:pos x="2563" y="156"/>
                </a:cxn>
                <a:cxn ang="0">
                  <a:pos x="2718" y="243"/>
                </a:cxn>
                <a:cxn ang="0">
                  <a:pos x="2721" y="247"/>
                </a:cxn>
                <a:cxn ang="0">
                  <a:pos x="2716" y="391"/>
                </a:cxn>
                <a:cxn ang="0">
                  <a:pos x="2714" y="395"/>
                </a:cxn>
                <a:cxn ang="0">
                  <a:pos x="2650" y="433"/>
                </a:cxn>
                <a:cxn ang="0">
                  <a:pos x="2648" y="433"/>
                </a:cxn>
                <a:cxn ang="0">
                  <a:pos x="2646" y="433"/>
                </a:cxn>
                <a:cxn ang="0">
                  <a:pos x="2643" y="429"/>
                </a:cxn>
                <a:cxn ang="0">
                  <a:pos x="2639" y="391"/>
                </a:cxn>
                <a:cxn ang="0">
                  <a:pos x="2641" y="386"/>
                </a:cxn>
                <a:cxn ang="0">
                  <a:pos x="2668" y="371"/>
                </a:cxn>
                <a:cxn ang="0">
                  <a:pos x="2665" y="353"/>
                </a:cxn>
                <a:cxn ang="0">
                  <a:pos x="2648" y="353"/>
                </a:cxn>
                <a:cxn ang="0">
                  <a:pos x="2643" y="349"/>
                </a:cxn>
                <a:cxn ang="0">
                  <a:pos x="2623" y="237"/>
                </a:cxn>
                <a:cxn ang="0">
                  <a:pos x="2574" y="267"/>
                </a:cxn>
                <a:cxn ang="0">
                  <a:pos x="2546" y="313"/>
                </a:cxn>
                <a:cxn ang="0">
                  <a:pos x="2542" y="315"/>
                </a:cxn>
                <a:cxn ang="0">
                  <a:pos x="2538" y="312"/>
                </a:cxn>
                <a:cxn ang="0">
                  <a:pos x="2525" y="291"/>
                </a:cxn>
                <a:cxn ang="0">
                  <a:pos x="2525" y="287"/>
                </a:cxn>
                <a:cxn ang="0">
                  <a:pos x="2555" y="223"/>
                </a:cxn>
                <a:cxn ang="0">
                  <a:pos x="2558" y="221"/>
                </a:cxn>
                <a:cxn ang="0">
                  <a:pos x="2577" y="215"/>
                </a:cxn>
                <a:cxn ang="0">
                  <a:pos x="2539" y="191"/>
                </a:cxn>
                <a:cxn ang="0">
                  <a:pos x="2521" y="147"/>
                </a:cxn>
                <a:cxn ang="0">
                  <a:pos x="2486" y="123"/>
                </a:cxn>
                <a:cxn ang="0">
                  <a:pos x="2486" y="0"/>
                </a:cxn>
                <a:cxn ang="0">
                  <a:pos x="0" y="385"/>
                </a:cxn>
                <a:cxn ang="0">
                  <a:pos x="1" y="385"/>
                </a:cxn>
                <a:cxn ang="0">
                  <a:pos x="1" y="386"/>
                </a:cxn>
                <a:cxn ang="0">
                  <a:pos x="0" y="385"/>
                </a:cxn>
              </a:cxnLst>
              <a:rect l="0" t="0" r="r" b="b"/>
              <a:pathLst>
                <a:path w="2722" h="434">
                  <a:moveTo>
                    <a:pt x="2486" y="0"/>
                  </a:moveTo>
                  <a:lnTo>
                    <a:pt x="2563" y="156"/>
                  </a:lnTo>
                  <a:lnTo>
                    <a:pt x="2718" y="243"/>
                  </a:lnTo>
                  <a:cubicBezTo>
                    <a:pt x="2720" y="244"/>
                    <a:pt x="2721" y="245"/>
                    <a:pt x="2721" y="247"/>
                  </a:cubicBezTo>
                  <a:lnTo>
                    <a:pt x="2716" y="391"/>
                  </a:lnTo>
                  <a:cubicBezTo>
                    <a:pt x="2716" y="392"/>
                    <a:pt x="2715" y="394"/>
                    <a:pt x="2714" y="395"/>
                  </a:cubicBezTo>
                  <a:lnTo>
                    <a:pt x="2650" y="433"/>
                  </a:lnTo>
                  <a:lnTo>
                    <a:pt x="2648" y="433"/>
                  </a:lnTo>
                  <a:lnTo>
                    <a:pt x="2646" y="433"/>
                  </a:lnTo>
                  <a:cubicBezTo>
                    <a:pt x="2644" y="432"/>
                    <a:pt x="2643" y="431"/>
                    <a:pt x="2643" y="429"/>
                  </a:cubicBezTo>
                  <a:lnTo>
                    <a:pt x="2639" y="391"/>
                  </a:lnTo>
                  <a:cubicBezTo>
                    <a:pt x="2639" y="389"/>
                    <a:pt x="2640" y="387"/>
                    <a:pt x="2641" y="386"/>
                  </a:cubicBezTo>
                  <a:lnTo>
                    <a:pt x="2668" y="371"/>
                  </a:lnTo>
                  <a:lnTo>
                    <a:pt x="2665" y="353"/>
                  </a:lnTo>
                  <a:lnTo>
                    <a:pt x="2648" y="353"/>
                  </a:lnTo>
                  <a:cubicBezTo>
                    <a:pt x="2646" y="353"/>
                    <a:pt x="2644" y="351"/>
                    <a:pt x="2643" y="349"/>
                  </a:cubicBezTo>
                  <a:lnTo>
                    <a:pt x="2623" y="237"/>
                  </a:lnTo>
                  <a:lnTo>
                    <a:pt x="2574" y="267"/>
                  </a:lnTo>
                  <a:lnTo>
                    <a:pt x="2546" y="313"/>
                  </a:lnTo>
                  <a:cubicBezTo>
                    <a:pt x="2545" y="314"/>
                    <a:pt x="2544" y="315"/>
                    <a:pt x="2542" y="315"/>
                  </a:cubicBezTo>
                  <a:cubicBezTo>
                    <a:pt x="2540" y="315"/>
                    <a:pt x="2539" y="314"/>
                    <a:pt x="2538" y="312"/>
                  </a:cubicBezTo>
                  <a:lnTo>
                    <a:pt x="2525" y="291"/>
                  </a:lnTo>
                  <a:cubicBezTo>
                    <a:pt x="2524" y="290"/>
                    <a:pt x="2524" y="288"/>
                    <a:pt x="2525" y="287"/>
                  </a:cubicBezTo>
                  <a:lnTo>
                    <a:pt x="2555" y="223"/>
                  </a:lnTo>
                  <a:cubicBezTo>
                    <a:pt x="2555" y="222"/>
                    <a:pt x="2556" y="221"/>
                    <a:pt x="2558" y="221"/>
                  </a:cubicBezTo>
                  <a:lnTo>
                    <a:pt x="2577" y="215"/>
                  </a:lnTo>
                  <a:lnTo>
                    <a:pt x="2539" y="191"/>
                  </a:lnTo>
                  <a:lnTo>
                    <a:pt x="2521" y="147"/>
                  </a:lnTo>
                  <a:lnTo>
                    <a:pt x="2486" y="123"/>
                  </a:lnTo>
                  <a:lnTo>
                    <a:pt x="2486" y="0"/>
                  </a:lnTo>
                  <a:close/>
                  <a:moveTo>
                    <a:pt x="0" y="385"/>
                  </a:moveTo>
                  <a:lnTo>
                    <a:pt x="1" y="385"/>
                  </a:lnTo>
                  <a:cubicBezTo>
                    <a:pt x="1" y="385"/>
                    <a:pt x="1" y="385"/>
                    <a:pt x="1" y="386"/>
                  </a:cubicBezTo>
                  <a:cubicBezTo>
                    <a:pt x="1" y="385"/>
                    <a:pt x="0" y="385"/>
                    <a:pt x="0" y="385"/>
                  </a:cubicBezTo>
                  <a:close/>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 name="Freeform 16"/>
            <p:cNvSpPr>
              <a:spLocks noChangeArrowheads="1"/>
            </p:cNvSpPr>
            <p:nvPr/>
          </p:nvSpPr>
          <p:spPr bwMode="auto">
            <a:xfrm>
              <a:off x="2551113" y="2386013"/>
              <a:ext cx="55562" cy="28575"/>
            </a:xfrm>
            <a:custGeom>
              <a:avLst/>
              <a:gdLst/>
              <a:ahLst/>
              <a:cxnLst>
                <a:cxn ang="0">
                  <a:pos x="1" y="75"/>
                </a:cxn>
                <a:cxn ang="0">
                  <a:pos x="1" y="70"/>
                </a:cxn>
                <a:cxn ang="0">
                  <a:pos x="22" y="40"/>
                </a:cxn>
                <a:cxn ang="0">
                  <a:pos x="147" y="0"/>
                </a:cxn>
                <a:cxn ang="0">
                  <a:pos x="149" y="0"/>
                </a:cxn>
                <a:cxn ang="0">
                  <a:pos x="153" y="2"/>
                </a:cxn>
                <a:cxn ang="0">
                  <a:pos x="153" y="7"/>
                </a:cxn>
                <a:cxn ang="0">
                  <a:pos x="131" y="37"/>
                </a:cxn>
                <a:cxn ang="0">
                  <a:pos x="6" y="77"/>
                </a:cxn>
                <a:cxn ang="0">
                  <a:pos x="5" y="77"/>
                </a:cxn>
                <a:cxn ang="0">
                  <a:pos x="1" y="75"/>
                </a:cxn>
              </a:cxnLst>
              <a:rect l="0" t="0" r="r" b="b"/>
              <a:pathLst>
                <a:path w="155" h="78">
                  <a:moveTo>
                    <a:pt x="1" y="75"/>
                  </a:moveTo>
                  <a:cubicBezTo>
                    <a:pt x="0" y="73"/>
                    <a:pt x="0" y="71"/>
                    <a:pt x="1" y="70"/>
                  </a:cubicBezTo>
                  <a:lnTo>
                    <a:pt x="22" y="40"/>
                  </a:lnTo>
                  <a:lnTo>
                    <a:pt x="147" y="0"/>
                  </a:lnTo>
                  <a:cubicBezTo>
                    <a:pt x="148" y="0"/>
                    <a:pt x="148" y="0"/>
                    <a:pt x="149" y="0"/>
                  </a:cubicBezTo>
                  <a:cubicBezTo>
                    <a:pt x="150" y="0"/>
                    <a:pt x="152" y="0"/>
                    <a:pt x="153" y="2"/>
                  </a:cubicBezTo>
                  <a:cubicBezTo>
                    <a:pt x="154" y="3"/>
                    <a:pt x="154" y="6"/>
                    <a:pt x="153" y="7"/>
                  </a:cubicBezTo>
                  <a:lnTo>
                    <a:pt x="131" y="37"/>
                  </a:lnTo>
                  <a:lnTo>
                    <a:pt x="6" y="77"/>
                  </a:lnTo>
                  <a:lnTo>
                    <a:pt x="5" y="77"/>
                  </a:lnTo>
                  <a:cubicBezTo>
                    <a:pt x="3" y="77"/>
                    <a:pt x="2" y="76"/>
                    <a:pt x="1" y="7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 name="Freeform 17"/>
            <p:cNvSpPr>
              <a:spLocks noChangeArrowheads="1"/>
            </p:cNvSpPr>
            <p:nvPr/>
          </p:nvSpPr>
          <p:spPr bwMode="auto">
            <a:xfrm>
              <a:off x="2551113" y="2386013"/>
              <a:ext cx="55562" cy="28575"/>
            </a:xfrm>
            <a:custGeom>
              <a:avLst/>
              <a:gdLst/>
              <a:ahLst/>
              <a:cxnLst>
                <a:cxn ang="0">
                  <a:pos x="5" y="77"/>
                </a:cxn>
                <a:cxn ang="0">
                  <a:pos x="1" y="75"/>
                </a:cxn>
                <a:cxn ang="0">
                  <a:pos x="1" y="70"/>
                </a:cxn>
                <a:cxn ang="0">
                  <a:pos x="22" y="40"/>
                </a:cxn>
                <a:cxn ang="0">
                  <a:pos x="147" y="0"/>
                </a:cxn>
                <a:cxn ang="0">
                  <a:pos x="149" y="0"/>
                </a:cxn>
                <a:cxn ang="0">
                  <a:pos x="153" y="2"/>
                </a:cxn>
                <a:cxn ang="0">
                  <a:pos x="153" y="7"/>
                </a:cxn>
                <a:cxn ang="0">
                  <a:pos x="131" y="37"/>
                </a:cxn>
                <a:cxn ang="0">
                  <a:pos x="6" y="77"/>
                </a:cxn>
                <a:cxn ang="0">
                  <a:pos x="5" y="77"/>
                </a:cxn>
              </a:cxnLst>
              <a:rect l="0" t="0" r="r" b="b"/>
              <a:pathLst>
                <a:path w="155" h="78">
                  <a:moveTo>
                    <a:pt x="5" y="77"/>
                  </a:moveTo>
                  <a:cubicBezTo>
                    <a:pt x="3" y="77"/>
                    <a:pt x="2" y="76"/>
                    <a:pt x="1" y="75"/>
                  </a:cubicBezTo>
                  <a:cubicBezTo>
                    <a:pt x="0" y="73"/>
                    <a:pt x="0" y="71"/>
                    <a:pt x="1" y="70"/>
                  </a:cubicBezTo>
                  <a:lnTo>
                    <a:pt x="22" y="40"/>
                  </a:lnTo>
                  <a:lnTo>
                    <a:pt x="147" y="0"/>
                  </a:lnTo>
                  <a:cubicBezTo>
                    <a:pt x="148" y="0"/>
                    <a:pt x="148" y="0"/>
                    <a:pt x="149" y="0"/>
                  </a:cubicBezTo>
                  <a:cubicBezTo>
                    <a:pt x="150" y="0"/>
                    <a:pt x="152" y="0"/>
                    <a:pt x="153" y="2"/>
                  </a:cubicBezTo>
                  <a:cubicBezTo>
                    <a:pt x="154" y="3"/>
                    <a:pt x="154" y="6"/>
                    <a:pt x="153" y="7"/>
                  </a:cubicBezTo>
                  <a:lnTo>
                    <a:pt x="131" y="37"/>
                  </a:lnTo>
                  <a:lnTo>
                    <a:pt x="6" y="77"/>
                  </a:lnTo>
                  <a:lnTo>
                    <a:pt x="5" y="7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 name="Freeform 18"/>
            <p:cNvSpPr>
              <a:spLocks noChangeArrowheads="1"/>
            </p:cNvSpPr>
            <p:nvPr/>
          </p:nvSpPr>
          <p:spPr bwMode="auto">
            <a:xfrm>
              <a:off x="1855788" y="2857500"/>
              <a:ext cx="19050" cy="23813"/>
            </a:xfrm>
            <a:custGeom>
              <a:avLst/>
              <a:gdLst/>
              <a:ahLst/>
              <a:cxnLst>
                <a:cxn ang="0">
                  <a:pos x="3" y="64"/>
                </a:cxn>
                <a:cxn ang="0">
                  <a:pos x="0" y="59"/>
                </a:cxn>
                <a:cxn ang="0">
                  <a:pos x="5" y="34"/>
                </a:cxn>
                <a:cxn ang="0">
                  <a:pos x="6" y="31"/>
                </a:cxn>
                <a:cxn ang="0">
                  <a:pos x="44" y="1"/>
                </a:cxn>
                <a:cxn ang="0">
                  <a:pos x="48" y="0"/>
                </a:cxn>
                <a:cxn ang="0">
                  <a:pos x="51" y="2"/>
                </a:cxn>
                <a:cxn ang="0">
                  <a:pos x="51" y="8"/>
                </a:cxn>
                <a:cxn ang="0">
                  <a:pos x="9" y="63"/>
                </a:cxn>
                <a:cxn ang="0">
                  <a:pos x="5" y="65"/>
                </a:cxn>
                <a:cxn ang="0">
                  <a:pos x="3" y="64"/>
                </a:cxn>
              </a:cxnLst>
              <a:rect l="0" t="0" r="r" b="b"/>
              <a:pathLst>
                <a:path w="54" h="66">
                  <a:moveTo>
                    <a:pt x="3" y="64"/>
                  </a:moveTo>
                  <a:cubicBezTo>
                    <a:pt x="1" y="63"/>
                    <a:pt x="0" y="61"/>
                    <a:pt x="0" y="59"/>
                  </a:cubicBezTo>
                  <a:lnTo>
                    <a:pt x="5" y="34"/>
                  </a:lnTo>
                  <a:cubicBezTo>
                    <a:pt x="5" y="33"/>
                    <a:pt x="6" y="32"/>
                    <a:pt x="6" y="31"/>
                  </a:cubicBezTo>
                  <a:lnTo>
                    <a:pt x="44" y="1"/>
                  </a:lnTo>
                  <a:cubicBezTo>
                    <a:pt x="46" y="1"/>
                    <a:pt x="47" y="0"/>
                    <a:pt x="48" y="0"/>
                  </a:cubicBezTo>
                  <a:cubicBezTo>
                    <a:pt x="49" y="0"/>
                    <a:pt x="50" y="1"/>
                    <a:pt x="51" y="2"/>
                  </a:cubicBezTo>
                  <a:cubicBezTo>
                    <a:pt x="53" y="3"/>
                    <a:pt x="53" y="6"/>
                    <a:pt x="51" y="8"/>
                  </a:cubicBezTo>
                  <a:lnTo>
                    <a:pt x="9" y="63"/>
                  </a:lnTo>
                  <a:cubicBezTo>
                    <a:pt x="8" y="64"/>
                    <a:pt x="7" y="65"/>
                    <a:pt x="5" y="65"/>
                  </a:cubicBezTo>
                  <a:cubicBezTo>
                    <a:pt x="4" y="65"/>
                    <a:pt x="4" y="65"/>
                    <a:pt x="3" y="6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 name="Freeform 19"/>
            <p:cNvSpPr>
              <a:spLocks noChangeArrowheads="1"/>
            </p:cNvSpPr>
            <p:nvPr/>
          </p:nvSpPr>
          <p:spPr bwMode="auto">
            <a:xfrm>
              <a:off x="1855788" y="2857500"/>
              <a:ext cx="19050" cy="23813"/>
            </a:xfrm>
            <a:custGeom>
              <a:avLst/>
              <a:gdLst/>
              <a:ahLst/>
              <a:cxnLst>
                <a:cxn ang="0">
                  <a:pos x="5" y="65"/>
                </a:cxn>
                <a:cxn ang="0">
                  <a:pos x="3" y="64"/>
                </a:cxn>
                <a:cxn ang="0">
                  <a:pos x="0" y="59"/>
                </a:cxn>
                <a:cxn ang="0">
                  <a:pos x="5" y="34"/>
                </a:cxn>
                <a:cxn ang="0">
                  <a:pos x="6" y="31"/>
                </a:cxn>
                <a:cxn ang="0">
                  <a:pos x="44" y="1"/>
                </a:cxn>
                <a:cxn ang="0">
                  <a:pos x="48" y="0"/>
                </a:cxn>
                <a:cxn ang="0">
                  <a:pos x="51" y="2"/>
                </a:cxn>
                <a:cxn ang="0">
                  <a:pos x="51" y="8"/>
                </a:cxn>
                <a:cxn ang="0">
                  <a:pos x="9" y="63"/>
                </a:cxn>
                <a:cxn ang="0">
                  <a:pos x="5" y="65"/>
                </a:cxn>
              </a:cxnLst>
              <a:rect l="0" t="0" r="r" b="b"/>
              <a:pathLst>
                <a:path w="54" h="66">
                  <a:moveTo>
                    <a:pt x="5" y="65"/>
                  </a:moveTo>
                  <a:cubicBezTo>
                    <a:pt x="4" y="65"/>
                    <a:pt x="4" y="65"/>
                    <a:pt x="3" y="64"/>
                  </a:cubicBezTo>
                  <a:cubicBezTo>
                    <a:pt x="1" y="63"/>
                    <a:pt x="0" y="61"/>
                    <a:pt x="0" y="59"/>
                  </a:cubicBezTo>
                  <a:lnTo>
                    <a:pt x="5" y="34"/>
                  </a:lnTo>
                  <a:cubicBezTo>
                    <a:pt x="5" y="33"/>
                    <a:pt x="6" y="32"/>
                    <a:pt x="6" y="31"/>
                  </a:cubicBezTo>
                  <a:lnTo>
                    <a:pt x="44" y="1"/>
                  </a:lnTo>
                  <a:cubicBezTo>
                    <a:pt x="46" y="1"/>
                    <a:pt x="47" y="0"/>
                    <a:pt x="48" y="0"/>
                  </a:cubicBezTo>
                  <a:cubicBezTo>
                    <a:pt x="49" y="0"/>
                    <a:pt x="50" y="1"/>
                    <a:pt x="51" y="2"/>
                  </a:cubicBezTo>
                  <a:cubicBezTo>
                    <a:pt x="53" y="3"/>
                    <a:pt x="53" y="6"/>
                    <a:pt x="51" y="8"/>
                  </a:cubicBezTo>
                  <a:lnTo>
                    <a:pt x="9" y="63"/>
                  </a:lnTo>
                  <a:cubicBezTo>
                    <a:pt x="8" y="64"/>
                    <a:pt x="7" y="65"/>
                    <a:pt x="5" y="6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 name="Freeform 20"/>
            <p:cNvSpPr>
              <a:spLocks noChangeArrowheads="1"/>
            </p:cNvSpPr>
            <p:nvPr/>
          </p:nvSpPr>
          <p:spPr bwMode="auto">
            <a:xfrm>
              <a:off x="1169988" y="2654300"/>
              <a:ext cx="12700" cy="7938"/>
            </a:xfrm>
            <a:custGeom>
              <a:avLst/>
              <a:gdLst/>
              <a:ahLst/>
              <a:cxnLst>
                <a:cxn ang="0">
                  <a:pos x="5" y="19"/>
                </a:cxn>
                <a:cxn ang="0">
                  <a:pos x="0" y="6"/>
                </a:cxn>
                <a:cxn ang="0">
                  <a:pos x="1" y="1"/>
                </a:cxn>
                <a:cxn ang="0">
                  <a:pos x="5" y="0"/>
                </a:cxn>
                <a:cxn ang="0">
                  <a:pos x="6" y="0"/>
                </a:cxn>
                <a:cxn ang="0">
                  <a:pos x="32" y="8"/>
                </a:cxn>
                <a:cxn ang="0">
                  <a:pos x="35" y="13"/>
                </a:cxn>
                <a:cxn ang="0">
                  <a:pos x="31" y="17"/>
                </a:cxn>
                <a:cxn ang="0">
                  <a:pos x="9" y="22"/>
                </a:cxn>
                <a:cxn ang="0">
                  <a:pos x="5" y="19"/>
                </a:cxn>
              </a:cxnLst>
              <a:rect l="0" t="0" r="r" b="b"/>
              <a:pathLst>
                <a:path w="36" h="23">
                  <a:moveTo>
                    <a:pt x="5" y="19"/>
                  </a:moveTo>
                  <a:lnTo>
                    <a:pt x="0" y="6"/>
                  </a:lnTo>
                  <a:cubicBezTo>
                    <a:pt x="0" y="4"/>
                    <a:pt x="0" y="2"/>
                    <a:pt x="1" y="1"/>
                  </a:cubicBezTo>
                  <a:cubicBezTo>
                    <a:pt x="2" y="0"/>
                    <a:pt x="4" y="0"/>
                    <a:pt x="5" y="0"/>
                  </a:cubicBezTo>
                  <a:lnTo>
                    <a:pt x="6" y="0"/>
                  </a:lnTo>
                  <a:lnTo>
                    <a:pt x="32" y="8"/>
                  </a:lnTo>
                  <a:cubicBezTo>
                    <a:pt x="34" y="9"/>
                    <a:pt x="35" y="11"/>
                    <a:pt x="35" y="13"/>
                  </a:cubicBezTo>
                  <a:cubicBezTo>
                    <a:pt x="35" y="15"/>
                    <a:pt x="33" y="17"/>
                    <a:pt x="31" y="17"/>
                  </a:cubicBezTo>
                  <a:lnTo>
                    <a:pt x="9" y="22"/>
                  </a:lnTo>
                  <a:cubicBezTo>
                    <a:pt x="7" y="22"/>
                    <a:pt x="5" y="21"/>
                    <a:pt x="5" y="1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 name="Freeform 21"/>
            <p:cNvSpPr>
              <a:spLocks noChangeArrowheads="1"/>
            </p:cNvSpPr>
            <p:nvPr/>
          </p:nvSpPr>
          <p:spPr bwMode="auto">
            <a:xfrm>
              <a:off x="1169988" y="2654300"/>
              <a:ext cx="12700" cy="7938"/>
            </a:xfrm>
            <a:custGeom>
              <a:avLst/>
              <a:gdLst/>
              <a:ahLst/>
              <a:cxnLst>
                <a:cxn ang="0">
                  <a:pos x="9" y="22"/>
                </a:cxn>
                <a:cxn ang="0">
                  <a:pos x="5" y="19"/>
                </a:cxn>
                <a:cxn ang="0">
                  <a:pos x="0" y="6"/>
                </a:cxn>
                <a:cxn ang="0">
                  <a:pos x="1" y="1"/>
                </a:cxn>
                <a:cxn ang="0">
                  <a:pos x="5" y="0"/>
                </a:cxn>
                <a:cxn ang="0">
                  <a:pos x="6" y="0"/>
                </a:cxn>
                <a:cxn ang="0">
                  <a:pos x="32" y="8"/>
                </a:cxn>
                <a:cxn ang="0">
                  <a:pos x="35" y="13"/>
                </a:cxn>
                <a:cxn ang="0">
                  <a:pos x="31" y="17"/>
                </a:cxn>
                <a:cxn ang="0">
                  <a:pos x="9" y="22"/>
                </a:cxn>
              </a:cxnLst>
              <a:rect l="0" t="0" r="r" b="b"/>
              <a:pathLst>
                <a:path w="36" h="23">
                  <a:moveTo>
                    <a:pt x="9" y="22"/>
                  </a:moveTo>
                  <a:cubicBezTo>
                    <a:pt x="7" y="22"/>
                    <a:pt x="5" y="21"/>
                    <a:pt x="5" y="19"/>
                  </a:cubicBezTo>
                  <a:lnTo>
                    <a:pt x="0" y="6"/>
                  </a:lnTo>
                  <a:cubicBezTo>
                    <a:pt x="0" y="4"/>
                    <a:pt x="0" y="2"/>
                    <a:pt x="1" y="1"/>
                  </a:cubicBezTo>
                  <a:cubicBezTo>
                    <a:pt x="2" y="0"/>
                    <a:pt x="4" y="0"/>
                    <a:pt x="5" y="0"/>
                  </a:cubicBezTo>
                  <a:lnTo>
                    <a:pt x="6" y="0"/>
                  </a:lnTo>
                  <a:lnTo>
                    <a:pt x="32" y="8"/>
                  </a:lnTo>
                  <a:cubicBezTo>
                    <a:pt x="34" y="9"/>
                    <a:pt x="35" y="11"/>
                    <a:pt x="35" y="13"/>
                  </a:cubicBezTo>
                  <a:cubicBezTo>
                    <a:pt x="35" y="15"/>
                    <a:pt x="33" y="17"/>
                    <a:pt x="31" y="17"/>
                  </a:cubicBezTo>
                  <a:lnTo>
                    <a:pt x="9" y="2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 name="Freeform 22"/>
            <p:cNvSpPr>
              <a:spLocks noChangeArrowheads="1"/>
            </p:cNvSpPr>
            <p:nvPr/>
          </p:nvSpPr>
          <p:spPr bwMode="auto">
            <a:xfrm>
              <a:off x="777875" y="1770063"/>
              <a:ext cx="3175" cy="7937"/>
            </a:xfrm>
            <a:custGeom>
              <a:avLst/>
              <a:gdLst/>
              <a:ahLst/>
              <a:cxnLst>
                <a:cxn ang="0">
                  <a:pos x="0" y="0"/>
                </a:cxn>
                <a:cxn ang="0">
                  <a:pos x="5" y="13"/>
                </a:cxn>
                <a:cxn ang="0">
                  <a:pos x="3" y="19"/>
                </a:cxn>
                <a:cxn ang="0">
                  <a:pos x="1" y="19"/>
                </a:cxn>
                <a:cxn ang="0">
                  <a:pos x="0" y="19"/>
                </a:cxn>
                <a:cxn ang="0">
                  <a:pos x="0" y="0"/>
                </a:cxn>
              </a:cxnLst>
              <a:rect l="0" t="0" r="r" b="b"/>
              <a:pathLst>
                <a:path w="7" h="20">
                  <a:moveTo>
                    <a:pt x="0" y="0"/>
                  </a:moveTo>
                  <a:lnTo>
                    <a:pt x="5" y="13"/>
                  </a:lnTo>
                  <a:cubicBezTo>
                    <a:pt x="6" y="15"/>
                    <a:pt x="5" y="18"/>
                    <a:pt x="3" y="19"/>
                  </a:cubicBezTo>
                  <a:lnTo>
                    <a:pt x="1" y="19"/>
                  </a:lnTo>
                  <a:cubicBezTo>
                    <a:pt x="1" y="19"/>
                    <a:pt x="0" y="19"/>
                    <a:pt x="0" y="19"/>
                  </a:cubicBezTo>
                  <a:lnTo>
                    <a:pt x="0" y="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 name="Freeform 23"/>
            <p:cNvSpPr>
              <a:spLocks noChangeArrowheads="1"/>
            </p:cNvSpPr>
            <p:nvPr/>
          </p:nvSpPr>
          <p:spPr bwMode="auto">
            <a:xfrm>
              <a:off x="777875" y="1770063"/>
              <a:ext cx="3175" cy="7937"/>
            </a:xfrm>
            <a:custGeom>
              <a:avLst/>
              <a:gdLst/>
              <a:ahLst/>
              <a:cxnLst>
                <a:cxn ang="0">
                  <a:pos x="0" y="0"/>
                </a:cxn>
                <a:cxn ang="0">
                  <a:pos x="5" y="13"/>
                </a:cxn>
                <a:cxn ang="0">
                  <a:pos x="3" y="19"/>
                </a:cxn>
                <a:cxn ang="0">
                  <a:pos x="1" y="19"/>
                </a:cxn>
                <a:cxn ang="0">
                  <a:pos x="0" y="19"/>
                </a:cxn>
                <a:cxn ang="0">
                  <a:pos x="0" y="0"/>
                </a:cxn>
              </a:cxnLst>
              <a:rect l="0" t="0" r="r" b="b"/>
              <a:pathLst>
                <a:path w="7" h="20">
                  <a:moveTo>
                    <a:pt x="0" y="0"/>
                  </a:moveTo>
                  <a:lnTo>
                    <a:pt x="5" y="13"/>
                  </a:lnTo>
                  <a:cubicBezTo>
                    <a:pt x="6" y="15"/>
                    <a:pt x="5" y="18"/>
                    <a:pt x="3" y="19"/>
                  </a:cubicBezTo>
                  <a:lnTo>
                    <a:pt x="1" y="19"/>
                  </a:lnTo>
                  <a:cubicBezTo>
                    <a:pt x="1" y="19"/>
                    <a:pt x="0" y="19"/>
                    <a:pt x="0" y="19"/>
                  </a:cubicBezTo>
                  <a:lnTo>
                    <a:pt x="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 name="Freeform 24"/>
            <p:cNvSpPr>
              <a:spLocks noChangeArrowheads="1"/>
            </p:cNvSpPr>
            <p:nvPr/>
          </p:nvSpPr>
          <p:spPr bwMode="auto">
            <a:xfrm>
              <a:off x="808038" y="1711325"/>
              <a:ext cx="30162" cy="42863"/>
            </a:xfrm>
            <a:custGeom>
              <a:avLst/>
              <a:gdLst/>
              <a:ahLst/>
              <a:cxnLst>
                <a:cxn ang="0">
                  <a:pos x="75" y="119"/>
                </a:cxn>
                <a:cxn ang="0">
                  <a:pos x="37" y="102"/>
                </a:cxn>
                <a:cxn ang="0">
                  <a:pos x="34" y="97"/>
                </a:cxn>
                <a:cxn ang="0">
                  <a:pos x="34" y="75"/>
                </a:cxn>
                <a:cxn ang="0">
                  <a:pos x="26" y="95"/>
                </a:cxn>
                <a:cxn ang="0">
                  <a:pos x="22" y="98"/>
                </a:cxn>
                <a:cxn ang="0">
                  <a:pos x="21" y="98"/>
                </a:cxn>
                <a:cxn ang="0">
                  <a:pos x="18" y="97"/>
                </a:cxn>
                <a:cxn ang="0">
                  <a:pos x="1" y="80"/>
                </a:cxn>
                <a:cxn ang="0">
                  <a:pos x="0" y="75"/>
                </a:cxn>
                <a:cxn ang="0">
                  <a:pos x="13" y="16"/>
                </a:cxn>
                <a:cxn ang="0">
                  <a:pos x="16" y="13"/>
                </a:cxn>
                <a:cxn ang="0">
                  <a:pos x="54" y="0"/>
                </a:cxn>
                <a:cxn ang="0">
                  <a:pos x="55" y="0"/>
                </a:cxn>
                <a:cxn ang="0">
                  <a:pos x="58" y="0"/>
                </a:cxn>
                <a:cxn ang="0">
                  <a:pos x="60" y="3"/>
                </a:cxn>
                <a:cxn ang="0">
                  <a:pos x="81" y="113"/>
                </a:cxn>
                <a:cxn ang="0">
                  <a:pos x="79" y="118"/>
                </a:cxn>
                <a:cxn ang="0">
                  <a:pos x="76" y="119"/>
                </a:cxn>
                <a:cxn ang="0">
                  <a:pos x="75" y="119"/>
                </a:cxn>
              </a:cxnLst>
              <a:rect l="0" t="0" r="r" b="b"/>
              <a:pathLst>
                <a:path w="82" h="120">
                  <a:moveTo>
                    <a:pt x="75" y="119"/>
                  </a:moveTo>
                  <a:lnTo>
                    <a:pt x="37" y="102"/>
                  </a:lnTo>
                  <a:cubicBezTo>
                    <a:pt x="35" y="101"/>
                    <a:pt x="34" y="99"/>
                    <a:pt x="34" y="97"/>
                  </a:cubicBezTo>
                  <a:lnTo>
                    <a:pt x="34" y="75"/>
                  </a:lnTo>
                  <a:lnTo>
                    <a:pt x="26" y="95"/>
                  </a:lnTo>
                  <a:cubicBezTo>
                    <a:pt x="25" y="96"/>
                    <a:pt x="24" y="97"/>
                    <a:pt x="22" y="98"/>
                  </a:cubicBezTo>
                  <a:cubicBezTo>
                    <a:pt x="22" y="98"/>
                    <a:pt x="22" y="98"/>
                    <a:pt x="21" y="98"/>
                  </a:cubicBezTo>
                  <a:cubicBezTo>
                    <a:pt x="20" y="98"/>
                    <a:pt x="19" y="97"/>
                    <a:pt x="18" y="97"/>
                  </a:cubicBezTo>
                  <a:lnTo>
                    <a:pt x="1" y="80"/>
                  </a:lnTo>
                  <a:cubicBezTo>
                    <a:pt x="0" y="78"/>
                    <a:pt x="0" y="77"/>
                    <a:pt x="0" y="75"/>
                  </a:cubicBezTo>
                  <a:lnTo>
                    <a:pt x="13" y="16"/>
                  </a:lnTo>
                  <a:cubicBezTo>
                    <a:pt x="13" y="14"/>
                    <a:pt x="14" y="13"/>
                    <a:pt x="16" y="13"/>
                  </a:cubicBezTo>
                  <a:lnTo>
                    <a:pt x="54" y="0"/>
                  </a:lnTo>
                  <a:lnTo>
                    <a:pt x="55" y="0"/>
                  </a:lnTo>
                  <a:cubicBezTo>
                    <a:pt x="56" y="0"/>
                    <a:pt x="57" y="0"/>
                    <a:pt x="58" y="0"/>
                  </a:cubicBezTo>
                  <a:cubicBezTo>
                    <a:pt x="59" y="1"/>
                    <a:pt x="60" y="2"/>
                    <a:pt x="60" y="3"/>
                  </a:cubicBezTo>
                  <a:lnTo>
                    <a:pt x="81" y="113"/>
                  </a:lnTo>
                  <a:cubicBezTo>
                    <a:pt x="81" y="115"/>
                    <a:pt x="81" y="117"/>
                    <a:pt x="79" y="118"/>
                  </a:cubicBezTo>
                  <a:cubicBezTo>
                    <a:pt x="79" y="119"/>
                    <a:pt x="78" y="119"/>
                    <a:pt x="76" y="119"/>
                  </a:cubicBezTo>
                  <a:lnTo>
                    <a:pt x="75" y="119"/>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 name="Freeform 25"/>
            <p:cNvSpPr>
              <a:spLocks noChangeArrowheads="1"/>
            </p:cNvSpPr>
            <p:nvPr/>
          </p:nvSpPr>
          <p:spPr bwMode="auto">
            <a:xfrm>
              <a:off x="808038" y="1711325"/>
              <a:ext cx="30162" cy="42863"/>
            </a:xfrm>
            <a:custGeom>
              <a:avLst/>
              <a:gdLst/>
              <a:ahLst/>
              <a:cxnLst>
                <a:cxn ang="0">
                  <a:pos x="76" y="119"/>
                </a:cxn>
                <a:cxn ang="0">
                  <a:pos x="75" y="119"/>
                </a:cxn>
                <a:cxn ang="0">
                  <a:pos x="37" y="102"/>
                </a:cxn>
                <a:cxn ang="0">
                  <a:pos x="34" y="97"/>
                </a:cxn>
                <a:cxn ang="0">
                  <a:pos x="34" y="75"/>
                </a:cxn>
                <a:cxn ang="0">
                  <a:pos x="26" y="95"/>
                </a:cxn>
                <a:cxn ang="0">
                  <a:pos x="22" y="98"/>
                </a:cxn>
                <a:cxn ang="0">
                  <a:pos x="21" y="98"/>
                </a:cxn>
                <a:cxn ang="0">
                  <a:pos x="18" y="97"/>
                </a:cxn>
                <a:cxn ang="0">
                  <a:pos x="1" y="80"/>
                </a:cxn>
                <a:cxn ang="0">
                  <a:pos x="0" y="75"/>
                </a:cxn>
                <a:cxn ang="0">
                  <a:pos x="13" y="16"/>
                </a:cxn>
                <a:cxn ang="0">
                  <a:pos x="16" y="13"/>
                </a:cxn>
                <a:cxn ang="0">
                  <a:pos x="54" y="0"/>
                </a:cxn>
                <a:cxn ang="0">
                  <a:pos x="55" y="0"/>
                </a:cxn>
                <a:cxn ang="0">
                  <a:pos x="58" y="0"/>
                </a:cxn>
                <a:cxn ang="0">
                  <a:pos x="60" y="3"/>
                </a:cxn>
                <a:cxn ang="0">
                  <a:pos x="81" y="113"/>
                </a:cxn>
                <a:cxn ang="0">
                  <a:pos x="79" y="118"/>
                </a:cxn>
                <a:cxn ang="0">
                  <a:pos x="76" y="119"/>
                </a:cxn>
              </a:cxnLst>
              <a:rect l="0" t="0" r="r" b="b"/>
              <a:pathLst>
                <a:path w="82" h="120">
                  <a:moveTo>
                    <a:pt x="76" y="119"/>
                  </a:moveTo>
                  <a:lnTo>
                    <a:pt x="75" y="119"/>
                  </a:lnTo>
                  <a:lnTo>
                    <a:pt x="37" y="102"/>
                  </a:lnTo>
                  <a:cubicBezTo>
                    <a:pt x="35" y="101"/>
                    <a:pt x="34" y="99"/>
                    <a:pt x="34" y="97"/>
                  </a:cubicBezTo>
                  <a:lnTo>
                    <a:pt x="34" y="75"/>
                  </a:lnTo>
                  <a:lnTo>
                    <a:pt x="26" y="95"/>
                  </a:lnTo>
                  <a:cubicBezTo>
                    <a:pt x="25" y="96"/>
                    <a:pt x="24" y="97"/>
                    <a:pt x="22" y="98"/>
                  </a:cubicBezTo>
                  <a:cubicBezTo>
                    <a:pt x="22" y="98"/>
                    <a:pt x="22" y="98"/>
                    <a:pt x="21" y="98"/>
                  </a:cubicBezTo>
                  <a:cubicBezTo>
                    <a:pt x="20" y="98"/>
                    <a:pt x="19" y="97"/>
                    <a:pt x="18" y="97"/>
                  </a:cubicBezTo>
                  <a:lnTo>
                    <a:pt x="1" y="80"/>
                  </a:lnTo>
                  <a:cubicBezTo>
                    <a:pt x="0" y="78"/>
                    <a:pt x="0" y="77"/>
                    <a:pt x="0" y="75"/>
                  </a:cubicBezTo>
                  <a:lnTo>
                    <a:pt x="13" y="16"/>
                  </a:lnTo>
                  <a:cubicBezTo>
                    <a:pt x="13" y="14"/>
                    <a:pt x="14" y="13"/>
                    <a:pt x="16" y="13"/>
                  </a:cubicBezTo>
                  <a:lnTo>
                    <a:pt x="54" y="0"/>
                  </a:lnTo>
                  <a:lnTo>
                    <a:pt x="55" y="0"/>
                  </a:lnTo>
                  <a:cubicBezTo>
                    <a:pt x="56" y="0"/>
                    <a:pt x="57" y="0"/>
                    <a:pt x="58" y="0"/>
                  </a:cubicBezTo>
                  <a:cubicBezTo>
                    <a:pt x="59" y="1"/>
                    <a:pt x="60" y="2"/>
                    <a:pt x="60" y="3"/>
                  </a:cubicBezTo>
                  <a:lnTo>
                    <a:pt x="81" y="113"/>
                  </a:lnTo>
                  <a:cubicBezTo>
                    <a:pt x="81" y="115"/>
                    <a:pt x="81" y="117"/>
                    <a:pt x="79" y="118"/>
                  </a:cubicBezTo>
                  <a:cubicBezTo>
                    <a:pt x="79" y="119"/>
                    <a:pt x="78" y="119"/>
                    <a:pt x="76" y="11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 name="Freeform 26"/>
            <p:cNvSpPr>
              <a:spLocks noChangeArrowheads="1"/>
            </p:cNvSpPr>
            <p:nvPr/>
          </p:nvSpPr>
          <p:spPr bwMode="auto">
            <a:xfrm>
              <a:off x="777875" y="1704975"/>
              <a:ext cx="26988" cy="73025"/>
            </a:xfrm>
            <a:custGeom>
              <a:avLst/>
              <a:gdLst/>
              <a:ahLst/>
              <a:cxnLst>
                <a:cxn ang="0">
                  <a:pos x="0" y="0"/>
                </a:cxn>
                <a:cxn ang="0">
                  <a:pos x="2" y="1"/>
                </a:cxn>
                <a:cxn ang="0">
                  <a:pos x="5" y="3"/>
                </a:cxn>
                <a:cxn ang="0">
                  <a:pos x="56" y="87"/>
                </a:cxn>
                <a:cxn ang="0">
                  <a:pos x="55" y="93"/>
                </a:cxn>
                <a:cxn ang="0">
                  <a:pos x="52" y="95"/>
                </a:cxn>
                <a:cxn ang="0">
                  <a:pos x="49" y="93"/>
                </a:cxn>
                <a:cxn ang="0">
                  <a:pos x="34" y="82"/>
                </a:cxn>
                <a:cxn ang="0">
                  <a:pos x="39" y="101"/>
                </a:cxn>
                <a:cxn ang="0">
                  <a:pos x="71" y="124"/>
                </a:cxn>
                <a:cxn ang="0">
                  <a:pos x="73" y="130"/>
                </a:cxn>
                <a:cxn ang="0">
                  <a:pos x="64" y="154"/>
                </a:cxn>
                <a:cxn ang="0">
                  <a:pos x="67" y="153"/>
                </a:cxn>
                <a:cxn ang="0">
                  <a:pos x="69" y="153"/>
                </a:cxn>
                <a:cxn ang="0">
                  <a:pos x="71" y="154"/>
                </a:cxn>
                <a:cxn ang="0">
                  <a:pos x="73" y="157"/>
                </a:cxn>
                <a:cxn ang="0">
                  <a:pos x="73" y="195"/>
                </a:cxn>
                <a:cxn ang="0">
                  <a:pos x="69" y="200"/>
                </a:cxn>
                <a:cxn ang="0">
                  <a:pos x="43" y="200"/>
                </a:cxn>
                <a:cxn ang="0">
                  <a:pos x="39" y="198"/>
                </a:cxn>
                <a:cxn ang="0">
                  <a:pos x="10" y="132"/>
                </a:cxn>
                <a:cxn ang="0">
                  <a:pos x="0" y="127"/>
                </a:cxn>
                <a:cxn ang="0">
                  <a:pos x="0" y="0"/>
                </a:cxn>
              </a:cxnLst>
              <a:rect l="0" t="0" r="r" b="b"/>
              <a:pathLst>
                <a:path w="75" h="201">
                  <a:moveTo>
                    <a:pt x="0" y="0"/>
                  </a:moveTo>
                  <a:lnTo>
                    <a:pt x="2" y="1"/>
                  </a:lnTo>
                  <a:cubicBezTo>
                    <a:pt x="3" y="1"/>
                    <a:pt x="4" y="2"/>
                    <a:pt x="5" y="3"/>
                  </a:cubicBezTo>
                  <a:lnTo>
                    <a:pt x="56" y="87"/>
                  </a:lnTo>
                  <a:cubicBezTo>
                    <a:pt x="57" y="89"/>
                    <a:pt x="56" y="92"/>
                    <a:pt x="55" y="93"/>
                  </a:cubicBezTo>
                  <a:cubicBezTo>
                    <a:pt x="54" y="94"/>
                    <a:pt x="53" y="95"/>
                    <a:pt x="52" y="95"/>
                  </a:cubicBezTo>
                  <a:cubicBezTo>
                    <a:pt x="51" y="95"/>
                    <a:pt x="49" y="94"/>
                    <a:pt x="49" y="93"/>
                  </a:cubicBezTo>
                  <a:lnTo>
                    <a:pt x="34" y="82"/>
                  </a:lnTo>
                  <a:lnTo>
                    <a:pt x="39" y="101"/>
                  </a:lnTo>
                  <a:lnTo>
                    <a:pt x="71" y="124"/>
                  </a:lnTo>
                  <a:cubicBezTo>
                    <a:pt x="73" y="125"/>
                    <a:pt x="74" y="128"/>
                    <a:pt x="73" y="130"/>
                  </a:cubicBezTo>
                  <a:lnTo>
                    <a:pt x="64" y="154"/>
                  </a:lnTo>
                  <a:lnTo>
                    <a:pt x="67" y="153"/>
                  </a:lnTo>
                  <a:lnTo>
                    <a:pt x="69" y="153"/>
                  </a:lnTo>
                  <a:cubicBezTo>
                    <a:pt x="70" y="153"/>
                    <a:pt x="71" y="153"/>
                    <a:pt x="71" y="154"/>
                  </a:cubicBezTo>
                  <a:cubicBezTo>
                    <a:pt x="73" y="155"/>
                    <a:pt x="73" y="156"/>
                    <a:pt x="73" y="157"/>
                  </a:cubicBezTo>
                  <a:lnTo>
                    <a:pt x="73" y="195"/>
                  </a:lnTo>
                  <a:cubicBezTo>
                    <a:pt x="73" y="198"/>
                    <a:pt x="71" y="200"/>
                    <a:pt x="69" y="200"/>
                  </a:cubicBezTo>
                  <a:lnTo>
                    <a:pt x="43" y="200"/>
                  </a:lnTo>
                  <a:cubicBezTo>
                    <a:pt x="41" y="200"/>
                    <a:pt x="40" y="199"/>
                    <a:pt x="39" y="198"/>
                  </a:cubicBezTo>
                  <a:lnTo>
                    <a:pt x="10" y="132"/>
                  </a:lnTo>
                  <a:lnTo>
                    <a:pt x="0" y="127"/>
                  </a:lnTo>
                  <a:lnTo>
                    <a:pt x="0" y="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 name="Freeform 27"/>
            <p:cNvSpPr>
              <a:spLocks noChangeArrowheads="1"/>
            </p:cNvSpPr>
            <p:nvPr/>
          </p:nvSpPr>
          <p:spPr bwMode="auto">
            <a:xfrm>
              <a:off x="777875" y="1704975"/>
              <a:ext cx="26988" cy="73025"/>
            </a:xfrm>
            <a:custGeom>
              <a:avLst/>
              <a:gdLst/>
              <a:ahLst/>
              <a:cxnLst>
                <a:cxn ang="0">
                  <a:pos x="0" y="0"/>
                </a:cxn>
                <a:cxn ang="0">
                  <a:pos x="2" y="1"/>
                </a:cxn>
                <a:cxn ang="0">
                  <a:pos x="5" y="3"/>
                </a:cxn>
                <a:cxn ang="0">
                  <a:pos x="56" y="87"/>
                </a:cxn>
                <a:cxn ang="0">
                  <a:pos x="55" y="93"/>
                </a:cxn>
                <a:cxn ang="0">
                  <a:pos x="52" y="95"/>
                </a:cxn>
                <a:cxn ang="0">
                  <a:pos x="49" y="93"/>
                </a:cxn>
                <a:cxn ang="0">
                  <a:pos x="34" y="82"/>
                </a:cxn>
                <a:cxn ang="0">
                  <a:pos x="39" y="101"/>
                </a:cxn>
                <a:cxn ang="0">
                  <a:pos x="71" y="124"/>
                </a:cxn>
                <a:cxn ang="0">
                  <a:pos x="73" y="130"/>
                </a:cxn>
                <a:cxn ang="0">
                  <a:pos x="64" y="154"/>
                </a:cxn>
                <a:cxn ang="0">
                  <a:pos x="67" y="153"/>
                </a:cxn>
                <a:cxn ang="0">
                  <a:pos x="69" y="153"/>
                </a:cxn>
                <a:cxn ang="0">
                  <a:pos x="71" y="154"/>
                </a:cxn>
                <a:cxn ang="0">
                  <a:pos x="73" y="157"/>
                </a:cxn>
                <a:cxn ang="0">
                  <a:pos x="73" y="195"/>
                </a:cxn>
                <a:cxn ang="0">
                  <a:pos x="69" y="200"/>
                </a:cxn>
                <a:cxn ang="0">
                  <a:pos x="43" y="200"/>
                </a:cxn>
                <a:cxn ang="0">
                  <a:pos x="39" y="198"/>
                </a:cxn>
                <a:cxn ang="0">
                  <a:pos x="10" y="132"/>
                </a:cxn>
                <a:cxn ang="0">
                  <a:pos x="0" y="127"/>
                </a:cxn>
                <a:cxn ang="0">
                  <a:pos x="0" y="0"/>
                </a:cxn>
              </a:cxnLst>
              <a:rect l="0" t="0" r="r" b="b"/>
              <a:pathLst>
                <a:path w="75" h="201">
                  <a:moveTo>
                    <a:pt x="0" y="0"/>
                  </a:moveTo>
                  <a:lnTo>
                    <a:pt x="2" y="1"/>
                  </a:lnTo>
                  <a:cubicBezTo>
                    <a:pt x="3" y="1"/>
                    <a:pt x="4" y="2"/>
                    <a:pt x="5" y="3"/>
                  </a:cubicBezTo>
                  <a:lnTo>
                    <a:pt x="56" y="87"/>
                  </a:lnTo>
                  <a:cubicBezTo>
                    <a:pt x="57" y="89"/>
                    <a:pt x="56" y="92"/>
                    <a:pt x="55" y="93"/>
                  </a:cubicBezTo>
                  <a:cubicBezTo>
                    <a:pt x="54" y="94"/>
                    <a:pt x="53" y="95"/>
                    <a:pt x="52" y="95"/>
                  </a:cubicBezTo>
                  <a:cubicBezTo>
                    <a:pt x="51" y="95"/>
                    <a:pt x="49" y="94"/>
                    <a:pt x="49" y="93"/>
                  </a:cubicBezTo>
                  <a:lnTo>
                    <a:pt x="34" y="82"/>
                  </a:lnTo>
                  <a:lnTo>
                    <a:pt x="39" y="101"/>
                  </a:lnTo>
                  <a:lnTo>
                    <a:pt x="71" y="124"/>
                  </a:lnTo>
                  <a:cubicBezTo>
                    <a:pt x="73" y="125"/>
                    <a:pt x="74" y="128"/>
                    <a:pt x="73" y="130"/>
                  </a:cubicBezTo>
                  <a:lnTo>
                    <a:pt x="64" y="154"/>
                  </a:lnTo>
                  <a:lnTo>
                    <a:pt x="67" y="153"/>
                  </a:lnTo>
                  <a:lnTo>
                    <a:pt x="69" y="153"/>
                  </a:lnTo>
                  <a:cubicBezTo>
                    <a:pt x="70" y="153"/>
                    <a:pt x="71" y="153"/>
                    <a:pt x="71" y="154"/>
                  </a:cubicBezTo>
                  <a:cubicBezTo>
                    <a:pt x="73" y="155"/>
                    <a:pt x="73" y="156"/>
                    <a:pt x="73" y="157"/>
                  </a:cubicBezTo>
                  <a:lnTo>
                    <a:pt x="73" y="195"/>
                  </a:lnTo>
                  <a:cubicBezTo>
                    <a:pt x="73" y="198"/>
                    <a:pt x="71" y="200"/>
                    <a:pt x="69" y="200"/>
                  </a:cubicBezTo>
                  <a:lnTo>
                    <a:pt x="43" y="200"/>
                  </a:lnTo>
                  <a:cubicBezTo>
                    <a:pt x="41" y="200"/>
                    <a:pt x="40" y="199"/>
                    <a:pt x="39" y="198"/>
                  </a:cubicBezTo>
                  <a:lnTo>
                    <a:pt x="10" y="132"/>
                  </a:lnTo>
                  <a:lnTo>
                    <a:pt x="0" y="127"/>
                  </a:lnTo>
                  <a:lnTo>
                    <a:pt x="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 name="Freeform 28"/>
            <p:cNvSpPr>
              <a:spLocks noChangeArrowheads="1"/>
            </p:cNvSpPr>
            <p:nvPr/>
          </p:nvSpPr>
          <p:spPr bwMode="auto">
            <a:xfrm>
              <a:off x="790575" y="1682750"/>
              <a:ext cx="11113" cy="17463"/>
            </a:xfrm>
            <a:custGeom>
              <a:avLst/>
              <a:gdLst/>
              <a:ahLst/>
              <a:cxnLst>
                <a:cxn ang="0">
                  <a:pos x="26" y="48"/>
                </a:cxn>
                <a:cxn ang="0">
                  <a:pos x="22" y="46"/>
                </a:cxn>
                <a:cxn ang="0">
                  <a:pos x="1" y="7"/>
                </a:cxn>
                <a:cxn ang="0">
                  <a:pos x="2" y="1"/>
                </a:cxn>
                <a:cxn ang="0">
                  <a:pos x="5" y="0"/>
                </a:cxn>
                <a:cxn ang="0">
                  <a:pos x="8" y="1"/>
                </a:cxn>
                <a:cxn ang="0">
                  <a:pos x="29" y="18"/>
                </a:cxn>
                <a:cxn ang="0">
                  <a:pos x="31" y="22"/>
                </a:cxn>
                <a:cxn ang="0">
                  <a:pos x="31" y="43"/>
                </a:cxn>
                <a:cxn ang="0">
                  <a:pos x="27" y="48"/>
                </a:cxn>
                <a:cxn ang="0">
                  <a:pos x="26" y="48"/>
                </a:cxn>
              </a:cxnLst>
              <a:rect l="0" t="0" r="r" b="b"/>
              <a:pathLst>
                <a:path w="32" h="49">
                  <a:moveTo>
                    <a:pt x="26" y="48"/>
                  </a:moveTo>
                  <a:cubicBezTo>
                    <a:pt x="24" y="48"/>
                    <a:pt x="23" y="47"/>
                    <a:pt x="22" y="46"/>
                  </a:cubicBezTo>
                  <a:lnTo>
                    <a:pt x="1" y="7"/>
                  </a:lnTo>
                  <a:cubicBezTo>
                    <a:pt x="0" y="5"/>
                    <a:pt x="0" y="3"/>
                    <a:pt x="2" y="1"/>
                  </a:cubicBezTo>
                  <a:cubicBezTo>
                    <a:pt x="3" y="1"/>
                    <a:pt x="4" y="0"/>
                    <a:pt x="5" y="0"/>
                  </a:cubicBezTo>
                  <a:cubicBezTo>
                    <a:pt x="6" y="0"/>
                    <a:pt x="7" y="1"/>
                    <a:pt x="8" y="1"/>
                  </a:cubicBezTo>
                  <a:lnTo>
                    <a:pt x="29" y="18"/>
                  </a:lnTo>
                  <a:cubicBezTo>
                    <a:pt x="30" y="19"/>
                    <a:pt x="31" y="21"/>
                    <a:pt x="31" y="22"/>
                  </a:cubicBezTo>
                  <a:lnTo>
                    <a:pt x="31" y="43"/>
                  </a:lnTo>
                  <a:cubicBezTo>
                    <a:pt x="31" y="45"/>
                    <a:pt x="29" y="47"/>
                    <a:pt x="27" y="48"/>
                  </a:cubicBezTo>
                  <a:lnTo>
                    <a:pt x="26" y="4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 name="Freeform 29"/>
            <p:cNvSpPr>
              <a:spLocks noChangeArrowheads="1"/>
            </p:cNvSpPr>
            <p:nvPr/>
          </p:nvSpPr>
          <p:spPr bwMode="auto">
            <a:xfrm>
              <a:off x="790575" y="1682750"/>
              <a:ext cx="11113" cy="17463"/>
            </a:xfrm>
            <a:custGeom>
              <a:avLst/>
              <a:gdLst/>
              <a:ahLst/>
              <a:cxnLst>
                <a:cxn ang="0">
                  <a:pos x="26" y="48"/>
                </a:cxn>
                <a:cxn ang="0">
                  <a:pos x="22" y="46"/>
                </a:cxn>
                <a:cxn ang="0">
                  <a:pos x="1" y="7"/>
                </a:cxn>
                <a:cxn ang="0">
                  <a:pos x="2" y="1"/>
                </a:cxn>
                <a:cxn ang="0">
                  <a:pos x="5" y="0"/>
                </a:cxn>
                <a:cxn ang="0">
                  <a:pos x="8" y="1"/>
                </a:cxn>
                <a:cxn ang="0">
                  <a:pos x="29" y="18"/>
                </a:cxn>
                <a:cxn ang="0">
                  <a:pos x="31" y="22"/>
                </a:cxn>
                <a:cxn ang="0">
                  <a:pos x="31" y="43"/>
                </a:cxn>
                <a:cxn ang="0">
                  <a:pos x="27" y="48"/>
                </a:cxn>
                <a:cxn ang="0">
                  <a:pos x="26" y="48"/>
                </a:cxn>
              </a:cxnLst>
              <a:rect l="0" t="0" r="r" b="b"/>
              <a:pathLst>
                <a:path w="32" h="49">
                  <a:moveTo>
                    <a:pt x="26" y="48"/>
                  </a:moveTo>
                  <a:cubicBezTo>
                    <a:pt x="24" y="48"/>
                    <a:pt x="23" y="47"/>
                    <a:pt x="22" y="46"/>
                  </a:cubicBezTo>
                  <a:lnTo>
                    <a:pt x="1" y="7"/>
                  </a:lnTo>
                  <a:cubicBezTo>
                    <a:pt x="0" y="5"/>
                    <a:pt x="0" y="3"/>
                    <a:pt x="2" y="1"/>
                  </a:cubicBezTo>
                  <a:cubicBezTo>
                    <a:pt x="3" y="1"/>
                    <a:pt x="4" y="0"/>
                    <a:pt x="5" y="0"/>
                  </a:cubicBezTo>
                  <a:cubicBezTo>
                    <a:pt x="6" y="0"/>
                    <a:pt x="7" y="1"/>
                    <a:pt x="8" y="1"/>
                  </a:cubicBezTo>
                  <a:lnTo>
                    <a:pt x="29" y="18"/>
                  </a:lnTo>
                  <a:cubicBezTo>
                    <a:pt x="30" y="19"/>
                    <a:pt x="31" y="21"/>
                    <a:pt x="31" y="22"/>
                  </a:cubicBezTo>
                  <a:lnTo>
                    <a:pt x="31" y="43"/>
                  </a:lnTo>
                  <a:cubicBezTo>
                    <a:pt x="31" y="45"/>
                    <a:pt x="29" y="47"/>
                    <a:pt x="27" y="48"/>
                  </a:cubicBezTo>
                  <a:lnTo>
                    <a:pt x="26" y="4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 name="Freeform 30"/>
            <p:cNvSpPr>
              <a:spLocks noChangeArrowheads="1"/>
            </p:cNvSpPr>
            <p:nvPr/>
          </p:nvSpPr>
          <p:spPr bwMode="auto">
            <a:xfrm>
              <a:off x="777875" y="1682750"/>
              <a:ext cx="4763" cy="11113"/>
            </a:xfrm>
            <a:custGeom>
              <a:avLst/>
              <a:gdLst/>
              <a:ahLst/>
              <a:cxnLst>
                <a:cxn ang="0">
                  <a:pos x="0" y="2"/>
                </a:cxn>
                <a:cxn ang="0">
                  <a:pos x="9" y="0"/>
                </a:cxn>
                <a:cxn ang="0">
                  <a:pos x="13" y="2"/>
                </a:cxn>
                <a:cxn ang="0">
                  <a:pos x="14" y="7"/>
                </a:cxn>
                <a:cxn ang="0">
                  <a:pos x="5" y="28"/>
                </a:cxn>
                <a:cxn ang="0">
                  <a:pos x="2" y="31"/>
                </a:cxn>
                <a:cxn ang="0">
                  <a:pos x="1" y="31"/>
                </a:cxn>
                <a:cxn ang="0">
                  <a:pos x="0" y="31"/>
                </a:cxn>
                <a:cxn ang="0">
                  <a:pos x="0" y="2"/>
                </a:cxn>
              </a:cxnLst>
              <a:rect l="0" t="0" r="r" b="b"/>
              <a:pathLst>
                <a:path w="15" h="32">
                  <a:moveTo>
                    <a:pt x="0" y="2"/>
                  </a:moveTo>
                  <a:lnTo>
                    <a:pt x="9" y="0"/>
                  </a:lnTo>
                  <a:cubicBezTo>
                    <a:pt x="11" y="0"/>
                    <a:pt x="12" y="1"/>
                    <a:pt x="13" y="2"/>
                  </a:cubicBezTo>
                  <a:cubicBezTo>
                    <a:pt x="14" y="4"/>
                    <a:pt x="14" y="5"/>
                    <a:pt x="14" y="7"/>
                  </a:cubicBezTo>
                  <a:lnTo>
                    <a:pt x="5" y="28"/>
                  </a:lnTo>
                  <a:cubicBezTo>
                    <a:pt x="5" y="30"/>
                    <a:pt x="3" y="31"/>
                    <a:pt x="2" y="31"/>
                  </a:cubicBezTo>
                  <a:lnTo>
                    <a:pt x="1" y="31"/>
                  </a:lnTo>
                  <a:cubicBezTo>
                    <a:pt x="1" y="31"/>
                    <a:pt x="0" y="31"/>
                    <a:pt x="0" y="31"/>
                  </a:cubicBezTo>
                  <a:lnTo>
                    <a:pt x="0" y="2"/>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 name="Freeform 31"/>
            <p:cNvSpPr>
              <a:spLocks noChangeArrowheads="1"/>
            </p:cNvSpPr>
            <p:nvPr/>
          </p:nvSpPr>
          <p:spPr bwMode="auto">
            <a:xfrm>
              <a:off x="777875" y="1682750"/>
              <a:ext cx="4763" cy="11113"/>
            </a:xfrm>
            <a:custGeom>
              <a:avLst/>
              <a:gdLst/>
              <a:ahLst/>
              <a:cxnLst>
                <a:cxn ang="0">
                  <a:pos x="0" y="2"/>
                </a:cxn>
                <a:cxn ang="0">
                  <a:pos x="9" y="0"/>
                </a:cxn>
                <a:cxn ang="0">
                  <a:pos x="13" y="2"/>
                </a:cxn>
                <a:cxn ang="0">
                  <a:pos x="14" y="7"/>
                </a:cxn>
                <a:cxn ang="0">
                  <a:pos x="5" y="28"/>
                </a:cxn>
                <a:cxn ang="0">
                  <a:pos x="2" y="31"/>
                </a:cxn>
                <a:cxn ang="0">
                  <a:pos x="1" y="31"/>
                </a:cxn>
                <a:cxn ang="0">
                  <a:pos x="0" y="31"/>
                </a:cxn>
                <a:cxn ang="0">
                  <a:pos x="0" y="2"/>
                </a:cxn>
              </a:cxnLst>
              <a:rect l="0" t="0" r="r" b="b"/>
              <a:pathLst>
                <a:path w="15" h="32">
                  <a:moveTo>
                    <a:pt x="0" y="2"/>
                  </a:moveTo>
                  <a:lnTo>
                    <a:pt x="9" y="0"/>
                  </a:lnTo>
                  <a:cubicBezTo>
                    <a:pt x="11" y="0"/>
                    <a:pt x="12" y="1"/>
                    <a:pt x="13" y="2"/>
                  </a:cubicBezTo>
                  <a:cubicBezTo>
                    <a:pt x="14" y="4"/>
                    <a:pt x="14" y="5"/>
                    <a:pt x="14" y="7"/>
                  </a:cubicBezTo>
                  <a:lnTo>
                    <a:pt x="5" y="28"/>
                  </a:lnTo>
                  <a:cubicBezTo>
                    <a:pt x="5" y="30"/>
                    <a:pt x="3" y="31"/>
                    <a:pt x="2" y="31"/>
                  </a:cubicBezTo>
                  <a:lnTo>
                    <a:pt x="1" y="31"/>
                  </a:lnTo>
                  <a:cubicBezTo>
                    <a:pt x="1" y="31"/>
                    <a:pt x="0" y="31"/>
                    <a:pt x="0" y="31"/>
                  </a:cubicBezTo>
                  <a:lnTo>
                    <a:pt x="0" y="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 name="Freeform 32"/>
            <p:cNvSpPr>
              <a:spLocks noChangeArrowheads="1"/>
            </p:cNvSpPr>
            <p:nvPr/>
          </p:nvSpPr>
          <p:spPr bwMode="auto">
            <a:xfrm>
              <a:off x="777875" y="1665288"/>
              <a:ext cx="6350" cy="14287"/>
            </a:xfrm>
            <a:custGeom>
              <a:avLst/>
              <a:gdLst/>
              <a:ahLst/>
              <a:cxnLst>
                <a:cxn ang="0">
                  <a:pos x="0" y="0"/>
                </a:cxn>
                <a:cxn ang="0">
                  <a:pos x="1" y="1"/>
                </a:cxn>
                <a:cxn ang="0">
                  <a:pos x="18" y="31"/>
                </a:cxn>
                <a:cxn ang="0">
                  <a:pos x="17" y="36"/>
                </a:cxn>
                <a:cxn ang="0">
                  <a:pos x="14" y="38"/>
                </a:cxn>
                <a:cxn ang="0">
                  <a:pos x="0" y="35"/>
                </a:cxn>
                <a:cxn ang="0">
                  <a:pos x="0" y="0"/>
                </a:cxn>
              </a:cxnLst>
              <a:rect l="0" t="0" r="r" b="b"/>
              <a:pathLst>
                <a:path w="19" h="39">
                  <a:moveTo>
                    <a:pt x="0" y="0"/>
                  </a:moveTo>
                  <a:cubicBezTo>
                    <a:pt x="0" y="0"/>
                    <a:pt x="1" y="1"/>
                    <a:pt x="1" y="1"/>
                  </a:cubicBezTo>
                  <a:lnTo>
                    <a:pt x="18" y="31"/>
                  </a:lnTo>
                  <a:cubicBezTo>
                    <a:pt x="18" y="32"/>
                    <a:pt x="18" y="34"/>
                    <a:pt x="17" y="36"/>
                  </a:cubicBezTo>
                  <a:cubicBezTo>
                    <a:pt x="16" y="37"/>
                    <a:pt x="15" y="38"/>
                    <a:pt x="14" y="38"/>
                  </a:cubicBezTo>
                  <a:lnTo>
                    <a:pt x="0" y="35"/>
                  </a:lnTo>
                  <a:lnTo>
                    <a:pt x="0" y="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 name="Freeform 33"/>
            <p:cNvSpPr>
              <a:spLocks noChangeArrowheads="1"/>
            </p:cNvSpPr>
            <p:nvPr/>
          </p:nvSpPr>
          <p:spPr bwMode="auto">
            <a:xfrm>
              <a:off x="777875" y="1665288"/>
              <a:ext cx="6350" cy="14287"/>
            </a:xfrm>
            <a:custGeom>
              <a:avLst/>
              <a:gdLst/>
              <a:ahLst/>
              <a:cxnLst>
                <a:cxn ang="0">
                  <a:pos x="0" y="0"/>
                </a:cxn>
                <a:cxn ang="0">
                  <a:pos x="1" y="1"/>
                </a:cxn>
                <a:cxn ang="0">
                  <a:pos x="18" y="31"/>
                </a:cxn>
                <a:cxn ang="0">
                  <a:pos x="17" y="36"/>
                </a:cxn>
                <a:cxn ang="0">
                  <a:pos x="14" y="38"/>
                </a:cxn>
                <a:cxn ang="0">
                  <a:pos x="0" y="35"/>
                </a:cxn>
                <a:cxn ang="0">
                  <a:pos x="0" y="0"/>
                </a:cxn>
              </a:cxnLst>
              <a:rect l="0" t="0" r="r" b="b"/>
              <a:pathLst>
                <a:path w="19" h="39">
                  <a:moveTo>
                    <a:pt x="0" y="0"/>
                  </a:moveTo>
                  <a:cubicBezTo>
                    <a:pt x="0" y="0"/>
                    <a:pt x="1" y="1"/>
                    <a:pt x="1" y="1"/>
                  </a:cubicBezTo>
                  <a:lnTo>
                    <a:pt x="18" y="31"/>
                  </a:lnTo>
                  <a:cubicBezTo>
                    <a:pt x="18" y="32"/>
                    <a:pt x="18" y="34"/>
                    <a:pt x="17" y="36"/>
                  </a:cubicBezTo>
                  <a:cubicBezTo>
                    <a:pt x="16" y="37"/>
                    <a:pt x="15" y="38"/>
                    <a:pt x="14" y="38"/>
                  </a:cubicBezTo>
                  <a:lnTo>
                    <a:pt x="0" y="35"/>
                  </a:lnTo>
                  <a:lnTo>
                    <a:pt x="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 name="Freeform 34"/>
            <p:cNvSpPr>
              <a:spLocks noChangeArrowheads="1"/>
            </p:cNvSpPr>
            <p:nvPr/>
          </p:nvSpPr>
          <p:spPr bwMode="auto">
            <a:xfrm>
              <a:off x="2087563" y="3176588"/>
              <a:ext cx="38100" cy="80962"/>
            </a:xfrm>
            <a:custGeom>
              <a:avLst/>
              <a:gdLst/>
              <a:ahLst/>
              <a:cxnLst>
                <a:cxn ang="0">
                  <a:pos x="5" y="225"/>
                </a:cxn>
                <a:cxn ang="0">
                  <a:pos x="1" y="223"/>
                </a:cxn>
                <a:cxn ang="0">
                  <a:pos x="0" y="220"/>
                </a:cxn>
                <a:cxn ang="0">
                  <a:pos x="4" y="59"/>
                </a:cxn>
                <a:cxn ang="0">
                  <a:pos x="8" y="55"/>
                </a:cxn>
                <a:cxn ang="0">
                  <a:pos x="36" y="47"/>
                </a:cxn>
                <a:cxn ang="0">
                  <a:pos x="60" y="6"/>
                </a:cxn>
                <a:cxn ang="0">
                  <a:pos x="63" y="4"/>
                </a:cxn>
                <a:cxn ang="0">
                  <a:pos x="75" y="0"/>
                </a:cxn>
                <a:cxn ang="0">
                  <a:pos x="77" y="0"/>
                </a:cxn>
                <a:cxn ang="0">
                  <a:pos x="80" y="1"/>
                </a:cxn>
                <a:cxn ang="0">
                  <a:pos x="105" y="22"/>
                </a:cxn>
                <a:cxn ang="0">
                  <a:pos x="107" y="26"/>
                </a:cxn>
                <a:cxn ang="0">
                  <a:pos x="90" y="136"/>
                </a:cxn>
                <a:cxn ang="0">
                  <a:pos x="43" y="222"/>
                </a:cxn>
                <a:cxn ang="0">
                  <a:pos x="39" y="225"/>
                </a:cxn>
                <a:cxn ang="0">
                  <a:pos x="5" y="225"/>
                </a:cxn>
              </a:cxnLst>
              <a:rect l="0" t="0" r="r" b="b"/>
              <a:pathLst>
                <a:path w="108" h="226">
                  <a:moveTo>
                    <a:pt x="5" y="225"/>
                  </a:moveTo>
                  <a:cubicBezTo>
                    <a:pt x="4" y="225"/>
                    <a:pt x="2" y="224"/>
                    <a:pt x="1" y="223"/>
                  </a:cubicBezTo>
                  <a:cubicBezTo>
                    <a:pt x="1" y="222"/>
                    <a:pt x="0" y="221"/>
                    <a:pt x="0" y="220"/>
                  </a:cubicBezTo>
                  <a:lnTo>
                    <a:pt x="4" y="59"/>
                  </a:lnTo>
                  <a:cubicBezTo>
                    <a:pt x="4" y="57"/>
                    <a:pt x="6" y="55"/>
                    <a:pt x="8" y="55"/>
                  </a:cubicBezTo>
                  <a:lnTo>
                    <a:pt x="36" y="47"/>
                  </a:lnTo>
                  <a:lnTo>
                    <a:pt x="60" y="6"/>
                  </a:lnTo>
                  <a:cubicBezTo>
                    <a:pt x="61" y="5"/>
                    <a:pt x="62" y="4"/>
                    <a:pt x="63" y="4"/>
                  </a:cubicBezTo>
                  <a:lnTo>
                    <a:pt x="75" y="0"/>
                  </a:lnTo>
                  <a:cubicBezTo>
                    <a:pt x="76" y="0"/>
                    <a:pt x="76" y="0"/>
                    <a:pt x="77" y="0"/>
                  </a:cubicBezTo>
                  <a:cubicBezTo>
                    <a:pt x="78" y="0"/>
                    <a:pt x="79" y="0"/>
                    <a:pt x="80" y="1"/>
                  </a:cubicBezTo>
                  <a:lnTo>
                    <a:pt x="105" y="22"/>
                  </a:lnTo>
                  <a:cubicBezTo>
                    <a:pt x="106" y="23"/>
                    <a:pt x="107" y="24"/>
                    <a:pt x="107" y="26"/>
                  </a:cubicBezTo>
                  <a:lnTo>
                    <a:pt x="90" y="136"/>
                  </a:lnTo>
                  <a:lnTo>
                    <a:pt x="43" y="222"/>
                  </a:lnTo>
                  <a:cubicBezTo>
                    <a:pt x="42" y="224"/>
                    <a:pt x="40" y="225"/>
                    <a:pt x="39" y="225"/>
                  </a:cubicBezTo>
                  <a:lnTo>
                    <a:pt x="5" y="22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 name="Freeform 35"/>
            <p:cNvSpPr>
              <a:spLocks noChangeArrowheads="1"/>
            </p:cNvSpPr>
            <p:nvPr/>
          </p:nvSpPr>
          <p:spPr bwMode="auto">
            <a:xfrm>
              <a:off x="2087563" y="3176588"/>
              <a:ext cx="38100" cy="80962"/>
            </a:xfrm>
            <a:custGeom>
              <a:avLst/>
              <a:gdLst/>
              <a:ahLst/>
              <a:cxnLst>
                <a:cxn ang="0">
                  <a:pos x="5" y="225"/>
                </a:cxn>
                <a:cxn ang="0">
                  <a:pos x="1" y="223"/>
                </a:cxn>
                <a:cxn ang="0">
                  <a:pos x="0" y="220"/>
                </a:cxn>
                <a:cxn ang="0">
                  <a:pos x="4" y="59"/>
                </a:cxn>
                <a:cxn ang="0">
                  <a:pos x="8" y="55"/>
                </a:cxn>
                <a:cxn ang="0">
                  <a:pos x="36" y="47"/>
                </a:cxn>
                <a:cxn ang="0">
                  <a:pos x="60" y="6"/>
                </a:cxn>
                <a:cxn ang="0">
                  <a:pos x="63" y="4"/>
                </a:cxn>
                <a:cxn ang="0">
                  <a:pos x="75" y="0"/>
                </a:cxn>
                <a:cxn ang="0">
                  <a:pos x="77" y="0"/>
                </a:cxn>
                <a:cxn ang="0">
                  <a:pos x="80" y="1"/>
                </a:cxn>
                <a:cxn ang="0">
                  <a:pos x="105" y="22"/>
                </a:cxn>
                <a:cxn ang="0">
                  <a:pos x="107" y="26"/>
                </a:cxn>
                <a:cxn ang="0">
                  <a:pos x="90" y="136"/>
                </a:cxn>
                <a:cxn ang="0">
                  <a:pos x="43" y="222"/>
                </a:cxn>
                <a:cxn ang="0">
                  <a:pos x="39" y="225"/>
                </a:cxn>
                <a:cxn ang="0">
                  <a:pos x="5" y="225"/>
                </a:cxn>
              </a:cxnLst>
              <a:rect l="0" t="0" r="r" b="b"/>
              <a:pathLst>
                <a:path w="108" h="226">
                  <a:moveTo>
                    <a:pt x="5" y="225"/>
                  </a:moveTo>
                  <a:cubicBezTo>
                    <a:pt x="4" y="225"/>
                    <a:pt x="2" y="224"/>
                    <a:pt x="1" y="223"/>
                  </a:cubicBezTo>
                  <a:cubicBezTo>
                    <a:pt x="1" y="222"/>
                    <a:pt x="0" y="221"/>
                    <a:pt x="0" y="220"/>
                  </a:cubicBezTo>
                  <a:lnTo>
                    <a:pt x="4" y="59"/>
                  </a:lnTo>
                  <a:cubicBezTo>
                    <a:pt x="4" y="57"/>
                    <a:pt x="6" y="55"/>
                    <a:pt x="8" y="55"/>
                  </a:cubicBezTo>
                  <a:lnTo>
                    <a:pt x="36" y="47"/>
                  </a:lnTo>
                  <a:lnTo>
                    <a:pt x="60" y="6"/>
                  </a:lnTo>
                  <a:cubicBezTo>
                    <a:pt x="61" y="5"/>
                    <a:pt x="62" y="4"/>
                    <a:pt x="63" y="4"/>
                  </a:cubicBezTo>
                  <a:lnTo>
                    <a:pt x="75" y="0"/>
                  </a:lnTo>
                  <a:cubicBezTo>
                    <a:pt x="76" y="0"/>
                    <a:pt x="76" y="0"/>
                    <a:pt x="77" y="0"/>
                  </a:cubicBezTo>
                  <a:cubicBezTo>
                    <a:pt x="78" y="0"/>
                    <a:pt x="79" y="0"/>
                    <a:pt x="80" y="1"/>
                  </a:cubicBezTo>
                  <a:lnTo>
                    <a:pt x="105" y="22"/>
                  </a:lnTo>
                  <a:cubicBezTo>
                    <a:pt x="106" y="23"/>
                    <a:pt x="107" y="24"/>
                    <a:pt x="107" y="26"/>
                  </a:cubicBezTo>
                  <a:lnTo>
                    <a:pt x="90" y="136"/>
                  </a:lnTo>
                  <a:lnTo>
                    <a:pt x="43" y="222"/>
                  </a:lnTo>
                  <a:cubicBezTo>
                    <a:pt x="42" y="224"/>
                    <a:pt x="40" y="225"/>
                    <a:pt x="39" y="225"/>
                  </a:cubicBezTo>
                  <a:lnTo>
                    <a:pt x="5" y="22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 name="Freeform 36"/>
            <p:cNvSpPr>
              <a:spLocks noChangeArrowheads="1"/>
            </p:cNvSpPr>
            <p:nvPr/>
          </p:nvSpPr>
          <p:spPr bwMode="auto">
            <a:xfrm>
              <a:off x="2989263" y="1933575"/>
              <a:ext cx="201612" cy="230188"/>
            </a:xfrm>
            <a:custGeom>
              <a:avLst/>
              <a:gdLst/>
              <a:ahLst/>
              <a:cxnLst>
                <a:cxn ang="0">
                  <a:pos x="487" y="636"/>
                </a:cxn>
                <a:cxn ang="0">
                  <a:pos x="440" y="605"/>
                </a:cxn>
                <a:cxn ang="0">
                  <a:pos x="434" y="605"/>
                </a:cxn>
                <a:cxn ang="0">
                  <a:pos x="449" y="541"/>
                </a:cxn>
                <a:cxn ang="0">
                  <a:pos x="432" y="475"/>
                </a:cxn>
                <a:cxn ang="0">
                  <a:pos x="308" y="605"/>
                </a:cxn>
                <a:cxn ang="0">
                  <a:pos x="302" y="604"/>
                </a:cxn>
                <a:cxn ang="0">
                  <a:pos x="284" y="580"/>
                </a:cxn>
                <a:cxn ang="0">
                  <a:pos x="367" y="514"/>
                </a:cxn>
                <a:cxn ang="0">
                  <a:pos x="327" y="531"/>
                </a:cxn>
                <a:cxn ang="0">
                  <a:pos x="267" y="534"/>
                </a:cxn>
                <a:cxn ang="0">
                  <a:pos x="264" y="526"/>
                </a:cxn>
                <a:cxn ang="0">
                  <a:pos x="294" y="491"/>
                </a:cxn>
                <a:cxn ang="0">
                  <a:pos x="30" y="522"/>
                </a:cxn>
                <a:cxn ang="0">
                  <a:pos x="0" y="496"/>
                </a:cxn>
                <a:cxn ang="0">
                  <a:pos x="1" y="471"/>
                </a:cxn>
                <a:cxn ang="0">
                  <a:pos x="12" y="403"/>
                </a:cxn>
                <a:cxn ang="0">
                  <a:pos x="11" y="394"/>
                </a:cxn>
                <a:cxn ang="0">
                  <a:pos x="77" y="325"/>
                </a:cxn>
                <a:cxn ang="0">
                  <a:pos x="104" y="322"/>
                </a:cxn>
                <a:cxn ang="0">
                  <a:pos x="96" y="280"/>
                </a:cxn>
                <a:cxn ang="0">
                  <a:pos x="136" y="194"/>
                </a:cxn>
                <a:cxn ang="0">
                  <a:pos x="158" y="184"/>
                </a:cxn>
                <a:cxn ang="0">
                  <a:pos x="153" y="172"/>
                </a:cxn>
                <a:cxn ang="0">
                  <a:pos x="158" y="119"/>
                </a:cxn>
                <a:cxn ang="0">
                  <a:pos x="221" y="27"/>
                </a:cxn>
                <a:cxn ang="0">
                  <a:pos x="314" y="0"/>
                </a:cxn>
                <a:cxn ang="0">
                  <a:pos x="317" y="8"/>
                </a:cxn>
                <a:cxn ang="0">
                  <a:pos x="297" y="58"/>
                </a:cxn>
                <a:cxn ang="0">
                  <a:pos x="288" y="94"/>
                </a:cxn>
                <a:cxn ang="0">
                  <a:pos x="268" y="132"/>
                </a:cxn>
                <a:cxn ang="0">
                  <a:pos x="221" y="246"/>
                </a:cxn>
                <a:cxn ang="0">
                  <a:pos x="272" y="190"/>
                </a:cxn>
                <a:cxn ang="0">
                  <a:pos x="276" y="196"/>
                </a:cxn>
                <a:cxn ang="0">
                  <a:pos x="323" y="216"/>
                </a:cxn>
                <a:cxn ang="0">
                  <a:pos x="324" y="225"/>
                </a:cxn>
                <a:cxn ang="0">
                  <a:pos x="291" y="270"/>
                </a:cxn>
                <a:cxn ang="0">
                  <a:pos x="351" y="260"/>
                </a:cxn>
                <a:cxn ang="0">
                  <a:pos x="340" y="293"/>
                </a:cxn>
                <a:cxn ang="0">
                  <a:pos x="484" y="284"/>
                </a:cxn>
                <a:cxn ang="0">
                  <a:pos x="488" y="290"/>
                </a:cxn>
                <a:cxn ang="0">
                  <a:pos x="520" y="377"/>
                </a:cxn>
                <a:cxn ang="0">
                  <a:pos x="525" y="378"/>
                </a:cxn>
                <a:cxn ang="0">
                  <a:pos x="517" y="409"/>
                </a:cxn>
                <a:cxn ang="0">
                  <a:pos x="462" y="441"/>
                </a:cxn>
                <a:cxn ang="0">
                  <a:pos x="479" y="459"/>
                </a:cxn>
                <a:cxn ang="0">
                  <a:pos x="479" y="502"/>
                </a:cxn>
                <a:cxn ang="0">
                  <a:pos x="538" y="436"/>
                </a:cxn>
                <a:cxn ang="0">
                  <a:pos x="543" y="442"/>
                </a:cxn>
                <a:cxn ang="0">
                  <a:pos x="539" y="493"/>
                </a:cxn>
                <a:cxn ang="0">
                  <a:pos x="544" y="491"/>
                </a:cxn>
                <a:cxn ang="0">
                  <a:pos x="560" y="532"/>
                </a:cxn>
                <a:cxn ang="0">
                  <a:pos x="523" y="627"/>
                </a:cxn>
                <a:cxn ang="0">
                  <a:pos x="492" y="640"/>
                </a:cxn>
              </a:cxnLst>
              <a:rect l="0" t="0" r="r" b="b"/>
              <a:pathLst>
                <a:path w="561" h="641">
                  <a:moveTo>
                    <a:pt x="490" y="640"/>
                  </a:moveTo>
                  <a:cubicBezTo>
                    <a:pt x="488" y="639"/>
                    <a:pt x="487" y="638"/>
                    <a:pt x="487" y="636"/>
                  </a:cubicBezTo>
                  <a:lnTo>
                    <a:pt x="476" y="576"/>
                  </a:lnTo>
                  <a:lnTo>
                    <a:pt x="440" y="605"/>
                  </a:lnTo>
                  <a:cubicBezTo>
                    <a:pt x="439" y="606"/>
                    <a:pt x="438" y="606"/>
                    <a:pt x="437" y="606"/>
                  </a:cubicBezTo>
                  <a:cubicBezTo>
                    <a:pt x="436" y="606"/>
                    <a:pt x="435" y="606"/>
                    <a:pt x="434" y="605"/>
                  </a:cubicBezTo>
                  <a:cubicBezTo>
                    <a:pt x="432" y="604"/>
                    <a:pt x="432" y="602"/>
                    <a:pt x="432" y="600"/>
                  </a:cubicBezTo>
                  <a:lnTo>
                    <a:pt x="449" y="541"/>
                  </a:lnTo>
                  <a:lnTo>
                    <a:pt x="437" y="475"/>
                  </a:lnTo>
                  <a:lnTo>
                    <a:pt x="432" y="475"/>
                  </a:lnTo>
                  <a:lnTo>
                    <a:pt x="412" y="535"/>
                  </a:lnTo>
                  <a:lnTo>
                    <a:pt x="308" y="605"/>
                  </a:lnTo>
                  <a:cubicBezTo>
                    <a:pt x="307" y="606"/>
                    <a:pt x="306" y="606"/>
                    <a:pt x="305" y="606"/>
                  </a:cubicBezTo>
                  <a:cubicBezTo>
                    <a:pt x="304" y="606"/>
                    <a:pt x="303" y="606"/>
                    <a:pt x="302" y="604"/>
                  </a:cubicBezTo>
                  <a:lnTo>
                    <a:pt x="285" y="583"/>
                  </a:lnTo>
                  <a:cubicBezTo>
                    <a:pt x="284" y="582"/>
                    <a:pt x="284" y="581"/>
                    <a:pt x="284" y="580"/>
                  </a:cubicBezTo>
                  <a:cubicBezTo>
                    <a:pt x="284" y="578"/>
                    <a:pt x="285" y="577"/>
                    <a:pt x="286" y="577"/>
                  </a:cubicBezTo>
                  <a:lnTo>
                    <a:pt x="367" y="514"/>
                  </a:lnTo>
                  <a:lnTo>
                    <a:pt x="338" y="506"/>
                  </a:lnTo>
                  <a:lnTo>
                    <a:pt x="327" y="531"/>
                  </a:lnTo>
                  <a:cubicBezTo>
                    <a:pt x="326" y="533"/>
                    <a:pt x="324" y="534"/>
                    <a:pt x="322" y="534"/>
                  </a:cubicBezTo>
                  <a:lnTo>
                    <a:pt x="267" y="534"/>
                  </a:lnTo>
                  <a:cubicBezTo>
                    <a:pt x="265" y="534"/>
                    <a:pt x="264" y="533"/>
                    <a:pt x="263" y="531"/>
                  </a:cubicBezTo>
                  <a:cubicBezTo>
                    <a:pt x="262" y="529"/>
                    <a:pt x="263" y="527"/>
                    <a:pt x="264" y="526"/>
                  </a:cubicBezTo>
                  <a:lnTo>
                    <a:pt x="290" y="505"/>
                  </a:lnTo>
                  <a:lnTo>
                    <a:pt x="294" y="491"/>
                  </a:lnTo>
                  <a:lnTo>
                    <a:pt x="218" y="521"/>
                  </a:lnTo>
                  <a:lnTo>
                    <a:pt x="30" y="522"/>
                  </a:lnTo>
                  <a:lnTo>
                    <a:pt x="2" y="499"/>
                  </a:lnTo>
                  <a:cubicBezTo>
                    <a:pt x="1" y="498"/>
                    <a:pt x="0" y="497"/>
                    <a:pt x="0" y="496"/>
                  </a:cubicBezTo>
                  <a:lnTo>
                    <a:pt x="0" y="474"/>
                  </a:lnTo>
                  <a:cubicBezTo>
                    <a:pt x="0" y="473"/>
                    <a:pt x="0" y="472"/>
                    <a:pt x="1" y="471"/>
                  </a:cubicBezTo>
                  <a:lnTo>
                    <a:pt x="63" y="414"/>
                  </a:lnTo>
                  <a:lnTo>
                    <a:pt x="12" y="403"/>
                  </a:lnTo>
                  <a:cubicBezTo>
                    <a:pt x="10" y="402"/>
                    <a:pt x="9" y="401"/>
                    <a:pt x="8" y="399"/>
                  </a:cubicBezTo>
                  <a:cubicBezTo>
                    <a:pt x="8" y="397"/>
                    <a:pt x="10" y="395"/>
                    <a:pt x="11" y="394"/>
                  </a:cubicBezTo>
                  <a:lnTo>
                    <a:pt x="56" y="378"/>
                  </a:lnTo>
                  <a:lnTo>
                    <a:pt x="77" y="325"/>
                  </a:lnTo>
                  <a:cubicBezTo>
                    <a:pt x="77" y="323"/>
                    <a:pt x="79" y="322"/>
                    <a:pt x="81" y="322"/>
                  </a:cubicBezTo>
                  <a:lnTo>
                    <a:pt x="104" y="322"/>
                  </a:lnTo>
                  <a:lnTo>
                    <a:pt x="93" y="285"/>
                  </a:lnTo>
                  <a:cubicBezTo>
                    <a:pt x="93" y="283"/>
                    <a:pt x="94" y="281"/>
                    <a:pt x="96" y="280"/>
                  </a:cubicBezTo>
                  <a:lnTo>
                    <a:pt x="119" y="268"/>
                  </a:lnTo>
                  <a:lnTo>
                    <a:pt x="136" y="194"/>
                  </a:lnTo>
                  <a:cubicBezTo>
                    <a:pt x="136" y="193"/>
                    <a:pt x="137" y="191"/>
                    <a:pt x="139" y="191"/>
                  </a:cubicBezTo>
                  <a:lnTo>
                    <a:pt x="158" y="184"/>
                  </a:lnTo>
                  <a:lnTo>
                    <a:pt x="153" y="177"/>
                  </a:lnTo>
                  <a:cubicBezTo>
                    <a:pt x="152" y="175"/>
                    <a:pt x="152" y="174"/>
                    <a:pt x="153" y="172"/>
                  </a:cubicBezTo>
                  <a:lnTo>
                    <a:pt x="172" y="129"/>
                  </a:lnTo>
                  <a:lnTo>
                    <a:pt x="158" y="119"/>
                  </a:lnTo>
                  <a:cubicBezTo>
                    <a:pt x="157" y="117"/>
                    <a:pt x="156" y="114"/>
                    <a:pt x="158" y="112"/>
                  </a:cubicBezTo>
                  <a:lnTo>
                    <a:pt x="221" y="27"/>
                  </a:lnTo>
                  <a:lnTo>
                    <a:pt x="261" y="5"/>
                  </a:lnTo>
                  <a:lnTo>
                    <a:pt x="314" y="0"/>
                  </a:lnTo>
                  <a:cubicBezTo>
                    <a:pt x="316" y="0"/>
                    <a:pt x="317" y="1"/>
                    <a:pt x="318" y="3"/>
                  </a:cubicBezTo>
                  <a:cubicBezTo>
                    <a:pt x="319" y="5"/>
                    <a:pt x="319" y="7"/>
                    <a:pt x="317" y="8"/>
                  </a:cubicBezTo>
                  <a:lnTo>
                    <a:pt x="290" y="32"/>
                  </a:lnTo>
                  <a:lnTo>
                    <a:pt x="297" y="58"/>
                  </a:lnTo>
                  <a:lnTo>
                    <a:pt x="293" y="90"/>
                  </a:lnTo>
                  <a:cubicBezTo>
                    <a:pt x="293" y="92"/>
                    <a:pt x="291" y="94"/>
                    <a:pt x="288" y="94"/>
                  </a:cubicBezTo>
                  <a:lnTo>
                    <a:pt x="268" y="94"/>
                  </a:lnTo>
                  <a:lnTo>
                    <a:pt x="268" y="132"/>
                  </a:lnTo>
                  <a:lnTo>
                    <a:pt x="220" y="202"/>
                  </a:lnTo>
                  <a:lnTo>
                    <a:pt x="221" y="246"/>
                  </a:lnTo>
                  <a:lnTo>
                    <a:pt x="268" y="192"/>
                  </a:lnTo>
                  <a:cubicBezTo>
                    <a:pt x="269" y="191"/>
                    <a:pt x="270" y="190"/>
                    <a:pt x="272" y="190"/>
                  </a:cubicBezTo>
                  <a:cubicBezTo>
                    <a:pt x="272" y="190"/>
                    <a:pt x="273" y="191"/>
                    <a:pt x="274" y="191"/>
                  </a:cubicBezTo>
                  <a:cubicBezTo>
                    <a:pt x="276" y="192"/>
                    <a:pt x="277" y="194"/>
                    <a:pt x="276" y="196"/>
                  </a:cubicBezTo>
                  <a:lnTo>
                    <a:pt x="273" y="208"/>
                  </a:lnTo>
                  <a:lnTo>
                    <a:pt x="323" y="216"/>
                  </a:lnTo>
                  <a:cubicBezTo>
                    <a:pt x="325" y="216"/>
                    <a:pt x="327" y="218"/>
                    <a:pt x="327" y="220"/>
                  </a:cubicBezTo>
                  <a:cubicBezTo>
                    <a:pt x="327" y="222"/>
                    <a:pt x="326" y="224"/>
                    <a:pt x="324" y="225"/>
                  </a:cubicBezTo>
                  <a:lnTo>
                    <a:pt x="278" y="248"/>
                  </a:lnTo>
                  <a:lnTo>
                    <a:pt x="291" y="270"/>
                  </a:lnTo>
                  <a:cubicBezTo>
                    <a:pt x="291" y="270"/>
                    <a:pt x="347" y="258"/>
                    <a:pt x="348" y="258"/>
                  </a:cubicBezTo>
                  <a:cubicBezTo>
                    <a:pt x="349" y="258"/>
                    <a:pt x="351" y="259"/>
                    <a:pt x="351" y="260"/>
                  </a:cubicBezTo>
                  <a:cubicBezTo>
                    <a:pt x="352" y="261"/>
                    <a:pt x="353" y="263"/>
                    <a:pt x="352" y="265"/>
                  </a:cubicBezTo>
                  <a:lnTo>
                    <a:pt x="340" y="293"/>
                  </a:lnTo>
                  <a:lnTo>
                    <a:pt x="406" y="271"/>
                  </a:lnTo>
                  <a:lnTo>
                    <a:pt x="484" y="284"/>
                  </a:lnTo>
                  <a:cubicBezTo>
                    <a:pt x="486" y="284"/>
                    <a:pt x="487" y="285"/>
                    <a:pt x="487" y="286"/>
                  </a:cubicBezTo>
                  <a:cubicBezTo>
                    <a:pt x="488" y="287"/>
                    <a:pt x="488" y="289"/>
                    <a:pt x="488" y="290"/>
                  </a:cubicBezTo>
                  <a:lnTo>
                    <a:pt x="449" y="396"/>
                  </a:lnTo>
                  <a:lnTo>
                    <a:pt x="520" y="377"/>
                  </a:lnTo>
                  <a:cubicBezTo>
                    <a:pt x="521" y="377"/>
                    <a:pt x="521" y="377"/>
                    <a:pt x="522" y="377"/>
                  </a:cubicBezTo>
                  <a:cubicBezTo>
                    <a:pt x="523" y="377"/>
                    <a:pt x="524" y="377"/>
                    <a:pt x="525" y="378"/>
                  </a:cubicBezTo>
                  <a:cubicBezTo>
                    <a:pt x="526" y="380"/>
                    <a:pt x="527" y="381"/>
                    <a:pt x="526" y="383"/>
                  </a:cubicBezTo>
                  <a:lnTo>
                    <a:pt x="517" y="409"/>
                  </a:lnTo>
                  <a:cubicBezTo>
                    <a:pt x="517" y="410"/>
                    <a:pt x="516" y="410"/>
                    <a:pt x="515" y="411"/>
                  </a:cubicBezTo>
                  <a:lnTo>
                    <a:pt x="462" y="441"/>
                  </a:lnTo>
                  <a:lnTo>
                    <a:pt x="478" y="454"/>
                  </a:lnTo>
                  <a:cubicBezTo>
                    <a:pt x="479" y="455"/>
                    <a:pt x="480" y="457"/>
                    <a:pt x="479" y="459"/>
                  </a:cubicBezTo>
                  <a:lnTo>
                    <a:pt x="468" y="490"/>
                  </a:lnTo>
                  <a:lnTo>
                    <a:pt x="479" y="502"/>
                  </a:lnTo>
                  <a:lnTo>
                    <a:pt x="535" y="438"/>
                  </a:lnTo>
                  <a:cubicBezTo>
                    <a:pt x="536" y="437"/>
                    <a:pt x="537" y="436"/>
                    <a:pt x="538" y="436"/>
                  </a:cubicBezTo>
                  <a:cubicBezTo>
                    <a:pt x="539" y="436"/>
                    <a:pt x="540" y="436"/>
                    <a:pt x="541" y="437"/>
                  </a:cubicBezTo>
                  <a:cubicBezTo>
                    <a:pt x="542" y="438"/>
                    <a:pt x="544" y="440"/>
                    <a:pt x="543" y="442"/>
                  </a:cubicBezTo>
                  <a:lnTo>
                    <a:pt x="527" y="507"/>
                  </a:lnTo>
                  <a:lnTo>
                    <a:pt x="539" y="493"/>
                  </a:lnTo>
                  <a:cubicBezTo>
                    <a:pt x="540" y="492"/>
                    <a:pt x="541" y="491"/>
                    <a:pt x="543" y="491"/>
                  </a:cubicBezTo>
                  <a:cubicBezTo>
                    <a:pt x="543" y="491"/>
                    <a:pt x="543" y="491"/>
                    <a:pt x="544" y="491"/>
                  </a:cubicBezTo>
                  <a:cubicBezTo>
                    <a:pt x="545" y="491"/>
                    <a:pt x="547" y="493"/>
                    <a:pt x="547" y="494"/>
                  </a:cubicBezTo>
                  <a:lnTo>
                    <a:pt x="560" y="532"/>
                  </a:lnTo>
                  <a:lnTo>
                    <a:pt x="526" y="624"/>
                  </a:lnTo>
                  <a:cubicBezTo>
                    <a:pt x="525" y="626"/>
                    <a:pt x="525" y="626"/>
                    <a:pt x="523" y="627"/>
                  </a:cubicBezTo>
                  <a:lnTo>
                    <a:pt x="494" y="640"/>
                  </a:lnTo>
                  <a:cubicBezTo>
                    <a:pt x="493" y="640"/>
                    <a:pt x="492" y="640"/>
                    <a:pt x="492" y="640"/>
                  </a:cubicBezTo>
                  <a:cubicBezTo>
                    <a:pt x="491" y="640"/>
                    <a:pt x="490" y="640"/>
                    <a:pt x="490" y="64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 name="Freeform 37"/>
            <p:cNvSpPr>
              <a:spLocks noChangeArrowheads="1"/>
            </p:cNvSpPr>
            <p:nvPr/>
          </p:nvSpPr>
          <p:spPr bwMode="auto">
            <a:xfrm>
              <a:off x="2989263" y="1933575"/>
              <a:ext cx="201612" cy="230188"/>
            </a:xfrm>
            <a:custGeom>
              <a:avLst/>
              <a:gdLst/>
              <a:ahLst/>
              <a:cxnLst>
                <a:cxn ang="0">
                  <a:pos x="490" y="640"/>
                </a:cxn>
                <a:cxn ang="0">
                  <a:pos x="476" y="576"/>
                </a:cxn>
                <a:cxn ang="0">
                  <a:pos x="437" y="606"/>
                </a:cxn>
                <a:cxn ang="0">
                  <a:pos x="432" y="600"/>
                </a:cxn>
                <a:cxn ang="0">
                  <a:pos x="437" y="475"/>
                </a:cxn>
                <a:cxn ang="0">
                  <a:pos x="412" y="535"/>
                </a:cxn>
                <a:cxn ang="0">
                  <a:pos x="305" y="606"/>
                </a:cxn>
                <a:cxn ang="0">
                  <a:pos x="285" y="583"/>
                </a:cxn>
                <a:cxn ang="0">
                  <a:pos x="286" y="577"/>
                </a:cxn>
                <a:cxn ang="0">
                  <a:pos x="338" y="506"/>
                </a:cxn>
                <a:cxn ang="0">
                  <a:pos x="322" y="534"/>
                </a:cxn>
                <a:cxn ang="0">
                  <a:pos x="263" y="531"/>
                </a:cxn>
                <a:cxn ang="0">
                  <a:pos x="290" y="505"/>
                </a:cxn>
                <a:cxn ang="0">
                  <a:pos x="218" y="521"/>
                </a:cxn>
                <a:cxn ang="0">
                  <a:pos x="2" y="499"/>
                </a:cxn>
                <a:cxn ang="0">
                  <a:pos x="0" y="474"/>
                </a:cxn>
                <a:cxn ang="0">
                  <a:pos x="63" y="414"/>
                </a:cxn>
                <a:cxn ang="0">
                  <a:pos x="8" y="399"/>
                </a:cxn>
                <a:cxn ang="0">
                  <a:pos x="56" y="378"/>
                </a:cxn>
                <a:cxn ang="0">
                  <a:pos x="81" y="322"/>
                </a:cxn>
                <a:cxn ang="0">
                  <a:pos x="93" y="285"/>
                </a:cxn>
                <a:cxn ang="0">
                  <a:pos x="119" y="268"/>
                </a:cxn>
                <a:cxn ang="0">
                  <a:pos x="139" y="191"/>
                </a:cxn>
                <a:cxn ang="0">
                  <a:pos x="153" y="177"/>
                </a:cxn>
                <a:cxn ang="0">
                  <a:pos x="172" y="129"/>
                </a:cxn>
                <a:cxn ang="0">
                  <a:pos x="158" y="112"/>
                </a:cxn>
                <a:cxn ang="0">
                  <a:pos x="261" y="5"/>
                </a:cxn>
                <a:cxn ang="0">
                  <a:pos x="318" y="3"/>
                </a:cxn>
                <a:cxn ang="0">
                  <a:pos x="290" y="32"/>
                </a:cxn>
                <a:cxn ang="0">
                  <a:pos x="293" y="90"/>
                </a:cxn>
                <a:cxn ang="0">
                  <a:pos x="268" y="94"/>
                </a:cxn>
                <a:cxn ang="0">
                  <a:pos x="220" y="202"/>
                </a:cxn>
                <a:cxn ang="0">
                  <a:pos x="268" y="192"/>
                </a:cxn>
                <a:cxn ang="0">
                  <a:pos x="274" y="191"/>
                </a:cxn>
                <a:cxn ang="0">
                  <a:pos x="273" y="208"/>
                </a:cxn>
                <a:cxn ang="0">
                  <a:pos x="327" y="220"/>
                </a:cxn>
                <a:cxn ang="0">
                  <a:pos x="278" y="248"/>
                </a:cxn>
                <a:cxn ang="0">
                  <a:pos x="348" y="258"/>
                </a:cxn>
                <a:cxn ang="0">
                  <a:pos x="352" y="265"/>
                </a:cxn>
                <a:cxn ang="0">
                  <a:pos x="406" y="271"/>
                </a:cxn>
                <a:cxn ang="0">
                  <a:pos x="487" y="286"/>
                </a:cxn>
                <a:cxn ang="0">
                  <a:pos x="449" y="396"/>
                </a:cxn>
                <a:cxn ang="0">
                  <a:pos x="522" y="377"/>
                </a:cxn>
                <a:cxn ang="0">
                  <a:pos x="526" y="383"/>
                </a:cxn>
                <a:cxn ang="0">
                  <a:pos x="515" y="411"/>
                </a:cxn>
                <a:cxn ang="0">
                  <a:pos x="478" y="454"/>
                </a:cxn>
                <a:cxn ang="0">
                  <a:pos x="468" y="490"/>
                </a:cxn>
                <a:cxn ang="0">
                  <a:pos x="535" y="438"/>
                </a:cxn>
                <a:cxn ang="0">
                  <a:pos x="541" y="437"/>
                </a:cxn>
                <a:cxn ang="0">
                  <a:pos x="527" y="507"/>
                </a:cxn>
                <a:cxn ang="0">
                  <a:pos x="543" y="491"/>
                </a:cxn>
                <a:cxn ang="0">
                  <a:pos x="547" y="494"/>
                </a:cxn>
                <a:cxn ang="0">
                  <a:pos x="526" y="624"/>
                </a:cxn>
                <a:cxn ang="0">
                  <a:pos x="494" y="640"/>
                </a:cxn>
              </a:cxnLst>
              <a:rect l="0" t="0" r="r" b="b"/>
              <a:pathLst>
                <a:path w="561" h="641">
                  <a:moveTo>
                    <a:pt x="492" y="640"/>
                  </a:moveTo>
                  <a:cubicBezTo>
                    <a:pt x="491" y="640"/>
                    <a:pt x="490" y="640"/>
                    <a:pt x="490" y="640"/>
                  </a:cubicBezTo>
                  <a:cubicBezTo>
                    <a:pt x="488" y="639"/>
                    <a:pt x="487" y="638"/>
                    <a:pt x="487" y="636"/>
                  </a:cubicBezTo>
                  <a:lnTo>
                    <a:pt x="476" y="576"/>
                  </a:lnTo>
                  <a:lnTo>
                    <a:pt x="440" y="605"/>
                  </a:lnTo>
                  <a:cubicBezTo>
                    <a:pt x="439" y="606"/>
                    <a:pt x="438" y="606"/>
                    <a:pt x="437" y="606"/>
                  </a:cubicBezTo>
                  <a:cubicBezTo>
                    <a:pt x="436" y="606"/>
                    <a:pt x="435" y="606"/>
                    <a:pt x="434" y="605"/>
                  </a:cubicBezTo>
                  <a:cubicBezTo>
                    <a:pt x="432" y="604"/>
                    <a:pt x="432" y="602"/>
                    <a:pt x="432" y="600"/>
                  </a:cubicBezTo>
                  <a:lnTo>
                    <a:pt x="449" y="541"/>
                  </a:lnTo>
                  <a:lnTo>
                    <a:pt x="437" y="475"/>
                  </a:lnTo>
                  <a:lnTo>
                    <a:pt x="432" y="475"/>
                  </a:lnTo>
                  <a:lnTo>
                    <a:pt x="412" y="535"/>
                  </a:lnTo>
                  <a:lnTo>
                    <a:pt x="308" y="605"/>
                  </a:lnTo>
                  <a:cubicBezTo>
                    <a:pt x="307" y="606"/>
                    <a:pt x="306" y="606"/>
                    <a:pt x="305" y="606"/>
                  </a:cubicBezTo>
                  <a:cubicBezTo>
                    <a:pt x="304" y="606"/>
                    <a:pt x="303" y="606"/>
                    <a:pt x="302" y="604"/>
                  </a:cubicBezTo>
                  <a:lnTo>
                    <a:pt x="285" y="583"/>
                  </a:lnTo>
                  <a:cubicBezTo>
                    <a:pt x="284" y="582"/>
                    <a:pt x="284" y="581"/>
                    <a:pt x="284" y="580"/>
                  </a:cubicBezTo>
                  <a:cubicBezTo>
                    <a:pt x="284" y="578"/>
                    <a:pt x="285" y="577"/>
                    <a:pt x="286" y="577"/>
                  </a:cubicBezTo>
                  <a:lnTo>
                    <a:pt x="367" y="514"/>
                  </a:lnTo>
                  <a:lnTo>
                    <a:pt x="338" y="506"/>
                  </a:lnTo>
                  <a:lnTo>
                    <a:pt x="327" y="531"/>
                  </a:lnTo>
                  <a:cubicBezTo>
                    <a:pt x="326" y="533"/>
                    <a:pt x="324" y="534"/>
                    <a:pt x="322" y="534"/>
                  </a:cubicBezTo>
                  <a:lnTo>
                    <a:pt x="267" y="534"/>
                  </a:lnTo>
                  <a:cubicBezTo>
                    <a:pt x="265" y="534"/>
                    <a:pt x="264" y="533"/>
                    <a:pt x="263" y="531"/>
                  </a:cubicBezTo>
                  <a:cubicBezTo>
                    <a:pt x="262" y="529"/>
                    <a:pt x="263" y="527"/>
                    <a:pt x="264" y="526"/>
                  </a:cubicBezTo>
                  <a:lnTo>
                    <a:pt x="290" y="505"/>
                  </a:lnTo>
                  <a:lnTo>
                    <a:pt x="294" y="491"/>
                  </a:lnTo>
                  <a:lnTo>
                    <a:pt x="218" y="521"/>
                  </a:lnTo>
                  <a:lnTo>
                    <a:pt x="30" y="522"/>
                  </a:lnTo>
                  <a:lnTo>
                    <a:pt x="2" y="499"/>
                  </a:lnTo>
                  <a:cubicBezTo>
                    <a:pt x="1" y="498"/>
                    <a:pt x="0" y="497"/>
                    <a:pt x="0" y="496"/>
                  </a:cubicBezTo>
                  <a:lnTo>
                    <a:pt x="0" y="474"/>
                  </a:lnTo>
                  <a:cubicBezTo>
                    <a:pt x="0" y="473"/>
                    <a:pt x="0" y="472"/>
                    <a:pt x="1" y="471"/>
                  </a:cubicBezTo>
                  <a:lnTo>
                    <a:pt x="63" y="414"/>
                  </a:lnTo>
                  <a:lnTo>
                    <a:pt x="12" y="403"/>
                  </a:lnTo>
                  <a:cubicBezTo>
                    <a:pt x="10" y="402"/>
                    <a:pt x="9" y="401"/>
                    <a:pt x="8" y="399"/>
                  </a:cubicBezTo>
                  <a:cubicBezTo>
                    <a:pt x="8" y="397"/>
                    <a:pt x="10" y="395"/>
                    <a:pt x="11" y="394"/>
                  </a:cubicBezTo>
                  <a:lnTo>
                    <a:pt x="56" y="378"/>
                  </a:lnTo>
                  <a:lnTo>
                    <a:pt x="77" y="325"/>
                  </a:lnTo>
                  <a:cubicBezTo>
                    <a:pt x="77" y="323"/>
                    <a:pt x="79" y="322"/>
                    <a:pt x="81" y="322"/>
                  </a:cubicBezTo>
                  <a:lnTo>
                    <a:pt x="104" y="322"/>
                  </a:lnTo>
                  <a:lnTo>
                    <a:pt x="93" y="285"/>
                  </a:lnTo>
                  <a:cubicBezTo>
                    <a:pt x="93" y="283"/>
                    <a:pt x="94" y="281"/>
                    <a:pt x="96" y="280"/>
                  </a:cubicBezTo>
                  <a:lnTo>
                    <a:pt x="119" y="268"/>
                  </a:lnTo>
                  <a:lnTo>
                    <a:pt x="136" y="194"/>
                  </a:lnTo>
                  <a:cubicBezTo>
                    <a:pt x="136" y="193"/>
                    <a:pt x="137" y="191"/>
                    <a:pt x="139" y="191"/>
                  </a:cubicBezTo>
                  <a:lnTo>
                    <a:pt x="158" y="184"/>
                  </a:lnTo>
                  <a:lnTo>
                    <a:pt x="153" y="177"/>
                  </a:lnTo>
                  <a:cubicBezTo>
                    <a:pt x="152" y="175"/>
                    <a:pt x="152" y="174"/>
                    <a:pt x="153" y="172"/>
                  </a:cubicBezTo>
                  <a:lnTo>
                    <a:pt x="172" y="129"/>
                  </a:lnTo>
                  <a:lnTo>
                    <a:pt x="158" y="119"/>
                  </a:lnTo>
                  <a:cubicBezTo>
                    <a:pt x="157" y="117"/>
                    <a:pt x="156" y="114"/>
                    <a:pt x="158" y="112"/>
                  </a:cubicBezTo>
                  <a:lnTo>
                    <a:pt x="221" y="27"/>
                  </a:lnTo>
                  <a:lnTo>
                    <a:pt x="261" y="5"/>
                  </a:lnTo>
                  <a:lnTo>
                    <a:pt x="314" y="0"/>
                  </a:lnTo>
                  <a:cubicBezTo>
                    <a:pt x="316" y="0"/>
                    <a:pt x="317" y="1"/>
                    <a:pt x="318" y="3"/>
                  </a:cubicBezTo>
                  <a:cubicBezTo>
                    <a:pt x="319" y="5"/>
                    <a:pt x="319" y="7"/>
                    <a:pt x="317" y="8"/>
                  </a:cubicBezTo>
                  <a:lnTo>
                    <a:pt x="290" y="32"/>
                  </a:lnTo>
                  <a:lnTo>
                    <a:pt x="297" y="58"/>
                  </a:lnTo>
                  <a:lnTo>
                    <a:pt x="293" y="90"/>
                  </a:lnTo>
                  <a:cubicBezTo>
                    <a:pt x="293" y="92"/>
                    <a:pt x="291" y="94"/>
                    <a:pt x="288" y="94"/>
                  </a:cubicBezTo>
                  <a:lnTo>
                    <a:pt x="268" y="94"/>
                  </a:lnTo>
                  <a:lnTo>
                    <a:pt x="268" y="132"/>
                  </a:lnTo>
                  <a:lnTo>
                    <a:pt x="220" y="202"/>
                  </a:lnTo>
                  <a:lnTo>
                    <a:pt x="221" y="246"/>
                  </a:lnTo>
                  <a:lnTo>
                    <a:pt x="268" y="192"/>
                  </a:lnTo>
                  <a:cubicBezTo>
                    <a:pt x="269" y="191"/>
                    <a:pt x="270" y="190"/>
                    <a:pt x="272" y="190"/>
                  </a:cubicBezTo>
                  <a:cubicBezTo>
                    <a:pt x="272" y="190"/>
                    <a:pt x="273" y="191"/>
                    <a:pt x="274" y="191"/>
                  </a:cubicBezTo>
                  <a:cubicBezTo>
                    <a:pt x="276" y="192"/>
                    <a:pt x="277" y="194"/>
                    <a:pt x="276" y="196"/>
                  </a:cubicBezTo>
                  <a:lnTo>
                    <a:pt x="273" y="208"/>
                  </a:lnTo>
                  <a:lnTo>
                    <a:pt x="323" y="216"/>
                  </a:lnTo>
                  <a:cubicBezTo>
                    <a:pt x="325" y="216"/>
                    <a:pt x="327" y="218"/>
                    <a:pt x="327" y="220"/>
                  </a:cubicBezTo>
                  <a:cubicBezTo>
                    <a:pt x="327" y="222"/>
                    <a:pt x="326" y="224"/>
                    <a:pt x="324" y="225"/>
                  </a:cubicBezTo>
                  <a:lnTo>
                    <a:pt x="278" y="248"/>
                  </a:lnTo>
                  <a:lnTo>
                    <a:pt x="291" y="270"/>
                  </a:lnTo>
                  <a:cubicBezTo>
                    <a:pt x="291" y="270"/>
                    <a:pt x="347" y="258"/>
                    <a:pt x="348" y="258"/>
                  </a:cubicBezTo>
                  <a:cubicBezTo>
                    <a:pt x="349" y="258"/>
                    <a:pt x="351" y="259"/>
                    <a:pt x="351" y="260"/>
                  </a:cubicBezTo>
                  <a:cubicBezTo>
                    <a:pt x="352" y="261"/>
                    <a:pt x="353" y="263"/>
                    <a:pt x="352" y="265"/>
                  </a:cubicBezTo>
                  <a:lnTo>
                    <a:pt x="340" y="293"/>
                  </a:lnTo>
                  <a:lnTo>
                    <a:pt x="406" y="271"/>
                  </a:lnTo>
                  <a:lnTo>
                    <a:pt x="484" y="284"/>
                  </a:lnTo>
                  <a:cubicBezTo>
                    <a:pt x="486" y="284"/>
                    <a:pt x="487" y="285"/>
                    <a:pt x="487" y="286"/>
                  </a:cubicBezTo>
                  <a:cubicBezTo>
                    <a:pt x="488" y="287"/>
                    <a:pt x="488" y="289"/>
                    <a:pt x="488" y="290"/>
                  </a:cubicBezTo>
                  <a:lnTo>
                    <a:pt x="449" y="396"/>
                  </a:lnTo>
                  <a:lnTo>
                    <a:pt x="520" y="377"/>
                  </a:lnTo>
                  <a:cubicBezTo>
                    <a:pt x="521" y="377"/>
                    <a:pt x="521" y="377"/>
                    <a:pt x="522" y="377"/>
                  </a:cubicBezTo>
                  <a:cubicBezTo>
                    <a:pt x="523" y="377"/>
                    <a:pt x="524" y="377"/>
                    <a:pt x="525" y="378"/>
                  </a:cubicBezTo>
                  <a:cubicBezTo>
                    <a:pt x="526" y="380"/>
                    <a:pt x="527" y="381"/>
                    <a:pt x="526" y="383"/>
                  </a:cubicBezTo>
                  <a:lnTo>
                    <a:pt x="517" y="409"/>
                  </a:lnTo>
                  <a:cubicBezTo>
                    <a:pt x="517" y="410"/>
                    <a:pt x="516" y="410"/>
                    <a:pt x="515" y="411"/>
                  </a:cubicBezTo>
                  <a:lnTo>
                    <a:pt x="462" y="441"/>
                  </a:lnTo>
                  <a:lnTo>
                    <a:pt x="478" y="454"/>
                  </a:lnTo>
                  <a:cubicBezTo>
                    <a:pt x="479" y="455"/>
                    <a:pt x="480" y="457"/>
                    <a:pt x="479" y="459"/>
                  </a:cubicBezTo>
                  <a:lnTo>
                    <a:pt x="468" y="490"/>
                  </a:lnTo>
                  <a:lnTo>
                    <a:pt x="479" y="502"/>
                  </a:lnTo>
                  <a:lnTo>
                    <a:pt x="535" y="438"/>
                  </a:lnTo>
                  <a:cubicBezTo>
                    <a:pt x="536" y="437"/>
                    <a:pt x="537" y="436"/>
                    <a:pt x="538" y="436"/>
                  </a:cubicBezTo>
                  <a:cubicBezTo>
                    <a:pt x="539" y="436"/>
                    <a:pt x="540" y="436"/>
                    <a:pt x="541" y="437"/>
                  </a:cubicBezTo>
                  <a:cubicBezTo>
                    <a:pt x="542" y="438"/>
                    <a:pt x="544" y="440"/>
                    <a:pt x="543" y="442"/>
                  </a:cubicBezTo>
                  <a:lnTo>
                    <a:pt x="527" y="507"/>
                  </a:lnTo>
                  <a:lnTo>
                    <a:pt x="539" y="493"/>
                  </a:lnTo>
                  <a:cubicBezTo>
                    <a:pt x="540" y="492"/>
                    <a:pt x="541" y="491"/>
                    <a:pt x="543" y="491"/>
                  </a:cubicBezTo>
                  <a:cubicBezTo>
                    <a:pt x="543" y="491"/>
                    <a:pt x="543" y="491"/>
                    <a:pt x="544" y="491"/>
                  </a:cubicBezTo>
                  <a:cubicBezTo>
                    <a:pt x="545" y="491"/>
                    <a:pt x="547" y="493"/>
                    <a:pt x="547" y="494"/>
                  </a:cubicBezTo>
                  <a:lnTo>
                    <a:pt x="560" y="532"/>
                  </a:lnTo>
                  <a:lnTo>
                    <a:pt x="526" y="624"/>
                  </a:lnTo>
                  <a:cubicBezTo>
                    <a:pt x="525" y="626"/>
                    <a:pt x="525" y="626"/>
                    <a:pt x="523" y="627"/>
                  </a:cubicBezTo>
                  <a:lnTo>
                    <a:pt x="494" y="640"/>
                  </a:lnTo>
                  <a:cubicBezTo>
                    <a:pt x="493" y="640"/>
                    <a:pt x="492" y="640"/>
                    <a:pt x="492" y="64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 name="Freeform 38"/>
            <p:cNvSpPr>
              <a:spLocks noChangeArrowheads="1"/>
            </p:cNvSpPr>
            <p:nvPr/>
          </p:nvSpPr>
          <p:spPr bwMode="auto">
            <a:xfrm>
              <a:off x="2189163" y="3403600"/>
              <a:ext cx="101600" cy="85725"/>
            </a:xfrm>
            <a:custGeom>
              <a:avLst/>
              <a:gdLst/>
              <a:ahLst/>
              <a:cxnLst>
                <a:cxn ang="0">
                  <a:pos x="238" y="236"/>
                </a:cxn>
                <a:cxn ang="0">
                  <a:pos x="223" y="219"/>
                </a:cxn>
                <a:cxn ang="0">
                  <a:pos x="221" y="230"/>
                </a:cxn>
                <a:cxn ang="0">
                  <a:pos x="219" y="233"/>
                </a:cxn>
                <a:cxn ang="0">
                  <a:pos x="216" y="234"/>
                </a:cxn>
                <a:cxn ang="0">
                  <a:pos x="215" y="233"/>
                </a:cxn>
                <a:cxn ang="0">
                  <a:pos x="185" y="221"/>
                </a:cxn>
                <a:cxn ang="0">
                  <a:pos x="182" y="217"/>
                </a:cxn>
                <a:cxn ang="0">
                  <a:pos x="178" y="173"/>
                </a:cxn>
                <a:cxn ang="0">
                  <a:pos x="117" y="144"/>
                </a:cxn>
                <a:cxn ang="0">
                  <a:pos x="79" y="94"/>
                </a:cxn>
                <a:cxn ang="0">
                  <a:pos x="74" y="94"/>
                </a:cxn>
                <a:cxn ang="0">
                  <a:pos x="79" y="98"/>
                </a:cxn>
                <a:cxn ang="0">
                  <a:pos x="81" y="103"/>
                </a:cxn>
                <a:cxn ang="0">
                  <a:pos x="77" y="128"/>
                </a:cxn>
                <a:cxn ang="0">
                  <a:pos x="74" y="132"/>
                </a:cxn>
                <a:cxn ang="0">
                  <a:pos x="72" y="132"/>
                </a:cxn>
                <a:cxn ang="0">
                  <a:pos x="70" y="132"/>
                </a:cxn>
                <a:cxn ang="0">
                  <a:pos x="19" y="102"/>
                </a:cxn>
                <a:cxn ang="0">
                  <a:pos x="0" y="62"/>
                </a:cxn>
                <a:cxn ang="0">
                  <a:pos x="8" y="4"/>
                </a:cxn>
                <a:cxn ang="0">
                  <a:pos x="13" y="0"/>
                </a:cxn>
                <a:cxn ang="0">
                  <a:pos x="115" y="9"/>
                </a:cxn>
                <a:cxn ang="0">
                  <a:pos x="149" y="29"/>
                </a:cxn>
                <a:cxn ang="0">
                  <a:pos x="185" y="13"/>
                </a:cxn>
                <a:cxn ang="0">
                  <a:pos x="187" y="13"/>
                </a:cxn>
                <a:cxn ang="0">
                  <a:pos x="191" y="15"/>
                </a:cxn>
                <a:cxn ang="0">
                  <a:pos x="225" y="79"/>
                </a:cxn>
                <a:cxn ang="0">
                  <a:pos x="279" y="124"/>
                </a:cxn>
                <a:cxn ang="0">
                  <a:pos x="281" y="128"/>
                </a:cxn>
                <a:cxn ang="0">
                  <a:pos x="279" y="131"/>
                </a:cxn>
                <a:cxn ang="0">
                  <a:pos x="255" y="147"/>
                </a:cxn>
                <a:cxn ang="0">
                  <a:pos x="255" y="163"/>
                </a:cxn>
                <a:cxn ang="0">
                  <a:pos x="269" y="170"/>
                </a:cxn>
                <a:cxn ang="0">
                  <a:pos x="272" y="176"/>
                </a:cxn>
                <a:cxn ang="0">
                  <a:pos x="246" y="235"/>
                </a:cxn>
                <a:cxn ang="0">
                  <a:pos x="243" y="238"/>
                </a:cxn>
                <a:cxn ang="0">
                  <a:pos x="242" y="238"/>
                </a:cxn>
                <a:cxn ang="0">
                  <a:pos x="238" y="236"/>
                </a:cxn>
              </a:cxnLst>
              <a:rect l="0" t="0" r="r" b="b"/>
              <a:pathLst>
                <a:path w="282" h="239">
                  <a:moveTo>
                    <a:pt x="238" y="236"/>
                  </a:moveTo>
                  <a:lnTo>
                    <a:pt x="223" y="219"/>
                  </a:lnTo>
                  <a:lnTo>
                    <a:pt x="221" y="230"/>
                  </a:lnTo>
                  <a:cubicBezTo>
                    <a:pt x="221" y="231"/>
                    <a:pt x="220" y="233"/>
                    <a:pt x="219" y="233"/>
                  </a:cubicBezTo>
                  <a:cubicBezTo>
                    <a:pt x="218" y="234"/>
                    <a:pt x="217" y="234"/>
                    <a:pt x="216" y="234"/>
                  </a:cubicBezTo>
                  <a:cubicBezTo>
                    <a:pt x="216" y="234"/>
                    <a:pt x="215" y="234"/>
                    <a:pt x="215" y="233"/>
                  </a:cubicBezTo>
                  <a:lnTo>
                    <a:pt x="185" y="221"/>
                  </a:lnTo>
                  <a:cubicBezTo>
                    <a:pt x="183" y="220"/>
                    <a:pt x="182" y="219"/>
                    <a:pt x="182" y="217"/>
                  </a:cubicBezTo>
                  <a:lnTo>
                    <a:pt x="178" y="173"/>
                  </a:lnTo>
                  <a:lnTo>
                    <a:pt x="117" y="144"/>
                  </a:lnTo>
                  <a:lnTo>
                    <a:pt x="79" y="94"/>
                  </a:lnTo>
                  <a:lnTo>
                    <a:pt x="74" y="94"/>
                  </a:lnTo>
                  <a:lnTo>
                    <a:pt x="79" y="98"/>
                  </a:lnTo>
                  <a:cubicBezTo>
                    <a:pt x="81" y="99"/>
                    <a:pt x="81" y="101"/>
                    <a:pt x="81" y="103"/>
                  </a:cubicBezTo>
                  <a:lnTo>
                    <a:pt x="77" y="128"/>
                  </a:lnTo>
                  <a:cubicBezTo>
                    <a:pt x="77" y="130"/>
                    <a:pt x="76" y="131"/>
                    <a:pt x="74" y="132"/>
                  </a:cubicBezTo>
                  <a:cubicBezTo>
                    <a:pt x="74" y="132"/>
                    <a:pt x="73" y="132"/>
                    <a:pt x="72" y="132"/>
                  </a:cubicBezTo>
                  <a:cubicBezTo>
                    <a:pt x="72" y="132"/>
                    <a:pt x="71" y="132"/>
                    <a:pt x="70" y="132"/>
                  </a:cubicBezTo>
                  <a:lnTo>
                    <a:pt x="19" y="102"/>
                  </a:lnTo>
                  <a:lnTo>
                    <a:pt x="0" y="62"/>
                  </a:lnTo>
                  <a:lnTo>
                    <a:pt x="8" y="4"/>
                  </a:lnTo>
                  <a:cubicBezTo>
                    <a:pt x="9" y="2"/>
                    <a:pt x="11" y="0"/>
                    <a:pt x="13" y="0"/>
                  </a:cubicBezTo>
                  <a:lnTo>
                    <a:pt x="115" y="9"/>
                  </a:lnTo>
                  <a:lnTo>
                    <a:pt x="149" y="29"/>
                  </a:lnTo>
                  <a:lnTo>
                    <a:pt x="185" y="13"/>
                  </a:lnTo>
                  <a:cubicBezTo>
                    <a:pt x="186" y="13"/>
                    <a:pt x="186" y="13"/>
                    <a:pt x="187" y="13"/>
                  </a:cubicBezTo>
                  <a:cubicBezTo>
                    <a:pt x="189" y="13"/>
                    <a:pt x="190" y="14"/>
                    <a:pt x="191" y="15"/>
                  </a:cubicBezTo>
                  <a:lnTo>
                    <a:pt x="225" y="79"/>
                  </a:lnTo>
                  <a:lnTo>
                    <a:pt x="279" y="124"/>
                  </a:lnTo>
                  <a:cubicBezTo>
                    <a:pt x="280" y="125"/>
                    <a:pt x="281" y="126"/>
                    <a:pt x="281" y="128"/>
                  </a:cubicBezTo>
                  <a:cubicBezTo>
                    <a:pt x="280" y="129"/>
                    <a:pt x="280" y="131"/>
                    <a:pt x="279" y="131"/>
                  </a:cubicBezTo>
                  <a:lnTo>
                    <a:pt x="255" y="147"/>
                  </a:lnTo>
                  <a:lnTo>
                    <a:pt x="255" y="163"/>
                  </a:lnTo>
                  <a:lnTo>
                    <a:pt x="269" y="170"/>
                  </a:lnTo>
                  <a:cubicBezTo>
                    <a:pt x="272" y="171"/>
                    <a:pt x="273" y="174"/>
                    <a:pt x="272" y="176"/>
                  </a:cubicBezTo>
                  <a:lnTo>
                    <a:pt x="246" y="235"/>
                  </a:lnTo>
                  <a:cubicBezTo>
                    <a:pt x="246" y="237"/>
                    <a:pt x="244" y="238"/>
                    <a:pt x="243" y="238"/>
                  </a:cubicBezTo>
                  <a:cubicBezTo>
                    <a:pt x="242" y="238"/>
                    <a:pt x="242" y="238"/>
                    <a:pt x="242" y="238"/>
                  </a:cubicBezTo>
                  <a:cubicBezTo>
                    <a:pt x="240" y="238"/>
                    <a:pt x="239" y="237"/>
                    <a:pt x="238" y="23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 name="Freeform 39"/>
            <p:cNvSpPr>
              <a:spLocks noChangeArrowheads="1"/>
            </p:cNvSpPr>
            <p:nvPr/>
          </p:nvSpPr>
          <p:spPr bwMode="auto">
            <a:xfrm>
              <a:off x="2189163" y="3403600"/>
              <a:ext cx="101600" cy="85725"/>
            </a:xfrm>
            <a:custGeom>
              <a:avLst/>
              <a:gdLst/>
              <a:ahLst/>
              <a:cxnLst>
                <a:cxn ang="0">
                  <a:pos x="242" y="238"/>
                </a:cxn>
                <a:cxn ang="0">
                  <a:pos x="238" y="236"/>
                </a:cxn>
                <a:cxn ang="0">
                  <a:pos x="223" y="219"/>
                </a:cxn>
                <a:cxn ang="0">
                  <a:pos x="221" y="230"/>
                </a:cxn>
                <a:cxn ang="0">
                  <a:pos x="219" y="233"/>
                </a:cxn>
                <a:cxn ang="0">
                  <a:pos x="216" y="234"/>
                </a:cxn>
                <a:cxn ang="0">
                  <a:pos x="215" y="233"/>
                </a:cxn>
                <a:cxn ang="0">
                  <a:pos x="185" y="221"/>
                </a:cxn>
                <a:cxn ang="0">
                  <a:pos x="182" y="217"/>
                </a:cxn>
                <a:cxn ang="0">
                  <a:pos x="178" y="173"/>
                </a:cxn>
                <a:cxn ang="0">
                  <a:pos x="117" y="144"/>
                </a:cxn>
                <a:cxn ang="0">
                  <a:pos x="79" y="94"/>
                </a:cxn>
                <a:cxn ang="0">
                  <a:pos x="74" y="94"/>
                </a:cxn>
                <a:cxn ang="0">
                  <a:pos x="79" y="98"/>
                </a:cxn>
                <a:cxn ang="0">
                  <a:pos x="81" y="103"/>
                </a:cxn>
                <a:cxn ang="0">
                  <a:pos x="77" y="128"/>
                </a:cxn>
                <a:cxn ang="0">
                  <a:pos x="74" y="132"/>
                </a:cxn>
                <a:cxn ang="0">
                  <a:pos x="72" y="132"/>
                </a:cxn>
                <a:cxn ang="0">
                  <a:pos x="70" y="132"/>
                </a:cxn>
                <a:cxn ang="0">
                  <a:pos x="19" y="102"/>
                </a:cxn>
                <a:cxn ang="0">
                  <a:pos x="0" y="62"/>
                </a:cxn>
                <a:cxn ang="0">
                  <a:pos x="8" y="4"/>
                </a:cxn>
                <a:cxn ang="0">
                  <a:pos x="13" y="0"/>
                </a:cxn>
                <a:cxn ang="0">
                  <a:pos x="115" y="9"/>
                </a:cxn>
                <a:cxn ang="0">
                  <a:pos x="149" y="29"/>
                </a:cxn>
                <a:cxn ang="0">
                  <a:pos x="185" y="13"/>
                </a:cxn>
                <a:cxn ang="0">
                  <a:pos x="187" y="13"/>
                </a:cxn>
                <a:cxn ang="0">
                  <a:pos x="191" y="15"/>
                </a:cxn>
                <a:cxn ang="0">
                  <a:pos x="225" y="79"/>
                </a:cxn>
                <a:cxn ang="0">
                  <a:pos x="279" y="124"/>
                </a:cxn>
                <a:cxn ang="0">
                  <a:pos x="281" y="128"/>
                </a:cxn>
                <a:cxn ang="0">
                  <a:pos x="279" y="131"/>
                </a:cxn>
                <a:cxn ang="0">
                  <a:pos x="255" y="147"/>
                </a:cxn>
                <a:cxn ang="0">
                  <a:pos x="255" y="163"/>
                </a:cxn>
                <a:cxn ang="0">
                  <a:pos x="269" y="170"/>
                </a:cxn>
                <a:cxn ang="0">
                  <a:pos x="272" y="176"/>
                </a:cxn>
                <a:cxn ang="0">
                  <a:pos x="246" y="235"/>
                </a:cxn>
                <a:cxn ang="0">
                  <a:pos x="243" y="238"/>
                </a:cxn>
                <a:cxn ang="0">
                  <a:pos x="242" y="238"/>
                </a:cxn>
              </a:cxnLst>
              <a:rect l="0" t="0" r="r" b="b"/>
              <a:pathLst>
                <a:path w="282" h="239">
                  <a:moveTo>
                    <a:pt x="242" y="238"/>
                  </a:moveTo>
                  <a:cubicBezTo>
                    <a:pt x="240" y="238"/>
                    <a:pt x="239" y="237"/>
                    <a:pt x="238" y="236"/>
                  </a:cubicBezTo>
                  <a:lnTo>
                    <a:pt x="223" y="219"/>
                  </a:lnTo>
                  <a:lnTo>
                    <a:pt x="221" y="230"/>
                  </a:lnTo>
                  <a:cubicBezTo>
                    <a:pt x="221" y="231"/>
                    <a:pt x="220" y="233"/>
                    <a:pt x="219" y="233"/>
                  </a:cubicBezTo>
                  <a:cubicBezTo>
                    <a:pt x="218" y="234"/>
                    <a:pt x="217" y="234"/>
                    <a:pt x="216" y="234"/>
                  </a:cubicBezTo>
                  <a:cubicBezTo>
                    <a:pt x="216" y="234"/>
                    <a:pt x="215" y="234"/>
                    <a:pt x="215" y="233"/>
                  </a:cubicBezTo>
                  <a:lnTo>
                    <a:pt x="185" y="221"/>
                  </a:lnTo>
                  <a:cubicBezTo>
                    <a:pt x="183" y="220"/>
                    <a:pt x="182" y="219"/>
                    <a:pt x="182" y="217"/>
                  </a:cubicBezTo>
                  <a:lnTo>
                    <a:pt x="178" y="173"/>
                  </a:lnTo>
                  <a:lnTo>
                    <a:pt x="117" y="144"/>
                  </a:lnTo>
                  <a:lnTo>
                    <a:pt x="79" y="94"/>
                  </a:lnTo>
                  <a:lnTo>
                    <a:pt x="74" y="94"/>
                  </a:lnTo>
                  <a:lnTo>
                    <a:pt x="79" y="98"/>
                  </a:lnTo>
                  <a:cubicBezTo>
                    <a:pt x="81" y="99"/>
                    <a:pt x="81" y="101"/>
                    <a:pt x="81" y="103"/>
                  </a:cubicBezTo>
                  <a:lnTo>
                    <a:pt x="77" y="128"/>
                  </a:lnTo>
                  <a:cubicBezTo>
                    <a:pt x="77" y="130"/>
                    <a:pt x="76" y="131"/>
                    <a:pt x="74" y="132"/>
                  </a:cubicBezTo>
                  <a:cubicBezTo>
                    <a:pt x="74" y="132"/>
                    <a:pt x="73" y="132"/>
                    <a:pt x="72" y="132"/>
                  </a:cubicBezTo>
                  <a:cubicBezTo>
                    <a:pt x="72" y="132"/>
                    <a:pt x="71" y="132"/>
                    <a:pt x="70" y="132"/>
                  </a:cubicBezTo>
                  <a:lnTo>
                    <a:pt x="19" y="102"/>
                  </a:lnTo>
                  <a:lnTo>
                    <a:pt x="0" y="62"/>
                  </a:lnTo>
                  <a:lnTo>
                    <a:pt x="8" y="4"/>
                  </a:lnTo>
                  <a:cubicBezTo>
                    <a:pt x="9" y="2"/>
                    <a:pt x="11" y="0"/>
                    <a:pt x="13" y="0"/>
                  </a:cubicBezTo>
                  <a:lnTo>
                    <a:pt x="115" y="9"/>
                  </a:lnTo>
                  <a:lnTo>
                    <a:pt x="149" y="29"/>
                  </a:lnTo>
                  <a:lnTo>
                    <a:pt x="185" y="13"/>
                  </a:lnTo>
                  <a:cubicBezTo>
                    <a:pt x="186" y="13"/>
                    <a:pt x="186" y="13"/>
                    <a:pt x="187" y="13"/>
                  </a:cubicBezTo>
                  <a:cubicBezTo>
                    <a:pt x="189" y="13"/>
                    <a:pt x="190" y="14"/>
                    <a:pt x="191" y="15"/>
                  </a:cubicBezTo>
                  <a:lnTo>
                    <a:pt x="225" y="79"/>
                  </a:lnTo>
                  <a:lnTo>
                    <a:pt x="279" y="124"/>
                  </a:lnTo>
                  <a:cubicBezTo>
                    <a:pt x="280" y="125"/>
                    <a:pt x="281" y="126"/>
                    <a:pt x="281" y="128"/>
                  </a:cubicBezTo>
                  <a:cubicBezTo>
                    <a:pt x="280" y="129"/>
                    <a:pt x="280" y="131"/>
                    <a:pt x="279" y="131"/>
                  </a:cubicBezTo>
                  <a:lnTo>
                    <a:pt x="255" y="147"/>
                  </a:lnTo>
                  <a:lnTo>
                    <a:pt x="255" y="163"/>
                  </a:lnTo>
                  <a:lnTo>
                    <a:pt x="269" y="170"/>
                  </a:lnTo>
                  <a:cubicBezTo>
                    <a:pt x="272" y="171"/>
                    <a:pt x="273" y="174"/>
                    <a:pt x="272" y="176"/>
                  </a:cubicBezTo>
                  <a:lnTo>
                    <a:pt x="246" y="235"/>
                  </a:lnTo>
                  <a:cubicBezTo>
                    <a:pt x="246" y="237"/>
                    <a:pt x="244" y="238"/>
                    <a:pt x="243" y="238"/>
                  </a:cubicBezTo>
                  <a:cubicBezTo>
                    <a:pt x="242" y="238"/>
                    <a:pt x="242" y="238"/>
                    <a:pt x="242" y="23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 name="Freeform 40"/>
            <p:cNvSpPr>
              <a:spLocks noChangeArrowheads="1"/>
            </p:cNvSpPr>
            <p:nvPr/>
          </p:nvSpPr>
          <p:spPr bwMode="auto">
            <a:xfrm>
              <a:off x="2219325" y="3025775"/>
              <a:ext cx="323850" cy="109538"/>
            </a:xfrm>
            <a:custGeom>
              <a:avLst/>
              <a:gdLst/>
              <a:ahLst/>
              <a:cxnLst>
                <a:cxn ang="0">
                  <a:pos x="606" y="305"/>
                </a:cxn>
                <a:cxn ang="0">
                  <a:pos x="595" y="301"/>
                </a:cxn>
                <a:cxn ang="0">
                  <a:pos x="593" y="297"/>
                </a:cxn>
                <a:cxn ang="0">
                  <a:pos x="594" y="293"/>
                </a:cxn>
                <a:cxn ang="0">
                  <a:pos x="642" y="248"/>
                </a:cxn>
                <a:cxn ang="0">
                  <a:pos x="567" y="233"/>
                </a:cxn>
                <a:cxn ang="0">
                  <a:pos x="564" y="231"/>
                </a:cxn>
                <a:cxn ang="0">
                  <a:pos x="514" y="161"/>
                </a:cxn>
                <a:cxn ang="0">
                  <a:pos x="415" y="149"/>
                </a:cxn>
                <a:cxn ang="0">
                  <a:pos x="357" y="110"/>
                </a:cxn>
                <a:cxn ang="0">
                  <a:pos x="241" y="102"/>
                </a:cxn>
                <a:cxn ang="0">
                  <a:pos x="238" y="100"/>
                </a:cxn>
                <a:cxn ang="0">
                  <a:pos x="225" y="83"/>
                </a:cxn>
                <a:cxn ang="0">
                  <a:pos x="224" y="79"/>
                </a:cxn>
                <a:cxn ang="0">
                  <a:pos x="227" y="76"/>
                </a:cxn>
                <a:cxn ang="0">
                  <a:pos x="252" y="64"/>
                </a:cxn>
                <a:cxn ang="0">
                  <a:pos x="244" y="59"/>
                </a:cxn>
                <a:cxn ang="0">
                  <a:pos x="178" y="60"/>
                </a:cxn>
                <a:cxn ang="0">
                  <a:pos x="143" y="89"/>
                </a:cxn>
                <a:cxn ang="0">
                  <a:pos x="90" y="102"/>
                </a:cxn>
                <a:cxn ang="0">
                  <a:pos x="37" y="135"/>
                </a:cxn>
                <a:cxn ang="0">
                  <a:pos x="34" y="136"/>
                </a:cxn>
                <a:cxn ang="0">
                  <a:pos x="33" y="136"/>
                </a:cxn>
                <a:cxn ang="0">
                  <a:pos x="3" y="127"/>
                </a:cxn>
                <a:cxn ang="0">
                  <a:pos x="0" y="123"/>
                </a:cxn>
                <a:cxn ang="0">
                  <a:pos x="3" y="118"/>
                </a:cxn>
                <a:cxn ang="0">
                  <a:pos x="30" y="111"/>
                </a:cxn>
                <a:cxn ang="0">
                  <a:pos x="42" y="62"/>
                </a:cxn>
                <a:cxn ang="0">
                  <a:pos x="44" y="59"/>
                </a:cxn>
                <a:cxn ang="0">
                  <a:pos x="87" y="34"/>
                </a:cxn>
                <a:cxn ang="0">
                  <a:pos x="198" y="0"/>
                </a:cxn>
                <a:cxn ang="0">
                  <a:pos x="267" y="0"/>
                </a:cxn>
                <a:cxn ang="0">
                  <a:pos x="395" y="17"/>
                </a:cxn>
                <a:cxn ang="0">
                  <a:pos x="457" y="68"/>
                </a:cxn>
                <a:cxn ang="0">
                  <a:pos x="522" y="76"/>
                </a:cxn>
                <a:cxn ang="0">
                  <a:pos x="575" y="115"/>
                </a:cxn>
                <a:cxn ang="0">
                  <a:pos x="641" y="135"/>
                </a:cxn>
                <a:cxn ang="0">
                  <a:pos x="685" y="165"/>
                </a:cxn>
                <a:cxn ang="0">
                  <a:pos x="768" y="186"/>
                </a:cxn>
                <a:cxn ang="0">
                  <a:pos x="772" y="191"/>
                </a:cxn>
                <a:cxn ang="0">
                  <a:pos x="772" y="220"/>
                </a:cxn>
                <a:cxn ang="0">
                  <a:pos x="835" y="224"/>
                </a:cxn>
                <a:cxn ang="0">
                  <a:pos x="897" y="267"/>
                </a:cxn>
                <a:cxn ang="0">
                  <a:pos x="899" y="272"/>
                </a:cxn>
                <a:cxn ang="0">
                  <a:pos x="895" y="275"/>
                </a:cxn>
                <a:cxn ang="0">
                  <a:pos x="798" y="305"/>
                </a:cxn>
                <a:cxn ang="0">
                  <a:pos x="797" y="305"/>
                </a:cxn>
                <a:cxn ang="0">
                  <a:pos x="606" y="305"/>
                </a:cxn>
              </a:cxnLst>
              <a:rect l="0" t="0" r="r" b="b"/>
              <a:pathLst>
                <a:path w="900" h="306">
                  <a:moveTo>
                    <a:pt x="606" y="305"/>
                  </a:moveTo>
                  <a:lnTo>
                    <a:pt x="595" y="301"/>
                  </a:lnTo>
                  <a:cubicBezTo>
                    <a:pt x="594" y="300"/>
                    <a:pt x="593" y="298"/>
                    <a:pt x="593" y="297"/>
                  </a:cubicBezTo>
                  <a:cubicBezTo>
                    <a:pt x="592" y="295"/>
                    <a:pt x="593" y="294"/>
                    <a:pt x="594" y="293"/>
                  </a:cubicBezTo>
                  <a:lnTo>
                    <a:pt x="642" y="248"/>
                  </a:lnTo>
                  <a:lnTo>
                    <a:pt x="567" y="233"/>
                  </a:lnTo>
                  <a:cubicBezTo>
                    <a:pt x="566" y="233"/>
                    <a:pt x="564" y="232"/>
                    <a:pt x="564" y="231"/>
                  </a:cubicBezTo>
                  <a:lnTo>
                    <a:pt x="514" y="161"/>
                  </a:lnTo>
                  <a:lnTo>
                    <a:pt x="415" y="149"/>
                  </a:lnTo>
                  <a:lnTo>
                    <a:pt x="357" y="110"/>
                  </a:lnTo>
                  <a:lnTo>
                    <a:pt x="241" y="102"/>
                  </a:lnTo>
                  <a:cubicBezTo>
                    <a:pt x="240" y="102"/>
                    <a:pt x="239" y="101"/>
                    <a:pt x="238" y="100"/>
                  </a:cubicBezTo>
                  <a:lnTo>
                    <a:pt x="225" y="83"/>
                  </a:lnTo>
                  <a:cubicBezTo>
                    <a:pt x="224" y="82"/>
                    <a:pt x="224" y="81"/>
                    <a:pt x="224" y="79"/>
                  </a:cubicBezTo>
                  <a:cubicBezTo>
                    <a:pt x="224" y="78"/>
                    <a:pt x="225" y="77"/>
                    <a:pt x="227" y="76"/>
                  </a:cubicBezTo>
                  <a:lnTo>
                    <a:pt x="252" y="64"/>
                  </a:lnTo>
                  <a:lnTo>
                    <a:pt x="244" y="59"/>
                  </a:lnTo>
                  <a:lnTo>
                    <a:pt x="178" y="60"/>
                  </a:lnTo>
                  <a:lnTo>
                    <a:pt x="143" y="89"/>
                  </a:lnTo>
                  <a:lnTo>
                    <a:pt x="90" y="102"/>
                  </a:lnTo>
                  <a:lnTo>
                    <a:pt x="37" y="135"/>
                  </a:lnTo>
                  <a:cubicBezTo>
                    <a:pt x="36" y="136"/>
                    <a:pt x="35" y="136"/>
                    <a:pt x="34" y="136"/>
                  </a:cubicBezTo>
                  <a:lnTo>
                    <a:pt x="33" y="136"/>
                  </a:lnTo>
                  <a:lnTo>
                    <a:pt x="3" y="127"/>
                  </a:lnTo>
                  <a:cubicBezTo>
                    <a:pt x="1" y="127"/>
                    <a:pt x="0" y="125"/>
                    <a:pt x="0" y="123"/>
                  </a:cubicBezTo>
                  <a:cubicBezTo>
                    <a:pt x="0" y="121"/>
                    <a:pt x="1" y="119"/>
                    <a:pt x="3" y="118"/>
                  </a:cubicBezTo>
                  <a:lnTo>
                    <a:pt x="30" y="111"/>
                  </a:lnTo>
                  <a:lnTo>
                    <a:pt x="42" y="62"/>
                  </a:lnTo>
                  <a:cubicBezTo>
                    <a:pt x="43" y="61"/>
                    <a:pt x="43" y="60"/>
                    <a:pt x="44" y="59"/>
                  </a:cubicBezTo>
                  <a:lnTo>
                    <a:pt x="87" y="34"/>
                  </a:lnTo>
                  <a:lnTo>
                    <a:pt x="198" y="0"/>
                  </a:lnTo>
                  <a:lnTo>
                    <a:pt x="267" y="0"/>
                  </a:lnTo>
                  <a:lnTo>
                    <a:pt x="395" y="17"/>
                  </a:lnTo>
                  <a:lnTo>
                    <a:pt x="457" y="68"/>
                  </a:lnTo>
                  <a:lnTo>
                    <a:pt x="522" y="76"/>
                  </a:lnTo>
                  <a:lnTo>
                    <a:pt x="575" y="115"/>
                  </a:lnTo>
                  <a:lnTo>
                    <a:pt x="641" y="135"/>
                  </a:lnTo>
                  <a:lnTo>
                    <a:pt x="685" y="165"/>
                  </a:lnTo>
                  <a:lnTo>
                    <a:pt x="768" y="186"/>
                  </a:lnTo>
                  <a:cubicBezTo>
                    <a:pt x="770" y="186"/>
                    <a:pt x="772" y="188"/>
                    <a:pt x="772" y="191"/>
                  </a:cubicBezTo>
                  <a:lnTo>
                    <a:pt x="772" y="220"/>
                  </a:lnTo>
                  <a:lnTo>
                    <a:pt x="835" y="224"/>
                  </a:lnTo>
                  <a:lnTo>
                    <a:pt x="897" y="267"/>
                  </a:lnTo>
                  <a:cubicBezTo>
                    <a:pt x="898" y="268"/>
                    <a:pt x="899" y="270"/>
                    <a:pt x="899" y="272"/>
                  </a:cubicBezTo>
                  <a:cubicBezTo>
                    <a:pt x="898" y="273"/>
                    <a:pt x="897" y="275"/>
                    <a:pt x="895" y="275"/>
                  </a:cubicBezTo>
                  <a:lnTo>
                    <a:pt x="798" y="305"/>
                  </a:lnTo>
                  <a:cubicBezTo>
                    <a:pt x="797" y="305"/>
                    <a:pt x="797" y="305"/>
                    <a:pt x="797" y="305"/>
                  </a:cubicBezTo>
                  <a:lnTo>
                    <a:pt x="606" y="30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 name="Freeform 41"/>
            <p:cNvSpPr>
              <a:spLocks noChangeArrowheads="1"/>
            </p:cNvSpPr>
            <p:nvPr/>
          </p:nvSpPr>
          <p:spPr bwMode="auto">
            <a:xfrm>
              <a:off x="2219325" y="3025775"/>
              <a:ext cx="323850" cy="109538"/>
            </a:xfrm>
            <a:custGeom>
              <a:avLst/>
              <a:gdLst/>
              <a:ahLst/>
              <a:cxnLst>
                <a:cxn ang="0">
                  <a:pos x="606" y="305"/>
                </a:cxn>
                <a:cxn ang="0">
                  <a:pos x="595" y="301"/>
                </a:cxn>
                <a:cxn ang="0">
                  <a:pos x="593" y="297"/>
                </a:cxn>
                <a:cxn ang="0">
                  <a:pos x="594" y="293"/>
                </a:cxn>
                <a:cxn ang="0">
                  <a:pos x="642" y="248"/>
                </a:cxn>
                <a:cxn ang="0">
                  <a:pos x="567" y="233"/>
                </a:cxn>
                <a:cxn ang="0">
                  <a:pos x="564" y="231"/>
                </a:cxn>
                <a:cxn ang="0">
                  <a:pos x="514" y="161"/>
                </a:cxn>
                <a:cxn ang="0">
                  <a:pos x="415" y="149"/>
                </a:cxn>
                <a:cxn ang="0">
                  <a:pos x="357" y="110"/>
                </a:cxn>
                <a:cxn ang="0">
                  <a:pos x="241" y="102"/>
                </a:cxn>
                <a:cxn ang="0">
                  <a:pos x="238" y="100"/>
                </a:cxn>
                <a:cxn ang="0">
                  <a:pos x="225" y="83"/>
                </a:cxn>
                <a:cxn ang="0">
                  <a:pos x="224" y="79"/>
                </a:cxn>
                <a:cxn ang="0">
                  <a:pos x="227" y="76"/>
                </a:cxn>
                <a:cxn ang="0">
                  <a:pos x="252" y="64"/>
                </a:cxn>
                <a:cxn ang="0">
                  <a:pos x="244" y="59"/>
                </a:cxn>
                <a:cxn ang="0">
                  <a:pos x="178" y="60"/>
                </a:cxn>
                <a:cxn ang="0">
                  <a:pos x="143" y="89"/>
                </a:cxn>
                <a:cxn ang="0">
                  <a:pos x="90" y="102"/>
                </a:cxn>
                <a:cxn ang="0">
                  <a:pos x="37" y="135"/>
                </a:cxn>
                <a:cxn ang="0">
                  <a:pos x="34" y="136"/>
                </a:cxn>
                <a:cxn ang="0">
                  <a:pos x="33" y="136"/>
                </a:cxn>
                <a:cxn ang="0">
                  <a:pos x="3" y="127"/>
                </a:cxn>
                <a:cxn ang="0">
                  <a:pos x="0" y="123"/>
                </a:cxn>
                <a:cxn ang="0">
                  <a:pos x="3" y="118"/>
                </a:cxn>
                <a:cxn ang="0">
                  <a:pos x="30" y="111"/>
                </a:cxn>
                <a:cxn ang="0">
                  <a:pos x="42" y="62"/>
                </a:cxn>
                <a:cxn ang="0">
                  <a:pos x="44" y="59"/>
                </a:cxn>
                <a:cxn ang="0">
                  <a:pos x="87" y="34"/>
                </a:cxn>
                <a:cxn ang="0">
                  <a:pos x="198" y="0"/>
                </a:cxn>
                <a:cxn ang="0">
                  <a:pos x="267" y="0"/>
                </a:cxn>
                <a:cxn ang="0">
                  <a:pos x="395" y="17"/>
                </a:cxn>
                <a:cxn ang="0">
                  <a:pos x="457" y="68"/>
                </a:cxn>
                <a:cxn ang="0">
                  <a:pos x="522" y="76"/>
                </a:cxn>
                <a:cxn ang="0">
                  <a:pos x="575" y="115"/>
                </a:cxn>
                <a:cxn ang="0">
                  <a:pos x="641" y="135"/>
                </a:cxn>
                <a:cxn ang="0">
                  <a:pos x="685" y="165"/>
                </a:cxn>
                <a:cxn ang="0">
                  <a:pos x="768" y="186"/>
                </a:cxn>
                <a:cxn ang="0">
                  <a:pos x="772" y="191"/>
                </a:cxn>
                <a:cxn ang="0">
                  <a:pos x="772" y="220"/>
                </a:cxn>
                <a:cxn ang="0">
                  <a:pos x="835" y="224"/>
                </a:cxn>
                <a:cxn ang="0">
                  <a:pos x="897" y="267"/>
                </a:cxn>
                <a:cxn ang="0">
                  <a:pos x="899" y="272"/>
                </a:cxn>
                <a:cxn ang="0">
                  <a:pos x="895" y="275"/>
                </a:cxn>
                <a:cxn ang="0">
                  <a:pos x="798" y="305"/>
                </a:cxn>
                <a:cxn ang="0">
                  <a:pos x="797" y="305"/>
                </a:cxn>
                <a:cxn ang="0">
                  <a:pos x="606" y="305"/>
                </a:cxn>
              </a:cxnLst>
              <a:rect l="0" t="0" r="r" b="b"/>
              <a:pathLst>
                <a:path w="900" h="306">
                  <a:moveTo>
                    <a:pt x="606" y="305"/>
                  </a:moveTo>
                  <a:lnTo>
                    <a:pt x="595" y="301"/>
                  </a:lnTo>
                  <a:cubicBezTo>
                    <a:pt x="594" y="300"/>
                    <a:pt x="593" y="298"/>
                    <a:pt x="593" y="297"/>
                  </a:cubicBezTo>
                  <a:cubicBezTo>
                    <a:pt x="592" y="295"/>
                    <a:pt x="593" y="294"/>
                    <a:pt x="594" y="293"/>
                  </a:cubicBezTo>
                  <a:lnTo>
                    <a:pt x="642" y="248"/>
                  </a:lnTo>
                  <a:lnTo>
                    <a:pt x="567" y="233"/>
                  </a:lnTo>
                  <a:cubicBezTo>
                    <a:pt x="566" y="233"/>
                    <a:pt x="564" y="232"/>
                    <a:pt x="564" y="231"/>
                  </a:cubicBezTo>
                  <a:lnTo>
                    <a:pt x="514" y="161"/>
                  </a:lnTo>
                  <a:lnTo>
                    <a:pt x="415" y="149"/>
                  </a:lnTo>
                  <a:lnTo>
                    <a:pt x="357" y="110"/>
                  </a:lnTo>
                  <a:lnTo>
                    <a:pt x="241" y="102"/>
                  </a:lnTo>
                  <a:cubicBezTo>
                    <a:pt x="240" y="102"/>
                    <a:pt x="239" y="101"/>
                    <a:pt x="238" y="100"/>
                  </a:cubicBezTo>
                  <a:lnTo>
                    <a:pt x="225" y="83"/>
                  </a:lnTo>
                  <a:cubicBezTo>
                    <a:pt x="224" y="82"/>
                    <a:pt x="224" y="81"/>
                    <a:pt x="224" y="79"/>
                  </a:cubicBezTo>
                  <a:cubicBezTo>
                    <a:pt x="224" y="78"/>
                    <a:pt x="225" y="77"/>
                    <a:pt x="227" y="76"/>
                  </a:cubicBezTo>
                  <a:lnTo>
                    <a:pt x="252" y="64"/>
                  </a:lnTo>
                  <a:lnTo>
                    <a:pt x="244" y="59"/>
                  </a:lnTo>
                  <a:lnTo>
                    <a:pt x="178" y="60"/>
                  </a:lnTo>
                  <a:lnTo>
                    <a:pt x="143" y="89"/>
                  </a:lnTo>
                  <a:lnTo>
                    <a:pt x="90" y="102"/>
                  </a:lnTo>
                  <a:lnTo>
                    <a:pt x="37" y="135"/>
                  </a:lnTo>
                  <a:cubicBezTo>
                    <a:pt x="36" y="136"/>
                    <a:pt x="35" y="136"/>
                    <a:pt x="34" y="136"/>
                  </a:cubicBezTo>
                  <a:lnTo>
                    <a:pt x="33" y="136"/>
                  </a:lnTo>
                  <a:lnTo>
                    <a:pt x="3" y="127"/>
                  </a:lnTo>
                  <a:cubicBezTo>
                    <a:pt x="1" y="127"/>
                    <a:pt x="0" y="125"/>
                    <a:pt x="0" y="123"/>
                  </a:cubicBezTo>
                  <a:cubicBezTo>
                    <a:pt x="0" y="121"/>
                    <a:pt x="1" y="119"/>
                    <a:pt x="3" y="118"/>
                  </a:cubicBezTo>
                  <a:lnTo>
                    <a:pt x="30" y="111"/>
                  </a:lnTo>
                  <a:lnTo>
                    <a:pt x="42" y="62"/>
                  </a:lnTo>
                  <a:cubicBezTo>
                    <a:pt x="43" y="61"/>
                    <a:pt x="43" y="60"/>
                    <a:pt x="44" y="59"/>
                  </a:cubicBezTo>
                  <a:lnTo>
                    <a:pt x="87" y="34"/>
                  </a:lnTo>
                  <a:lnTo>
                    <a:pt x="198" y="0"/>
                  </a:lnTo>
                  <a:lnTo>
                    <a:pt x="267" y="0"/>
                  </a:lnTo>
                  <a:lnTo>
                    <a:pt x="395" y="17"/>
                  </a:lnTo>
                  <a:lnTo>
                    <a:pt x="457" y="68"/>
                  </a:lnTo>
                  <a:lnTo>
                    <a:pt x="522" y="76"/>
                  </a:lnTo>
                  <a:lnTo>
                    <a:pt x="575" y="115"/>
                  </a:lnTo>
                  <a:lnTo>
                    <a:pt x="641" y="135"/>
                  </a:lnTo>
                  <a:lnTo>
                    <a:pt x="685" y="165"/>
                  </a:lnTo>
                  <a:lnTo>
                    <a:pt x="768" y="186"/>
                  </a:lnTo>
                  <a:cubicBezTo>
                    <a:pt x="770" y="186"/>
                    <a:pt x="772" y="188"/>
                    <a:pt x="772" y="191"/>
                  </a:cubicBezTo>
                  <a:lnTo>
                    <a:pt x="772" y="220"/>
                  </a:lnTo>
                  <a:lnTo>
                    <a:pt x="835" y="224"/>
                  </a:lnTo>
                  <a:lnTo>
                    <a:pt x="897" y="267"/>
                  </a:lnTo>
                  <a:cubicBezTo>
                    <a:pt x="898" y="268"/>
                    <a:pt x="899" y="270"/>
                    <a:pt x="899" y="272"/>
                  </a:cubicBezTo>
                  <a:cubicBezTo>
                    <a:pt x="898" y="273"/>
                    <a:pt x="897" y="275"/>
                    <a:pt x="895" y="275"/>
                  </a:cubicBezTo>
                  <a:lnTo>
                    <a:pt x="798" y="305"/>
                  </a:lnTo>
                  <a:cubicBezTo>
                    <a:pt x="797" y="305"/>
                    <a:pt x="797" y="305"/>
                    <a:pt x="797" y="305"/>
                  </a:cubicBezTo>
                  <a:lnTo>
                    <a:pt x="606" y="30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 name="Freeform 42"/>
            <p:cNvSpPr>
              <a:spLocks noChangeArrowheads="1"/>
            </p:cNvSpPr>
            <p:nvPr/>
          </p:nvSpPr>
          <p:spPr bwMode="auto">
            <a:xfrm>
              <a:off x="2403475" y="3046413"/>
              <a:ext cx="34925" cy="23812"/>
            </a:xfrm>
            <a:custGeom>
              <a:avLst/>
              <a:gdLst/>
              <a:ahLst/>
              <a:cxnLst>
                <a:cxn ang="0">
                  <a:pos x="77" y="64"/>
                </a:cxn>
                <a:cxn ang="0">
                  <a:pos x="2" y="8"/>
                </a:cxn>
                <a:cxn ang="0">
                  <a:pos x="1" y="2"/>
                </a:cxn>
                <a:cxn ang="0">
                  <a:pos x="5" y="0"/>
                </a:cxn>
                <a:cxn ang="0">
                  <a:pos x="7" y="0"/>
                </a:cxn>
                <a:cxn ang="0">
                  <a:pos x="62" y="21"/>
                </a:cxn>
                <a:cxn ang="0">
                  <a:pos x="92" y="39"/>
                </a:cxn>
                <a:cxn ang="0">
                  <a:pos x="94" y="43"/>
                </a:cxn>
                <a:cxn ang="0">
                  <a:pos x="94" y="60"/>
                </a:cxn>
                <a:cxn ang="0">
                  <a:pos x="90" y="64"/>
                </a:cxn>
                <a:cxn ang="0">
                  <a:pos x="77" y="64"/>
                </a:cxn>
              </a:cxnLst>
              <a:rect l="0" t="0" r="r" b="b"/>
              <a:pathLst>
                <a:path w="95" h="65">
                  <a:moveTo>
                    <a:pt x="77" y="64"/>
                  </a:moveTo>
                  <a:lnTo>
                    <a:pt x="2" y="8"/>
                  </a:lnTo>
                  <a:cubicBezTo>
                    <a:pt x="0" y="7"/>
                    <a:pt x="0" y="4"/>
                    <a:pt x="1" y="2"/>
                  </a:cubicBezTo>
                  <a:cubicBezTo>
                    <a:pt x="2" y="1"/>
                    <a:pt x="3" y="0"/>
                    <a:pt x="5" y="0"/>
                  </a:cubicBezTo>
                  <a:cubicBezTo>
                    <a:pt x="5" y="0"/>
                    <a:pt x="6" y="0"/>
                    <a:pt x="7" y="0"/>
                  </a:cubicBezTo>
                  <a:lnTo>
                    <a:pt x="62" y="21"/>
                  </a:lnTo>
                  <a:lnTo>
                    <a:pt x="92" y="39"/>
                  </a:lnTo>
                  <a:cubicBezTo>
                    <a:pt x="93" y="39"/>
                    <a:pt x="94" y="41"/>
                    <a:pt x="94" y="43"/>
                  </a:cubicBezTo>
                  <a:lnTo>
                    <a:pt x="94" y="60"/>
                  </a:lnTo>
                  <a:cubicBezTo>
                    <a:pt x="94" y="62"/>
                    <a:pt x="92" y="64"/>
                    <a:pt x="90" y="64"/>
                  </a:cubicBezTo>
                  <a:lnTo>
                    <a:pt x="77" y="6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 name="Freeform 43"/>
            <p:cNvSpPr>
              <a:spLocks noChangeArrowheads="1"/>
            </p:cNvSpPr>
            <p:nvPr/>
          </p:nvSpPr>
          <p:spPr bwMode="auto">
            <a:xfrm>
              <a:off x="2403475" y="3046413"/>
              <a:ext cx="34925" cy="23812"/>
            </a:xfrm>
            <a:custGeom>
              <a:avLst/>
              <a:gdLst/>
              <a:ahLst/>
              <a:cxnLst>
                <a:cxn ang="0">
                  <a:pos x="77" y="64"/>
                </a:cxn>
                <a:cxn ang="0">
                  <a:pos x="2" y="8"/>
                </a:cxn>
                <a:cxn ang="0">
                  <a:pos x="1" y="2"/>
                </a:cxn>
                <a:cxn ang="0">
                  <a:pos x="5" y="0"/>
                </a:cxn>
                <a:cxn ang="0">
                  <a:pos x="7" y="0"/>
                </a:cxn>
                <a:cxn ang="0">
                  <a:pos x="62" y="21"/>
                </a:cxn>
                <a:cxn ang="0">
                  <a:pos x="92" y="39"/>
                </a:cxn>
                <a:cxn ang="0">
                  <a:pos x="94" y="43"/>
                </a:cxn>
                <a:cxn ang="0">
                  <a:pos x="94" y="60"/>
                </a:cxn>
                <a:cxn ang="0">
                  <a:pos x="90" y="64"/>
                </a:cxn>
                <a:cxn ang="0">
                  <a:pos x="77" y="64"/>
                </a:cxn>
              </a:cxnLst>
              <a:rect l="0" t="0" r="r" b="b"/>
              <a:pathLst>
                <a:path w="95" h="65">
                  <a:moveTo>
                    <a:pt x="77" y="64"/>
                  </a:moveTo>
                  <a:lnTo>
                    <a:pt x="2" y="8"/>
                  </a:lnTo>
                  <a:cubicBezTo>
                    <a:pt x="0" y="7"/>
                    <a:pt x="0" y="4"/>
                    <a:pt x="1" y="2"/>
                  </a:cubicBezTo>
                  <a:cubicBezTo>
                    <a:pt x="2" y="1"/>
                    <a:pt x="3" y="0"/>
                    <a:pt x="5" y="0"/>
                  </a:cubicBezTo>
                  <a:cubicBezTo>
                    <a:pt x="5" y="0"/>
                    <a:pt x="6" y="0"/>
                    <a:pt x="7" y="0"/>
                  </a:cubicBezTo>
                  <a:lnTo>
                    <a:pt x="62" y="21"/>
                  </a:lnTo>
                  <a:lnTo>
                    <a:pt x="92" y="39"/>
                  </a:lnTo>
                  <a:cubicBezTo>
                    <a:pt x="93" y="39"/>
                    <a:pt x="94" y="41"/>
                    <a:pt x="94" y="43"/>
                  </a:cubicBezTo>
                  <a:lnTo>
                    <a:pt x="94" y="60"/>
                  </a:lnTo>
                  <a:cubicBezTo>
                    <a:pt x="94" y="62"/>
                    <a:pt x="92" y="64"/>
                    <a:pt x="90" y="64"/>
                  </a:cubicBezTo>
                  <a:lnTo>
                    <a:pt x="77" y="6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 name="Freeform 44"/>
            <p:cNvSpPr>
              <a:spLocks noChangeArrowheads="1"/>
            </p:cNvSpPr>
            <p:nvPr/>
          </p:nvSpPr>
          <p:spPr bwMode="auto">
            <a:xfrm>
              <a:off x="2270125" y="3067050"/>
              <a:ext cx="17463" cy="17463"/>
            </a:xfrm>
            <a:custGeom>
              <a:avLst/>
              <a:gdLst/>
              <a:ahLst/>
              <a:cxnLst>
                <a:cxn ang="0">
                  <a:pos x="1" y="46"/>
                </a:cxn>
                <a:cxn ang="0">
                  <a:pos x="1" y="41"/>
                </a:cxn>
                <a:cxn ang="0">
                  <a:pos x="13" y="3"/>
                </a:cxn>
                <a:cxn ang="0">
                  <a:pos x="18" y="0"/>
                </a:cxn>
                <a:cxn ang="0">
                  <a:pos x="35" y="0"/>
                </a:cxn>
                <a:cxn ang="0">
                  <a:pos x="39" y="4"/>
                </a:cxn>
                <a:cxn ang="0">
                  <a:pos x="48" y="38"/>
                </a:cxn>
                <a:cxn ang="0">
                  <a:pos x="47" y="41"/>
                </a:cxn>
                <a:cxn ang="0">
                  <a:pos x="44" y="43"/>
                </a:cxn>
                <a:cxn ang="0">
                  <a:pos x="5" y="48"/>
                </a:cxn>
                <a:cxn ang="0">
                  <a:pos x="1" y="46"/>
                </a:cxn>
              </a:cxnLst>
              <a:rect l="0" t="0" r="r" b="b"/>
              <a:pathLst>
                <a:path w="49" h="49">
                  <a:moveTo>
                    <a:pt x="1" y="46"/>
                  </a:moveTo>
                  <a:cubicBezTo>
                    <a:pt x="0" y="45"/>
                    <a:pt x="0" y="43"/>
                    <a:pt x="1" y="41"/>
                  </a:cubicBezTo>
                  <a:lnTo>
                    <a:pt x="13" y="3"/>
                  </a:lnTo>
                  <a:cubicBezTo>
                    <a:pt x="14" y="1"/>
                    <a:pt x="16" y="0"/>
                    <a:pt x="18" y="0"/>
                  </a:cubicBezTo>
                  <a:lnTo>
                    <a:pt x="35" y="0"/>
                  </a:lnTo>
                  <a:cubicBezTo>
                    <a:pt x="37" y="0"/>
                    <a:pt x="39" y="2"/>
                    <a:pt x="39" y="4"/>
                  </a:cubicBezTo>
                  <a:lnTo>
                    <a:pt x="48" y="38"/>
                  </a:lnTo>
                  <a:cubicBezTo>
                    <a:pt x="48" y="39"/>
                    <a:pt x="48" y="40"/>
                    <a:pt x="47" y="41"/>
                  </a:cubicBezTo>
                  <a:cubicBezTo>
                    <a:pt x="46" y="42"/>
                    <a:pt x="45" y="43"/>
                    <a:pt x="44" y="43"/>
                  </a:cubicBezTo>
                  <a:lnTo>
                    <a:pt x="5" y="48"/>
                  </a:lnTo>
                  <a:cubicBezTo>
                    <a:pt x="4" y="48"/>
                    <a:pt x="2" y="47"/>
                    <a:pt x="1" y="4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 name="Freeform 45"/>
            <p:cNvSpPr>
              <a:spLocks noChangeArrowheads="1"/>
            </p:cNvSpPr>
            <p:nvPr/>
          </p:nvSpPr>
          <p:spPr bwMode="auto">
            <a:xfrm>
              <a:off x="2270125" y="3067050"/>
              <a:ext cx="17463" cy="17463"/>
            </a:xfrm>
            <a:custGeom>
              <a:avLst/>
              <a:gdLst/>
              <a:ahLst/>
              <a:cxnLst>
                <a:cxn ang="0">
                  <a:pos x="5" y="48"/>
                </a:cxn>
                <a:cxn ang="0">
                  <a:pos x="1" y="46"/>
                </a:cxn>
                <a:cxn ang="0">
                  <a:pos x="1" y="41"/>
                </a:cxn>
                <a:cxn ang="0">
                  <a:pos x="13" y="3"/>
                </a:cxn>
                <a:cxn ang="0">
                  <a:pos x="18" y="0"/>
                </a:cxn>
                <a:cxn ang="0">
                  <a:pos x="35" y="0"/>
                </a:cxn>
                <a:cxn ang="0">
                  <a:pos x="39" y="4"/>
                </a:cxn>
                <a:cxn ang="0">
                  <a:pos x="48" y="38"/>
                </a:cxn>
                <a:cxn ang="0">
                  <a:pos x="47" y="41"/>
                </a:cxn>
                <a:cxn ang="0">
                  <a:pos x="44" y="43"/>
                </a:cxn>
                <a:cxn ang="0">
                  <a:pos x="5" y="48"/>
                </a:cxn>
              </a:cxnLst>
              <a:rect l="0" t="0" r="r" b="b"/>
              <a:pathLst>
                <a:path w="49" h="49">
                  <a:moveTo>
                    <a:pt x="5" y="48"/>
                  </a:moveTo>
                  <a:cubicBezTo>
                    <a:pt x="4" y="48"/>
                    <a:pt x="2" y="47"/>
                    <a:pt x="1" y="46"/>
                  </a:cubicBezTo>
                  <a:cubicBezTo>
                    <a:pt x="0" y="45"/>
                    <a:pt x="0" y="43"/>
                    <a:pt x="1" y="41"/>
                  </a:cubicBezTo>
                  <a:lnTo>
                    <a:pt x="13" y="3"/>
                  </a:lnTo>
                  <a:cubicBezTo>
                    <a:pt x="14" y="1"/>
                    <a:pt x="16" y="0"/>
                    <a:pt x="18" y="0"/>
                  </a:cubicBezTo>
                  <a:lnTo>
                    <a:pt x="35" y="0"/>
                  </a:lnTo>
                  <a:cubicBezTo>
                    <a:pt x="37" y="0"/>
                    <a:pt x="39" y="2"/>
                    <a:pt x="39" y="4"/>
                  </a:cubicBezTo>
                  <a:lnTo>
                    <a:pt x="48" y="38"/>
                  </a:lnTo>
                  <a:cubicBezTo>
                    <a:pt x="48" y="39"/>
                    <a:pt x="48" y="40"/>
                    <a:pt x="47" y="41"/>
                  </a:cubicBezTo>
                  <a:cubicBezTo>
                    <a:pt x="46" y="42"/>
                    <a:pt x="45" y="43"/>
                    <a:pt x="44" y="43"/>
                  </a:cubicBezTo>
                  <a:lnTo>
                    <a:pt x="5" y="4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 name="Freeform 46"/>
            <p:cNvSpPr>
              <a:spLocks noChangeArrowheads="1"/>
            </p:cNvSpPr>
            <p:nvPr/>
          </p:nvSpPr>
          <p:spPr bwMode="auto">
            <a:xfrm>
              <a:off x="2611438" y="3130550"/>
              <a:ext cx="107950" cy="74613"/>
            </a:xfrm>
            <a:custGeom>
              <a:avLst/>
              <a:gdLst/>
              <a:ahLst/>
              <a:cxnLst>
                <a:cxn ang="0">
                  <a:pos x="30" y="208"/>
                </a:cxn>
                <a:cxn ang="0">
                  <a:pos x="26" y="206"/>
                </a:cxn>
                <a:cxn ang="0">
                  <a:pos x="5" y="172"/>
                </a:cxn>
                <a:cxn ang="0">
                  <a:pos x="0" y="123"/>
                </a:cxn>
                <a:cxn ang="0">
                  <a:pos x="17" y="67"/>
                </a:cxn>
                <a:cxn ang="0">
                  <a:pos x="1" y="10"/>
                </a:cxn>
                <a:cxn ang="0">
                  <a:pos x="1" y="6"/>
                </a:cxn>
                <a:cxn ang="0">
                  <a:pos x="5" y="4"/>
                </a:cxn>
                <a:cxn ang="0">
                  <a:pos x="94" y="0"/>
                </a:cxn>
                <a:cxn ang="0">
                  <a:pos x="159" y="21"/>
                </a:cxn>
                <a:cxn ang="0">
                  <a:pos x="177" y="47"/>
                </a:cxn>
                <a:cxn ang="0">
                  <a:pos x="222" y="55"/>
                </a:cxn>
                <a:cxn ang="0">
                  <a:pos x="226" y="58"/>
                </a:cxn>
                <a:cxn ang="0">
                  <a:pos x="224" y="63"/>
                </a:cxn>
                <a:cxn ang="0">
                  <a:pos x="209" y="73"/>
                </a:cxn>
                <a:cxn ang="0">
                  <a:pos x="256" y="80"/>
                </a:cxn>
                <a:cxn ang="0">
                  <a:pos x="296" y="115"/>
                </a:cxn>
                <a:cxn ang="0">
                  <a:pos x="297" y="121"/>
                </a:cxn>
                <a:cxn ang="0">
                  <a:pos x="280" y="151"/>
                </a:cxn>
                <a:cxn ang="0">
                  <a:pos x="276" y="153"/>
                </a:cxn>
                <a:cxn ang="0">
                  <a:pos x="190" y="136"/>
                </a:cxn>
                <a:cxn ang="0">
                  <a:pos x="113" y="165"/>
                </a:cxn>
                <a:cxn ang="0">
                  <a:pos x="111" y="166"/>
                </a:cxn>
                <a:cxn ang="0">
                  <a:pos x="107" y="164"/>
                </a:cxn>
                <a:cxn ang="0">
                  <a:pos x="90" y="143"/>
                </a:cxn>
                <a:cxn ang="0">
                  <a:pos x="34" y="206"/>
                </a:cxn>
                <a:cxn ang="0">
                  <a:pos x="31" y="208"/>
                </a:cxn>
                <a:cxn ang="0">
                  <a:pos x="30" y="208"/>
                </a:cxn>
              </a:cxnLst>
              <a:rect l="0" t="0" r="r" b="b"/>
              <a:pathLst>
                <a:path w="299" h="209">
                  <a:moveTo>
                    <a:pt x="30" y="208"/>
                  </a:moveTo>
                  <a:cubicBezTo>
                    <a:pt x="29" y="208"/>
                    <a:pt x="27" y="207"/>
                    <a:pt x="26" y="206"/>
                  </a:cubicBezTo>
                  <a:lnTo>
                    <a:pt x="5" y="172"/>
                  </a:lnTo>
                  <a:lnTo>
                    <a:pt x="0" y="123"/>
                  </a:lnTo>
                  <a:lnTo>
                    <a:pt x="17" y="67"/>
                  </a:lnTo>
                  <a:lnTo>
                    <a:pt x="1" y="10"/>
                  </a:lnTo>
                  <a:cubicBezTo>
                    <a:pt x="0" y="9"/>
                    <a:pt x="0" y="7"/>
                    <a:pt x="1" y="6"/>
                  </a:cubicBezTo>
                  <a:cubicBezTo>
                    <a:pt x="2" y="5"/>
                    <a:pt x="3" y="4"/>
                    <a:pt x="5" y="4"/>
                  </a:cubicBezTo>
                  <a:lnTo>
                    <a:pt x="94" y="0"/>
                  </a:lnTo>
                  <a:lnTo>
                    <a:pt x="159" y="21"/>
                  </a:lnTo>
                  <a:lnTo>
                    <a:pt x="177" y="47"/>
                  </a:lnTo>
                  <a:lnTo>
                    <a:pt x="222" y="55"/>
                  </a:lnTo>
                  <a:cubicBezTo>
                    <a:pt x="224" y="55"/>
                    <a:pt x="225" y="57"/>
                    <a:pt x="226" y="58"/>
                  </a:cubicBezTo>
                  <a:cubicBezTo>
                    <a:pt x="226" y="60"/>
                    <a:pt x="225" y="62"/>
                    <a:pt x="224" y="63"/>
                  </a:cubicBezTo>
                  <a:lnTo>
                    <a:pt x="209" y="73"/>
                  </a:lnTo>
                  <a:lnTo>
                    <a:pt x="256" y="80"/>
                  </a:lnTo>
                  <a:lnTo>
                    <a:pt x="296" y="115"/>
                  </a:lnTo>
                  <a:cubicBezTo>
                    <a:pt x="298" y="117"/>
                    <a:pt x="298" y="119"/>
                    <a:pt x="297" y="121"/>
                  </a:cubicBezTo>
                  <a:lnTo>
                    <a:pt x="280" y="151"/>
                  </a:lnTo>
                  <a:cubicBezTo>
                    <a:pt x="279" y="152"/>
                    <a:pt x="278" y="153"/>
                    <a:pt x="276" y="153"/>
                  </a:cubicBezTo>
                  <a:lnTo>
                    <a:pt x="190" y="136"/>
                  </a:lnTo>
                  <a:lnTo>
                    <a:pt x="113" y="165"/>
                  </a:lnTo>
                  <a:cubicBezTo>
                    <a:pt x="112" y="166"/>
                    <a:pt x="112" y="166"/>
                    <a:pt x="111" y="166"/>
                  </a:cubicBezTo>
                  <a:cubicBezTo>
                    <a:pt x="110" y="166"/>
                    <a:pt x="108" y="165"/>
                    <a:pt x="107" y="164"/>
                  </a:cubicBezTo>
                  <a:lnTo>
                    <a:pt x="90" y="143"/>
                  </a:lnTo>
                  <a:lnTo>
                    <a:pt x="34" y="206"/>
                  </a:lnTo>
                  <a:cubicBezTo>
                    <a:pt x="33" y="207"/>
                    <a:pt x="32" y="208"/>
                    <a:pt x="31" y="208"/>
                  </a:cubicBezTo>
                  <a:lnTo>
                    <a:pt x="30" y="20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 name="Freeform 47"/>
            <p:cNvSpPr>
              <a:spLocks noChangeArrowheads="1"/>
            </p:cNvSpPr>
            <p:nvPr/>
          </p:nvSpPr>
          <p:spPr bwMode="auto">
            <a:xfrm>
              <a:off x="2611438" y="3130550"/>
              <a:ext cx="107950" cy="74613"/>
            </a:xfrm>
            <a:custGeom>
              <a:avLst/>
              <a:gdLst/>
              <a:ahLst/>
              <a:cxnLst>
                <a:cxn ang="0">
                  <a:pos x="30" y="208"/>
                </a:cxn>
                <a:cxn ang="0">
                  <a:pos x="26" y="206"/>
                </a:cxn>
                <a:cxn ang="0">
                  <a:pos x="5" y="172"/>
                </a:cxn>
                <a:cxn ang="0">
                  <a:pos x="0" y="123"/>
                </a:cxn>
                <a:cxn ang="0">
                  <a:pos x="17" y="67"/>
                </a:cxn>
                <a:cxn ang="0">
                  <a:pos x="1" y="10"/>
                </a:cxn>
                <a:cxn ang="0">
                  <a:pos x="1" y="6"/>
                </a:cxn>
                <a:cxn ang="0">
                  <a:pos x="5" y="4"/>
                </a:cxn>
                <a:cxn ang="0">
                  <a:pos x="94" y="0"/>
                </a:cxn>
                <a:cxn ang="0">
                  <a:pos x="159" y="21"/>
                </a:cxn>
                <a:cxn ang="0">
                  <a:pos x="177" y="47"/>
                </a:cxn>
                <a:cxn ang="0">
                  <a:pos x="222" y="55"/>
                </a:cxn>
                <a:cxn ang="0">
                  <a:pos x="226" y="58"/>
                </a:cxn>
                <a:cxn ang="0">
                  <a:pos x="224" y="63"/>
                </a:cxn>
                <a:cxn ang="0">
                  <a:pos x="209" y="73"/>
                </a:cxn>
                <a:cxn ang="0">
                  <a:pos x="256" y="80"/>
                </a:cxn>
                <a:cxn ang="0">
                  <a:pos x="296" y="115"/>
                </a:cxn>
                <a:cxn ang="0">
                  <a:pos x="297" y="121"/>
                </a:cxn>
                <a:cxn ang="0">
                  <a:pos x="280" y="151"/>
                </a:cxn>
                <a:cxn ang="0">
                  <a:pos x="276" y="153"/>
                </a:cxn>
                <a:cxn ang="0">
                  <a:pos x="190" y="136"/>
                </a:cxn>
                <a:cxn ang="0">
                  <a:pos x="113" y="165"/>
                </a:cxn>
                <a:cxn ang="0">
                  <a:pos x="111" y="166"/>
                </a:cxn>
                <a:cxn ang="0">
                  <a:pos x="107" y="164"/>
                </a:cxn>
                <a:cxn ang="0">
                  <a:pos x="90" y="143"/>
                </a:cxn>
                <a:cxn ang="0">
                  <a:pos x="34" y="206"/>
                </a:cxn>
                <a:cxn ang="0">
                  <a:pos x="31" y="208"/>
                </a:cxn>
                <a:cxn ang="0">
                  <a:pos x="30" y="208"/>
                </a:cxn>
              </a:cxnLst>
              <a:rect l="0" t="0" r="r" b="b"/>
              <a:pathLst>
                <a:path w="299" h="209">
                  <a:moveTo>
                    <a:pt x="30" y="208"/>
                  </a:moveTo>
                  <a:cubicBezTo>
                    <a:pt x="29" y="208"/>
                    <a:pt x="27" y="207"/>
                    <a:pt x="26" y="206"/>
                  </a:cubicBezTo>
                  <a:lnTo>
                    <a:pt x="5" y="172"/>
                  </a:lnTo>
                  <a:lnTo>
                    <a:pt x="0" y="123"/>
                  </a:lnTo>
                  <a:lnTo>
                    <a:pt x="17" y="67"/>
                  </a:lnTo>
                  <a:lnTo>
                    <a:pt x="1" y="10"/>
                  </a:lnTo>
                  <a:cubicBezTo>
                    <a:pt x="0" y="9"/>
                    <a:pt x="0" y="7"/>
                    <a:pt x="1" y="6"/>
                  </a:cubicBezTo>
                  <a:cubicBezTo>
                    <a:pt x="2" y="5"/>
                    <a:pt x="3" y="4"/>
                    <a:pt x="5" y="4"/>
                  </a:cubicBezTo>
                  <a:lnTo>
                    <a:pt x="94" y="0"/>
                  </a:lnTo>
                  <a:lnTo>
                    <a:pt x="159" y="21"/>
                  </a:lnTo>
                  <a:lnTo>
                    <a:pt x="177" y="47"/>
                  </a:lnTo>
                  <a:lnTo>
                    <a:pt x="222" y="55"/>
                  </a:lnTo>
                  <a:cubicBezTo>
                    <a:pt x="224" y="55"/>
                    <a:pt x="225" y="57"/>
                    <a:pt x="226" y="58"/>
                  </a:cubicBezTo>
                  <a:cubicBezTo>
                    <a:pt x="226" y="60"/>
                    <a:pt x="225" y="62"/>
                    <a:pt x="224" y="63"/>
                  </a:cubicBezTo>
                  <a:lnTo>
                    <a:pt x="209" y="73"/>
                  </a:lnTo>
                  <a:lnTo>
                    <a:pt x="256" y="80"/>
                  </a:lnTo>
                  <a:lnTo>
                    <a:pt x="296" y="115"/>
                  </a:lnTo>
                  <a:cubicBezTo>
                    <a:pt x="298" y="117"/>
                    <a:pt x="298" y="119"/>
                    <a:pt x="297" y="121"/>
                  </a:cubicBezTo>
                  <a:lnTo>
                    <a:pt x="280" y="151"/>
                  </a:lnTo>
                  <a:cubicBezTo>
                    <a:pt x="279" y="152"/>
                    <a:pt x="278" y="153"/>
                    <a:pt x="276" y="153"/>
                  </a:cubicBezTo>
                  <a:lnTo>
                    <a:pt x="190" y="136"/>
                  </a:lnTo>
                  <a:lnTo>
                    <a:pt x="113" y="165"/>
                  </a:lnTo>
                  <a:cubicBezTo>
                    <a:pt x="112" y="166"/>
                    <a:pt x="112" y="166"/>
                    <a:pt x="111" y="166"/>
                  </a:cubicBezTo>
                  <a:cubicBezTo>
                    <a:pt x="110" y="166"/>
                    <a:pt x="108" y="165"/>
                    <a:pt x="107" y="164"/>
                  </a:cubicBezTo>
                  <a:lnTo>
                    <a:pt x="90" y="143"/>
                  </a:lnTo>
                  <a:lnTo>
                    <a:pt x="34" y="206"/>
                  </a:lnTo>
                  <a:cubicBezTo>
                    <a:pt x="33" y="207"/>
                    <a:pt x="32" y="208"/>
                    <a:pt x="31" y="208"/>
                  </a:cubicBezTo>
                  <a:lnTo>
                    <a:pt x="30" y="20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 name="Freeform 48"/>
            <p:cNvSpPr>
              <a:spLocks noChangeArrowheads="1"/>
            </p:cNvSpPr>
            <p:nvPr/>
          </p:nvSpPr>
          <p:spPr bwMode="auto">
            <a:xfrm>
              <a:off x="2062163" y="3302000"/>
              <a:ext cx="73025" cy="41275"/>
            </a:xfrm>
            <a:custGeom>
              <a:avLst/>
              <a:gdLst/>
              <a:ahLst/>
              <a:cxnLst>
                <a:cxn ang="0">
                  <a:pos x="119" y="115"/>
                </a:cxn>
                <a:cxn ang="0">
                  <a:pos x="3" y="68"/>
                </a:cxn>
                <a:cxn ang="0">
                  <a:pos x="0" y="65"/>
                </a:cxn>
                <a:cxn ang="0">
                  <a:pos x="1" y="60"/>
                </a:cxn>
                <a:cxn ang="0">
                  <a:pos x="57" y="1"/>
                </a:cxn>
                <a:cxn ang="0">
                  <a:pos x="60" y="0"/>
                </a:cxn>
                <a:cxn ang="0">
                  <a:pos x="63" y="0"/>
                </a:cxn>
                <a:cxn ang="0">
                  <a:pos x="139" y="47"/>
                </a:cxn>
                <a:cxn ang="0">
                  <a:pos x="187" y="46"/>
                </a:cxn>
                <a:cxn ang="0">
                  <a:pos x="192" y="50"/>
                </a:cxn>
                <a:cxn ang="0">
                  <a:pos x="200" y="92"/>
                </a:cxn>
                <a:cxn ang="0">
                  <a:pos x="198" y="97"/>
                </a:cxn>
                <a:cxn ang="0">
                  <a:pos x="164" y="114"/>
                </a:cxn>
                <a:cxn ang="0">
                  <a:pos x="162" y="115"/>
                </a:cxn>
                <a:cxn ang="0">
                  <a:pos x="119" y="115"/>
                </a:cxn>
              </a:cxnLst>
              <a:rect l="0" t="0" r="r" b="b"/>
              <a:pathLst>
                <a:path w="202" h="116">
                  <a:moveTo>
                    <a:pt x="119" y="115"/>
                  </a:moveTo>
                  <a:lnTo>
                    <a:pt x="3" y="68"/>
                  </a:lnTo>
                  <a:cubicBezTo>
                    <a:pt x="2" y="67"/>
                    <a:pt x="1" y="66"/>
                    <a:pt x="0" y="65"/>
                  </a:cubicBezTo>
                  <a:cubicBezTo>
                    <a:pt x="0" y="63"/>
                    <a:pt x="1" y="62"/>
                    <a:pt x="1" y="60"/>
                  </a:cubicBezTo>
                  <a:lnTo>
                    <a:pt x="57" y="1"/>
                  </a:lnTo>
                  <a:cubicBezTo>
                    <a:pt x="57" y="0"/>
                    <a:pt x="59" y="0"/>
                    <a:pt x="60" y="0"/>
                  </a:cubicBezTo>
                  <a:cubicBezTo>
                    <a:pt x="61" y="0"/>
                    <a:pt x="62" y="0"/>
                    <a:pt x="63" y="0"/>
                  </a:cubicBezTo>
                  <a:lnTo>
                    <a:pt x="139" y="47"/>
                  </a:lnTo>
                  <a:lnTo>
                    <a:pt x="187" y="46"/>
                  </a:lnTo>
                  <a:cubicBezTo>
                    <a:pt x="189" y="46"/>
                    <a:pt x="191" y="48"/>
                    <a:pt x="192" y="50"/>
                  </a:cubicBezTo>
                  <a:lnTo>
                    <a:pt x="200" y="92"/>
                  </a:lnTo>
                  <a:cubicBezTo>
                    <a:pt x="201" y="94"/>
                    <a:pt x="200" y="96"/>
                    <a:pt x="198" y="97"/>
                  </a:cubicBezTo>
                  <a:lnTo>
                    <a:pt x="164" y="114"/>
                  </a:lnTo>
                  <a:cubicBezTo>
                    <a:pt x="163" y="115"/>
                    <a:pt x="163" y="115"/>
                    <a:pt x="162" y="115"/>
                  </a:cubicBezTo>
                  <a:lnTo>
                    <a:pt x="119" y="11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 name="Freeform 49"/>
            <p:cNvSpPr>
              <a:spLocks noChangeArrowheads="1"/>
            </p:cNvSpPr>
            <p:nvPr/>
          </p:nvSpPr>
          <p:spPr bwMode="auto">
            <a:xfrm>
              <a:off x="2062163" y="3302000"/>
              <a:ext cx="73025" cy="41275"/>
            </a:xfrm>
            <a:custGeom>
              <a:avLst/>
              <a:gdLst/>
              <a:ahLst/>
              <a:cxnLst>
                <a:cxn ang="0">
                  <a:pos x="119" y="115"/>
                </a:cxn>
                <a:cxn ang="0">
                  <a:pos x="3" y="68"/>
                </a:cxn>
                <a:cxn ang="0">
                  <a:pos x="0" y="65"/>
                </a:cxn>
                <a:cxn ang="0">
                  <a:pos x="1" y="60"/>
                </a:cxn>
                <a:cxn ang="0">
                  <a:pos x="57" y="1"/>
                </a:cxn>
                <a:cxn ang="0">
                  <a:pos x="60" y="0"/>
                </a:cxn>
                <a:cxn ang="0">
                  <a:pos x="63" y="0"/>
                </a:cxn>
                <a:cxn ang="0">
                  <a:pos x="139" y="47"/>
                </a:cxn>
                <a:cxn ang="0">
                  <a:pos x="187" y="46"/>
                </a:cxn>
                <a:cxn ang="0">
                  <a:pos x="192" y="50"/>
                </a:cxn>
                <a:cxn ang="0">
                  <a:pos x="200" y="92"/>
                </a:cxn>
                <a:cxn ang="0">
                  <a:pos x="198" y="97"/>
                </a:cxn>
                <a:cxn ang="0">
                  <a:pos x="164" y="114"/>
                </a:cxn>
                <a:cxn ang="0">
                  <a:pos x="162" y="115"/>
                </a:cxn>
                <a:cxn ang="0">
                  <a:pos x="119" y="115"/>
                </a:cxn>
              </a:cxnLst>
              <a:rect l="0" t="0" r="r" b="b"/>
              <a:pathLst>
                <a:path w="202" h="116">
                  <a:moveTo>
                    <a:pt x="119" y="115"/>
                  </a:moveTo>
                  <a:lnTo>
                    <a:pt x="3" y="68"/>
                  </a:lnTo>
                  <a:cubicBezTo>
                    <a:pt x="2" y="67"/>
                    <a:pt x="1" y="66"/>
                    <a:pt x="0" y="65"/>
                  </a:cubicBezTo>
                  <a:cubicBezTo>
                    <a:pt x="0" y="63"/>
                    <a:pt x="1" y="62"/>
                    <a:pt x="1" y="60"/>
                  </a:cubicBezTo>
                  <a:lnTo>
                    <a:pt x="57" y="1"/>
                  </a:lnTo>
                  <a:cubicBezTo>
                    <a:pt x="57" y="0"/>
                    <a:pt x="59" y="0"/>
                    <a:pt x="60" y="0"/>
                  </a:cubicBezTo>
                  <a:cubicBezTo>
                    <a:pt x="61" y="0"/>
                    <a:pt x="62" y="0"/>
                    <a:pt x="63" y="0"/>
                  </a:cubicBezTo>
                  <a:lnTo>
                    <a:pt x="139" y="47"/>
                  </a:lnTo>
                  <a:lnTo>
                    <a:pt x="187" y="46"/>
                  </a:lnTo>
                  <a:cubicBezTo>
                    <a:pt x="189" y="46"/>
                    <a:pt x="191" y="48"/>
                    <a:pt x="192" y="50"/>
                  </a:cubicBezTo>
                  <a:lnTo>
                    <a:pt x="200" y="92"/>
                  </a:lnTo>
                  <a:cubicBezTo>
                    <a:pt x="201" y="94"/>
                    <a:pt x="200" y="96"/>
                    <a:pt x="198" y="97"/>
                  </a:cubicBezTo>
                  <a:lnTo>
                    <a:pt x="164" y="114"/>
                  </a:lnTo>
                  <a:cubicBezTo>
                    <a:pt x="163" y="115"/>
                    <a:pt x="163" y="115"/>
                    <a:pt x="162" y="115"/>
                  </a:cubicBezTo>
                  <a:lnTo>
                    <a:pt x="119" y="11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 name="Freeform 50"/>
            <p:cNvSpPr>
              <a:spLocks noChangeArrowheads="1"/>
            </p:cNvSpPr>
            <p:nvPr/>
          </p:nvSpPr>
          <p:spPr bwMode="auto">
            <a:xfrm>
              <a:off x="1997075" y="3195638"/>
              <a:ext cx="120650" cy="131762"/>
            </a:xfrm>
            <a:custGeom>
              <a:avLst/>
              <a:gdLst/>
              <a:ahLst/>
              <a:cxnLst>
                <a:cxn ang="0">
                  <a:pos x="80" y="347"/>
                </a:cxn>
                <a:cxn ang="0">
                  <a:pos x="2" y="287"/>
                </a:cxn>
                <a:cxn ang="0">
                  <a:pos x="0" y="282"/>
                </a:cxn>
                <a:cxn ang="0">
                  <a:pos x="13" y="240"/>
                </a:cxn>
                <a:cxn ang="0">
                  <a:pos x="69" y="154"/>
                </a:cxn>
                <a:cxn ang="0">
                  <a:pos x="72" y="152"/>
                </a:cxn>
                <a:cxn ang="0">
                  <a:pos x="142" y="148"/>
                </a:cxn>
                <a:cxn ang="0">
                  <a:pos x="123" y="99"/>
                </a:cxn>
                <a:cxn ang="0">
                  <a:pos x="61" y="42"/>
                </a:cxn>
                <a:cxn ang="0">
                  <a:pos x="60" y="36"/>
                </a:cxn>
                <a:cxn ang="0">
                  <a:pos x="64" y="33"/>
                </a:cxn>
                <a:cxn ang="0">
                  <a:pos x="111" y="41"/>
                </a:cxn>
                <a:cxn ang="0">
                  <a:pos x="114" y="4"/>
                </a:cxn>
                <a:cxn ang="0">
                  <a:pos x="119" y="0"/>
                </a:cxn>
                <a:cxn ang="0">
                  <a:pos x="259" y="0"/>
                </a:cxn>
                <a:cxn ang="0">
                  <a:pos x="262" y="1"/>
                </a:cxn>
                <a:cxn ang="0">
                  <a:pos x="264" y="4"/>
                </a:cxn>
                <a:cxn ang="0">
                  <a:pos x="260" y="160"/>
                </a:cxn>
                <a:cxn ang="0">
                  <a:pos x="289" y="160"/>
                </a:cxn>
                <a:cxn ang="0">
                  <a:pos x="333" y="178"/>
                </a:cxn>
                <a:cxn ang="0">
                  <a:pos x="336" y="183"/>
                </a:cxn>
                <a:cxn ang="0">
                  <a:pos x="331" y="204"/>
                </a:cxn>
                <a:cxn ang="0">
                  <a:pos x="329" y="207"/>
                </a:cxn>
                <a:cxn ang="0">
                  <a:pos x="260" y="256"/>
                </a:cxn>
                <a:cxn ang="0">
                  <a:pos x="264" y="278"/>
                </a:cxn>
                <a:cxn ang="0">
                  <a:pos x="263" y="282"/>
                </a:cxn>
                <a:cxn ang="0">
                  <a:pos x="246" y="303"/>
                </a:cxn>
                <a:cxn ang="0">
                  <a:pos x="190" y="363"/>
                </a:cxn>
                <a:cxn ang="0">
                  <a:pos x="187" y="364"/>
                </a:cxn>
                <a:cxn ang="0">
                  <a:pos x="80" y="347"/>
                </a:cxn>
              </a:cxnLst>
              <a:rect l="0" t="0" r="r" b="b"/>
              <a:pathLst>
                <a:path w="337" h="365">
                  <a:moveTo>
                    <a:pt x="80" y="347"/>
                  </a:moveTo>
                  <a:lnTo>
                    <a:pt x="2" y="287"/>
                  </a:lnTo>
                  <a:cubicBezTo>
                    <a:pt x="0" y="286"/>
                    <a:pt x="0" y="284"/>
                    <a:pt x="0" y="282"/>
                  </a:cubicBezTo>
                  <a:lnTo>
                    <a:pt x="13" y="240"/>
                  </a:lnTo>
                  <a:lnTo>
                    <a:pt x="69" y="154"/>
                  </a:lnTo>
                  <a:cubicBezTo>
                    <a:pt x="69" y="153"/>
                    <a:pt x="71" y="152"/>
                    <a:pt x="72" y="152"/>
                  </a:cubicBezTo>
                  <a:lnTo>
                    <a:pt x="142" y="148"/>
                  </a:lnTo>
                  <a:lnTo>
                    <a:pt x="123" y="99"/>
                  </a:lnTo>
                  <a:lnTo>
                    <a:pt x="61" y="42"/>
                  </a:lnTo>
                  <a:cubicBezTo>
                    <a:pt x="59" y="40"/>
                    <a:pt x="59" y="38"/>
                    <a:pt x="60" y="36"/>
                  </a:cubicBezTo>
                  <a:cubicBezTo>
                    <a:pt x="61" y="34"/>
                    <a:pt x="62" y="33"/>
                    <a:pt x="64" y="33"/>
                  </a:cubicBezTo>
                  <a:lnTo>
                    <a:pt x="111" y="41"/>
                  </a:lnTo>
                  <a:lnTo>
                    <a:pt x="114" y="4"/>
                  </a:lnTo>
                  <a:cubicBezTo>
                    <a:pt x="115" y="1"/>
                    <a:pt x="117" y="0"/>
                    <a:pt x="119" y="0"/>
                  </a:cubicBezTo>
                  <a:lnTo>
                    <a:pt x="259" y="0"/>
                  </a:lnTo>
                  <a:cubicBezTo>
                    <a:pt x="260" y="0"/>
                    <a:pt x="261" y="0"/>
                    <a:pt x="262" y="1"/>
                  </a:cubicBezTo>
                  <a:cubicBezTo>
                    <a:pt x="263" y="2"/>
                    <a:pt x="264" y="3"/>
                    <a:pt x="264" y="4"/>
                  </a:cubicBezTo>
                  <a:lnTo>
                    <a:pt x="260" y="160"/>
                  </a:lnTo>
                  <a:lnTo>
                    <a:pt x="289" y="160"/>
                  </a:lnTo>
                  <a:lnTo>
                    <a:pt x="333" y="178"/>
                  </a:lnTo>
                  <a:cubicBezTo>
                    <a:pt x="335" y="178"/>
                    <a:pt x="336" y="181"/>
                    <a:pt x="336" y="183"/>
                  </a:cubicBezTo>
                  <a:lnTo>
                    <a:pt x="331" y="204"/>
                  </a:lnTo>
                  <a:cubicBezTo>
                    <a:pt x="331" y="205"/>
                    <a:pt x="330" y="206"/>
                    <a:pt x="329" y="207"/>
                  </a:cubicBezTo>
                  <a:lnTo>
                    <a:pt x="260" y="256"/>
                  </a:lnTo>
                  <a:lnTo>
                    <a:pt x="264" y="278"/>
                  </a:lnTo>
                  <a:cubicBezTo>
                    <a:pt x="264" y="280"/>
                    <a:pt x="263" y="281"/>
                    <a:pt x="263" y="282"/>
                  </a:cubicBezTo>
                  <a:lnTo>
                    <a:pt x="246" y="303"/>
                  </a:lnTo>
                  <a:lnTo>
                    <a:pt x="190" y="363"/>
                  </a:lnTo>
                  <a:cubicBezTo>
                    <a:pt x="190" y="364"/>
                    <a:pt x="188" y="364"/>
                    <a:pt x="187" y="364"/>
                  </a:cubicBezTo>
                  <a:lnTo>
                    <a:pt x="80" y="347"/>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 name="Freeform 51"/>
            <p:cNvSpPr>
              <a:spLocks noChangeArrowheads="1"/>
            </p:cNvSpPr>
            <p:nvPr/>
          </p:nvSpPr>
          <p:spPr bwMode="auto">
            <a:xfrm>
              <a:off x="1997075" y="3195638"/>
              <a:ext cx="120650" cy="131762"/>
            </a:xfrm>
            <a:custGeom>
              <a:avLst/>
              <a:gdLst/>
              <a:ahLst/>
              <a:cxnLst>
                <a:cxn ang="0">
                  <a:pos x="80" y="347"/>
                </a:cxn>
                <a:cxn ang="0">
                  <a:pos x="2" y="287"/>
                </a:cxn>
                <a:cxn ang="0">
                  <a:pos x="0" y="282"/>
                </a:cxn>
                <a:cxn ang="0">
                  <a:pos x="13" y="240"/>
                </a:cxn>
                <a:cxn ang="0">
                  <a:pos x="69" y="154"/>
                </a:cxn>
                <a:cxn ang="0">
                  <a:pos x="72" y="152"/>
                </a:cxn>
                <a:cxn ang="0">
                  <a:pos x="142" y="148"/>
                </a:cxn>
                <a:cxn ang="0">
                  <a:pos x="123" y="99"/>
                </a:cxn>
                <a:cxn ang="0">
                  <a:pos x="61" y="42"/>
                </a:cxn>
                <a:cxn ang="0">
                  <a:pos x="60" y="36"/>
                </a:cxn>
                <a:cxn ang="0">
                  <a:pos x="64" y="33"/>
                </a:cxn>
                <a:cxn ang="0">
                  <a:pos x="111" y="41"/>
                </a:cxn>
                <a:cxn ang="0">
                  <a:pos x="114" y="4"/>
                </a:cxn>
                <a:cxn ang="0">
                  <a:pos x="119" y="0"/>
                </a:cxn>
                <a:cxn ang="0">
                  <a:pos x="259" y="0"/>
                </a:cxn>
                <a:cxn ang="0">
                  <a:pos x="262" y="1"/>
                </a:cxn>
                <a:cxn ang="0">
                  <a:pos x="264" y="4"/>
                </a:cxn>
                <a:cxn ang="0">
                  <a:pos x="260" y="160"/>
                </a:cxn>
                <a:cxn ang="0">
                  <a:pos x="289" y="160"/>
                </a:cxn>
                <a:cxn ang="0">
                  <a:pos x="333" y="178"/>
                </a:cxn>
                <a:cxn ang="0">
                  <a:pos x="336" y="183"/>
                </a:cxn>
                <a:cxn ang="0">
                  <a:pos x="331" y="204"/>
                </a:cxn>
                <a:cxn ang="0">
                  <a:pos x="329" y="207"/>
                </a:cxn>
                <a:cxn ang="0">
                  <a:pos x="260" y="256"/>
                </a:cxn>
                <a:cxn ang="0">
                  <a:pos x="264" y="278"/>
                </a:cxn>
                <a:cxn ang="0">
                  <a:pos x="263" y="282"/>
                </a:cxn>
                <a:cxn ang="0">
                  <a:pos x="246" y="303"/>
                </a:cxn>
                <a:cxn ang="0">
                  <a:pos x="190" y="363"/>
                </a:cxn>
                <a:cxn ang="0">
                  <a:pos x="187" y="364"/>
                </a:cxn>
                <a:cxn ang="0">
                  <a:pos x="80" y="347"/>
                </a:cxn>
              </a:cxnLst>
              <a:rect l="0" t="0" r="r" b="b"/>
              <a:pathLst>
                <a:path w="337" h="365">
                  <a:moveTo>
                    <a:pt x="80" y="347"/>
                  </a:moveTo>
                  <a:lnTo>
                    <a:pt x="2" y="287"/>
                  </a:lnTo>
                  <a:cubicBezTo>
                    <a:pt x="0" y="286"/>
                    <a:pt x="0" y="284"/>
                    <a:pt x="0" y="282"/>
                  </a:cubicBezTo>
                  <a:lnTo>
                    <a:pt x="13" y="240"/>
                  </a:lnTo>
                  <a:lnTo>
                    <a:pt x="69" y="154"/>
                  </a:lnTo>
                  <a:cubicBezTo>
                    <a:pt x="69" y="153"/>
                    <a:pt x="71" y="152"/>
                    <a:pt x="72" y="152"/>
                  </a:cubicBezTo>
                  <a:lnTo>
                    <a:pt x="142" y="148"/>
                  </a:lnTo>
                  <a:lnTo>
                    <a:pt x="123" y="99"/>
                  </a:lnTo>
                  <a:lnTo>
                    <a:pt x="61" y="42"/>
                  </a:lnTo>
                  <a:cubicBezTo>
                    <a:pt x="59" y="40"/>
                    <a:pt x="59" y="38"/>
                    <a:pt x="60" y="36"/>
                  </a:cubicBezTo>
                  <a:cubicBezTo>
                    <a:pt x="61" y="34"/>
                    <a:pt x="62" y="33"/>
                    <a:pt x="64" y="33"/>
                  </a:cubicBezTo>
                  <a:lnTo>
                    <a:pt x="111" y="41"/>
                  </a:lnTo>
                  <a:lnTo>
                    <a:pt x="114" y="4"/>
                  </a:lnTo>
                  <a:cubicBezTo>
                    <a:pt x="115" y="1"/>
                    <a:pt x="117" y="0"/>
                    <a:pt x="119" y="0"/>
                  </a:cubicBezTo>
                  <a:lnTo>
                    <a:pt x="259" y="0"/>
                  </a:lnTo>
                  <a:cubicBezTo>
                    <a:pt x="260" y="0"/>
                    <a:pt x="261" y="0"/>
                    <a:pt x="262" y="1"/>
                  </a:cubicBezTo>
                  <a:cubicBezTo>
                    <a:pt x="263" y="2"/>
                    <a:pt x="264" y="3"/>
                    <a:pt x="264" y="4"/>
                  </a:cubicBezTo>
                  <a:lnTo>
                    <a:pt x="260" y="160"/>
                  </a:lnTo>
                  <a:lnTo>
                    <a:pt x="289" y="160"/>
                  </a:lnTo>
                  <a:lnTo>
                    <a:pt x="333" y="178"/>
                  </a:lnTo>
                  <a:cubicBezTo>
                    <a:pt x="335" y="178"/>
                    <a:pt x="336" y="181"/>
                    <a:pt x="336" y="183"/>
                  </a:cubicBezTo>
                  <a:lnTo>
                    <a:pt x="331" y="204"/>
                  </a:lnTo>
                  <a:cubicBezTo>
                    <a:pt x="331" y="205"/>
                    <a:pt x="330" y="206"/>
                    <a:pt x="329" y="207"/>
                  </a:cubicBezTo>
                  <a:lnTo>
                    <a:pt x="260" y="256"/>
                  </a:lnTo>
                  <a:lnTo>
                    <a:pt x="264" y="278"/>
                  </a:lnTo>
                  <a:cubicBezTo>
                    <a:pt x="264" y="280"/>
                    <a:pt x="263" y="281"/>
                    <a:pt x="263" y="282"/>
                  </a:cubicBezTo>
                  <a:lnTo>
                    <a:pt x="246" y="303"/>
                  </a:lnTo>
                  <a:lnTo>
                    <a:pt x="190" y="363"/>
                  </a:lnTo>
                  <a:cubicBezTo>
                    <a:pt x="190" y="364"/>
                    <a:pt x="188" y="364"/>
                    <a:pt x="187" y="364"/>
                  </a:cubicBezTo>
                  <a:lnTo>
                    <a:pt x="80" y="34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 name="Freeform 52"/>
            <p:cNvSpPr>
              <a:spLocks noChangeArrowheads="1"/>
            </p:cNvSpPr>
            <p:nvPr/>
          </p:nvSpPr>
          <p:spPr bwMode="auto">
            <a:xfrm>
              <a:off x="2566988" y="3160713"/>
              <a:ext cx="17462" cy="11112"/>
            </a:xfrm>
            <a:custGeom>
              <a:avLst/>
              <a:gdLst/>
              <a:ahLst/>
              <a:cxnLst>
                <a:cxn ang="0">
                  <a:pos x="12" y="22"/>
                </a:cxn>
                <a:cxn ang="0">
                  <a:pos x="10" y="20"/>
                </a:cxn>
                <a:cxn ang="0">
                  <a:pos x="1" y="7"/>
                </a:cxn>
                <a:cxn ang="0">
                  <a:pos x="1" y="3"/>
                </a:cxn>
                <a:cxn ang="0">
                  <a:pos x="5" y="0"/>
                </a:cxn>
                <a:cxn ang="0">
                  <a:pos x="26" y="0"/>
                </a:cxn>
                <a:cxn ang="0">
                  <a:pos x="30" y="2"/>
                </a:cxn>
                <a:cxn ang="0">
                  <a:pos x="47" y="23"/>
                </a:cxn>
                <a:cxn ang="0">
                  <a:pos x="47" y="29"/>
                </a:cxn>
                <a:cxn ang="0">
                  <a:pos x="43" y="31"/>
                </a:cxn>
                <a:cxn ang="0">
                  <a:pos x="42" y="31"/>
                </a:cxn>
                <a:cxn ang="0">
                  <a:pos x="12" y="22"/>
                </a:cxn>
              </a:cxnLst>
              <a:rect l="0" t="0" r="r" b="b"/>
              <a:pathLst>
                <a:path w="49" h="32">
                  <a:moveTo>
                    <a:pt x="12" y="22"/>
                  </a:moveTo>
                  <a:cubicBezTo>
                    <a:pt x="11" y="22"/>
                    <a:pt x="10" y="21"/>
                    <a:pt x="10" y="20"/>
                  </a:cubicBezTo>
                  <a:lnTo>
                    <a:pt x="1" y="7"/>
                  </a:lnTo>
                  <a:cubicBezTo>
                    <a:pt x="0" y="6"/>
                    <a:pt x="0" y="4"/>
                    <a:pt x="1" y="3"/>
                  </a:cubicBezTo>
                  <a:cubicBezTo>
                    <a:pt x="2" y="1"/>
                    <a:pt x="3" y="0"/>
                    <a:pt x="5" y="0"/>
                  </a:cubicBezTo>
                  <a:lnTo>
                    <a:pt x="26" y="0"/>
                  </a:lnTo>
                  <a:cubicBezTo>
                    <a:pt x="28" y="0"/>
                    <a:pt x="29" y="1"/>
                    <a:pt x="30" y="2"/>
                  </a:cubicBezTo>
                  <a:lnTo>
                    <a:pt x="47" y="23"/>
                  </a:lnTo>
                  <a:cubicBezTo>
                    <a:pt x="48" y="25"/>
                    <a:pt x="48" y="27"/>
                    <a:pt x="47" y="29"/>
                  </a:cubicBezTo>
                  <a:cubicBezTo>
                    <a:pt x="46" y="30"/>
                    <a:pt x="45" y="31"/>
                    <a:pt x="43" y="31"/>
                  </a:cubicBezTo>
                  <a:lnTo>
                    <a:pt x="42" y="31"/>
                  </a:lnTo>
                  <a:lnTo>
                    <a:pt x="12" y="2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 name="Freeform 53"/>
            <p:cNvSpPr>
              <a:spLocks noChangeArrowheads="1"/>
            </p:cNvSpPr>
            <p:nvPr/>
          </p:nvSpPr>
          <p:spPr bwMode="auto">
            <a:xfrm>
              <a:off x="2566988" y="3160713"/>
              <a:ext cx="17462" cy="11112"/>
            </a:xfrm>
            <a:custGeom>
              <a:avLst/>
              <a:gdLst/>
              <a:ahLst/>
              <a:cxnLst>
                <a:cxn ang="0">
                  <a:pos x="42" y="31"/>
                </a:cxn>
                <a:cxn ang="0">
                  <a:pos x="12" y="22"/>
                </a:cxn>
                <a:cxn ang="0">
                  <a:pos x="10" y="20"/>
                </a:cxn>
                <a:cxn ang="0">
                  <a:pos x="1" y="7"/>
                </a:cxn>
                <a:cxn ang="0">
                  <a:pos x="1" y="3"/>
                </a:cxn>
                <a:cxn ang="0">
                  <a:pos x="5" y="0"/>
                </a:cxn>
                <a:cxn ang="0">
                  <a:pos x="26" y="0"/>
                </a:cxn>
                <a:cxn ang="0">
                  <a:pos x="30" y="2"/>
                </a:cxn>
                <a:cxn ang="0">
                  <a:pos x="47" y="23"/>
                </a:cxn>
                <a:cxn ang="0">
                  <a:pos x="47" y="29"/>
                </a:cxn>
                <a:cxn ang="0">
                  <a:pos x="43" y="31"/>
                </a:cxn>
                <a:cxn ang="0">
                  <a:pos x="42" y="31"/>
                </a:cxn>
              </a:cxnLst>
              <a:rect l="0" t="0" r="r" b="b"/>
              <a:pathLst>
                <a:path w="49" h="32">
                  <a:moveTo>
                    <a:pt x="42" y="31"/>
                  </a:moveTo>
                  <a:lnTo>
                    <a:pt x="12" y="22"/>
                  </a:lnTo>
                  <a:cubicBezTo>
                    <a:pt x="11" y="22"/>
                    <a:pt x="10" y="21"/>
                    <a:pt x="10" y="20"/>
                  </a:cubicBezTo>
                  <a:lnTo>
                    <a:pt x="1" y="7"/>
                  </a:lnTo>
                  <a:cubicBezTo>
                    <a:pt x="0" y="6"/>
                    <a:pt x="0" y="4"/>
                    <a:pt x="1" y="3"/>
                  </a:cubicBezTo>
                  <a:cubicBezTo>
                    <a:pt x="2" y="1"/>
                    <a:pt x="3" y="0"/>
                    <a:pt x="5" y="0"/>
                  </a:cubicBezTo>
                  <a:lnTo>
                    <a:pt x="26" y="0"/>
                  </a:lnTo>
                  <a:cubicBezTo>
                    <a:pt x="28" y="0"/>
                    <a:pt x="29" y="1"/>
                    <a:pt x="30" y="2"/>
                  </a:cubicBezTo>
                  <a:lnTo>
                    <a:pt x="47" y="23"/>
                  </a:lnTo>
                  <a:cubicBezTo>
                    <a:pt x="48" y="25"/>
                    <a:pt x="48" y="27"/>
                    <a:pt x="47" y="29"/>
                  </a:cubicBezTo>
                  <a:cubicBezTo>
                    <a:pt x="46" y="30"/>
                    <a:pt x="45" y="31"/>
                    <a:pt x="43" y="31"/>
                  </a:cubicBezTo>
                  <a:lnTo>
                    <a:pt x="42" y="3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 name="Freeform 54"/>
            <p:cNvSpPr>
              <a:spLocks noChangeArrowheads="1"/>
            </p:cNvSpPr>
            <p:nvPr/>
          </p:nvSpPr>
          <p:spPr bwMode="auto">
            <a:xfrm>
              <a:off x="2579688" y="3125788"/>
              <a:ext cx="9525" cy="6350"/>
            </a:xfrm>
            <a:custGeom>
              <a:avLst/>
              <a:gdLst/>
              <a:ahLst/>
              <a:cxnLst>
                <a:cxn ang="0">
                  <a:pos x="4" y="13"/>
                </a:cxn>
                <a:cxn ang="0">
                  <a:pos x="1" y="10"/>
                </a:cxn>
                <a:cxn ang="0">
                  <a:pos x="2" y="6"/>
                </a:cxn>
                <a:cxn ang="0">
                  <a:pos x="6" y="1"/>
                </a:cxn>
                <a:cxn ang="0">
                  <a:pos x="9" y="0"/>
                </a:cxn>
                <a:cxn ang="0">
                  <a:pos x="12" y="1"/>
                </a:cxn>
                <a:cxn ang="0">
                  <a:pos x="25" y="9"/>
                </a:cxn>
                <a:cxn ang="0">
                  <a:pos x="26" y="15"/>
                </a:cxn>
                <a:cxn ang="0">
                  <a:pos x="22" y="18"/>
                </a:cxn>
                <a:cxn ang="0">
                  <a:pos x="21" y="18"/>
                </a:cxn>
                <a:cxn ang="0">
                  <a:pos x="4" y="13"/>
                </a:cxn>
              </a:cxnLst>
              <a:rect l="0" t="0" r="r" b="b"/>
              <a:pathLst>
                <a:path w="28" h="19">
                  <a:moveTo>
                    <a:pt x="4" y="13"/>
                  </a:moveTo>
                  <a:cubicBezTo>
                    <a:pt x="2" y="13"/>
                    <a:pt x="1" y="12"/>
                    <a:pt x="1" y="10"/>
                  </a:cubicBezTo>
                  <a:cubicBezTo>
                    <a:pt x="0" y="8"/>
                    <a:pt x="1" y="7"/>
                    <a:pt x="2" y="6"/>
                  </a:cubicBezTo>
                  <a:lnTo>
                    <a:pt x="6" y="1"/>
                  </a:lnTo>
                  <a:cubicBezTo>
                    <a:pt x="7" y="0"/>
                    <a:pt x="8" y="0"/>
                    <a:pt x="9" y="0"/>
                  </a:cubicBezTo>
                  <a:cubicBezTo>
                    <a:pt x="10" y="0"/>
                    <a:pt x="11" y="0"/>
                    <a:pt x="12" y="1"/>
                  </a:cubicBezTo>
                  <a:lnTo>
                    <a:pt x="25" y="9"/>
                  </a:lnTo>
                  <a:cubicBezTo>
                    <a:pt x="27" y="10"/>
                    <a:pt x="27" y="13"/>
                    <a:pt x="26" y="15"/>
                  </a:cubicBezTo>
                  <a:cubicBezTo>
                    <a:pt x="26" y="17"/>
                    <a:pt x="24" y="18"/>
                    <a:pt x="22" y="18"/>
                  </a:cubicBezTo>
                  <a:lnTo>
                    <a:pt x="21" y="18"/>
                  </a:lnTo>
                  <a:lnTo>
                    <a:pt x="4" y="1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 name="Freeform 55"/>
            <p:cNvSpPr>
              <a:spLocks noChangeArrowheads="1"/>
            </p:cNvSpPr>
            <p:nvPr/>
          </p:nvSpPr>
          <p:spPr bwMode="auto">
            <a:xfrm>
              <a:off x="2579688" y="3125788"/>
              <a:ext cx="9525" cy="6350"/>
            </a:xfrm>
            <a:custGeom>
              <a:avLst/>
              <a:gdLst/>
              <a:ahLst/>
              <a:cxnLst>
                <a:cxn ang="0">
                  <a:pos x="21" y="18"/>
                </a:cxn>
                <a:cxn ang="0">
                  <a:pos x="4" y="13"/>
                </a:cxn>
                <a:cxn ang="0">
                  <a:pos x="1" y="10"/>
                </a:cxn>
                <a:cxn ang="0">
                  <a:pos x="2" y="6"/>
                </a:cxn>
                <a:cxn ang="0">
                  <a:pos x="6" y="1"/>
                </a:cxn>
                <a:cxn ang="0">
                  <a:pos x="9" y="0"/>
                </a:cxn>
                <a:cxn ang="0">
                  <a:pos x="12" y="1"/>
                </a:cxn>
                <a:cxn ang="0">
                  <a:pos x="25" y="9"/>
                </a:cxn>
                <a:cxn ang="0">
                  <a:pos x="26" y="15"/>
                </a:cxn>
                <a:cxn ang="0">
                  <a:pos x="22" y="18"/>
                </a:cxn>
                <a:cxn ang="0">
                  <a:pos x="21" y="18"/>
                </a:cxn>
              </a:cxnLst>
              <a:rect l="0" t="0" r="r" b="b"/>
              <a:pathLst>
                <a:path w="28" h="19">
                  <a:moveTo>
                    <a:pt x="21" y="18"/>
                  </a:moveTo>
                  <a:lnTo>
                    <a:pt x="4" y="13"/>
                  </a:lnTo>
                  <a:cubicBezTo>
                    <a:pt x="2" y="13"/>
                    <a:pt x="1" y="12"/>
                    <a:pt x="1" y="10"/>
                  </a:cubicBezTo>
                  <a:cubicBezTo>
                    <a:pt x="0" y="8"/>
                    <a:pt x="1" y="7"/>
                    <a:pt x="2" y="6"/>
                  </a:cubicBezTo>
                  <a:lnTo>
                    <a:pt x="6" y="1"/>
                  </a:lnTo>
                  <a:cubicBezTo>
                    <a:pt x="7" y="0"/>
                    <a:pt x="8" y="0"/>
                    <a:pt x="9" y="0"/>
                  </a:cubicBezTo>
                  <a:cubicBezTo>
                    <a:pt x="10" y="0"/>
                    <a:pt x="11" y="0"/>
                    <a:pt x="12" y="1"/>
                  </a:cubicBezTo>
                  <a:lnTo>
                    <a:pt x="25" y="9"/>
                  </a:lnTo>
                  <a:cubicBezTo>
                    <a:pt x="27" y="10"/>
                    <a:pt x="27" y="13"/>
                    <a:pt x="26" y="15"/>
                  </a:cubicBezTo>
                  <a:cubicBezTo>
                    <a:pt x="26" y="17"/>
                    <a:pt x="24" y="18"/>
                    <a:pt x="22" y="18"/>
                  </a:cubicBezTo>
                  <a:lnTo>
                    <a:pt x="21" y="1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 name="Freeform 56"/>
            <p:cNvSpPr>
              <a:spLocks noChangeArrowheads="1"/>
            </p:cNvSpPr>
            <p:nvPr/>
          </p:nvSpPr>
          <p:spPr bwMode="auto">
            <a:xfrm>
              <a:off x="2535238" y="3128963"/>
              <a:ext cx="85725" cy="65087"/>
            </a:xfrm>
            <a:custGeom>
              <a:avLst/>
              <a:gdLst/>
              <a:ahLst/>
              <a:cxnLst>
                <a:cxn ang="0">
                  <a:pos x="219" y="179"/>
                </a:cxn>
                <a:cxn ang="0">
                  <a:pos x="187" y="162"/>
                </a:cxn>
                <a:cxn ang="0">
                  <a:pos x="138" y="175"/>
                </a:cxn>
                <a:cxn ang="0">
                  <a:pos x="70" y="158"/>
                </a:cxn>
                <a:cxn ang="0">
                  <a:pos x="51" y="178"/>
                </a:cxn>
                <a:cxn ang="0">
                  <a:pos x="48" y="179"/>
                </a:cxn>
                <a:cxn ang="0">
                  <a:pos x="44" y="178"/>
                </a:cxn>
                <a:cxn ang="0">
                  <a:pos x="2" y="140"/>
                </a:cxn>
                <a:cxn ang="0">
                  <a:pos x="0" y="136"/>
                </a:cxn>
                <a:cxn ang="0">
                  <a:pos x="0" y="128"/>
                </a:cxn>
                <a:cxn ang="0">
                  <a:pos x="2" y="124"/>
                </a:cxn>
                <a:cxn ang="0">
                  <a:pos x="5" y="123"/>
                </a:cxn>
                <a:cxn ang="0">
                  <a:pos x="163" y="127"/>
                </a:cxn>
                <a:cxn ang="0">
                  <a:pos x="165" y="117"/>
                </a:cxn>
                <a:cxn ang="0">
                  <a:pos x="134" y="98"/>
                </a:cxn>
                <a:cxn ang="0">
                  <a:pos x="132" y="94"/>
                </a:cxn>
                <a:cxn ang="0">
                  <a:pos x="128" y="47"/>
                </a:cxn>
                <a:cxn ang="0">
                  <a:pos x="80" y="31"/>
                </a:cxn>
                <a:cxn ang="0">
                  <a:pos x="77" y="27"/>
                </a:cxn>
                <a:cxn ang="0">
                  <a:pos x="79" y="22"/>
                </a:cxn>
                <a:cxn ang="0">
                  <a:pos x="122" y="1"/>
                </a:cxn>
                <a:cxn ang="0">
                  <a:pos x="124" y="0"/>
                </a:cxn>
                <a:cxn ang="0">
                  <a:pos x="126" y="1"/>
                </a:cxn>
                <a:cxn ang="0">
                  <a:pos x="176" y="22"/>
                </a:cxn>
                <a:cxn ang="0">
                  <a:pos x="216" y="9"/>
                </a:cxn>
                <a:cxn ang="0">
                  <a:pos x="217" y="9"/>
                </a:cxn>
                <a:cxn ang="0">
                  <a:pos x="219" y="9"/>
                </a:cxn>
                <a:cxn ang="0">
                  <a:pos x="222" y="12"/>
                </a:cxn>
                <a:cxn ang="0">
                  <a:pos x="238" y="72"/>
                </a:cxn>
                <a:cxn ang="0">
                  <a:pos x="222" y="129"/>
                </a:cxn>
                <a:cxn ang="0">
                  <a:pos x="226" y="174"/>
                </a:cxn>
                <a:cxn ang="0">
                  <a:pos x="224" y="178"/>
                </a:cxn>
                <a:cxn ang="0">
                  <a:pos x="221" y="179"/>
                </a:cxn>
                <a:cxn ang="0">
                  <a:pos x="219" y="179"/>
                </a:cxn>
              </a:cxnLst>
              <a:rect l="0" t="0" r="r" b="b"/>
              <a:pathLst>
                <a:path w="239" h="180">
                  <a:moveTo>
                    <a:pt x="219" y="179"/>
                  </a:moveTo>
                  <a:lnTo>
                    <a:pt x="187" y="162"/>
                  </a:lnTo>
                  <a:lnTo>
                    <a:pt x="138" y="175"/>
                  </a:lnTo>
                  <a:lnTo>
                    <a:pt x="70" y="158"/>
                  </a:lnTo>
                  <a:lnTo>
                    <a:pt x="51" y="178"/>
                  </a:lnTo>
                  <a:cubicBezTo>
                    <a:pt x="50" y="179"/>
                    <a:pt x="49" y="179"/>
                    <a:pt x="48" y="179"/>
                  </a:cubicBezTo>
                  <a:cubicBezTo>
                    <a:pt x="47" y="179"/>
                    <a:pt x="45" y="179"/>
                    <a:pt x="44" y="178"/>
                  </a:cubicBezTo>
                  <a:lnTo>
                    <a:pt x="2" y="140"/>
                  </a:lnTo>
                  <a:cubicBezTo>
                    <a:pt x="1" y="139"/>
                    <a:pt x="0" y="138"/>
                    <a:pt x="0" y="136"/>
                  </a:cubicBezTo>
                  <a:lnTo>
                    <a:pt x="0" y="128"/>
                  </a:lnTo>
                  <a:cubicBezTo>
                    <a:pt x="0" y="127"/>
                    <a:pt x="1" y="125"/>
                    <a:pt x="2" y="124"/>
                  </a:cubicBezTo>
                  <a:cubicBezTo>
                    <a:pt x="3" y="124"/>
                    <a:pt x="4" y="123"/>
                    <a:pt x="5" y="123"/>
                  </a:cubicBezTo>
                  <a:lnTo>
                    <a:pt x="163" y="127"/>
                  </a:lnTo>
                  <a:lnTo>
                    <a:pt x="165" y="117"/>
                  </a:lnTo>
                  <a:lnTo>
                    <a:pt x="134" y="98"/>
                  </a:lnTo>
                  <a:cubicBezTo>
                    <a:pt x="133" y="97"/>
                    <a:pt x="132" y="96"/>
                    <a:pt x="132" y="94"/>
                  </a:cubicBezTo>
                  <a:lnTo>
                    <a:pt x="128" y="47"/>
                  </a:lnTo>
                  <a:lnTo>
                    <a:pt x="80" y="31"/>
                  </a:lnTo>
                  <a:cubicBezTo>
                    <a:pt x="78" y="30"/>
                    <a:pt x="77" y="28"/>
                    <a:pt x="77" y="27"/>
                  </a:cubicBezTo>
                  <a:cubicBezTo>
                    <a:pt x="77" y="25"/>
                    <a:pt x="78" y="23"/>
                    <a:pt x="79" y="22"/>
                  </a:cubicBezTo>
                  <a:lnTo>
                    <a:pt x="122" y="1"/>
                  </a:lnTo>
                  <a:cubicBezTo>
                    <a:pt x="122" y="1"/>
                    <a:pt x="123" y="0"/>
                    <a:pt x="124" y="0"/>
                  </a:cubicBezTo>
                  <a:cubicBezTo>
                    <a:pt x="124" y="0"/>
                    <a:pt x="125" y="0"/>
                    <a:pt x="126" y="1"/>
                  </a:cubicBezTo>
                  <a:lnTo>
                    <a:pt x="176" y="22"/>
                  </a:lnTo>
                  <a:lnTo>
                    <a:pt x="216" y="9"/>
                  </a:lnTo>
                  <a:lnTo>
                    <a:pt x="217" y="9"/>
                  </a:lnTo>
                  <a:cubicBezTo>
                    <a:pt x="218" y="9"/>
                    <a:pt x="219" y="9"/>
                    <a:pt x="219" y="9"/>
                  </a:cubicBezTo>
                  <a:cubicBezTo>
                    <a:pt x="220" y="10"/>
                    <a:pt x="221" y="11"/>
                    <a:pt x="222" y="12"/>
                  </a:cubicBezTo>
                  <a:lnTo>
                    <a:pt x="238" y="72"/>
                  </a:lnTo>
                  <a:lnTo>
                    <a:pt x="222" y="129"/>
                  </a:lnTo>
                  <a:lnTo>
                    <a:pt x="226" y="174"/>
                  </a:lnTo>
                  <a:cubicBezTo>
                    <a:pt x="226" y="176"/>
                    <a:pt x="225" y="177"/>
                    <a:pt x="224" y="178"/>
                  </a:cubicBezTo>
                  <a:cubicBezTo>
                    <a:pt x="223" y="179"/>
                    <a:pt x="222" y="179"/>
                    <a:pt x="221" y="179"/>
                  </a:cubicBezTo>
                  <a:cubicBezTo>
                    <a:pt x="221" y="179"/>
                    <a:pt x="220" y="179"/>
                    <a:pt x="219" y="17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 name="Freeform 57"/>
            <p:cNvSpPr>
              <a:spLocks noChangeArrowheads="1"/>
            </p:cNvSpPr>
            <p:nvPr/>
          </p:nvSpPr>
          <p:spPr bwMode="auto">
            <a:xfrm>
              <a:off x="2535238" y="3128963"/>
              <a:ext cx="85725" cy="65087"/>
            </a:xfrm>
            <a:custGeom>
              <a:avLst/>
              <a:gdLst/>
              <a:ahLst/>
              <a:cxnLst>
                <a:cxn ang="0">
                  <a:pos x="221" y="179"/>
                </a:cxn>
                <a:cxn ang="0">
                  <a:pos x="219" y="179"/>
                </a:cxn>
                <a:cxn ang="0">
                  <a:pos x="187" y="162"/>
                </a:cxn>
                <a:cxn ang="0">
                  <a:pos x="138" y="175"/>
                </a:cxn>
                <a:cxn ang="0">
                  <a:pos x="70" y="158"/>
                </a:cxn>
                <a:cxn ang="0">
                  <a:pos x="51" y="178"/>
                </a:cxn>
                <a:cxn ang="0">
                  <a:pos x="48" y="179"/>
                </a:cxn>
                <a:cxn ang="0">
                  <a:pos x="44" y="178"/>
                </a:cxn>
                <a:cxn ang="0">
                  <a:pos x="2" y="140"/>
                </a:cxn>
                <a:cxn ang="0">
                  <a:pos x="0" y="136"/>
                </a:cxn>
                <a:cxn ang="0">
                  <a:pos x="0" y="128"/>
                </a:cxn>
                <a:cxn ang="0">
                  <a:pos x="2" y="124"/>
                </a:cxn>
                <a:cxn ang="0">
                  <a:pos x="5" y="123"/>
                </a:cxn>
                <a:cxn ang="0">
                  <a:pos x="163" y="127"/>
                </a:cxn>
                <a:cxn ang="0">
                  <a:pos x="165" y="117"/>
                </a:cxn>
                <a:cxn ang="0">
                  <a:pos x="134" y="98"/>
                </a:cxn>
                <a:cxn ang="0">
                  <a:pos x="132" y="94"/>
                </a:cxn>
                <a:cxn ang="0">
                  <a:pos x="128" y="47"/>
                </a:cxn>
                <a:cxn ang="0">
                  <a:pos x="80" y="31"/>
                </a:cxn>
                <a:cxn ang="0">
                  <a:pos x="77" y="27"/>
                </a:cxn>
                <a:cxn ang="0">
                  <a:pos x="79" y="22"/>
                </a:cxn>
                <a:cxn ang="0">
                  <a:pos x="122" y="1"/>
                </a:cxn>
                <a:cxn ang="0">
                  <a:pos x="124" y="0"/>
                </a:cxn>
                <a:cxn ang="0">
                  <a:pos x="126" y="1"/>
                </a:cxn>
                <a:cxn ang="0">
                  <a:pos x="176" y="22"/>
                </a:cxn>
                <a:cxn ang="0">
                  <a:pos x="216" y="9"/>
                </a:cxn>
                <a:cxn ang="0">
                  <a:pos x="217" y="9"/>
                </a:cxn>
                <a:cxn ang="0">
                  <a:pos x="219" y="9"/>
                </a:cxn>
                <a:cxn ang="0">
                  <a:pos x="222" y="12"/>
                </a:cxn>
                <a:cxn ang="0">
                  <a:pos x="238" y="72"/>
                </a:cxn>
                <a:cxn ang="0">
                  <a:pos x="222" y="129"/>
                </a:cxn>
                <a:cxn ang="0">
                  <a:pos x="226" y="174"/>
                </a:cxn>
                <a:cxn ang="0">
                  <a:pos x="224" y="178"/>
                </a:cxn>
                <a:cxn ang="0">
                  <a:pos x="221" y="179"/>
                </a:cxn>
              </a:cxnLst>
              <a:rect l="0" t="0" r="r" b="b"/>
              <a:pathLst>
                <a:path w="239" h="180">
                  <a:moveTo>
                    <a:pt x="221" y="179"/>
                  </a:moveTo>
                  <a:cubicBezTo>
                    <a:pt x="221" y="179"/>
                    <a:pt x="220" y="179"/>
                    <a:pt x="219" y="179"/>
                  </a:cubicBezTo>
                  <a:lnTo>
                    <a:pt x="187" y="162"/>
                  </a:lnTo>
                  <a:lnTo>
                    <a:pt x="138" y="175"/>
                  </a:lnTo>
                  <a:lnTo>
                    <a:pt x="70" y="158"/>
                  </a:lnTo>
                  <a:lnTo>
                    <a:pt x="51" y="178"/>
                  </a:lnTo>
                  <a:cubicBezTo>
                    <a:pt x="50" y="179"/>
                    <a:pt x="49" y="179"/>
                    <a:pt x="48" y="179"/>
                  </a:cubicBezTo>
                  <a:cubicBezTo>
                    <a:pt x="47" y="179"/>
                    <a:pt x="45" y="179"/>
                    <a:pt x="44" y="178"/>
                  </a:cubicBezTo>
                  <a:lnTo>
                    <a:pt x="2" y="140"/>
                  </a:lnTo>
                  <a:cubicBezTo>
                    <a:pt x="1" y="139"/>
                    <a:pt x="0" y="138"/>
                    <a:pt x="0" y="136"/>
                  </a:cubicBezTo>
                  <a:lnTo>
                    <a:pt x="0" y="128"/>
                  </a:lnTo>
                  <a:cubicBezTo>
                    <a:pt x="0" y="127"/>
                    <a:pt x="1" y="125"/>
                    <a:pt x="2" y="124"/>
                  </a:cubicBezTo>
                  <a:cubicBezTo>
                    <a:pt x="3" y="124"/>
                    <a:pt x="4" y="123"/>
                    <a:pt x="5" y="123"/>
                  </a:cubicBezTo>
                  <a:lnTo>
                    <a:pt x="163" y="127"/>
                  </a:lnTo>
                  <a:lnTo>
                    <a:pt x="165" y="117"/>
                  </a:lnTo>
                  <a:lnTo>
                    <a:pt x="134" y="98"/>
                  </a:lnTo>
                  <a:cubicBezTo>
                    <a:pt x="133" y="97"/>
                    <a:pt x="132" y="96"/>
                    <a:pt x="132" y="94"/>
                  </a:cubicBezTo>
                  <a:lnTo>
                    <a:pt x="128" y="47"/>
                  </a:lnTo>
                  <a:lnTo>
                    <a:pt x="80" y="31"/>
                  </a:lnTo>
                  <a:cubicBezTo>
                    <a:pt x="78" y="30"/>
                    <a:pt x="77" y="28"/>
                    <a:pt x="77" y="27"/>
                  </a:cubicBezTo>
                  <a:cubicBezTo>
                    <a:pt x="77" y="25"/>
                    <a:pt x="78" y="23"/>
                    <a:pt x="79" y="22"/>
                  </a:cubicBezTo>
                  <a:lnTo>
                    <a:pt x="122" y="1"/>
                  </a:lnTo>
                  <a:cubicBezTo>
                    <a:pt x="122" y="1"/>
                    <a:pt x="123" y="0"/>
                    <a:pt x="124" y="0"/>
                  </a:cubicBezTo>
                  <a:cubicBezTo>
                    <a:pt x="124" y="0"/>
                    <a:pt x="125" y="0"/>
                    <a:pt x="126" y="1"/>
                  </a:cubicBezTo>
                  <a:lnTo>
                    <a:pt x="176" y="22"/>
                  </a:lnTo>
                  <a:lnTo>
                    <a:pt x="216" y="9"/>
                  </a:lnTo>
                  <a:lnTo>
                    <a:pt x="217" y="9"/>
                  </a:lnTo>
                  <a:cubicBezTo>
                    <a:pt x="218" y="9"/>
                    <a:pt x="219" y="9"/>
                    <a:pt x="219" y="9"/>
                  </a:cubicBezTo>
                  <a:cubicBezTo>
                    <a:pt x="220" y="10"/>
                    <a:pt x="221" y="11"/>
                    <a:pt x="222" y="12"/>
                  </a:cubicBezTo>
                  <a:lnTo>
                    <a:pt x="238" y="72"/>
                  </a:lnTo>
                  <a:lnTo>
                    <a:pt x="222" y="129"/>
                  </a:lnTo>
                  <a:lnTo>
                    <a:pt x="226" y="174"/>
                  </a:lnTo>
                  <a:cubicBezTo>
                    <a:pt x="226" y="176"/>
                    <a:pt x="225" y="177"/>
                    <a:pt x="224" y="178"/>
                  </a:cubicBezTo>
                  <a:cubicBezTo>
                    <a:pt x="223" y="179"/>
                    <a:pt x="222" y="179"/>
                    <a:pt x="221" y="17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 name="Freeform 58"/>
            <p:cNvSpPr>
              <a:spLocks noChangeArrowheads="1"/>
            </p:cNvSpPr>
            <p:nvPr/>
          </p:nvSpPr>
          <p:spPr bwMode="auto">
            <a:xfrm>
              <a:off x="2082800" y="3252788"/>
              <a:ext cx="188913" cy="96837"/>
            </a:xfrm>
            <a:custGeom>
              <a:avLst/>
              <a:gdLst/>
              <a:ahLst/>
              <a:cxnLst>
                <a:cxn ang="0">
                  <a:pos x="175" y="265"/>
                </a:cxn>
                <a:cxn ang="0">
                  <a:pos x="159" y="234"/>
                </a:cxn>
                <a:cxn ang="0">
                  <a:pos x="141" y="234"/>
                </a:cxn>
                <a:cxn ang="0">
                  <a:pos x="136" y="230"/>
                </a:cxn>
                <a:cxn ang="0">
                  <a:pos x="128" y="192"/>
                </a:cxn>
                <a:cxn ang="0">
                  <a:pos x="81" y="192"/>
                </a:cxn>
                <a:cxn ang="0">
                  <a:pos x="3" y="144"/>
                </a:cxn>
                <a:cxn ang="0">
                  <a:pos x="0" y="141"/>
                </a:cxn>
                <a:cxn ang="0">
                  <a:pos x="1" y="137"/>
                </a:cxn>
                <a:cxn ang="0">
                  <a:pos x="17" y="118"/>
                </a:cxn>
                <a:cxn ang="0">
                  <a:pos x="13" y="95"/>
                </a:cxn>
                <a:cxn ang="0">
                  <a:pos x="15" y="90"/>
                </a:cxn>
                <a:cxn ang="0">
                  <a:pos x="86" y="40"/>
                </a:cxn>
                <a:cxn ang="0">
                  <a:pos x="89" y="21"/>
                </a:cxn>
                <a:cxn ang="0">
                  <a:pos x="94" y="17"/>
                </a:cxn>
                <a:cxn ang="0">
                  <a:pos x="369" y="0"/>
                </a:cxn>
                <a:cxn ang="0">
                  <a:pos x="447" y="30"/>
                </a:cxn>
                <a:cxn ang="0">
                  <a:pos x="521" y="90"/>
                </a:cxn>
                <a:cxn ang="0">
                  <a:pos x="522" y="95"/>
                </a:cxn>
                <a:cxn ang="0">
                  <a:pos x="519" y="98"/>
                </a:cxn>
                <a:cxn ang="0">
                  <a:pos x="434" y="128"/>
                </a:cxn>
                <a:cxn ang="0">
                  <a:pos x="433" y="128"/>
                </a:cxn>
                <a:cxn ang="0">
                  <a:pos x="431" y="128"/>
                </a:cxn>
                <a:cxn ang="0">
                  <a:pos x="392" y="112"/>
                </a:cxn>
                <a:cxn ang="0">
                  <a:pos x="365" y="152"/>
                </a:cxn>
                <a:cxn ang="0">
                  <a:pos x="313" y="187"/>
                </a:cxn>
                <a:cxn ang="0">
                  <a:pos x="310" y="187"/>
                </a:cxn>
                <a:cxn ang="0">
                  <a:pos x="309" y="187"/>
                </a:cxn>
                <a:cxn ang="0">
                  <a:pos x="279" y="176"/>
                </a:cxn>
                <a:cxn ang="0">
                  <a:pos x="268" y="202"/>
                </a:cxn>
                <a:cxn ang="0">
                  <a:pos x="263" y="204"/>
                </a:cxn>
                <a:cxn ang="0">
                  <a:pos x="234" y="204"/>
                </a:cxn>
                <a:cxn ang="0">
                  <a:pos x="230" y="234"/>
                </a:cxn>
                <a:cxn ang="0">
                  <a:pos x="207" y="258"/>
                </a:cxn>
                <a:cxn ang="0">
                  <a:pos x="180" y="268"/>
                </a:cxn>
                <a:cxn ang="0">
                  <a:pos x="179" y="268"/>
                </a:cxn>
                <a:cxn ang="0">
                  <a:pos x="175" y="265"/>
                </a:cxn>
              </a:cxnLst>
              <a:rect l="0" t="0" r="r" b="b"/>
              <a:pathLst>
                <a:path w="523" h="269">
                  <a:moveTo>
                    <a:pt x="175" y="265"/>
                  </a:moveTo>
                  <a:lnTo>
                    <a:pt x="159" y="234"/>
                  </a:lnTo>
                  <a:lnTo>
                    <a:pt x="141" y="234"/>
                  </a:lnTo>
                  <a:cubicBezTo>
                    <a:pt x="138" y="234"/>
                    <a:pt x="136" y="232"/>
                    <a:pt x="136" y="230"/>
                  </a:cubicBezTo>
                  <a:lnTo>
                    <a:pt x="128" y="192"/>
                  </a:lnTo>
                  <a:lnTo>
                    <a:pt x="81" y="192"/>
                  </a:lnTo>
                  <a:lnTo>
                    <a:pt x="3" y="144"/>
                  </a:lnTo>
                  <a:cubicBezTo>
                    <a:pt x="2" y="144"/>
                    <a:pt x="1" y="143"/>
                    <a:pt x="0" y="141"/>
                  </a:cubicBezTo>
                  <a:cubicBezTo>
                    <a:pt x="0" y="140"/>
                    <a:pt x="0" y="139"/>
                    <a:pt x="1" y="137"/>
                  </a:cubicBezTo>
                  <a:lnTo>
                    <a:pt x="17" y="118"/>
                  </a:lnTo>
                  <a:lnTo>
                    <a:pt x="13" y="95"/>
                  </a:lnTo>
                  <a:cubicBezTo>
                    <a:pt x="13" y="93"/>
                    <a:pt x="14" y="91"/>
                    <a:pt x="15" y="90"/>
                  </a:cubicBezTo>
                  <a:lnTo>
                    <a:pt x="86" y="40"/>
                  </a:lnTo>
                  <a:lnTo>
                    <a:pt x="89" y="21"/>
                  </a:lnTo>
                  <a:cubicBezTo>
                    <a:pt x="90" y="19"/>
                    <a:pt x="92" y="17"/>
                    <a:pt x="94" y="17"/>
                  </a:cubicBezTo>
                  <a:lnTo>
                    <a:pt x="369" y="0"/>
                  </a:lnTo>
                  <a:lnTo>
                    <a:pt x="447" y="30"/>
                  </a:lnTo>
                  <a:lnTo>
                    <a:pt x="521" y="90"/>
                  </a:lnTo>
                  <a:cubicBezTo>
                    <a:pt x="522" y="91"/>
                    <a:pt x="522" y="93"/>
                    <a:pt x="522" y="95"/>
                  </a:cubicBezTo>
                  <a:cubicBezTo>
                    <a:pt x="522" y="96"/>
                    <a:pt x="521" y="98"/>
                    <a:pt x="519" y="98"/>
                  </a:cubicBezTo>
                  <a:lnTo>
                    <a:pt x="434" y="128"/>
                  </a:lnTo>
                  <a:cubicBezTo>
                    <a:pt x="434" y="128"/>
                    <a:pt x="434" y="128"/>
                    <a:pt x="433" y="128"/>
                  </a:cubicBezTo>
                  <a:cubicBezTo>
                    <a:pt x="432" y="128"/>
                    <a:pt x="432" y="128"/>
                    <a:pt x="431" y="128"/>
                  </a:cubicBezTo>
                  <a:lnTo>
                    <a:pt x="392" y="112"/>
                  </a:lnTo>
                  <a:lnTo>
                    <a:pt x="365" y="152"/>
                  </a:lnTo>
                  <a:lnTo>
                    <a:pt x="313" y="187"/>
                  </a:lnTo>
                  <a:cubicBezTo>
                    <a:pt x="312" y="187"/>
                    <a:pt x="311" y="187"/>
                    <a:pt x="310" y="187"/>
                  </a:cubicBezTo>
                  <a:cubicBezTo>
                    <a:pt x="309" y="187"/>
                    <a:pt x="309" y="187"/>
                    <a:pt x="309" y="187"/>
                  </a:cubicBezTo>
                  <a:lnTo>
                    <a:pt x="279" y="176"/>
                  </a:lnTo>
                  <a:lnTo>
                    <a:pt x="268" y="202"/>
                  </a:lnTo>
                  <a:cubicBezTo>
                    <a:pt x="267" y="203"/>
                    <a:pt x="265" y="204"/>
                    <a:pt x="263" y="204"/>
                  </a:cubicBezTo>
                  <a:lnTo>
                    <a:pt x="234" y="204"/>
                  </a:lnTo>
                  <a:lnTo>
                    <a:pt x="230" y="234"/>
                  </a:lnTo>
                  <a:lnTo>
                    <a:pt x="207" y="258"/>
                  </a:lnTo>
                  <a:lnTo>
                    <a:pt x="180" y="268"/>
                  </a:lnTo>
                  <a:lnTo>
                    <a:pt x="179" y="268"/>
                  </a:lnTo>
                  <a:cubicBezTo>
                    <a:pt x="177" y="268"/>
                    <a:pt x="175" y="267"/>
                    <a:pt x="175" y="26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 name="Freeform 59"/>
            <p:cNvSpPr>
              <a:spLocks noChangeArrowheads="1"/>
            </p:cNvSpPr>
            <p:nvPr/>
          </p:nvSpPr>
          <p:spPr bwMode="auto">
            <a:xfrm>
              <a:off x="2082800" y="3252788"/>
              <a:ext cx="188913" cy="96837"/>
            </a:xfrm>
            <a:custGeom>
              <a:avLst/>
              <a:gdLst/>
              <a:ahLst/>
              <a:cxnLst>
                <a:cxn ang="0">
                  <a:pos x="179" y="268"/>
                </a:cxn>
                <a:cxn ang="0">
                  <a:pos x="175" y="265"/>
                </a:cxn>
                <a:cxn ang="0">
                  <a:pos x="159" y="234"/>
                </a:cxn>
                <a:cxn ang="0">
                  <a:pos x="141" y="234"/>
                </a:cxn>
                <a:cxn ang="0">
                  <a:pos x="136" y="230"/>
                </a:cxn>
                <a:cxn ang="0">
                  <a:pos x="128" y="192"/>
                </a:cxn>
                <a:cxn ang="0">
                  <a:pos x="81" y="192"/>
                </a:cxn>
                <a:cxn ang="0">
                  <a:pos x="3" y="144"/>
                </a:cxn>
                <a:cxn ang="0">
                  <a:pos x="0" y="141"/>
                </a:cxn>
                <a:cxn ang="0">
                  <a:pos x="1" y="137"/>
                </a:cxn>
                <a:cxn ang="0">
                  <a:pos x="17" y="118"/>
                </a:cxn>
                <a:cxn ang="0">
                  <a:pos x="13" y="95"/>
                </a:cxn>
                <a:cxn ang="0">
                  <a:pos x="15" y="90"/>
                </a:cxn>
                <a:cxn ang="0">
                  <a:pos x="86" y="40"/>
                </a:cxn>
                <a:cxn ang="0">
                  <a:pos x="89" y="21"/>
                </a:cxn>
                <a:cxn ang="0">
                  <a:pos x="94" y="17"/>
                </a:cxn>
                <a:cxn ang="0">
                  <a:pos x="369" y="0"/>
                </a:cxn>
                <a:cxn ang="0">
                  <a:pos x="447" y="30"/>
                </a:cxn>
                <a:cxn ang="0">
                  <a:pos x="521" y="90"/>
                </a:cxn>
                <a:cxn ang="0">
                  <a:pos x="522" y="95"/>
                </a:cxn>
                <a:cxn ang="0">
                  <a:pos x="519" y="98"/>
                </a:cxn>
                <a:cxn ang="0">
                  <a:pos x="434" y="128"/>
                </a:cxn>
                <a:cxn ang="0">
                  <a:pos x="433" y="128"/>
                </a:cxn>
                <a:cxn ang="0">
                  <a:pos x="431" y="128"/>
                </a:cxn>
                <a:cxn ang="0">
                  <a:pos x="392" y="112"/>
                </a:cxn>
                <a:cxn ang="0">
                  <a:pos x="365" y="152"/>
                </a:cxn>
                <a:cxn ang="0">
                  <a:pos x="313" y="187"/>
                </a:cxn>
                <a:cxn ang="0">
                  <a:pos x="310" y="187"/>
                </a:cxn>
                <a:cxn ang="0">
                  <a:pos x="309" y="187"/>
                </a:cxn>
                <a:cxn ang="0">
                  <a:pos x="279" y="176"/>
                </a:cxn>
                <a:cxn ang="0">
                  <a:pos x="268" y="202"/>
                </a:cxn>
                <a:cxn ang="0">
                  <a:pos x="263" y="204"/>
                </a:cxn>
                <a:cxn ang="0">
                  <a:pos x="234" y="204"/>
                </a:cxn>
                <a:cxn ang="0">
                  <a:pos x="230" y="234"/>
                </a:cxn>
                <a:cxn ang="0">
                  <a:pos x="207" y="258"/>
                </a:cxn>
                <a:cxn ang="0">
                  <a:pos x="180" y="268"/>
                </a:cxn>
                <a:cxn ang="0">
                  <a:pos x="179" y="268"/>
                </a:cxn>
              </a:cxnLst>
              <a:rect l="0" t="0" r="r" b="b"/>
              <a:pathLst>
                <a:path w="523" h="269">
                  <a:moveTo>
                    <a:pt x="179" y="268"/>
                  </a:moveTo>
                  <a:cubicBezTo>
                    <a:pt x="177" y="268"/>
                    <a:pt x="175" y="267"/>
                    <a:pt x="175" y="265"/>
                  </a:cubicBezTo>
                  <a:lnTo>
                    <a:pt x="159" y="234"/>
                  </a:lnTo>
                  <a:lnTo>
                    <a:pt x="141" y="234"/>
                  </a:lnTo>
                  <a:cubicBezTo>
                    <a:pt x="138" y="234"/>
                    <a:pt x="136" y="232"/>
                    <a:pt x="136" y="230"/>
                  </a:cubicBezTo>
                  <a:lnTo>
                    <a:pt x="128" y="192"/>
                  </a:lnTo>
                  <a:lnTo>
                    <a:pt x="81" y="192"/>
                  </a:lnTo>
                  <a:lnTo>
                    <a:pt x="3" y="144"/>
                  </a:lnTo>
                  <a:cubicBezTo>
                    <a:pt x="2" y="144"/>
                    <a:pt x="1" y="143"/>
                    <a:pt x="0" y="141"/>
                  </a:cubicBezTo>
                  <a:cubicBezTo>
                    <a:pt x="0" y="140"/>
                    <a:pt x="0" y="139"/>
                    <a:pt x="1" y="137"/>
                  </a:cubicBezTo>
                  <a:lnTo>
                    <a:pt x="17" y="118"/>
                  </a:lnTo>
                  <a:lnTo>
                    <a:pt x="13" y="95"/>
                  </a:lnTo>
                  <a:cubicBezTo>
                    <a:pt x="13" y="93"/>
                    <a:pt x="14" y="91"/>
                    <a:pt x="15" y="90"/>
                  </a:cubicBezTo>
                  <a:lnTo>
                    <a:pt x="86" y="40"/>
                  </a:lnTo>
                  <a:lnTo>
                    <a:pt x="89" y="21"/>
                  </a:lnTo>
                  <a:cubicBezTo>
                    <a:pt x="90" y="19"/>
                    <a:pt x="92" y="17"/>
                    <a:pt x="94" y="17"/>
                  </a:cubicBezTo>
                  <a:lnTo>
                    <a:pt x="369" y="0"/>
                  </a:lnTo>
                  <a:lnTo>
                    <a:pt x="447" y="30"/>
                  </a:lnTo>
                  <a:lnTo>
                    <a:pt x="521" y="90"/>
                  </a:lnTo>
                  <a:cubicBezTo>
                    <a:pt x="522" y="91"/>
                    <a:pt x="522" y="93"/>
                    <a:pt x="522" y="95"/>
                  </a:cubicBezTo>
                  <a:cubicBezTo>
                    <a:pt x="522" y="96"/>
                    <a:pt x="521" y="98"/>
                    <a:pt x="519" y="98"/>
                  </a:cubicBezTo>
                  <a:lnTo>
                    <a:pt x="434" y="128"/>
                  </a:lnTo>
                  <a:cubicBezTo>
                    <a:pt x="434" y="128"/>
                    <a:pt x="434" y="128"/>
                    <a:pt x="433" y="128"/>
                  </a:cubicBezTo>
                  <a:cubicBezTo>
                    <a:pt x="432" y="128"/>
                    <a:pt x="432" y="128"/>
                    <a:pt x="431" y="128"/>
                  </a:cubicBezTo>
                  <a:lnTo>
                    <a:pt x="392" y="112"/>
                  </a:lnTo>
                  <a:lnTo>
                    <a:pt x="365" y="152"/>
                  </a:lnTo>
                  <a:lnTo>
                    <a:pt x="313" y="187"/>
                  </a:lnTo>
                  <a:cubicBezTo>
                    <a:pt x="312" y="187"/>
                    <a:pt x="311" y="187"/>
                    <a:pt x="310" y="187"/>
                  </a:cubicBezTo>
                  <a:cubicBezTo>
                    <a:pt x="309" y="187"/>
                    <a:pt x="309" y="187"/>
                    <a:pt x="309" y="187"/>
                  </a:cubicBezTo>
                  <a:lnTo>
                    <a:pt x="279" y="176"/>
                  </a:lnTo>
                  <a:lnTo>
                    <a:pt x="268" y="202"/>
                  </a:lnTo>
                  <a:cubicBezTo>
                    <a:pt x="267" y="203"/>
                    <a:pt x="265" y="204"/>
                    <a:pt x="263" y="204"/>
                  </a:cubicBezTo>
                  <a:lnTo>
                    <a:pt x="234" y="204"/>
                  </a:lnTo>
                  <a:lnTo>
                    <a:pt x="230" y="234"/>
                  </a:lnTo>
                  <a:lnTo>
                    <a:pt x="207" y="258"/>
                  </a:lnTo>
                  <a:lnTo>
                    <a:pt x="180" y="268"/>
                  </a:lnTo>
                  <a:lnTo>
                    <a:pt x="179" y="26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 name="Freeform 60"/>
            <p:cNvSpPr>
              <a:spLocks noChangeArrowheads="1"/>
            </p:cNvSpPr>
            <p:nvPr/>
          </p:nvSpPr>
          <p:spPr bwMode="auto">
            <a:xfrm>
              <a:off x="2414588" y="3173413"/>
              <a:ext cx="68262" cy="26987"/>
            </a:xfrm>
            <a:custGeom>
              <a:avLst/>
              <a:gdLst/>
              <a:ahLst/>
              <a:cxnLst>
                <a:cxn ang="0">
                  <a:pos x="59" y="72"/>
                </a:cxn>
                <a:cxn ang="0">
                  <a:pos x="2" y="29"/>
                </a:cxn>
                <a:cxn ang="0">
                  <a:pos x="0" y="25"/>
                </a:cxn>
                <a:cxn ang="0">
                  <a:pos x="2" y="21"/>
                </a:cxn>
                <a:cxn ang="0">
                  <a:pos x="41" y="0"/>
                </a:cxn>
                <a:cxn ang="0">
                  <a:pos x="107" y="8"/>
                </a:cxn>
                <a:cxn ang="0">
                  <a:pos x="171" y="29"/>
                </a:cxn>
                <a:cxn ang="0">
                  <a:pos x="174" y="31"/>
                </a:cxn>
                <a:cxn ang="0">
                  <a:pos x="187" y="57"/>
                </a:cxn>
                <a:cxn ang="0">
                  <a:pos x="186" y="61"/>
                </a:cxn>
                <a:cxn ang="0">
                  <a:pos x="182" y="64"/>
                </a:cxn>
                <a:cxn ang="0">
                  <a:pos x="144" y="59"/>
                </a:cxn>
                <a:cxn ang="0">
                  <a:pos x="108" y="76"/>
                </a:cxn>
                <a:cxn ang="0">
                  <a:pos x="106" y="76"/>
                </a:cxn>
                <a:cxn ang="0">
                  <a:pos x="59" y="72"/>
                </a:cxn>
              </a:cxnLst>
              <a:rect l="0" t="0" r="r" b="b"/>
              <a:pathLst>
                <a:path w="188" h="77">
                  <a:moveTo>
                    <a:pt x="59" y="72"/>
                  </a:moveTo>
                  <a:lnTo>
                    <a:pt x="2" y="29"/>
                  </a:lnTo>
                  <a:cubicBezTo>
                    <a:pt x="0" y="28"/>
                    <a:pt x="0" y="26"/>
                    <a:pt x="0" y="25"/>
                  </a:cubicBezTo>
                  <a:cubicBezTo>
                    <a:pt x="0" y="23"/>
                    <a:pt x="1" y="22"/>
                    <a:pt x="2" y="21"/>
                  </a:cubicBezTo>
                  <a:lnTo>
                    <a:pt x="41" y="0"/>
                  </a:lnTo>
                  <a:lnTo>
                    <a:pt x="107" y="8"/>
                  </a:lnTo>
                  <a:lnTo>
                    <a:pt x="171" y="29"/>
                  </a:lnTo>
                  <a:cubicBezTo>
                    <a:pt x="173" y="29"/>
                    <a:pt x="173" y="30"/>
                    <a:pt x="174" y="31"/>
                  </a:cubicBezTo>
                  <a:lnTo>
                    <a:pt x="187" y="57"/>
                  </a:lnTo>
                  <a:cubicBezTo>
                    <a:pt x="187" y="58"/>
                    <a:pt x="187" y="60"/>
                    <a:pt x="186" y="61"/>
                  </a:cubicBezTo>
                  <a:cubicBezTo>
                    <a:pt x="185" y="63"/>
                    <a:pt x="184" y="64"/>
                    <a:pt x="182" y="64"/>
                  </a:cubicBezTo>
                  <a:lnTo>
                    <a:pt x="144" y="59"/>
                  </a:lnTo>
                  <a:lnTo>
                    <a:pt x="108" y="76"/>
                  </a:lnTo>
                  <a:cubicBezTo>
                    <a:pt x="108" y="76"/>
                    <a:pt x="107" y="76"/>
                    <a:pt x="106" y="76"/>
                  </a:cubicBezTo>
                  <a:lnTo>
                    <a:pt x="59" y="7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 name="Freeform 61"/>
            <p:cNvSpPr>
              <a:spLocks noChangeArrowheads="1"/>
            </p:cNvSpPr>
            <p:nvPr/>
          </p:nvSpPr>
          <p:spPr bwMode="auto">
            <a:xfrm>
              <a:off x="2414588" y="3173413"/>
              <a:ext cx="68262" cy="26987"/>
            </a:xfrm>
            <a:custGeom>
              <a:avLst/>
              <a:gdLst/>
              <a:ahLst/>
              <a:cxnLst>
                <a:cxn ang="0">
                  <a:pos x="59" y="72"/>
                </a:cxn>
                <a:cxn ang="0">
                  <a:pos x="2" y="29"/>
                </a:cxn>
                <a:cxn ang="0">
                  <a:pos x="0" y="25"/>
                </a:cxn>
                <a:cxn ang="0">
                  <a:pos x="2" y="21"/>
                </a:cxn>
                <a:cxn ang="0">
                  <a:pos x="41" y="0"/>
                </a:cxn>
                <a:cxn ang="0">
                  <a:pos x="107" y="8"/>
                </a:cxn>
                <a:cxn ang="0">
                  <a:pos x="171" y="29"/>
                </a:cxn>
                <a:cxn ang="0">
                  <a:pos x="174" y="31"/>
                </a:cxn>
                <a:cxn ang="0">
                  <a:pos x="187" y="57"/>
                </a:cxn>
                <a:cxn ang="0">
                  <a:pos x="186" y="61"/>
                </a:cxn>
                <a:cxn ang="0">
                  <a:pos x="182" y="64"/>
                </a:cxn>
                <a:cxn ang="0">
                  <a:pos x="144" y="59"/>
                </a:cxn>
                <a:cxn ang="0">
                  <a:pos x="108" y="76"/>
                </a:cxn>
                <a:cxn ang="0">
                  <a:pos x="106" y="76"/>
                </a:cxn>
                <a:cxn ang="0">
                  <a:pos x="59" y="72"/>
                </a:cxn>
              </a:cxnLst>
              <a:rect l="0" t="0" r="r" b="b"/>
              <a:pathLst>
                <a:path w="188" h="77">
                  <a:moveTo>
                    <a:pt x="59" y="72"/>
                  </a:moveTo>
                  <a:lnTo>
                    <a:pt x="2" y="29"/>
                  </a:lnTo>
                  <a:cubicBezTo>
                    <a:pt x="0" y="28"/>
                    <a:pt x="0" y="26"/>
                    <a:pt x="0" y="25"/>
                  </a:cubicBezTo>
                  <a:cubicBezTo>
                    <a:pt x="0" y="23"/>
                    <a:pt x="1" y="22"/>
                    <a:pt x="2" y="21"/>
                  </a:cubicBezTo>
                  <a:lnTo>
                    <a:pt x="41" y="0"/>
                  </a:lnTo>
                  <a:lnTo>
                    <a:pt x="107" y="8"/>
                  </a:lnTo>
                  <a:lnTo>
                    <a:pt x="171" y="29"/>
                  </a:lnTo>
                  <a:cubicBezTo>
                    <a:pt x="173" y="29"/>
                    <a:pt x="173" y="30"/>
                    <a:pt x="174" y="31"/>
                  </a:cubicBezTo>
                  <a:lnTo>
                    <a:pt x="187" y="57"/>
                  </a:lnTo>
                  <a:cubicBezTo>
                    <a:pt x="187" y="58"/>
                    <a:pt x="187" y="60"/>
                    <a:pt x="186" y="61"/>
                  </a:cubicBezTo>
                  <a:cubicBezTo>
                    <a:pt x="185" y="63"/>
                    <a:pt x="184" y="64"/>
                    <a:pt x="182" y="64"/>
                  </a:cubicBezTo>
                  <a:lnTo>
                    <a:pt x="144" y="59"/>
                  </a:lnTo>
                  <a:lnTo>
                    <a:pt x="108" y="76"/>
                  </a:lnTo>
                  <a:cubicBezTo>
                    <a:pt x="108" y="76"/>
                    <a:pt x="107" y="76"/>
                    <a:pt x="106" y="76"/>
                  </a:cubicBezTo>
                  <a:lnTo>
                    <a:pt x="59" y="7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 name="Freeform 62"/>
            <p:cNvSpPr>
              <a:spLocks noChangeArrowheads="1"/>
            </p:cNvSpPr>
            <p:nvPr/>
          </p:nvSpPr>
          <p:spPr bwMode="auto">
            <a:xfrm>
              <a:off x="1249363" y="2703513"/>
              <a:ext cx="914400" cy="596900"/>
            </a:xfrm>
            <a:custGeom>
              <a:avLst/>
              <a:gdLst/>
              <a:ahLst/>
              <a:cxnLst>
                <a:cxn ang="0">
                  <a:pos x="1884" y="1520"/>
                </a:cxn>
                <a:cxn ang="0">
                  <a:pos x="1755" y="1571"/>
                </a:cxn>
                <a:cxn ang="0">
                  <a:pos x="1545" y="1490"/>
                </a:cxn>
                <a:cxn ang="0">
                  <a:pos x="1160" y="1338"/>
                </a:cxn>
                <a:cxn ang="0">
                  <a:pos x="989" y="1210"/>
                </a:cxn>
                <a:cxn ang="0">
                  <a:pos x="1001" y="1136"/>
                </a:cxn>
                <a:cxn ang="0">
                  <a:pos x="1008" y="1075"/>
                </a:cxn>
                <a:cxn ang="0">
                  <a:pos x="861" y="845"/>
                </a:cxn>
                <a:cxn ang="0">
                  <a:pos x="776" y="743"/>
                </a:cxn>
                <a:cxn ang="0">
                  <a:pos x="691" y="699"/>
                </a:cxn>
                <a:cxn ang="0">
                  <a:pos x="670" y="686"/>
                </a:cxn>
                <a:cxn ang="0">
                  <a:pos x="653" y="654"/>
                </a:cxn>
                <a:cxn ang="0">
                  <a:pos x="552" y="474"/>
                </a:cxn>
                <a:cxn ang="0">
                  <a:pos x="374" y="278"/>
                </a:cxn>
                <a:cxn ang="0">
                  <a:pos x="255" y="128"/>
                </a:cxn>
                <a:cxn ang="0">
                  <a:pos x="251" y="290"/>
                </a:cxn>
                <a:cxn ang="0">
                  <a:pos x="340" y="377"/>
                </a:cxn>
                <a:cxn ang="0">
                  <a:pos x="454" y="572"/>
                </a:cxn>
                <a:cxn ang="0">
                  <a:pos x="461" y="568"/>
                </a:cxn>
                <a:cxn ang="0">
                  <a:pos x="573" y="807"/>
                </a:cxn>
                <a:cxn ang="0">
                  <a:pos x="593" y="801"/>
                </a:cxn>
                <a:cxn ang="0">
                  <a:pos x="653" y="906"/>
                </a:cxn>
                <a:cxn ang="0">
                  <a:pos x="611" y="936"/>
                </a:cxn>
                <a:cxn ang="0">
                  <a:pos x="564" y="866"/>
                </a:cxn>
                <a:cxn ang="0">
                  <a:pos x="417" y="765"/>
                </a:cxn>
                <a:cxn ang="0">
                  <a:pos x="407" y="628"/>
                </a:cxn>
                <a:cxn ang="0">
                  <a:pos x="335" y="578"/>
                </a:cxn>
                <a:cxn ang="0">
                  <a:pos x="188" y="491"/>
                </a:cxn>
                <a:cxn ang="0">
                  <a:pos x="188" y="471"/>
                </a:cxn>
                <a:cxn ang="0">
                  <a:pos x="262" y="416"/>
                </a:cxn>
                <a:cxn ang="0">
                  <a:pos x="127" y="293"/>
                </a:cxn>
                <a:cxn ang="0">
                  <a:pos x="106" y="238"/>
                </a:cxn>
                <a:cxn ang="0">
                  <a:pos x="1" y="24"/>
                </a:cxn>
                <a:cxn ang="0">
                  <a:pos x="199" y="0"/>
                </a:cxn>
                <a:cxn ang="0">
                  <a:pos x="737" y="93"/>
                </a:cxn>
                <a:cxn ang="0">
                  <a:pos x="898" y="90"/>
                </a:cxn>
                <a:cxn ang="0">
                  <a:pos x="1068" y="302"/>
                </a:cxn>
                <a:cxn ang="0">
                  <a:pos x="1203" y="283"/>
                </a:cxn>
                <a:cxn ang="0">
                  <a:pos x="1376" y="344"/>
                </a:cxn>
                <a:cxn ang="0">
                  <a:pos x="1516" y="597"/>
                </a:cxn>
                <a:cxn ang="0">
                  <a:pos x="1687" y="686"/>
                </a:cxn>
                <a:cxn ang="0">
                  <a:pos x="1619" y="764"/>
                </a:cxn>
                <a:cxn ang="0">
                  <a:pos x="1673" y="1047"/>
                </a:cxn>
                <a:cxn ang="0">
                  <a:pos x="1733" y="1182"/>
                </a:cxn>
                <a:cxn ang="0">
                  <a:pos x="1853" y="1299"/>
                </a:cxn>
                <a:cxn ang="0">
                  <a:pos x="2135" y="1307"/>
                </a:cxn>
                <a:cxn ang="0">
                  <a:pos x="2154" y="1266"/>
                </a:cxn>
                <a:cxn ang="0">
                  <a:pos x="2236" y="1079"/>
                </a:cxn>
                <a:cxn ang="0">
                  <a:pos x="2458" y="1037"/>
                </a:cxn>
                <a:cxn ang="0">
                  <a:pos x="2475" y="1037"/>
                </a:cxn>
                <a:cxn ang="0">
                  <a:pos x="2538" y="1073"/>
                </a:cxn>
                <a:cxn ang="0">
                  <a:pos x="2477" y="1215"/>
                </a:cxn>
                <a:cxn ang="0">
                  <a:pos x="2468" y="1232"/>
                </a:cxn>
                <a:cxn ang="0">
                  <a:pos x="2454" y="1351"/>
                </a:cxn>
                <a:cxn ang="0">
                  <a:pos x="2445" y="1352"/>
                </a:cxn>
                <a:cxn ang="0">
                  <a:pos x="2422" y="1291"/>
                </a:cxn>
                <a:cxn ang="0">
                  <a:pos x="2393" y="1324"/>
                </a:cxn>
                <a:cxn ang="0">
                  <a:pos x="2336" y="1376"/>
                </a:cxn>
                <a:cxn ang="0">
                  <a:pos x="2194" y="1417"/>
                </a:cxn>
                <a:cxn ang="0">
                  <a:pos x="2207" y="1461"/>
                </a:cxn>
                <a:cxn ang="0">
                  <a:pos x="2225" y="1524"/>
                </a:cxn>
                <a:cxn ang="0">
                  <a:pos x="2085" y="1652"/>
                </a:cxn>
                <a:cxn ang="0">
                  <a:pos x="2077" y="1654"/>
                </a:cxn>
              </a:cxnLst>
              <a:rect l="0" t="0" r="r" b="b"/>
              <a:pathLst>
                <a:path w="2540" h="1656">
                  <a:moveTo>
                    <a:pt x="2077" y="1654"/>
                  </a:moveTo>
                  <a:lnTo>
                    <a:pt x="1976" y="1552"/>
                  </a:lnTo>
                  <a:lnTo>
                    <a:pt x="1884" y="1520"/>
                  </a:lnTo>
                  <a:lnTo>
                    <a:pt x="1853" y="1524"/>
                  </a:lnTo>
                  <a:lnTo>
                    <a:pt x="1757" y="1570"/>
                  </a:lnTo>
                  <a:cubicBezTo>
                    <a:pt x="1756" y="1571"/>
                    <a:pt x="1755" y="1571"/>
                    <a:pt x="1755" y="1571"/>
                  </a:cubicBezTo>
                  <a:cubicBezTo>
                    <a:pt x="1755" y="1571"/>
                    <a:pt x="1754" y="1571"/>
                    <a:pt x="1753" y="1571"/>
                  </a:cubicBezTo>
                  <a:lnTo>
                    <a:pt x="1626" y="1537"/>
                  </a:lnTo>
                  <a:lnTo>
                    <a:pt x="1545" y="1490"/>
                  </a:lnTo>
                  <a:lnTo>
                    <a:pt x="1359" y="1435"/>
                  </a:lnTo>
                  <a:lnTo>
                    <a:pt x="1281" y="1366"/>
                  </a:lnTo>
                  <a:lnTo>
                    <a:pt x="1160" y="1338"/>
                  </a:lnTo>
                  <a:lnTo>
                    <a:pt x="1116" y="1294"/>
                  </a:lnTo>
                  <a:lnTo>
                    <a:pt x="1036" y="1248"/>
                  </a:lnTo>
                  <a:lnTo>
                    <a:pt x="989" y="1210"/>
                  </a:lnTo>
                  <a:lnTo>
                    <a:pt x="971" y="1153"/>
                  </a:lnTo>
                  <a:cubicBezTo>
                    <a:pt x="970" y="1150"/>
                    <a:pt x="971" y="1148"/>
                    <a:pt x="973" y="1147"/>
                  </a:cubicBezTo>
                  <a:lnTo>
                    <a:pt x="1001" y="1136"/>
                  </a:lnTo>
                  <a:lnTo>
                    <a:pt x="988" y="1120"/>
                  </a:lnTo>
                  <a:cubicBezTo>
                    <a:pt x="987" y="1119"/>
                    <a:pt x="987" y="1117"/>
                    <a:pt x="988" y="1115"/>
                  </a:cubicBezTo>
                  <a:lnTo>
                    <a:pt x="1008" y="1075"/>
                  </a:lnTo>
                  <a:lnTo>
                    <a:pt x="966" y="958"/>
                  </a:lnTo>
                  <a:lnTo>
                    <a:pt x="909" y="914"/>
                  </a:lnTo>
                  <a:lnTo>
                    <a:pt x="861" y="845"/>
                  </a:lnTo>
                  <a:lnTo>
                    <a:pt x="782" y="783"/>
                  </a:lnTo>
                  <a:cubicBezTo>
                    <a:pt x="781" y="782"/>
                    <a:pt x="780" y="781"/>
                    <a:pt x="780" y="780"/>
                  </a:cubicBezTo>
                  <a:lnTo>
                    <a:pt x="776" y="743"/>
                  </a:lnTo>
                  <a:lnTo>
                    <a:pt x="747" y="719"/>
                  </a:lnTo>
                  <a:lnTo>
                    <a:pt x="694" y="703"/>
                  </a:lnTo>
                  <a:cubicBezTo>
                    <a:pt x="692" y="702"/>
                    <a:pt x="691" y="701"/>
                    <a:pt x="691" y="699"/>
                  </a:cubicBezTo>
                  <a:lnTo>
                    <a:pt x="691" y="680"/>
                  </a:lnTo>
                  <a:lnTo>
                    <a:pt x="672" y="686"/>
                  </a:lnTo>
                  <a:cubicBezTo>
                    <a:pt x="671" y="686"/>
                    <a:pt x="671" y="686"/>
                    <a:pt x="670" y="686"/>
                  </a:cubicBezTo>
                  <a:cubicBezTo>
                    <a:pt x="668" y="686"/>
                    <a:pt x="667" y="685"/>
                    <a:pt x="666" y="684"/>
                  </a:cubicBezTo>
                  <a:lnTo>
                    <a:pt x="653" y="658"/>
                  </a:lnTo>
                  <a:cubicBezTo>
                    <a:pt x="652" y="657"/>
                    <a:pt x="652" y="656"/>
                    <a:pt x="653" y="654"/>
                  </a:cubicBezTo>
                  <a:lnTo>
                    <a:pt x="673" y="611"/>
                  </a:lnTo>
                  <a:lnTo>
                    <a:pt x="565" y="529"/>
                  </a:lnTo>
                  <a:lnTo>
                    <a:pt x="552" y="474"/>
                  </a:lnTo>
                  <a:lnTo>
                    <a:pt x="512" y="466"/>
                  </a:lnTo>
                  <a:lnTo>
                    <a:pt x="450" y="401"/>
                  </a:lnTo>
                  <a:lnTo>
                    <a:pt x="374" y="278"/>
                  </a:lnTo>
                  <a:lnTo>
                    <a:pt x="335" y="163"/>
                  </a:lnTo>
                  <a:lnTo>
                    <a:pt x="286" y="127"/>
                  </a:lnTo>
                  <a:lnTo>
                    <a:pt x="255" y="128"/>
                  </a:lnTo>
                  <a:lnTo>
                    <a:pt x="198" y="88"/>
                  </a:lnTo>
                  <a:lnTo>
                    <a:pt x="234" y="253"/>
                  </a:lnTo>
                  <a:lnTo>
                    <a:pt x="251" y="290"/>
                  </a:lnTo>
                  <a:lnTo>
                    <a:pt x="304" y="335"/>
                  </a:lnTo>
                  <a:lnTo>
                    <a:pt x="322" y="373"/>
                  </a:lnTo>
                  <a:lnTo>
                    <a:pt x="340" y="377"/>
                  </a:lnTo>
                  <a:cubicBezTo>
                    <a:pt x="342" y="377"/>
                    <a:pt x="343" y="378"/>
                    <a:pt x="344" y="379"/>
                  </a:cubicBezTo>
                  <a:lnTo>
                    <a:pt x="455" y="580"/>
                  </a:lnTo>
                  <a:lnTo>
                    <a:pt x="454" y="572"/>
                  </a:lnTo>
                  <a:cubicBezTo>
                    <a:pt x="453" y="571"/>
                    <a:pt x="454" y="569"/>
                    <a:pt x="455" y="568"/>
                  </a:cubicBezTo>
                  <a:cubicBezTo>
                    <a:pt x="456" y="567"/>
                    <a:pt x="457" y="567"/>
                    <a:pt x="458" y="567"/>
                  </a:cubicBezTo>
                  <a:cubicBezTo>
                    <a:pt x="459" y="567"/>
                    <a:pt x="460" y="567"/>
                    <a:pt x="461" y="568"/>
                  </a:cubicBezTo>
                  <a:lnTo>
                    <a:pt x="482" y="580"/>
                  </a:lnTo>
                  <a:lnTo>
                    <a:pt x="559" y="801"/>
                  </a:lnTo>
                  <a:lnTo>
                    <a:pt x="573" y="807"/>
                  </a:lnTo>
                  <a:lnTo>
                    <a:pt x="587" y="800"/>
                  </a:lnTo>
                  <a:cubicBezTo>
                    <a:pt x="588" y="800"/>
                    <a:pt x="589" y="800"/>
                    <a:pt x="589" y="800"/>
                  </a:cubicBezTo>
                  <a:cubicBezTo>
                    <a:pt x="591" y="800"/>
                    <a:pt x="592" y="800"/>
                    <a:pt x="593" y="801"/>
                  </a:cubicBezTo>
                  <a:lnTo>
                    <a:pt x="656" y="869"/>
                  </a:lnTo>
                  <a:cubicBezTo>
                    <a:pt x="657" y="870"/>
                    <a:pt x="658" y="871"/>
                    <a:pt x="658" y="873"/>
                  </a:cubicBezTo>
                  <a:lnTo>
                    <a:pt x="653" y="906"/>
                  </a:lnTo>
                  <a:cubicBezTo>
                    <a:pt x="653" y="908"/>
                    <a:pt x="653" y="909"/>
                    <a:pt x="651" y="910"/>
                  </a:cubicBezTo>
                  <a:lnTo>
                    <a:pt x="613" y="935"/>
                  </a:lnTo>
                  <a:cubicBezTo>
                    <a:pt x="612" y="936"/>
                    <a:pt x="611" y="936"/>
                    <a:pt x="611" y="936"/>
                  </a:cubicBezTo>
                  <a:lnTo>
                    <a:pt x="610" y="936"/>
                  </a:lnTo>
                  <a:cubicBezTo>
                    <a:pt x="608" y="936"/>
                    <a:pt x="607" y="935"/>
                    <a:pt x="607" y="934"/>
                  </a:cubicBezTo>
                  <a:lnTo>
                    <a:pt x="564" y="866"/>
                  </a:lnTo>
                  <a:lnTo>
                    <a:pt x="452" y="767"/>
                  </a:lnTo>
                  <a:lnTo>
                    <a:pt x="420" y="767"/>
                  </a:lnTo>
                  <a:cubicBezTo>
                    <a:pt x="419" y="767"/>
                    <a:pt x="417" y="766"/>
                    <a:pt x="417" y="765"/>
                  </a:cubicBezTo>
                  <a:cubicBezTo>
                    <a:pt x="416" y="764"/>
                    <a:pt x="415" y="763"/>
                    <a:pt x="415" y="762"/>
                  </a:cubicBezTo>
                  <a:lnTo>
                    <a:pt x="424" y="673"/>
                  </a:lnTo>
                  <a:lnTo>
                    <a:pt x="407" y="628"/>
                  </a:lnTo>
                  <a:lnTo>
                    <a:pt x="354" y="592"/>
                  </a:lnTo>
                  <a:lnTo>
                    <a:pt x="343" y="565"/>
                  </a:lnTo>
                  <a:lnTo>
                    <a:pt x="335" y="578"/>
                  </a:lnTo>
                  <a:cubicBezTo>
                    <a:pt x="334" y="580"/>
                    <a:pt x="333" y="580"/>
                    <a:pt x="331" y="580"/>
                  </a:cubicBezTo>
                  <a:lnTo>
                    <a:pt x="309" y="576"/>
                  </a:lnTo>
                  <a:lnTo>
                    <a:pt x="188" y="491"/>
                  </a:lnTo>
                  <a:cubicBezTo>
                    <a:pt x="187" y="490"/>
                    <a:pt x="187" y="488"/>
                    <a:pt x="187" y="487"/>
                  </a:cubicBezTo>
                  <a:lnTo>
                    <a:pt x="187" y="474"/>
                  </a:lnTo>
                  <a:cubicBezTo>
                    <a:pt x="187" y="473"/>
                    <a:pt x="187" y="472"/>
                    <a:pt x="188" y="471"/>
                  </a:cubicBezTo>
                  <a:cubicBezTo>
                    <a:pt x="189" y="470"/>
                    <a:pt x="190" y="469"/>
                    <a:pt x="191" y="469"/>
                  </a:cubicBezTo>
                  <a:lnTo>
                    <a:pt x="255" y="477"/>
                  </a:lnTo>
                  <a:lnTo>
                    <a:pt x="262" y="416"/>
                  </a:lnTo>
                  <a:lnTo>
                    <a:pt x="188" y="325"/>
                  </a:lnTo>
                  <a:lnTo>
                    <a:pt x="130" y="296"/>
                  </a:lnTo>
                  <a:cubicBezTo>
                    <a:pt x="128" y="296"/>
                    <a:pt x="128" y="295"/>
                    <a:pt x="127" y="293"/>
                  </a:cubicBezTo>
                  <a:lnTo>
                    <a:pt x="116" y="235"/>
                  </a:lnTo>
                  <a:lnTo>
                    <a:pt x="108" y="237"/>
                  </a:lnTo>
                  <a:cubicBezTo>
                    <a:pt x="107" y="238"/>
                    <a:pt x="107" y="238"/>
                    <a:pt x="106" y="238"/>
                  </a:cubicBezTo>
                  <a:cubicBezTo>
                    <a:pt x="105" y="238"/>
                    <a:pt x="103" y="237"/>
                    <a:pt x="102" y="235"/>
                  </a:cubicBezTo>
                  <a:lnTo>
                    <a:pt x="51" y="91"/>
                  </a:lnTo>
                  <a:lnTo>
                    <a:pt x="1" y="24"/>
                  </a:lnTo>
                  <a:cubicBezTo>
                    <a:pt x="0" y="23"/>
                    <a:pt x="0" y="21"/>
                    <a:pt x="1" y="20"/>
                  </a:cubicBezTo>
                  <a:cubicBezTo>
                    <a:pt x="1" y="18"/>
                    <a:pt x="3" y="17"/>
                    <a:pt x="4" y="17"/>
                  </a:cubicBezTo>
                  <a:lnTo>
                    <a:pt x="199" y="0"/>
                  </a:lnTo>
                  <a:lnTo>
                    <a:pt x="515" y="140"/>
                  </a:lnTo>
                  <a:lnTo>
                    <a:pt x="737" y="131"/>
                  </a:lnTo>
                  <a:lnTo>
                    <a:pt x="737" y="93"/>
                  </a:lnTo>
                  <a:cubicBezTo>
                    <a:pt x="737" y="91"/>
                    <a:pt x="739" y="89"/>
                    <a:pt x="742" y="89"/>
                  </a:cubicBezTo>
                  <a:lnTo>
                    <a:pt x="894" y="89"/>
                  </a:lnTo>
                  <a:cubicBezTo>
                    <a:pt x="896" y="89"/>
                    <a:pt x="897" y="89"/>
                    <a:pt x="898" y="90"/>
                  </a:cubicBezTo>
                  <a:lnTo>
                    <a:pt x="1020" y="200"/>
                  </a:lnTo>
                  <a:lnTo>
                    <a:pt x="1039" y="257"/>
                  </a:lnTo>
                  <a:lnTo>
                    <a:pt x="1068" y="302"/>
                  </a:lnTo>
                  <a:lnTo>
                    <a:pt x="1155" y="358"/>
                  </a:lnTo>
                  <a:lnTo>
                    <a:pt x="1199" y="286"/>
                  </a:lnTo>
                  <a:cubicBezTo>
                    <a:pt x="1200" y="284"/>
                    <a:pt x="1202" y="283"/>
                    <a:pt x="1203" y="283"/>
                  </a:cubicBezTo>
                  <a:lnTo>
                    <a:pt x="1305" y="275"/>
                  </a:lnTo>
                  <a:cubicBezTo>
                    <a:pt x="1306" y="275"/>
                    <a:pt x="1308" y="275"/>
                    <a:pt x="1309" y="276"/>
                  </a:cubicBezTo>
                  <a:lnTo>
                    <a:pt x="1376" y="344"/>
                  </a:lnTo>
                  <a:lnTo>
                    <a:pt x="1403" y="418"/>
                  </a:lnTo>
                  <a:lnTo>
                    <a:pt x="1466" y="488"/>
                  </a:lnTo>
                  <a:lnTo>
                    <a:pt x="1516" y="597"/>
                  </a:lnTo>
                  <a:lnTo>
                    <a:pt x="1684" y="652"/>
                  </a:lnTo>
                  <a:cubicBezTo>
                    <a:pt x="1686" y="652"/>
                    <a:pt x="1687" y="654"/>
                    <a:pt x="1687" y="656"/>
                  </a:cubicBezTo>
                  <a:lnTo>
                    <a:pt x="1687" y="686"/>
                  </a:lnTo>
                  <a:cubicBezTo>
                    <a:pt x="1687" y="688"/>
                    <a:pt x="1686" y="690"/>
                    <a:pt x="1684" y="690"/>
                  </a:cubicBezTo>
                  <a:lnTo>
                    <a:pt x="1644" y="706"/>
                  </a:lnTo>
                  <a:lnTo>
                    <a:pt x="1619" y="764"/>
                  </a:lnTo>
                  <a:lnTo>
                    <a:pt x="1636" y="880"/>
                  </a:lnTo>
                  <a:lnTo>
                    <a:pt x="1632" y="991"/>
                  </a:lnTo>
                  <a:lnTo>
                    <a:pt x="1673" y="1047"/>
                  </a:lnTo>
                  <a:cubicBezTo>
                    <a:pt x="1674" y="1048"/>
                    <a:pt x="1674" y="1049"/>
                    <a:pt x="1674" y="1050"/>
                  </a:cubicBezTo>
                  <a:lnTo>
                    <a:pt x="1670" y="1095"/>
                  </a:lnTo>
                  <a:lnTo>
                    <a:pt x="1733" y="1182"/>
                  </a:lnTo>
                  <a:lnTo>
                    <a:pt x="1763" y="1251"/>
                  </a:lnTo>
                  <a:lnTo>
                    <a:pt x="1800" y="1283"/>
                  </a:lnTo>
                  <a:lnTo>
                    <a:pt x="1853" y="1299"/>
                  </a:lnTo>
                  <a:lnTo>
                    <a:pt x="1899" y="1332"/>
                  </a:lnTo>
                  <a:lnTo>
                    <a:pt x="2067" y="1286"/>
                  </a:lnTo>
                  <a:lnTo>
                    <a:pt x="2135" y="1307"/>
                  </a:lnTo>
                  <a:lnTo>
                    <a:pt x="2156" y="1293"/>
                  </a:lnTo>
                  <a:lnTo>
                    <a:pt x="2152" y="1271"/>
                  </a:lnTo>
                  <a:cubicBezTo>
                    <a:pt x="2152" y="1269"/>
                    <a:pt x="2153" y="1267"/>
                    <a:pt x="2154" y="1266"/>
                  </a:cubicBezTo>
                  <a:lnTo>
                    <a:pt x="2195" y="1241"/>
                  </a:lnTo>
                  <a:lnTo>
                    <a:pt x="2233" y="1083"/>
                  </a:lnTo>
                  <a:cubicBezTo>
                    <a:pt x="2233" y="1081"/>
                    <a:pt x="2234" y="1079"/>
                    <a:pt x="2236" y="1079"/>
                  </a:cubicBezTo>
                  <a:lnTo>
                    <a:pt x="2427" y="1028"/>
                  </a:lnTo>
                  <a:lnTo>
                    <a:pt x="2454" y="1032"/>
                  </a:lnTo>
                  <a:cubicBezTo>
                    <a:pt x="2456" y="1033"/>
                    <a:pt x="2458" y="1035"/>
                    <a:pt x="2458" y="1037"/>
                  </a:cubicBezTo>
                  <a:lnTo>
                    <a:pt x="2458" y="1049"/>
                  </a:lnTo>
                  <a:lnTo>
                    <a:pt x="2472" y="1038"/>
                  </a:lnTo>
                  <a:cubicBezTo>
                    <a:pt x="2472" y="1037"/>
                    <a:pt x="2474" y="1037"/>
                    <a:pt x="2475" y="1037"/>
                  </a:cubicBezTo>
                  <a:lnTo>
                    <a:pt x="2518" y="1045"/>
                  </a:lnTo>
                  <a:cubicBezTo>
                    <a:pt x="2519" y="1045"/>
                    <a:pt x="2520" y="1046"/>
                    <a:pt x="2521" y="1047"/>
                  </a:cubicBezTo>
                  <a:lnTo>
                    <a:pt x="2538" y="1073"/>
                  </a:lnTo>
                  <a:cubicBezTo>
                    <a:pt x="2539" y="1074"/>
                    <a:pt x="2539" y="1076"/>
                    <a:pt x="2538" y="1077"/>
                  </a:cubicBezTo>
                  <a:lnTo>
                    <a:pt x="2468" y="1209"/>
                  </a:lnTo>
                  <a:lnTo>
                    <a:pt x="2477" y="1215"/>
                  </a:lnTo>
                  <a:cubicBezTo>
                    <a:pt x="2478" y="1216"/>
                    <a:pt x="2479" y="1217"/>
                    <a:pt x="2479" y="1218"/>
                  </a:cubicBezTo>
                  <a:cubicBezTo>
                    <a:pt x="2479" y="1220"/>
                    <a:pt x="2479" y="1221"/>
                    <a:pt x="2478" y="1222"/>
                  </a:cubicBezTo>
                  <a:lnTo>
                    <a:pt x="2468" y="1232"/>
                  </a:lnTo>
                  <a:lnTo>
                    <a:pt x="2478" y="1241"/>
                  </a:lnTo>
                  <a:cubicBezTo>
                    <a:pt x="2479" y="1242"/>
                    <a:pt x="2480" y="1244"/>
                    <a:pt x="2479" y="1246"/>
                  </a:cubicBezTo>
                  <a:lnTo>
                    <a:pt x="2454" y="1351"/>
                  </a:lnTo>
                  <a:cubicBezTo>
                    <a:pt x="2453" y="1353"/>
                    <a:pt x="2452" y="1355"/>
                    <a:pt x="2450" y="1355"/>
                  </a:cubicBezTo>
                  <a:lnTo>
                    <a:pt x="2449" y="1355"/>
                  </a:lnTo>
                  <a:cubicBezTo>
                    <a:pt x="2447" y="1355"/>
                    <a:pt x="2446" y="1354"/>
                    <a:pt x="2445" y="1352"/>
                  </a:cubicBezTo>
                  <a:lnTo>
                    <a:pt x="2424" y="1314"/>
                  </a:lnTo>
                  <a:lnTo>
                    <a:pt x="2427" y="1291"/>
                  </a:lnTo>
                  <a:lnTo>
                    <a:pt x="2422" y="1291"/>
                  </a:lnTo>
                  <a:lnTo>
                    <a:pt x="2407" y="1319"/>
                  </a:lnTo>
                  <a:cubicBezTo>
                    <a:pt x="2406" y="1320"/>
                    <a:pt x="2405" y="1320"/>
                    <a:pt x="2404" y="1321"/>
                  </a:cubicBezTo>
                  <a:lnTo>
                    <a:pt x="2393" y="1324"/>
                  </a:lnTo>
                  <a:lnTo>
                    <a:pt x="2368" y="1365"/>
                  </a:lnTo>
                  <a:cubicBezTo>
                    <a:pt x="2368" y="1366"/>
                    <a:pt x="2367" y="1367"/>
                    <a:pt x="2366" y="1367"/>
                  </a:cubicBezTo>
                  <a:lnTo>
                    <a:pt x="2336" y="1376"/>
                  </a:lnTo>
                  <a:lnTo>
                    <a:pt x="2199" y="1376"/>
                  </a:lnTo>
                  <a:lnTo>
                    <a:pt x="2195" y="1414"/>
                  </a:lnTo>
                  <a:cubicBezTo>
                    <a:pt x="2195" y="1415"/>
                    <a:pt x="2195" y="1417"/>
                    <a:pt x="2194" y="1417"/>
                  </a:cubicBezTo>
                  <a:cubicBezTo>
                    <a:pt x="2193" y="1418"/>
                    <a:pt x="2192" y="1418"/>
                    <a:pt x="2191" y="1418"/>
                  </a:cubicBezTo>
                  <a:lnTo>
                    <a:pt x="2155" y="1412"/>
                  </a:lnTo>
                  <a:lnTo>
                    <a:pt x="2207" y="1461"/>
                  </a:lnTo>
                  <a:lnTo>
                    <a:pt x="2229" y="1518"/>
                  </a:lnTo>
                  <a:cubicBezTo>
                    <a:pt x="2230" y="1519"/>
                    <a:pt x="2230" y="1521"/>
                    <a:pt x="2229" y="1522"/>
                  </a:cubicBezTo>
                  <a:cubicBezTo>
                    <a:pt x="2228" y="1523"/>
                    <a:pt x="2226" y="1524"/>
                    <a:pt x="2225" y="1524"/>
                  </a:cubicBezTo>
                  <a:lnTo>
                    <a:pt x="2151" y="1528"/>
                  </a:lnTo>
                  <a:lnTo>
                    <a:pt x="2097" y="1611"/>
                  </a:lnTo>
                  <a:lnTo>
                    <a:pt x="2085" y="1652"/>
                  </a:lnTo>
                  <a:cubicBezTo>
                    <a:pt x="2085" y="1653"/>
                    <a:pt x="2083" y="1655"/>
                    <a:pt x="2082" y="1655"/>
                  </a:cubicBezTo>
                  <a:lnTo>
                    <a:pt x="2081" y="1655"/>
                  </a:lnTo>
                  <a:cubicBezTo>
                    <a:pt x="2080" y="1655"/>
                    <a:pt x="2078" y="1655"/>
                    <a:pt x="2077" y="1654"/>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 name="Freeform 63"/>
            <p:cNvSpPr>
              <a:spLocks noChangeArrowheads="1"/>
            </p:cNvSpPr>
            <p:nvPr/>
          </p:nvSpPr>
          <p:spPr bwMode="auto">
            <a:xfrm>
              <a:off x="1249363" y="2703513"/>
              <a:ext cx="914400" cy="596900"/>
            </a:xfrm>
            <a:custGeom>
              <a:avLst/>
              <a:gdLst/>
              <a:ahLst/>
              <a:cxnLst>
                <a:cxn ang="0">
                  <a:pos x="1976" y="1552"/>
                </a:cxn>
                <a:cxn ang="0">
                  <a:pos x="1757" y="1570"/>
                </a:cxn>
                <a:cxn ang="0">
                  <a:pos x="1626" y="1537"/>
                </a:cxn>
                <a:cxn ang="0">
                  <a:pos x="1281" y="1366"/>
                </a:cxn>
                <a:cxn ang="0">
                  <a:pos x="1036" y="1248"/>
                </a:cxn>
                <a:cxn ang="0">
                  <a:pos x="973" y="1147"/>
                </a:cxn>
                <a:cxn ang="0">
                  <a:pos x="988" y="1115"/>
                </a:cxn>
                <a:cxn ang="0">
                  <a:pos x="909" y="914"/>
                </a:cxn>
                <a:cxn ang="0">
                  <a:pos x="780" y="780"/>
                </a:cxn>
                <a:cxn ang="0">
                  <a:pos x="694" y="703"/>
                </a:cxn>
                <a:cxn ang="0">
                  <a:pos x="672" y="686"/>
                </a:cxn>
                <a:cxn ang="0">
                  <a:pos x="653" y="658"/>
                </a:cxn>
                <a:cxn ang="0">
                  <a:pos x="565" y="529"/>
                </a:cxn>
                <a:cxn ang="0">
                  <a:pos x="450" y="401"/>
                </a:cxn>
                <a:cxn ang="0">
                  <a:pos x="286" y="127"/>
                </a:cxn>
                <a:cxn ang="0">
                  <a:pos x="234" y="253"/>
                </a:cxn>
                <a:cxn ang="0">
                  <a:pos x="322" y="373"/>
                </a:cxn>
                <a:cxn ang="0">
                  <a:pos x="455" y="580"/>
                </a:cxn>
                <a:cxn ang="0">
                  <a:pos x="458" y="567"/>
                </a:cxn>
                <a:cxn ang="0">
                  <a:pos x="559" y="801"/>
                </a:cxn>
                <a:cxn ang="0">
                  <a:pos x="589" y="800"/>
                </a:cxn>
                <a:cxn ang="0">
                  <a:pos x="658" y="873"/>
                </a:cxn>
                <a:cxn ang="0">
                  <a:pos x="613" y="935"/>
                </a:cxn>
                <a:cxn ang="0">
                  <a:pos x="607" y="934"/>
                </a:cxn>
                <a:cxn ang="0">
                  <a:pos x="420" y="767"/>
                </a:cxn>
                <a:cxn ang="0">
                  <a:pos x="424" y="673"/>
                </a:cxn>
                <a:cxn ang="0">
                  <a:pos x="343" y="565"/>
                </a:cxn>
                <a:cxn ang="0">
                  <a:pos x="309" y="576"/>
                </a:cxn>
                <a:cxn ang="0">
                  <a:pos x="187" y="474"/>
                </a:cxn>
                <a:cxn ang="0">
                  <a:pos x="255" y="477"/>
                </a:cxn>
                <a:cxn ang="0">
                  <a:pos x="130" y="296"/>
                </a:cxn>
                <a:cxn ang="0">
                  <a:pos x="108" y="237"/>
                </a:cxn>
                <a:cxn ang="0">
                  <a:pos x="51" y="91"/>
                </a:cxn>
                <a:cxn ang="0">
                  <a:pos x="4" y="17"/>
                </a:cxn>
                <a:cxn ang="0">
                  <a:pos x="737" y="131"/>
                </a:cxn>
                <a:cxn ang="0">
                  <a:pos x="894" y="89"/>
                </a:cxn>
                <a:cxn ang="0">
                  <a:pos x="1039" y="257"/>
                </a:cxn>
                <a:cxn ang="0">
                  <a:pos x="1199" y="286"/>
                </a:cxn>
                <a:cxn ang="0">
                  <a:pos x="1309" y="276"/>
                </a:cxn>
                <a:cxn ang="0">
                  <a:pos x="1466" y="488"/>
                </a:cxn>
                <a:cxn ang="0">
                  <a:pos x="1687" y="656"/>
                </a:cxn>
                <a:cxn ang="0">
                  <a:pos x="1644" y="706"/>
                </a:cxn>
                <a:cxn ang="0">
                  <a:pos x="1632" y="991"/>
                </a:cxn>
                <a:cxn ang="0">
                  <a:pos x="1670" y="1095"/>
                </a:cxn>
                <a:cxn ang="0">
                  <a:pos x="1800" y="1283"/>
                </a:cxn>
                <a:cxn ang="0">
                  <a:pos x="2067" y="1286"/>
                </a:cxn>
                <a:cxn ang="0">
                  <a:pos x="2152" y="1271"/>
                </a:cxn>
                <a:cxn ang="0">
                  <a:pos x="2233" y="1083"/>
                </a:cxn>
                <a:cxn ang="0">
                  <a:pos x="2454" y="1032"/>
                </a:cxn>
                <a:cxn ang="0">
                  <a:pos x="2472" y="1038"/>
                </a:cxn>
                <a:cxn ang="0">
                  <a:pos x="2521" y="1047"/>
                </a:cxn>
                <a:cxn ang="0">
                  <a:pos x="2468" y="1209"/>
                </a:cxn>
                <a:cxn ang="0">
                  <a:pos x="2478" y="1222"/>
                </a:cxn>
                <a:cxn ang="0">
                  <a:pos x="2479" y="1246"/>
                </a:cxn>
                <a:cxn ang="0">
                  <a:pos x="2449" y="1355"/>
                </a:cxn>
                <a:cxn ang="0">
                  <a:pos x="2427" y="1291"/>
                </a:cxn>
                <a:cxn ang="0">
                  <a:pos x="2404" y="1321"/>
                </a:cxn>
                <a:cxn ang="0">
                  <a:pos x="2366" y="1367"/>
                </a:cxn>
                <a:cxn ang="0">
                  <a:pos x="2195" y="1414"/>
                </a:cxn>
                <a:cxn ang="0">
                  <a:pos x="2155" y="1412"/>
                </a:cxn>
                <a:cxn ang="0">
                  <a:pos x="2229" y="1522"/>
                </a:cxn>
                <a:cxn ang="0">
                  <a:pos x="2097" y="1611"/>
                </a:cxn>
                <a:cxn ang="0">
                  <a:pos x="2081" y="1655"/>
                </a:cxn>
              </a:cxnLst>
              <a:rect l="0" t="0" r="r" b="b"/>
              <a:pathLst>
                <a:path w="2540" h="1656">
                  <a:moveTo>
                    <a:pt x="2081" y="1655"/>
                  </a:moveTo>
                  <a:cubicBezTo>
                    <a:pt x="2080" y="1655"/>
                    <a:pt x="2078" y="1655"/>
                    <a:pt x="2077" y="1654"/>
                  </a:cubicBezTo>
                  <a:lnTo>
                    <a:pt x="1976" y="1552"/>
                  </a:lnTo>
                  <a:lnTo>
                    <a:pt x="1884" y="1520"/>
                  </a:lnTo>
                  <a:lnTo>
                    <a:pt x="1853" y="1524"/>
                  </a:lnTo>
                  <a:lnTo>
                    <a:pt x="1757" y="1570"/>
                  </a:lnTo>
                  <a:cubicBezTo>
                    <a:pt x="1756" y="1571"/>
                    <a:pt x="1755" y="1571"/>
                    <a:pt x="1755" y="1571"/>
                  </a:cubicBezTo>
                  <a:cubicBezTo>
                    <a:pt x="1755" y="1571"/>
                    <a:pt x="1754" y="1571"/>
                    <a:pt x="1753" y="1571"/>
                  </a:cubicBezTo>
                  <a:lnTo>
                    <a:pt x="1626" y="1537"/>
                  </a:lnTo>
                  <a:lnTo>
                    <a:pt x="1545" y="1490"/>
                  </a:lnTo>
                  <a:lnTo>
                    <a:pt x="1359" y="1435"/>
                  </a:lnTo>
                  <a:lnTo>
                    <a:pt x="1281" y="1366"/>
                  </a:lnTo>
                  <a:lnTo>
                    <a:pt x="1160" y="1338"/>
                  </a:lnTo>
                  <a:lnTo>
                    <a:pt x="1116" y="1294"/>
                  </a:lnTo>
                  <a:lnTo>
                    <a:pt x="1036" y="1248"/>
                  </a:lnTo>
                  <a:lnTo>
                    <a:pt x="989" y="1210"/>
                  </a:lnTo>
                  <a:lnTo>
                    <a:pt x="971" y="1153"/>
                  </a:lnTo>
                  <a:cubicBezTo>
                    <a:pt x="970" y="1150"/>
                    <a:pt x="971" y="1148"/>
                    <a:pt x="973" y="1147"/>
                  </a:cubicBezTo>
                  <a:lnTo>
                    <a:pt x="1001" y="1136"/>
                  </a:lnTo>
                  <a:lnTo>
                    <a:pt x="988" y="1120"/>
                  </a:lnTo>
                  <a:cubicBezTo>
                    <a:pt x="987" y="1119"/>
                    <a:pt x="987" y="1117"/>
                    <a:pt x="988" y="1115"/>
                  </a:cubicBezTo>
                  <a:lnTo>
                    <a:pt x="1008" y="1075"/>
                  </a:lnTo>
                  <a:lnTo>
                    <a:pt x="966" y="958"/>
                  </a:lnTo>
                  <a:lnTo>
                    <a:pt x="909" y="914"/>
                  </a:lnTo>
                  <a:lnTo>
                    <a:pt x="861" y="845"/>
                  </a:lnTo>
                  <a:lnTo>
                    <a:pt x="782" y="783"/>
                  </a:lnTo>
                  <a:cubicBezTo>
                    <a:pt x="781" y="782"/>
                    <a:pt x="780" y="781"/>
                    <a:pt x="780" y="780"/>
                  </a:cubicBezTo>
                  <a:lnTo>
                    <a:pt x="776" y="743"/>
                  </a:lnTo>
                  <a:lnTo>
                    <a:pt x="747" y="719"/>
                  </a:lnTo>
                  <a:lnTo>
                    <a:pt x="694" y="703"/>
                  </a:lnTo>
                  <a:cubicBezTo>
                    <a:pt x="692" y="702"/>
                    <a:pt x="691" y="701"/>
                    <a:pt x="691" y="699"/>
                  </a:cubicBezTo>
                  <a:lnTo>
                    <a:pt x="691" y="680"/>
                  </a:lnTo>
                  <a:lnTo>
                    <a:pt x="672" y="686"/>
                  </a:lnTo>
                  <a:cubicBezTo>
                    <a:pt x="671" y="686"/>
                    <a:pt x="671" y="686"/>
                    <a:pt x="670" y="686"/>
                  </a:cubicBezTo>
                  <a:cubicBezTo>
                    <a:pt x="668" y="686"/>
                    <a:pt x="667" y="685"/>
                    <a:pt x="666" y="684"/>
                  </a:cubicBezTo>
                  <a:lnTo>
                    <a:pt x="653" y="658"/>
                  </a:lnTo>
                  <a:cubicBezTo>
                    <a:pt x="652" y="657"/>
                    <a:pt x="652" y="656"/>
                    <a:pt x="653" y="654"/>
                  </a:cubicBezTo>
                  <a:lnTo>
                    <a:pt x="673" y="611"/>
                  </a:lnTo>
                  <a:lnTo>
                    <a:pt x="565" y="529"/>
                  </a:lnTo>
                  <a:lnTo>
                    <a:pt x="552" y="474"/>
                  </a:lnTo>
                  <a:lnTo>
                    <a:pt x="512" y="466"/>
                  </a:lnTo>
                  <a:lnTo>
                    <a:pt x="450" y="401"/>
                  </a:lnTo>
                  <a:lnTo>
                    <a:pt x="374" y="278"/>
                  </a:lnTo>
                  <a:lnTo>
                    <a:pt x="335" y="163"/>
                  </a:lnTo>
                  <a:lnTo>
                    <a:pt x="286" y="127"/>
                  </a:lnTo>
                  <a:lnTo>
                    <a:pt x="255" y="128"/>
                  </a:lnTo>
                  <a:lnTo>
                    <a:pt x="198" y="88"/>
                  </a:lnTo>
                  <a:lnTo>
                    <a:pt x="234" y="253"/>
                  </a:lnTo>
                  <a:lnTo>
                    <a:pt x="251" y="290"/>
                  </a:lnTo>
                  <a:lnTo>
                    <a:pt x="304" y="335"/>
                  </a:lnTo>
                  <a:lnTo>
                    <a:pt x="322" y="373"/>
                  </a:lnTo>
                  <a:lnTo>
                    <a:pt x="340" y="377"/>
                  </a:lnTo>
                  <a:cubicBezTo>
                    <a:pt x="342" y="377"/>
                    <a:pt x="343" y="378"/>
                    <a:pt x="344" y="379"/>
                  </a:cubicBezTo>
                  <a:lnTo>
                    <a:pt x="455" y="580"/>
                  </a:lnTo>
                  <a:lnTo>
                    <a:pt x="454" y="572"/>
                  </a:lnTo>
                  <a:cubicBezTo>
                    <a:pt x="453" y="571"/>
                    <a:pt x="454" y="569"/>
                    <a:pt x="455" y="568"/>
                  </a:cubicBezTo>
                  <a:cubicBezTo>
                    <a:pt x="456" y="567"/>
                    <a:pt x="457" y="567"/>
                    <a:pt x="458" y="567"/>
                  </a:cubicBezTo>
                  <a:cubicBezTo>
                    <a:pt x="459" y="567"/>
                    <a:pt x="460" y="567"/>
                    <a:pt x="461" y="568"/>
                  </a:cubicBezTo>
                  <a:lnTo>
                    <a:pt x="482" y="580"/>
                  </a:lnTo>
                  <a:lnTo>
                    <a:pt x="559" y="801"/>
                  </a:lnTo>
                  <a:lnTo>
                    <a:pt x="573" y="807"/>
                  </a:lnTo>
                  <a:lnTo>
                    <a:pt x="587" y="800"/>
                  </a:lnTo>
                  <a:cubicBezTo>
                    <a:pt x="588" y="800"/>
                    <a:pt x="589" y="800"/>
                    <a:pt x="589" y="800"/>
                  </a:cubicBezTo>
                  <a:cubicBezTo>
                    <a:pt x="591" y="800"/>
                    <a:pt x="592" y="800"/>
                    <a:pt x="593" y="801"/>
                  </a:cubicBezTo>
                  <a:lnTo>
                    <a:pt x="656" y="869"/>
                  </a:lnTo>
                  <a:cubicBezTo>
                    <a:pt x="657" y="870"/>
                    <a:pt x="658" y="871"/>
                    <a:pt x="658" y="873"/>
                  </a:cubicBezTo>
                  <a:lnTo>
                    <a:pt x="653" y="906"/>
                  </a:lnTo>
                  <a:cubicBezTo>
                    <a:pt x="653" y="908"/>
                    <a:pt x="653" y="909"/>
                    <a:pt x="651" y="910"/>
                  </a:cubicBezTo>
                  <a:lnTo>
                    <a:pt x="613" y="935"/>
                  </a:lnTo>
                  <a:cubicBezTo>
                    <a:pt x="612" y="936"/>
                    <a:pt x="611" y="936"/>
                    <a:pt x="611" y="936"/>
                  </a:cubicBezTo>
                  <a:lnTo>
                    <a:pt x="610" y="936"/>
                  </a:lnTo>
                  <a:cubicBezTo>
                    <a:pt x="608" y="936"/>
                    <a:pt x="607" y="935"/>
                    <a:pt x="607" y="934"/>
                  </a:cubicBezTo>
                  <a:lnTo>
                    <a:pt x="564" y="866"/>
                  </a:lnTo>
                  <a:lnTo>
                    <a:pt x="452" y="767"/>
                  </a:lnTo>
                  <a:lnTo>
                    <a:pt x="420" y="767"/>
                  </a:lnTo>
                  <a:cubicBezTo>
                    <a:pt x="419" y="767"/>
                    <a:pt x="417" y="766"/>
                    <a:pt x="417" y="765"/>
                  </a:cubicBezTo>
                  <a:cubicBezTo>
                    <a:pt x="416" y="764"/>
                    <a:pt x="415" y="763"/>
                    <a:pt x="415" y="762"/>
                  </a:cubicBezTo>
                  <a:lnTo>
                    <a:pt x="424" y="673"/>
                  </a:lnTo>
                  <a:lnTo>
                    <a:pt x="407" y="628"/>
                  </a:lnTo>
                  <a:lnTo>
                    <a:pt x="354" y="592"/>
                  </a:lnTo>
                  <a:lnTo>
                    <a:pt x="343" y="565"/>
                  </a:lnTo>
                  <a:lnTo>
                    <a:pt x="335" y="578"/>
                  </a:lnTo>
                  <a:cubicBezTo>
                    <a:pt x="334" y="580"/>
                    <a:pt x="333" y="580"/>
                    <a:pt x="331" y="580"/>
                  </a:cubicBezTo>
                  <a:lnTo>
                    <a:pt x="309" y="576"/>
                  </a:lnTo>
                  <a:lnTo>
                    <a:pt x="188" y="491"/>
                  </a:lnTo>
                  <a:cubicBezTo>
                    <a:pt x="187" y="490"/>
                    <a:pt x="187" y="488"/>
                    <a:pt x="187" y="487"/>
                  </a:cubicBezTo>
                  <a:lnTo>
                    <a:pt x="187" y="474"/>
                  </a:lnTo>
                  <a:cubicBezTo>
                    <a:pt x="187" y="473"/>
                    <a:pt x="187" y="472"/>
                    <a:pt x="188" y="471"/>
                  </a:cubicBezTo>
                  <a:cubicBezTo>
                    <a:pt x="189" y="470"/>
                    <a:pt x="190" y="469"/>
                    <a:pt x="191" y="469"/>
                  </a:cubicBezTo>
                  <a:lnTo>
                    <a:pt x="255" y="477"/>
                  </a:lnTo>
                  <a:lnTo>
                    <a:pt x="262" y="416"/>
                  </a:lnTo>
                  <a:lnTo>
                    <a:pt x="188" y="325"/>
                  </a:lnTo>
                  <a:lnTo>
                    <a:pt x="130" y="296"/>
                  </a:lnTo>
                  <a:cubicBezTo>
                    <a:pt x="128" y="296"/>
                    <a:pt x="128" y="295"/>
                    <a:pt x="127" y="293"/>
                  </a:cubicBezTo>
                  <a:lnTo>
                    <a:pt x="116" y="235"/>
                  </a:lnTo>
                  <a:lnTo>
                    <a:pt x="108" y="237"/>
                  </a:lnTo>
                  <a:cubicBezTo>
                    <a:pt x="107" y="238"/>
                    <a:pt x="107" y="238"/>
                    <a:pt x="106" y="238"/>
                  </a:cubicBezTo>
                  <a:cubicBezTo>
                    <a:pt x="105" y="238"/>
                    <a:pt x="103" y="237"/>
                    <a:pt x="102" y="235"/>
                  </a:cubicBezTo>
                  <a:lnTo>
                    <a:pt x="51" y="91"/>
                  </a:lnTo>
                  <a:lnTo>
                    <a:pt x="1" y="24"/>
                  </a:lnTo>
                  <a:cubicBezTo>
                    <a:pt x="0" y="23"/>
                    <a:pt x="0" y="21"/>
                    <a:pt x="1" y="20"/>
                  </a:cubicBezTo>
                  <a:cubicBezTo>
                    <a:pt x="1" y="18"/>
                    <a:pt x="3" y="17"/>
                    <a:pt x="4" y="17"/>
                  </a:cubicBezTo>
                  <a:lnTo>
                    <a:pt x="199" y="0"/>
                  </a:lnTo>
                  <a:lnTo>
                    <a:pt x="515" y="140"/>
                  </a:lnTo>
                  <a:lnTo>
                    <a:pt x="737" y="131"/>
                  </a:lnTo>
                  <a:lnTo>
                    <a:pt x="737" y="93"/>
                  </a:lnTo>
                  <a:cubicBezTo>
                    <a:pt x="737" y="91"/>
                    <a:pt x="739" y="89"/>
                    <a:pt x="742" y="89"/>
                  </a:cubicBezTo>
                  <a:lnTo>
                    <a:pt x="894" y="89"/>
                  </a:lnTo>
                  <a:cubicBezTo>
                    <a:pt x="896" y="89"/>
                    <a:pt x="897" y="89"/>
                    <a:pt x="898" y="90"/>
                  </a:cubicBezTo>
                  <a:lnTo>
                    <a:pt x="1020" y="200"/>
                  </a:lnTo>
                  <a:lnTo>
                    <a:pt x="1039" y="257"/>
                  </a:lnTo>
                  <a:lnTo>
                    <a:pt x="1068" y="302"/>
                  </a:lnTo>
                  <a:lnTo>
                    <a:pt x="1155" y="358"/>
                  </a:lnTo>
                  <a:lnTo>
                    <a:pt x="1199" y="286"/>
                  </a:lnTo>
                  <a:cubicBezTo>
                    <a:pt x="1200" y="284"/>
                    <a:pt x="1202" y="283"/>
                    <a:pt x="1203" y="283"/>
                  </a:cubicBezTo>
                  <a:lnTo>
                    <a:pt x="1305" y="275"/>
                  </a:lnTo>
                  <a:cubicBezTo>
                    <a:pt x="1306" y="275"/>
                    <a:pt x="1308" y="275"/>
                    <a:pt x="1309" y="276"/>
                  </a:cubicBezTo>
                  <a:lnTo>
                    <a:pt x="1376" y="344"/>
                  </a:lnTo>
                  <a:lnTo>
                    <a:pt x="1403" y="418"/>
                  </a:lnTo>
                  <a:lnTo>
                    <a:pt x="1466" y="488"/>
                  </a:lnTo>
                  <a:lnTo>
                    <a:pt x="1516" y="597"/>
                  </a:lnTo>
                  <a:lnTo>
                    <a:pt x="1684" y="652"/>
                  </a:lnTo>
                  <a:cubicBezTo>
                    <a:pt x="1686" y="652"/>
                    <a:pt x="1687" y="654"/>
                    <a:pt x="1687" y="656"/>
                  </a:cubicBezTo>
                  <a:lnTo>
                    <a:pt x="1687" y="686"/>
                  </a:lnTo>
                  <a:cubicBezTo>
                    <a:pt x="1687" y="688"/>
                    <a:pt x="1686" y="690"/>
                    <a:pt x="1684" y="690"/>
                  </a:cubicBezTo>
                  <a:lnTo>
                    <a:pt x="1644" y="706"/>
                  </a:lnTo>
                  <a:lnTo>
                    <a:pt x="1619" y="764"/>
                  </a:lnTo>
                  <a:lnTo>
                    <a:pt x="1636" y="880"/>
                  </a:lnTo>
                  <a:lnTo>
                    <a:pt x="1632" y="991"/>
                  </a:lnTo>
                  <a:lnTo>
                    <a:pt x="1673" y="1047"/>
                  </a:lnTo>
                  <a:cubicBezTo>
                    <a:pt x="1674" y="1048"/>
                    <a:pt x="1674" y="1049"/>
                    <a:pt x="1674" y="1050"/>
                  </a:cubicBezTo>
                  <a:lnTo>
                    <a:pt x="1670" y="1095"/>
                  </a:lnTo>
                  <a:lnTo>
                    <a:pt x="1733" y="1182"/>
                  </a:lnTo>
                  <a:lnTo>
                    <a:pt x="1763" y="1251"/>
                  </a:lnTo>
                  <a:lnTo>
                    <a:pt x="1800" y="1283"/>
                  </a:lnTo>
                  <a:lnTo>
                    <a:pt x="1853" y="1299"/>
                  </a:lnTo>
                  <a:lnTo>
                    <a:pt x="1899" y="1332"/>
                  </a:lnTo>
                  <a:lnTo>
                    <a:pt x="2067" y="1286"/>
                  </a:lnTo>
                  <a:lnTo>
                    <a:pt x="2135" y="1307"/>
                  </a:lnTo>
                  <a:lnTo>
                    <a:pt x="2156" y="1293"/>
                  </a:lnTo>
                  <a:lnTo>
                    <a:pt x="2152" y="1271"/>
                  </a:lnTo>
                  <a:cubicBezTo>
                    <a:pt x="2152" y="1269"/>
                    <a:pt x="2153" y="1267"/>
                    <a:pt x="2154" y="1266"/>
                  </a:cubicBezTo>
                  <a:lnTo>
                    <a:pt x="2195" y="1241"/>
                  </a:lnTo>
                  <a:lnTo>
                    <a:pt x="2233" y="1083"/>
                  </a:lnTo>
                  <a:cubicBezTo>
                    <a:pt x="2233" y="1081"/>
                    <a:pt x="2234" y="1079"/>
                    <a:pt x="2236" y="1079"/>
                  </a:cubicBezTo>
                  <a:lnTo>
                    <a:pt x="2427" y="1028"/>
                  </a:lnTo>
                  <a:lnTo>
                    <a:pt x="2454" y="1032"/>
                  </a:lnTo>
                  <a:cubicBezTo>
                    <a:pt x="2456" y="1033"/>
                    <a:pt x="2458" y="1035"/>
                    <a:pt x="2458" y="1037"/>
                  </a:cubicBezTo>
                  <a:lnTo>
                    <a:pt x="2458" y="1049"/>
                  </a:lnTo>
                  <a:lnTo>
                    <a:pt x="2472" y="1038"/>
                  </a:lnTo>
                  <a:cubicBezTo>
                    <a:pt x="2472" y="1037"/>
                    <a:pt x="2474" y="1037"/>
                    <a:pt x="2475" y="1037"/>
                  </a:cubicBezTo>
                  <a:lnTo>
                    <a:pt x="2518" y="1045"/>
                  </a:lnTo>
                  <a:cubicBezTo>
                    <a:pt x="2519" y="1045"/>
                    <a:pt x="2520" y="1046"/>
                    <a:pt x="2521" y="1047"/>
                  </a:cubicBezTo>
                  <a:lnTo>
                    <a:pt x="2538" y="1073"/>
                  </a:lnTo>
                  <a:cubicBezTo>
                    <a:pt x="2539" y="1074"/>
                    <a:pt x="2539" y="1076"/>
                    <a:pt x="2538" y="1077"/>
                  </a:cubicBezTo>
                  <a:lnTo>
                    <a:pt x="2468" y="1209"/>
                  </a:lnTo>
                  <a:lnTo>
                    <a:pt x="2477" y="1215"/>
                  </a:lnTo>
                  <a:cubicBezTo>
                    <a:pt x="2478" y="1216"/>
                    <a:pt x="2479" y="1217"/>
                    <a:pt x="2479" y="1218"/>
                  </a:cubicBezTo>
                  <a:cubicBezTo>
                    <a:pt x="2479" y="1220"/>
                    <a:pt x="2479" y="1221"/>
                    <a:pt x="2478" y="1222"/>
                  </a:cubicBezTo>
                  <a:lnTo>
                    <a:pt x="2468" y="1232"/>
                  </a:lnTo>
                  <a:lnTo>
                    <a:pt x="2478" y="1241"/>
                  </a:lnTo>
                  <a:cubicBezTo>
                    <a:pt x="2479" y="1242"/>
                    <a:pt x="2480" y="1244"/>
                    <a:pt x="2479" y="1246"/>
                  </a:cubicBezTo>
                  <a:lnTo>
                    <a:pt x="2454" y="1351"/>
                  </a:lnTo>
                  <a:cubicBezTo>
                    <a:pt x="2453" y="1353"/>
                    <a:pt x="2452" y="1355"/>
                    <a:pt x="2450" y="1355"/>
                  </a:cubicBezTo>
                  <a:lnTo>
                    <a:pt x="2449" y="1355"/>
                  </a:lnTo>
                  <a:cubicBezTo>
                    <a:pt x="2447" y="1355"/>
                    <a:pt x="2446" y="1354"/>
                    <a:pt x="2445" y="1352"/>
                  </a:cubicBezTo>
                  <a:lnTo>
                    <a:pt x="2424" y="1314"/>
                  </a:lnTo>
                  <a:lnTo>
                    <a:pt x="2427" y="1291"/>
                  </a:lnTo>
                  <a:lnTo>
                    <a:pt x="2422" y="1291"/>
                  </a:lnTo>
                  <a:lnTo>
                    <a:pt x="2407" y="1319"/>
                  </a:lnTo>
                  <a:cubicBezTo>
                    <a:pt x="2406" y="1320"/>
                    <a:pt x="2405" y="1320"/>
                    <a:pt x="2404" y="1321"/>
                  </a:cubicBezTo>
                  <a:lnTo>
                    <a:pt x="2393" y="1324"/>
                  </a:lnTo>
                  <a:lnTo>
                    <a:pt x="2368" y="1365"/>
                  </a:lnTo>
                  <a:cubicBezTo>
                    <a:pt x="2368" y="1366"/>
                    <a:pt x="2367" y="1367"/>
                    <a:pt x="2366" y="1367"/>
                  </a:cubicBezTo>
                  <a:lnTo>
                    <a:pt x="2336" y="1376"/>
                  </a:lnTo>
                  <a:lnTo>
                    <a:pt x="2199" y="1376"/>
                  </a:lnTo>
                  <a:lnTo>
                    <a:pt x="2195" y="1414"/>
                  </a:lnTo>
                  <a:cubicBezTo>
                    <a:pt x="2195" y="1415"/>
                    <a:pt x="2195" y="1417"/>
                    <a:pt x="2194" y="1417"/>
                  </a:cubicBezTo>
                  <a:cubicBezTo>
                    <a:pt x="2193" y="1418"/>
                    <a:pt x="2192" y="1418"/>
                    <a:pt x="2191" y="1418"/>
                  </a:cubicBezTo>
                  <a:lnTo>
                    <a:pt x="2155" y="1412"/>
                  </a:lnTo>
                  <a:lnTo>
                    <a:pt x="2207" y="1461"/>
                  </a:lnTo>
                  <a:lnTo>
                    <a:pt x="2229" y="1518"/>
                  </a:lnTo>
                  <a:cubicBezTo>
                    <a:pt x="2230" y="1519"/>
                    <a:pt x="2230" y="1521"/>
                    <a:pt x="2229" y="1522"/>
                  </a:cubicBezTo>
                  <a:cubicBezTo>
                    <a:pt x="2228" y="1523"/>
                    <a:pt x="2226" y="1524"/>
                    <a:pt x="2225" y="1524"/>
                  </a:cubicBezTo>
                  <a:lnTo>
                    <a:pt x="2151" y="1528"/>
                  </a:lnTo>
                  <a:lnTo>
                    <a:pt x="2097" y="1611"/>
                  </a:lnTo>
                  <a:lnTo>
                    <a:pt x="2085" y="1652"/>
                  </a:lnTo>
                  <a:cubicBezTo>
                    <a:pt x="2085" y="1653"/>
                    <a:pt x="2083" y="1655"/>
                    <a:pt x="2082" y="1655"/>
                  </a:cubicBezTo>
                  <a:lnTo>
                    <a:pt x="2081" y="165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 name="Freeform 64"/>
            <p:cNvSpPr>
              <a:spLocks noChangeArrowheads="1"/>
            </p:cNvSpPr>
            <p:nvPr/>
          </p:nvSpPr>
          <p:spPr bwMode="auto">
            <a:xfrm>
              <a:off x="1308100" y="2855913"/>
              <a:ext cx="6350" cy="14287"/>
            </a:xfrm>
            <a:custGeom>
              <a:avLst/>
              <a:gdLst/>
              <a:ahLst/>
              <a:cxnLst>
                <a:cxn ang="0">
                  <a:pos x="10" y="38"/>
                </a:cxn>
                <a:cxn ang="0">
                  <a:pos x="2" y="29"/>
                </a:cxn>
                <a:cxn ang="0">
                  <a:pos x="1" y="24"/>
                </a:cxn>
                <a:cxn ang="0">
                  <a:pos x="9" y="3"/>
                </a:cxn>
                <a:cxn ang="0">
                  <a:pos x="13" y="0"/>
                </a:cxn>
                <a:cxn ang="0">
                  <a:pos x="14" y="0"/>
                </a:cxn>
                <a:cxn ang="0">
                  <a:pos x="18" y="5"/>
                </a:cxn>
                <a:cxn ang="0">
                  <a:pos x="18" y="34"/>
                </a:cxn>
                <a:cxn ang="0">
                  <a:pos x="15" y="39"/>
                </a:cxn>
                <a:cxn ang="0">
                  <a:pos x="13" y="39"/>
                </a:cxn>
                <a:cxn ang="0">
                  <a:pos x="10" y="38"/>
                </a:cxn>
              </a:cxnLst>
              <a:rect l="0" t="0" r="r" b="b"/>
              <a:pathLst>
                <a:path w="19" h="40">
                  <a:moveTo>
                    <a:pt x="10" y="38"/>
                  </a:moveTo>
                  <a:lnTo>
                    <a:pt x="2" y="29"/>
                  </a:lnTo>
                  <a:cubicBezTo>
                    <a:pt x="0" y="28"/>
                    <a:pt x="0" y="26"/>
                    <a:pt x="1" y="24"/>
                  </a:cubicBezTo>
                  <a:lnTo>
                    <a:pt x="9" y="3"/>
                  </a:lnTo>
                  <a:cubicBezTo>
                    <a:pt x="10" y="1"/>
                    <a:pt x="11" y="0"/>
                    <a:pt x="13" y="0"/>
                  </a:cubicBezTo>
                  <a:lnTo>
                    <a:pt x="14" y="0"/>
                  </a:lnTo>
                  <a:cubicBezTo>
                    <a:pt x="16" y="1"/>
                    <a:pt x="18" y="2"/>
                    <a:pt x="18" y="5"/>
                  </a:cubicBezTo>
                  <a:lnTo>
                    <a:pt x="18" y="34"/>
                  </a:lnTo>
                  <a:cubicBezTo>
                    <a:pt x="18" y="36"/>
                    <a:pt x="17" y="38"/>
                    <a:pt x="15" y="39"/>
                  </a:cubicBezTo>
                  <a:cubicBezTo>
                    <a:pt x="15" y="39"/>
                    <a:pt x="14" y="39"/>
                    <a:pt x="13" y="39"/>
                  </a:cubicBezTo>
                  <a:cubicBezTo>
                    <a:pt x="12" y="39"/>
                    <a:pt x="11" y="39"/>
                    <a:pt x="10" y="3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 name="Freeform 65"/>
            <p:cNvSpPr>
              <a:spLocks noChangeArrowheads="1"/>
            </p:cNvSpPr>
            <p:nvPr/>
          </p:nvSpPr>
          <p:spPr bwMode="auto">
            <a:xfrm>
              <a:off x="1308100" y="2855913"/>
              <a:ext cx="6350" cy="14287"/>
            </a:xfrm>
            <a:custGeom>
              <a:avLst/>
              <a:gdLst/>
              <a:ahLst/>
              <a:cxnLst>
                <a:cxn ang="0">
                  <a:pos x="13" y="39"/>
                </a:cxn>
                <a:cxn ang="0">
                  <a:pos x="10" y="38"/>
                </a:cxn>
                <a:cxn ang="0">
                  <a:pos x="2" y="29"/>
                </a:cxn>
                <a:cxn ang="0">
                  <a:pos x="1" y="24"/>
                </a:cxn>
                <a:cxn ang="0">
                  <a:pos x="9" y="3"/>
                </a:cxn>
                <a:cxn ang="0">
                  <a:pos x="13" y="0"/>
                </a:cxn>
                <a:cxn ang="0">
                  <a:pos x="14" y="0"/>
                </a:cxn>
                <a:cxn ang="0">
                  <a:pos x="18" y="5"/>
                </a:cxn>
                <a:cxn ang="0">
                  <a:pos x="18" y="34"/>
                </a:cxn>
                <a:cxn ang="0">
                  <a:pos x="15" y="39"/>
                </a:cxn>
                <a:cxn ang="0">
                  <a:pos x="13" y="39"/>
                </a:cxn>
              </a:cxnLst>
              <a:rect l="0" t="0" r="r" b="b"/>
              <a:pathLst>
                <a:path w="19" h="40">
                  <a:moveTo>
                    <a:pt x="13" y="39"/>
                  </a:moveTo>
                  <a:cubicBezTo>
                    <a:pt x="12" y="39"/>
                    <a:pt x="11" y="39"/>
                    <a:pt x="10" y="38"/>
                  </a:cubicBezTo>
                  <a:lnTo>
                    <a:pt x="2" y="29"/>
                  </a:lnTo>
                  <a:cubicBezTo>
                    <a:pt x="0" y="28"/>
                    <a:pt x="0" y="26"/>
                    <a:pt x="1" y="24"/>
                  </a:cubicBezTo>
                  <a:lnTo>
                    <a:pt x="9" y="3"/>
                  </a:lnTo>
                  <a:cubicBezTo>
                    <a:pt x="10" y="1"/>
                    <a:pt x="11" y="0"/>
                    <a:pt x="13" y="0"/>
                  </a:cubicBezTo>
                  <a:cubicBezTo>
                    <a:pt x="14" y="0"/>
                    <a:pt x="14" y="0"/>
                    <a:pt x="14" y="0"/>
                  </a:cubicBezTo>
                  <a:cubicBezTo>
                    <a:pt x="16" y="1"/>
                    <a:pt x="18" y="2"/>
                    <a:pt x="18" y="5"/>
                  </a:cubicBezTo>
                  <a:lnTo>
                    <a:pt x="18" y="34"/>
                  </a:lnTo>
                  <a:cubicBezTo>
                    <a:pt x="18" y="36"/>
                    <a:pt x="17" y="38"/>
                    <a:pt x="15" y="39"/>
                  </a:cubicBezTo>
                  <a:cubicBezTo>
                    <a:pt x="15" y="39"/>
                    <a:pt x="14" y="39"/>
                    <a:pt x="13" y="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 name="Freeform 66"/>
            <p:cNvSpPr>
              <a:spLocks noChangeArrowheads="1"/>
            </p:cNvSpPr>
            <p:nvPr/>
          </p:nvSpPr>
          <p:spPr bwMode="auto">
            <a:xfrm>
              <a:off x="1390650" y="2827338"/>
              <a:ext cx="11113" cy="17462"/>
            </a:xfrm>
            <a:custGeom>
              <a:avLst/>
              <a:gdLst/>
              <a:ahLst/>
              <a:cxnLst>
                <a:cxn ang="0">
                  <a:pos x="4" y="43"/>
                </a:cxn>
                <a:cxn ang="0">
                  <a:pos x="0" y="38"/>
                </a:cxn>
                <a:cxn ang="0">
                  <a:pos x="0" y="21"/>
                </a:cxn>
                <a:cxn ang="0">
                  <a:pos x="2" y="18"/>
                </a:cxn>
                <a:cxn ang="0">
                  <a:pos x="19" y="1"/>
                </a:cxn>
                <a:cxn ang="0">
                  <a:pos x="22" y="0"/>
                </a:cxn>
                <a:cxn ang="0">
                  <a:pos x="24" y="0"/>
                </a:cxn>
                <a:cxn ang="0">
                  <a:pos x="27" y="4"/>
                </a:cxn>
                <a:cxn ang="0">
                  <a:pos x="31" y="42"/>
                </a:cxn>
                <a:cxn ang="0">
                  <a:pos x="29" y="46"/>
                </a:cxn>
                <a:cxn ang="0">
                  <a:pos x="26" y="47"/>
                </a:cxn>
                <a:cxn ang="0">
                  <a:pos x="4" y="43"/>
                </a:cxn>
              </a:cxnLst>
              <a:rect l="0" t="0" r="r" b="b"/>
              <a:pathLst>
                <a:path w="32" h="48">
                  <a:moveTo>
                    <a:pt x="4" y="43"/>
                  </a:moveTo>
                  <a:cubicBezTo>
                    <a:pt x="2" y="42"/>
                    <a:pt x="0" y="40"/>
                    <a:pt x="0" y="38"/>
                  </a:cubicBezTo>
                  <a:lnTo>
                    <a:pt x="0" y="21"/>
                  </a:lnTo>
                  <a:cubicBezTo>
                    <a:pt x="0" y="20"/>
                    <a:pt x="1" y="19"/>
                    <a:pt x="2" y="18"/>
                  </a:cubicBezTo>
                  <a:lnTo>
                    <a:pt x="19" y="1"/>
                  </a:lnTo>
                  <a:cubicBezTo>
                    <a:pt x="19" y="0"/>
                    <a:pt x="21" y="0"/>
                    <a:pt x="22" y="0"/>
                  </a:cubicBezTo>
                  <a:cubicBezTo>
                    <a:pt x="23" y="0"/>
                    <a:pt x="23" y="0"/>
                    <a:pt x="24" y="0"/>
                  </a:cubicBezTo>
                  <a:cubicBezTo>
                    <a:pt x="25" y="1"/>
                    <a:pt x="26" y="2"/>
                    <a:pt x="27" y="4"/>
                  </a:cubicBezTo>
                  <a:lnTo>
                    <a:pt x="31" y="42"/>
                  </a:lnTo>
                  <a:cubicBezTo>
                    <a:pt x="31" y="43"/>
                    <a:pt x="30" y="45"/>
                    <a:pt x="29" y="46"/>
                  </a:cubicBezTo>
                  <a:cubicBezTo>
                    <a:pt x="29" y="47"/>
                    <a:pt x="27" y="47"/>
                    <a:pt x="26" y="47"/>
                  </a:cubicBezTo>
                  <a:lnTo>
                    <a:pt x="4" y="4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 name="Freeform 67"/>
            <p:cNvSpPr>
              <a:spLocks noChangeArrowheads="1"/>
            </p:cNvSpPr>
            <p:nvPr/>
          </p:nvSpPr>
          <p:spPr bwMode="auto">
            <a:xfrm>
              <a:off x="1390650" y="2827338"/>
              <a:ext cx="11113" cy="17462"/>
            </a:xfrm>
            <a:custGeom>
              <a:avLst/>
              <a:gdLst/>
              <a:ahLst/>
              <a:cxnLst>
                <a:cxn ang="0">
                  <a:pos x="4" y="43"/>
                </a:cxn>
                <a:cxn ang="0">
                  <a:pos x="0" y="38"/>
                </a:cxn>
                <a:cxn ang="0">
                  <a:pos x="0" y="21"/>
                </a:cxn>
                <a:cxn ang="0">
                  <a:pos x="2" y="18"/>
                </a:cxn>
                <a:cxn ang="0">
                  <a:pos x="19" y="1"/>
                </a:cxn>
                <a:cxn ang="0">
                  <a:pos x="22" y="0"/>
                </a:cxn>
                <a:cxn ang="0">
                  <a:pos x="24" y="0"/>
                </a:cxn>
                <a:cxn ang="0">
                  <a:pos x="27" y="4"/>
                </a:cxn>
                <a:cxn ang="0">
                  <a:pos x="31" y="42"/>
                </a:cxn>
                <a:cxn ang="0">
                  <a:pos x="29" y="46"/>
                </a:cxn>
                <a:cxn ang="0">
                  <a:pos x="26" y="47"/>
                </a:cxn>
                <a:cxn ang="0">
                  <a:pos x="4" y="43"/>
                </a:cxn>
              </a:cxnLst>
              <a:rect l="0" t="0" r="r" b="b"/>
              <a:pathLst>
                <a:path w="32" h="48">
                  <a:moveTo>
                    <a:pt x="4" y="43"/>
                  </a:moveTo>
                  <a:cubicBezTo>
                    <a:pt x="2" y="42"/>
                    <a:pt x="0" y="40"/>
                    <a:pt x="0" y="38"/>
                  </a:cubicBezTo>
                  <a:lnTo>
                    <a:pt x="0" y="21"/>
                  </a:lnTo>
                  <a:cubicBezTo>
                    <a:pt x="0" y="20"/>
                    <a:pt x="1" y="19"/>
                    <a:pt x="2" y="18"/>
                  </a:cubicBezTo>
                  <a:lnTo>
                    <a:pt x="19" y="1"/>
                  </a:lnTo>
                  <a:cubicBezTo>
                    <a:pt x="19" y="0"/>
                    <a:pt x="21" y="0"/>
                    <a:pt x="22" y="0"/>
                  </a:cubicBezTo>
                  <a:cubicBezTo>
                    <a:pt x="23" y="0"/>
                    <a:pt x="23" y="0"/>
                    <a:pt x="24" y="0"/>
                  </a:cubicBezTo>
                  <a:cubicBezTo>
                    <a:pt x="25" y="1"/>
                    <a:pt x="26" y="2"/>
                    <a:pt x="27" y="4"/>
                  </a:cubicBezTo>
                  <a:lnTo>
                    <a:pt x="31" y="42"/>
                  </a:lnTo>
                  <a:cubicBezTo>
                    <a:pt x="31" y="43"/>
                    <a:pt x="30" y="45"/>
                    <a:pt x="29" y="46"/>
                  </a:cubicBezTo>
                  <a:cubicBezTo>
                    <a:pt x="29" y="47"/>
                    <a:pt x="27" y="47"/>
                    <a:pt x="26" y="47"/>
                  </a:cubicBezTo>
                  <a:lnTo>
                    <a:pt x="4" y="4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 name="Freeform 68"/>
            <p:cNvSpPr>
              <a:spLocks noChangeArrowheads="1"/>
            </p:cNvSpPr>
            <p:nvPr/>
          </p:nvSpPr>
          <p:spPr bwMode="auto">
            <a:xfrm>
              <a:off x="2138363" y="3286125"/>
              <a:ext cx="131762" cy="133350"/>
            </a:xfrm>
            <a:custGeom>
              <a:avLst/>
              <a:gdLst/>
              <a:ahLst/>
              <a:cxnLst>
                <a:cxn ang="0">
                  <a:pos x="286" y="368"/>
                </a:cxn>
                <a:cxn ang="0">
                  <a:pos x="252" y="347"/>
                </a:cxn>
                <a:cxn ang="0">
                  <a:pos x="153" y="340"/>
                </a:cxn>
                <a:cxn ang="0">
                  <a:pos x="150" y="338"/>
                </a:cxn>
                <a:cxn ang="0">
                  <a:pos x="2" y="186"/>
                </a:cxn>
                <a:cxn ang="0">
                  <a:pos x="0" y="183"/>
                </a:cxn>
                <a:cxn ang="0">
                  <a:pos x="0" y="174"/>
                </a:cxn>
                <a:cxn ang="0">
                  <a:pos x="5" y="169"/>
                </a:cxn>
                <a:cxn ang="0">
                  <a:pos x="22" y="169"/>
                </a:cxn>
                <a:cxn ang="0">
                  <a:pos x="46" y="161"/>
                </a:cxn>
                <a:cxn ang="0">
                  <a:pos x="65" y="141"/>
                </a:cxn>
                <a:cxn ang="0">
                  <a:pos x="68" y="110"/>
                </a:cxn>
                <a:cxn ang="0">
                  <a:pos x="73" y="106"/>
                </a:cxn>
                <a:cxn ang="0">
                  <a:pos x="103" y="106"/>
                </a:cxn>
                <a:cxn ang="0">
                  <a:pos x="115" y="79"/>
                </a:cxn>
                <a:cxn ang="0">
                  <a:pos x="119" y="76"/>
                </a:cxn>
                <a:cxn ang="0">
                  <a:pos x="121" y="77"/>
                </a:cxn>
                <a:cxn ang="0">
                  <a:pos x="152" y="89"/>
                </a:cxn>
                <a:cxn ang="0">
                  <a:pos x="201" y="56"/>
                </a:cxn>
                <a:cxn ang="0">
                  <a:pos x="230" y="15"/>
                </a:cxn>
                <a:cxn ang="0">
                  <a:pos x="234" y="13"/>
                </a:cxn>
                <a:cxn ang="0">
                  <a:pos x="235" y="13"/>
                </a:cxn>
                <a:cxn ang="0">
                  <a:pos x="276" y="29"/>
                </a:cxn>
                <a:cxn ang="0">
                  <a:pos x="359" y="0"/>
                </a:cxn>
                <a:cxn ang="0">
                  <a:pos x="361" y="0"/>
                </a:cxn>
                <a:cxn ang="0">
                  <a:pos x="364" y="1"/>
                </a:cxn>
                <a:cxn ang="0">
                  <a:pos x="365" y="6"/>
                </a:cxn>
                <a:cxn ang="0">
                  <a:pos x="319" y="306"/>
                </a:cxn>
                <a:cxn ang="0">
                  <a:pos x="331" y="346"/>
                </a:cxn>
                <a:cxn ang="0">
                  <a:pos x="329" y="352"/>
                </a:cxn>
                <a:cxn ang="0">
                  <a:pos x="291" y="369"/>
                </a:cxn>
                <a:cxn ang="0">
                  <a:pos x="289" y="369"/>
                </a:cxn>
                <a:cxn ang="0">
                  <a:pos x="286" y="368"/>
                </a:cxn>
              </a:cxnLst>
              <a:rect l="0" t="0" r="r" b="b"/>
              <a:pathLst>
                <a:path w="366" h="370">
                  <a:moveTo>
                    <a:pt x="286" y="368"/>
                  </a:moveTo>
                  <a:lnTo>
                    <a:pt x="252" y="347"/>
                  </a:lnTo>
                  <a:lnTo>
                    <a:pt x="153" y="340"/>
                  </a:lnTo>
                  <a:cubicBezTo>
                    <a:pt x="152" y="339"/>
                    <a:pt x="151" y="339"/>
                    <a:pt x="150" y="338"/>
                  </a:cubicBezTo>
                  <a:lnTo>
                    <a:pt x="2" y="186"/>
                  </a:lnTo>
                  <a:cubicBezTo>
                    <a:pt x="1" y="185"/>
                    <a:pt x="0" y="184"/>
                    <a:pt x="0" y="183"/>
                  </a:cubicBezTo>
                  <a:lnTo>
                    <a:pt x="0" y="174"/>
                  </a:lnTo>
                  <a:cubicBezTo>
                    <a:pt x="0" y="172"/>
                    <a:pt x="2" y="169"/>
                    <a:pt x="5" y="169"/>
                  </a:cubicBezTo>
                  <a:lnTo>
                    <a:pt x="22" y="169"/>
                  </a:lnTo>
                  <a:lnTo>
                    <a:pt x="46" y="161"/>
                  </a:lnTo>
                  <a:lnTo>
                    <a:pt x="65" y="141"/>
                  </a:lnTo>
                  <a:lnTo>
                    <a:pt x="68" y="110"/>
                  </a:lnTo>
                  <a:cubicBezTo>
                    <a:pt x="68" y="108"/>
                    <a:pt x="70" y="106"/>
                    <a:pt x="73" y="106"/>
                  </a:cubicBezTo>
                  <a:lnTo>
                    <a:pt x="103" y="106"/>
                  </a:lnTo>
                  <a:lnTo>
                    <a:pt x="115" y="79"/>
                  </a:lnTo>
                  <a:cubicBezTo>
                    <a:pt x="116" y="77"/>
                    <a:pt x="117" y="76"/>
                    <a:pt x="119" y="76"/>
                  </a:cubicBezTo>
                  <a:cubicBezTo>
                    <a:pt x="120" y="76"/>
                    <a:pt x="120" y="76"/>
                    <a:pt x="121" y="77"/>
                  </a:cubicBezTo>
                  <a:lnTo>
                    <a:pt x="152" y="89"/>
                  </a:lnTo>
                  <a:lnTo>
                    <a:pt x="201" y="56"/>
                  </a:lnTo>
                  <a:lnTo>
                    <a:pt x="230" y="15"/>
                  </a:lnTo>
                  <a:cubicBezTo>
                    <a:pt x="231" y="14"/>
                    <a:pt x="232" y="13"/>
                    <a:pt x="234" y="13"/>
                  </a:cubicBezTo>
                  <a:lnTo>
                    <a:pt x="235" y="13"/>
                  </a:lnTo>
                  <a:lnTo>
                    <a:pt x="276" y="29"/>
                  </a:lnTo>
                  <a:lnTo>
                    <a:pt x="359" y="0"/>
                  </a:lnTo>
                  <a:cubicBezTo>
                    <a:pt x="360" y="0"/>
                    <a:pt x="360" y="0"/>
                    <a:pt x="361" y="0"/>
                  </a:cubicBezTo>
                  <a:cubicBezTo>
                    <a:pt x="362" y="0"/>
                    <a:pt x="363" y="1"/>
                    <a:pt x="364" y="1"/>
                  </a:cubicBezTo>
                  <a:cubicBezTo>
                    <a:pt x="365" y="2"/>
                    <a:pt x="365" y="4"/>
                    <a:pt x="365" y="6"/>
                  </a:cubicBezTo>
                  <a:lnTo>
                    <a:pt x="319" y="306"/>
                  </a:lnTo>
                  <a:lnTo>
                    <a:pt x="331" y="346"/>
                  </a:lnTo>
                  <a:cubicBezTo>
                    <a:pt x="332" y="349"/>
                    <a:pt x="331" y="351"/>
                    <a:pt x="329" y="352"/>
                  </a:cubicBezTo>
                  <a:lnTo>
                    <a:pt x="291" y="369"/>
                  </a:lnTo>
                  <a:cubicBezTo>
                    <a:pt x="290" y="369"/>
                    <a:pt x="289" y="369"/>
                    <a:pt x="289" y="369"/>
                  </a:cubicBezTo>
                  <a:cubicBezTo>
                    <a:pt x="288" y="369"/>
                    <a:pt x="287" y="369"/>
                    <a:pt x="286" y="36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 name="Freeform 69"/>
            <p:cNvSpPr>
              <a:spLocks noChangeArrowheads="1"/>
            </p:cNvSpPr>
            <p:nvPr/>
          </p:nvSpPr>
          <p:spPr bwMode="auto">
            <a:xfrm>
              <a:off x="2138363" y="3286125"/>
              <a:ext cx="131762" cy="133350"/>
            </a:xfrm>
            <a:custGeom>
              <a:avLst/>
              <a:gdLst/>
              <a:ahLst/>
              <a:cxnLst>
                <a:cxn ang="0">
                  <a:pos x="289" y="369"/>
                </a:cxn>
                <a:cxn ang="0">
                  <a:pos x="286" y="368"/>
                </a:cxn>
                <a:cxn ang="0">
                  <a:pos x="252" y="347"/>
                </a:cxn>
                <a:cxn ang="0">
                  <a:pos x="153" y="340"/>
                </a:cxn>
                <a:cxn ang="0">
                  <a:pos x="150" y="338"/>
                </a:cxn>
                <a:cxn ang="0">
                  <a:pos x="2" y="186"/>
                </a:cxn>
                <a:cxn ang="0">
                  <a:pos x="0" y="183"/>
                </a:cxn>
                <a:cxn ang="0">
                  <a:pos x="0" y="174"/>
                </a:cxn>
                <a:cxn ang="0">
                  <a:pos x="5" y="169"/>
                </a:cxn>
                <a:cxn ang="0">
                  <a:pos x="22" y="169"/>
                </a:cxn>
                <a:cxn ang="0">
                  <a:pos x="46" y="161"/>
                </a:cxn>
                <a:cxn ang="0">
                  <a:pos x="65" y="141"/>
                </a:cxn>
                <a:cxn ang="0">
                  <a:pos x="68" y="110"/>
                </a:cxn>
                <a:cxn ang="0">
                  <a:pos x="73" y="106"/>
                </a:cxn>
                <a:cxn ang="0">
                  <a:pos x="103" y="106"/>
                </a:cxn>
                <a:cxn ang="0">
                  <a:pos x="115" y="79"/>
                </a:cxn>
                <a:cxn ang="0">
                  <a:pos x="119" y="76"/>
                </a:cxn>
                <a:cxn ang="0">
                  <a:pos x="121" y="77"/>
                </a:cxn>
                <a:cxn ang="0">
                  <a:pos x="152" y="89"/>
                </a:cxn>
                <a:cxn ang="0">
                  <a:pos x="201" y="56"/>
                </a:cxn>
                <a:cxn ang="0">
                  <a:pos x="230" y="15"/>
                </a:cxn>
                <a:cxn ang="0">
                  <a:pos x="234" y="13"/>
                </a:cxn>
                <a:cxn ang="0">
                  <a:pos x="235" y="13"/>
                </a:cxn>
                <a:cxn ang="0">
                  <a:pos x="276" y="29"/>
                </a:cxn>
                <a:cxn ang="0">
                  <a:pos x="359" y="0"/>
                </a:cxn>
                <a:cxn ang="0">
                  <a:pos x="361" y="0"/>
                </a:cxn>
                <a:cxn ang="0">
                  <a:pos x="364" y="1"/>
                </a:cxn>
                <a:cxn ang="0">
                  <a:pos x="365" y="6"/>
                </a:cxn>
                <a:cxn ang="0">
                  <a:pos x="319" y="306"/>
                </a:cxn>
                <a:cxn ang="0">
                  <a:pos x="331" y="346"/>
                </a:cxn>
                <a:cxn ang="0">
                  <a:pos x="329" y="352"/>
                </a:cxn>
                <a:cxn ang="0">
                  <a:pos x="291" y="369"/>
                </a:cxn>
                <a:cxn ang="0">
                  <a:pos x="289" y="369"/>
                </a:cxn>
              </a:cxnLst>
              <a:rect l="0" t="0" r="r" b="b"/>
              <a:pathLst>
                <a:path w="366" h="370">
                  <a:moveTo>
                    <a:pt x="289" y="369"/>
                  </a:moveTo>
                  <a:cubicBezTo>
                    <a:pt x="288" y="369"/>
                    <a:pt x="287" y="369"/>
                    <a:pt x="286" y="368"/>
                  </a:cubicBezTo>
                  <a:lnTo>
                    <a:pt x="252" y="347"/>
                  </a:lnTo>
                  <a:lnTo>
                    <a:pt x="153" y="340"/>
                  </a:lnTo>
                  <a:cubicBezTo>
                    <a:pt x="152" y="339"/>
                    <a:pt x="151" y="339"/>
                    <a:pt x="150" y="338"/>
                  </a:cubicBezTo>
                  <a:lnTo>
                    <a:pt x="2" y="186"/>
                  </a:lnTo>
                  <a:cubicBezTo>
                    <a:pt x="1" y="185"/>
                    <a:pt x="0" y="184"/>
                    <a:pt x="0" y="183"/>
                  </a:cubicBezTo>
                  <a:lnTo>
                    <a:pt x="0" y="174"/>
                  </a:lnTo>
                  <a:cubicBezTo>
                    <a:pt x="0" y="172"/>
                    <a:pt x="2" y="169"/>
                    <a:pt x="5" y="169"/>
                  </a:cubicBezTo>
                  <a:lnTo>
                    <a:pt x="22" y="169"/>
                  </a:lnTo>
                  <a:lnTo>
                    <a:pt x="46" y="161"/>
                  </a:lnTo>
                  <a:lnTo>
                    <a:pt x="65" y="141"/>
                  </a:lnTo>
                  <a:lnTo>
                    <a:pt x="68" y="110"/>
                  </a:lnTo>
                  <a:cubicBezTo>
                    <a:pt x="68" y="108"/>
                    <a:pt x="70" y="106"/>
                    <a:pt x="73" y="106"/>
                  </a:cubicBezTo>
                  <a:lnTo>
                    <a:pt x="103" y="106"/>
                  </a:lnTo>
                  <a:lnTo>
                    <a:pt x="115" y="79"/>
                  </a:lnTo>
                  <a:cubicBezTo>
                    <a:pt x="116" y="77"/>
                    <a:pt x="117" y="76"/>
                    <a:pt x="119" y="76"/>
                  </a:cubicBezTo>
                  <a:cubicBezTo>
                    <a:pt x="120" y="76"/>
                    <a:pt x="120" y="76"/>
                    <a:pt x="121" y="77"/>
                  </a:cubicBezTo>
                  <a:lnTo>
                    <a:pt x="152" y="89"/>
                  </a:lnTo>
                  <a:lnTo>
                    <a:pt x="201" y="56"/>
                  </a:lnTo>
                  <a:lnTo>
                    <a:pt x="230" y="15"/>
                  </a:lnTo>
                  <a:cubicBezTo>
                    <a:pt x="231" y="14"/>
                    <a:pt x="232" y="13"/>
                    <a:pt x="234" y="13"/>
                  </a:cubicBezTo>
                  <a:lnTo>
                    <a:pt x="235" y="13"/>
                  </a:lnTo>
                  <a:lnTo>
                    <a:pt x="276" y="29"/>
                  </a:lnTo>
                  <a:lnTo>
                    <a:pt x="359" y="0"/>
                  </a:lnTo>
                  <a:cubicBezTo>
                    <a:pt x="360" y="0"/>
                    <a:pt x="360" y="0"/>
                    <a:pt x="361" y="0"/>
                  </a:cubicBezTo>
                  <a:cubicBezTo>
                    <a:pt x="362" y="0"/>
                    <a:pt x="363" y="1"/>
                    <a:pt x="364" y="1"/>
                  </a:cubicBezTo>
                  <a:cubicBezTo>
                    <a:pt x="365" y="2"/>
                    <a:pt x="365" y="4"/>
                    <a:pt x="365" y="6"/>
                  </a:cubicBezTo>
                  <a:lnTo>
                    <a:pt x="319" y="306"/>
                  </a:lnTo>
                  <a:lnTo>
                    <a:pt x="331" y="346"/>
                  </a:lnTo>
                  <a:cubicBezTo>
                    <a:pt x="332" y="349"/>
                    <a:pt x="331" y="351"/>
                    <a:pt x="329" y="352"/>
                  </a:cubicBezTo>
                  <a:lnTo>
                    <a:pt x="291" y="369"/>
                  </a:lnTo>
                  <a:cubicBezTo>
                    <a:pt x="290" y="369"/>
                    <a:pt x="289" y="369"/>
                    <a:pt x="289" y="36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 name="Freeform 70"/>
            <p:cNvSpPr>
              <a:spLocks noChangeArrowheads="1"/>
            </p:cNvSpPr>
            <p:nvPr/>
          </p:nvSpPr>
          <p:spPr bwMode="auto">
            <a:xfrm>
              <a:off x="2308225" y="3508375"/>
              <a:ext cx="9525" cy="14288"/>
            </a:xfrm>
            <a:custGeom>
              <a:avLst/>
              <a:gdLst/>
              <a:ahLst/>
              <a:cxnLst>
                <a:cxn ang="0">
                  <a:pos x="20" y="38"/>
                </a:cxn>
                <a:cxn ang="0">
                  <a:pos x="3" y="30"/>
                </a:cxn>
                <a:cxn ang="0">
                  <a:pos x="0" y="27"/>
                </a:cxn>
                <a:cxn ang="0">
                  <a:pos x="1" y="23"/>
                </a:cxn>
                <a:cxn ang="0">
                  <a:pos x="14" y="2"/>
                </a:cxn>
                <a:cxn ang="0">
                  <a:pos x="18" y="0"/>
                </a:cxn>
                <a:cxn ang="0">
                  <a:pos x="19" y="0"/>
                </a:cxn>
                <a:cxn ang="0">
                  <a:pos x="22" y="4"/>
                </a:cxn>
                <a:cxn ang="0">
                  <a:pos x="27" y="34"/>
                </a:cxn>
                <a:cxn ang="0">
                  <a:pos x="25" y="38"/>
                </a:cxn>
                <a:cxn ang="0">
                  <a:pos x="22" y="39"/>
                </a:cxn>
                <a:cxn ang="0">
                  <a:pos x="20" y="38"/>
                </a:cxn>
              </a:cxnLst>
              <a:rect l="0" t="0" r="r" b="b"/>
              <a:pathLst>
                <a:path w="28" h="40">
                  <a:moveTo>
                    <a:pt x="20" y="38"/>
                  </a:moveTo>
                  <a:lnTo>
                    <a:pt x="3" y="30"/>
                  </a:lnTo>
                  <a:cubicBezTo>
                    <a:pt x="2" y="29"/>
                    <a:pt x="1" y="28"/>
                    <a:pt x="0" y="27"/>
                  </a:cubicBezTo>
                  <a:cubicBezTo>
                    <a:pt x="0" y="26"/>
                    <a:pt x="0" y="24"/>
                    <a:pt x="1" y="23"/>
                  </a:cubicBezTo>
                  <a:lnTo>
                    <a:pt x="14" y="2"/>
                  </a:lnTo>
                  <a:cubicBezTo>
                    <a:pt x="15" y="1"/>
                    <a:pt x="16" y="0"/>
                    <a:pt x="18" y="0"/>
                  </a:cubicBezTo>
                  <a:cubicBezTo>
                    <a:pt x="18" y="0"/>
                    <a:pt x="18" y="0"/>
                    <a:pt x="19" y="0"/>
                  </a:cubicBezTo>
                  <a:cubicBezTo>
                    <a:pt x="21" y="0"/>
                    <a:pt x="22" y="2"/>
                    <a:pt x="22" y="4"/>
                  </a:cubicBezTo>
                  <a:lnTo>
                    <a:pt x="27" y="34"/>
                  </a:lnTo>
                  <a:cubicBezTo>
                    <a:pt x="27" y="35"/>
                    <a:pt x="26" y="37"/>
                    <a:pt x="25" y="38"/>
                  </a:cubicBezTo>
                  <a:cubicBezTo>
                    <a:pt x="24" y="39"/>
                    <a:pt x="23" y="39"/>
                    <a:pt x="22" y="39"/>
                  </a:cubicBezTo>
                  <a:cubicBezTo>
                    <a:pt x="21" y="39"/>
                    <a:pt x="21" y="39"/>
                    <a:pt x="20" y="3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 name="Freeform 71"/>
            <p:cNvSpPr>
              <a:spLocks noChangeArrowheads="1"/>
            </p:cNvSpPr>
            <p:nvPr/>
          </p:nvSpPr>
          <p:spPr bwMode="auto">
            <a:xfrm>
              <a:off x="2308225" y="3508375"/>
              <a:ext cx="9525" cy="14288"/>
            </a:xfrm>
            <a:custGeom>
              <a:avLst/>
              <a:gdLst/>
              <a:ahLst/>
              <a:cxnLst>
                <a:cxn ang="0">
                  <a:pos x="22" y="39"/>
                </a:cxn>
                <a:cxn ang="0">
                  <a:pos x="20" y="38"/>
                </a:cxn>
                <a:cxn ang="0">
                  <a:pos x="3" y="30"/>
                </a:cxn>
                <a:cxn ang="0">
                  <a:pos x="0" y="27"/>
                </a:cxn>
                <a:cxn ang="0">
                  <a:pos x="1" y="23"/>
                </a:cxn>
                <a:cxn ang="0">
                  <a:pos x="14" y="2"/>
                </a:cxn>
                <a:cxn ang="0">
                  <a:pos x="18" y="0"/>
                </a:cxn>
                <a:cxn ang="0">
                  <a:pos x="19" y="0"/>
                </a:cxn>
                <a:cxn ang="0">
                  <a:pos x="22" y="4"/>
                </a:cxn>
                <a:cxn ang="0">
                  <a:pos x="27" y="34"/>
                </a:cxn>
                <a:cxn ang="0">
                  <a:pos x="25" y="38"/>
                </a:cxn>
                <a:cxn ang="0">
                  <a:pos x="22" y="39"/>
                </a:cxn>
              </a:cxnLst>
              <a:rect l="0" t="0" r="r" b="b"/>
              <a:pathLst>
                <a:path w="28" h="40">
                  <a:moveTo>
                    <a:pt x="22" y="39"/>
                  </a:moveTo>
                  <a:cubicBezTo>
                    <a:pt x="21" y="39"/>
                    <a:pt x="21" y="39"/>
                    <a:pt x="20" y="38"/>
                  </a:cubicBezTo>
                  <a:lnTo>
                    <a:pt x="3" y="30"/>
                  </a:lnTo>
                  <a:cubicBezTo>
                    <a:pt x="2" y="29"/>
                    <a:pt x="1" y="28"/>
                    <a:pt x="0" y="27"/>
                  </a:cubicBezTo>
                  <a:cubicBezTo>
                    <a:pt x="0" y="26"/>
                    <a:pt x="0" y="24"/>
                    <a:pt x="1" y="23"/>
                  </a:cubicBezTo>
                  <a:lnTo>
                    <a:pt x="14" y="2"/>
                  </a:lnTo>
                  <a:cubicBezTo>
                    <a:pt x="15" y="1"/>
                    <a:pt x="16" y="0"/>
                    <a:pt x="18" y="0"/>
                  </a:cubicBezTo>
                  <a:cubicBezTo>
                    <a:pt x="18" y="0"/>
                    <a:pt x="18" y="0"/>
                    <a:pt x="19" y="0"/>
                  </a:cubicBezTo>
                  <a:cubicBezTo>
                    <a:pt x="21" y="0"/>
                    <a:pt x="22" y="2"/>
                    <a:pt x="22" y="4"/>
                  </a:cubicBezTo>
                  <a:lnTo>
                    <a:pt x="27" y="34"/>
                  </a:lnTo>
                  <a:cubicBezTo>
                    <a:pt x="27" y="35"/>
                    <a:pt x="26" y="37"/>
                    <a:pt x="25" y="38"/>
                  </a:cubicBezTo>
                  <a:cubicBezTo>
                    <a:pt x="24" y="39"/>
                    <a:pt x="23" y="39"/>
                    <a:pt x="22" y="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 name="Freeform 72"/>
            <p:cNvSpPr>
              <a:spLocks noChangeArrowheads="1"/>
            </p:cNvSpPr>
            <p:nvPr/>
          </p:nvSpPr>
          <p:spPr bwMode="auto">
            <a:xfrm>
              <a:off x="2274888" y="3448050"/>
              <a:ext cx="179387" cy="77788"/>
            </a:xfrm>
            <a:custGeom>
              <a:avLst/>
              <a:gdLst/>
              <a:ahLst/>
              <a:cxnLst>
                <a:cxn ang="0">
                  <a:pos x="183" y="217"/>
                </a:cxn>
                <a:cxn ang="0">
                  <a:pos x="178" y="213"/>
                </a:cxn>
                <a:cxn ang="0">
                  <a:pos x="171" y="172"/>
                </a:cxn>
                <a:cxn ang="0">
                  <a:pos x="150" y="178"/>
                </a:cxn>
                <a:cxn ang="0">
                  <a:pos x="149" y="178"/>
                </a:cxn>
                <a:cxn ang="0">
                  <a:pos x="145" y="177"/>
                </a:cxn>
                <a:cxn ang="0">
                  <a:pos x="108" y="132"/>
                </a:cxn>
                <a:cxn ang="0">
                  <a:pos x="28" y="120"/>
                </a:cxn>
                <a:cxn ang="0">
                  <a:pos x="17" y="134"/>
                </a:cxn>
                <a:cxn ang="0">
                  <a:pos x="13" y="136"/>
                </a:cxn>
                <a:cxn ang="0">
                  <a:pos x="13" y="136"/>
                </a:cxn>
                <a:cxn ang="0">
                  <a:pos x="9" y="133"/>
                </a:cxn>
                <a:cxn ang="0">
                  <a:pos x="1" y="112"/>
                </a:cxn>
                <a:cxn ang="0">
                  <a:pos x="1" y="108"/>
                </a:cxn>
                <a:cxn ang="0">
                  <a:pos x="24" y="53"/>
                </a:cxn>
                <a:cxn ang="0">
                  <a:pos x="11" y="47"/>
                </a:cxn>
                <a:cxn ang="0">
                  <a:pos x="9" y="43"/>
                </a:cxn>
                <a:cxn ang="0">
                  <a:pos x="9" y="21"/>
                </a:cxn>
                <a:cxn ang="0">
                  <a:pos x="11" y="18"/>
                </a:cxn>
                <a:cxn ang="0">
                  <a:pos x="36" y="1"/>
                </a:cxn>
                <a:cxn ang="0">
                  <a:pos x="39" y="0"/>
                </a:cxn>
                <a:cxn ang="0">
                  <a:pos x="41" y="1"/>
                </a:cxn>
                <a:cxn ang="0">
                  <a:pos x="67" y="18"/>
                </a:cxn>
                <a:cxn ang="0">
                  <a:pos x="80" y="55"/>
                </a:cxn>
                <a:cxn ang="0">
                  <a:pos x="158" y="68"/>
                </a:cxn>
                <a:cxn ang="0">
                  <a:pos x="240" y="34"/>
                </a:cxn>
                <a:cxn ang="0">
                  <a:pos x="242" y="34"/>
                </a:cxn>
                <a:cxn ang="0">
                  <a:pos x="245" y="34"/>
                </a:cxn>
                <a:cxn ang="0">
                  <a:pos x="261" y="44"/>
                </a:cxn>
                <a:cxn ang="0">
                  <a:pos x="280" y="7"/>
                </a:cxn>
                <a:cxn ang="0">
                  <a:pos x="285" y="4"/>
                </a:cxn>
                <a:cxn ang="0">
                  <a:pos x="323" y="4"/>
                </a:cxn>
                <a:cxn ang="0">
                  <a:pos x="413" y="25"/>
                </a:cxn>
                <a:cxn ang="0">
                  <a:pos x="478" y="86"/>
                </a:cxn>
                <a:cxn ang="0">
                  <a:pos x="480" y="90"/>
                </a:cxn>
                <a:cxn ang="0">
                  <a:pos x="476" y="105"/>
                </a:cxn>
                <a:cxn ang="0">
                  <a:pos x="496" y="142"/>
                </a:cxn>
                <a:cxn ang="0">
                  <a:pos x="495" y="148"/>
                </a:cxn>
                <a:cxn ang="0">
                  <a:pos x="466" y="177"/>
                </a:cxn>
                <a:cxn ang="0">
                  <a:pos x="462" y="178"/>
                </a:cxn>
                <a:cxn ang="0">
                  <a:pos x="461" y="178"/>
                </a:cxn>
                <a:cxn ang="0">
                  <a:pos x="452" y="175"/>
                </a:cxn>
                <a:cxn ang="0">
                  <a:pos x="437" y="201"/>
                </a:cxn>
                <a:cxn ang="0">
                  <a:pos x="433" y="204"/>
                </a:cxn>
                <a:cxn ang="0">
                  <a:pos x="433" y="204"/>
                </a:cxn>
                <a:cxn ang="0">
                  <a:pos x="429" y="202"/>
                </a:cxn>
                <a:cxn ang="0">
                  <a:pos x="391" y="151"/>
                </a:cxn>
                <a:cxn ang="0">
                  <a:pos x="391" y="146"/>
                </a:cxn>
                <a:cxn ang="0">
                  <a:pos x="412" y="114"/>
                </a:cxn>
                <a:cxn ang="0">
                  <a:pos x="390" y="111"/>
                </a:cxn>
                <a:cxn ang="0">
                  <a:pos x="323" y="65"/>
                </a:cxn>
                <a:cxn ang="0">
                  <a:pos x="225" y="130"/>
                </a:cxn>
                <a:cxn ang="0">
                  <a:pos x="222" y="147"/>
                </a:cxn>
                <a:cxn ang="0">
                  <a:pos x="250" y="184"/>
                </a:cxn>
                <a:cxn ang="0">
                  <a:pos x="251" y="187"/>
                </a:cxn>
                <a:cxn ang="0">
                  <a:pos x="249" y="190"/>
                </a:cxn>
                <a:cxn ang="0">
                  <a:pos x="211" y="216"/>
                </a:cxn>
                <a:cxn ang="0">
                  <a:pos x="208" y="217"/>
                </a:cxn>
                <a:cxn ang="0">
                  <a:pos x="183" y="217"/>
                </a:cxn>
              </a:cxnLst>
              <a:rect l="0" t="0" r="r" b="b"/>
              <a:pathLst>
                <a:path w="498" h="218">
                  <a:moveTo>
                    <a:pt x="183" y="217"/>
                  </a:moveTo>
                  <a:cubicBezTo>
                    <a:pt x="180" y="217"/>
                    <a:pt x="178" y="215"/>
                    <a:pt x="178" y="213"/>
                  </a:cubicBezTo>
                  <a:lnTo>
                    <a:pt x="171" y="172"/>
                  </a:lnTo>
                  <a:lnTo>
                    <a:pt x="150" y="178"/>
                  </a:lnTo>
                  <a:lnTo>
                    <a:pt x="149" y="178"/>
                  </a:lnTo>
                  <a:cubicBezTo>
                    <a:pt x="147" y="178"/>
                    <a:pt x="146" y="178"/>
                    <a:pt x="145" y="177"/>
                  </a:cubicBezTo>
                  <a:lnTo>
                    <a:pt x="108" y="132"/>
                  </a:lnTo>
                  <a:lnTo>
                    <a:pt x="28" y="120"/>
                  </a:lnTo>
                  <a:lnTo>
                    <a:pt x="17" y="134"/>
                  </a:lnTo>
                  <a:cubicBezTo>
                    <a:pt x="16" y="136"/>
                    <a:pt x="15" y="136"/>
                    <a:pt x="13" y="136"/>
                  </a:cubicBezTo>
                  <a:lnTo>
                    <a:pt x="13" y="136"/>
                  </a:lnTo>
                  <a:cubicBezTo>
                    <a:pt x="11" y="136"/>
                    <a:pt x="10" y="135"/>
                    <a:pt x="9" y="133"/>
                  </a:cubicBezTo>
                  <a:lnTo>
                    <a:pt x="1" y="112"/>
                  </a:lnTo>
                  <a:cubicBezTo>
                    <a:pt x="0" y="111"/>
                    <a:pt x="0" y="110"/>
                    <a:pt x="1" y="108"/>
                  </a:cubicBezTo>
                  <a:lnTo>
                    <a:pt x="24" y="53"/>
                  </a:lnTo>
                  <a:lnTo>
                    <a:pt x="11" y="47"/>
                  </a:lnTo>
                  <a:cubicBezTo>
                    <a:pt x="10" y="46"/>
                    <a:pt x="9" y="44"/>
                    <a:pt x="9" y="43"/>
                  </a:cubicBezTo>
                  <a:lnTo>
                    <a:pt x="9" y="21"/>
                  </a:lnTo>
                  <a:cubicBezTo>
                    <a:pt x="9" y="20"/>
                    <a:pt x="10" y="18"/>
                    <a:pt x="11" y="18"/>
                  </a:cubicBezTo>
                  <a:lnTo>
                    <a:pt x="36" y="1"/>
                  </a:lnTo>
                  <a:cubicBezTo>
                    <a:pt x="37" y="0"/>
                    <a:pt x="38" y="0"/>
                    <a:pt x="39" y="0"/>
                  </a:cubicBezTo>
                  <a:cubicBezTo>
                    <a:pt x="40" y="0"/>
                    <a:pt x="41" y="0"/>
                    <a:pt x="41" y="1"/>
                  </a:cubicBezTo>
                  <a:lnTo>
                    <a:pt x="67" y="18"/>
                  </a:lnTo>
                  <a:lnTo>
                    <a:pt x="80" y="55"/>
                  </a:lnTo>
                  <a:lnTo>
                    <a:pt x="158" y="68"/>
                  </a:lnTo>
                  <a:lnTo>
                    <a:pt x="240" y="34"/>
                  </a:lnTo>
                  <a:cubicBezTo>
                    <a:pt x="241" y="34"/>
                    <a:pt x="242" y="34"/>
                    <a:pt x="242" y="34"/>
                  </a:cubicBezTo>
                  <a:cubicBezTo>
                    <a:pt x="243" y="34"/>
                    <a:pt x="244" y="34"/>
                    <a:pt x="245" y="34"/>
                  </a:cubicBezTo>
                  <a:lnTo>
                    <a:pt x="261" y="44"/>
                  </a:lnTo>
                  <a:lnTo>
                    <a:pt x="280" y="7"/>
                  </a:lnTo>
                  <a:cubicBezTo>
                    <a:pt x="281" y="5"/>
                    <a:pt x="283" y="4"/>
                    <a:pt x="285" y="4"/>
                  </a:cubicBezTo>
                  <a:lnTo>
                    <a:pt x="323" y="4"/>
                  </a:lnTo>
                  <a:lnTo>
                    <a:pt x="413" y="25"/>
                  </a:lnTo>
                  <a:lnTo>
                    <a:pt x="478" y="86"/>
                  </a:lnTo>
                  <a:cubicBezTo>
                    <a:pt x="479" y="87"/>
                    <a:pt x="480" y="89"/>
                    <a:pt x="480" y="90"/>
                  </a:cubicBezTo>
                  <a:lnTo>
                    <a:pt x="476" y="105"/>
                  </a:lnTo>
                  <a:lnTo>
                    <a:pt x="496" y="142"/>
                  </a:lnTo>
                  <a:cubicBezTo>
                    <a:pt x="497" y="144"/>
                    <a:pt x="497" y="146"/>
                    <a:pt x="495" y="148"/>
                  </a:cubicBezTo>
                  <a:lnTo>
                    <a:pt x="466" y="177"/>
                  </a:lnTo>
                  <a:cubicBezTo>
                    <a:pt x="465" y="178"/>
                    <a:pt x="464" y="178"/>
                    <a:pt x="462" y="178"/>
                  </a:cubicBezTo>
                  <a:lnTo>
                    <a:pt x="461" y="178"/>
                  </a:lnTo>
                  <a:lnTo>
                    <a:pt x="452" y="175"/>
                  </a:lnTo>
                  <a:lnTo>
                    <a:pt x="437" y="201"/>
                  </a:lnTo>
                  <a:cubicBezTo>
                    <a:pt x="436" y="203"/>
                    <a:pt x="435" y="204"/>
                    <a:pt x="433" y="204"/>
                  </a:cubicBezTo>
                  <a:lnTo>
                    <a:pt x="433" y="204"/>
                  </a:lnTo>
                  <a:cubicBezTo>
                    <a:pt x="431" y="204"/>
                    <a:pt x="430" y="203"/>
                    <a:pt x="429" y="202"/>
                  </a:cubicBezTo>
                  <a:lnTo>
                    <a:pt x="391" y="151"/>
                  </a:lnTo>
                  <a:cubicBezTo>
                    <a:pt x="390" y="150"/>
                    <a:pt x="390" y="147"/>
                    <a:pt x="391" y="146"/>
                  </a:cubicBezTo>
                  <a:lnTo>
                    <a:pt x="412" y="114"/>
                  </a:lnTo>
                  <a:lnTo>
                    <a:pt x="390" y="111"/>
                  </a:lnTo>
                  <a:lnTo>
                    <a:pt x="323" y="65"/>
                  </a:lnTo>
                  <a:lnTo>
                    <a:pt x="225" y="130"/>
                  </a:lnTo>
                  <a:lnTo>
                    <a:pt x="222" y="147"/>
                  </a:lnTo>
                  <a:lnTo>
                    <a:pt x="250" y="184"/>
                  </a:lnTo>
                  <a:cubicBezTo>
                    <a:pt x="251" y="185"/>
                    <a:pt x="251" y="186"/>
                    <a:pt x="251" y="187"/>
                  </a:cubicBezTo>
                  <a:cubicBezTo>
                    <a:pt x="251" y="188"/>
                    <a:pt x="250" y="190"/>
                    <a:pt x="249" y="190"/>
                  </a:cubicBezTo>
                  <a:lnTo>
                    <a:pt x="211" y="216"/>
                  </a:lnTo>
                  <a:cubicBezTo>
                    <a:pt x="210" y="216"/>
                    <a:pt x="209" y="217"/>
                    <a:pt x="208" y="217"/>
                  </a:cubicBezTo>
                  <a:lnTo>
                    <a:pt x="183" y="21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 name="Freeform 73"/>
            <p:cNvSpPr>
              <a:spLocks noChangeArrowheads="1"/>
            </p:cNvSpPr>
            <p:nvPr/>
          </p:nvSpPr>
          <p:spPr bwMode="auto">
            <a:xfrm>
              <a:off x="2274888" y="3448050"/>
              <a:ext cx="179387" cy="77788"/>
            </a:xfrm>
            <a:custGeom>
              <a:avLst/>
              <a:gdLst/>
              <a:ahLst/>
              <a:cxnLst>
                <a:cxn ang="0">
                  <a:pos x="183" y="217"/>
                </a:cxn>
                <a:cxn ang="0">
                  <a:pos x="178" y="213"/>
                </a:cxn>
                <a:cxn ang="0">
                  <a:pos x="171" y="172"/>
                </a:cxn>
                <a:cxn ang="0">
                  <a:pos x="150" y="178"/>
                </a:cxn>
                <a:cxn ang="0">
                  <a:pos x="149" y="178"/>
                </a:cxn>
                <a:cxn ang="0">
                  <a:pos x="145" y="177"/>
                </a:cxn>
                <a:cxn ang="0">
                  <a:pos x="108" y="132"/>
                </a:cxn>
                <a:cxn ang="0">
                  <a:pos x="28" y="120"/>
                </a:cxn>
                <a:cxn ang="0">
                  <a:pos x="17" y="134"/>
                </a:cxn>
                <a:cxn ang="0">
                  <a:pos x="13" y="136"/>
                </a:cxn>
                <a:cxn ang="0">
                  <a:pos x="13" y="136"/>
                </a:cxn>
                <a:cxn ang="0">
                  <a:pos x="9" y="133"/>
                </a:cxn>
                <a:cxn ang="0">
                  <a:pos x="1" y="112"/>
                </a:cxn>
                <a:cxn ang="0">
                  <a:pos x="1" y="108"/>
                </a:cxn>
                <a:cxn ang="0">
                  <a:pos x="24" y="53"/>
                </a:cxn>
                <a:cxn ang="0">
                  <a:pos x="11" y="47"/>
                </a:cxn>
                <a:cxn ang="0">
                  <a:pos x="9" y="43"/>
                </a:cxn>
                <a:cxn ang="0">
                  <a:pos x="9" y="21"/>
                </a:cxn>
                <a:cxn ang="0">
                  <a:pos x="11" y="18"/>
                </a:cxn>
                <a:cxn ang="0">
                  <a:pos x="36" y="1"/>
                </a:cxn>
                <a:cxn ang="0">
                  <a:pos x="39" y="0"/>
                </a:cxn>
                <a:cxn ang="0">
                  <a:pos x="41" y="1"/>
                </a:cxn>
                <a:cxn ang="0">
                  <a:pos x="67" y="18"/>
                </a:cxn>
                <a:cxn ang="0">
                  <a:pos x="80" y="55"/>
                </a:cxn>
                <a:cxn ang="0">
                  <a:pos x="158" y="68"/>
                </a:cxn>
                <a:cxn ang="0">
                  <a:pos x="240" y="34"/>
                </a:cxn>
                <a:cxn ang="0">
                  <a:pos x="242" y="34"/>
                </a:cxn>
                <a:cxn ang="0">
                  <a:pos x="245" y="34"/>
                </a:cxn>
                <a:cxn ang="0">
                  <a:pos x="261" y="44"/>
                </a:cxn>
                <a:cxn ang="0">
                  <a:pos x="280" y="7"/>
                </a:cxn>
                <a:cxn ang="0">
                  <a:pos x="285" y="4"/>
                </a:cxn>
                <a:cxn ang="0">
                  <a:pos x="323" y="4"/>
                </a:cxn>
                <a:cxn ang="0">
                  <a:pos x="413" y="25"/>
                </a:cxn>
                <a:cxn ang="0">
                  <a:pos x="478" y="86"/>
                </a:cxn>
                <a:cxn ang="0">
                  <a:pos x="480" y="90"/>
                </a:cxn>
                <a:cxn ang="0">
                  <a:pos x="476" y="105"/>
                </a:cxn>
                <a:cxn ang="0">
                  <a:pos x="496" y="142"/>
                </a:cxn>
                <a:cxn ang="0">
                  <a:pos x="495" y="148"/>
                </a:cxn>
                <a:cxn ang="0">
                  <a:pos x="466" y="177"/>
                </a:cxn>
                <a:cxn ang="0">
                  <a:pos x="462" y="178"/>
                </a:cxn>
                <a:cxn ang="0">
                  <a:pos x="461" y="178"/>
                </a:cxn>
                <a:cxn ang="0">
                  <a:pos x="452" y="175"/>
                </a:cxn>
                <a:cxn ang="0">
                  <a:pos x="437" y="201"/>
                </a:cxn>
                <a:cxn ang="0">
                  <a:pos x="433" y="204"/>
                </a:cxn>
                <a:cxn ang="0">
                  <a:pos x="433" y="204"/>
                </a:cxn>
                <a:cxn ang="0">
                  <a:pos x="429" y="202"/>
                </a:cxn>
                <a:cxn ang="0">
                  <a:pos x="391" y="151"/>
                </a:cxn>
                <a:cxn ang="0">
                  <a:pos x="391" y="146"/>
                </a:cxn>
                <a:cxn ang="0">
                  <a:pos x="412" y="114"/>
                </a:cxn>
                <a:cxn ang="0">
                  <a:pos x="390" y="111"/>
                </a:cxn>
                <a:cxn ang="0">
                  <a:pos x="323" y="65"/>
                </a:cxn>
                <a:cxn ang="0">
                  <a:pos x="225" y="130"/>
                </a:cxn>
                <a:cxn ang="0">
                  <a:pos x="222" y="147"/>
                </a:cxn>
                <a:cxn ang="0">
                  <a:pos x="250" y="184"/>
                </a:cxn>
                <a:cxn ang="0">
                  <a:pos x="251" y="187"/>
                </a:cxn>
                <a:cxn ang="0">
                  <a:pos x="249" y="190"/>
                </a:cxn>
                <a:cxn ang="0">
                  <a:pos x="211" y="216"/>
                </a:cxn>
                <a:cxn ang="0">
                  <a:pos x="208" y="217"/>
                </a:cxn>
                <a:cxn ang="0">
                  <a:pos x="183" y="217"/>
                </a:cxn>
              </a:cxnLst>
              <a:rect l="0" t="0" r="r" b="b"/>
              <a:pathLst>
                <a:path w="498" h="218">
                  <a:moveTo>
                    <a:pt x="183" y="217"/>
                  </a:moveTo>
                  <a:cubicBezTo>
                    <a:pt x="180" y="217"/>
                    <a:pt x="178" y="215"/>
                    <a:pt x="178" y="213"/>
                  </a:cubicBezTo>
                  <a:lnTo>
                    <a:pt x="171" y="172"/>
                  </a:lnTo>
                  <a:lnTo>
                    <a:pt x="150" y="178"/>
                  </a:lnTo>
                  <a:lnTo>
                    <a:pt x="149" y="178"/>
                  </a:lnTo>
                  <a:cubicBezTo>
                    <a:pt x="147" y="178"/>
                    <a:pt x="146" y="178"/>
                    <a:pt x="145" y="177"/>
                  </a:cubicBezTo>
                  <a:lnTo>
                    <a:pt x="108" y="132"/>
                  </a:lnTo>
                  <a:lnTo>
                    <a:pt x="28" y="120"/>
                  </a:lnTo>
                  <a:lnTo>
                    <a:pt x="17" y="134"/>
                  </a:lnTo>
                  <a:cubicBezTo>
                    <a:pt x="16" y="136"/>
                    <a:pt x="15" y="136"/>
                    <a:pt x="13" y="136"/>
                  </a:cubicBezTo>
                  <a:lnTo>
                    <a:pt x="13" y="136"/>
                  </a:lnTo>
                  <a:cubicBezTo>
                    <a:pt x="11" y="136"/>
                    <a:pt x="10" y="135"/>
                    <a:pt x="9" y="133"/>
                  </a:cubicBezTo>
                  <a:lnTo>
                    <a:pt x="1" y="112"/>
                  </a:lnTo>
                  <a:cubicBezTo>
                    <a:pt x="0" y="111"/>
                    <a:pt x="0" y="110"/>
                    <a:pt x="1" y="108"/>
                  </a:cubicBezTo>
                  <a:lnTo>
                    <a:pt x="24" y="53"/>
                  </a:lnTo>
                  <a:lnTo>
                    <a:pt x="11" y="47"/>
                  </a:lnTo>
                  <a:cubicBezTo>
                    <a:pt x="10" y="46"/>
                    <a:pt x="9" y="44"/>
                    <a:pt x="9" y="43"/>
                  </a:cubicBezTo>
                  <a:lnTo>
                    <a:pt x="9" y="21"/>
                  </a:lnTo>
                  <a:cubicBezTo>
                    <a:pt x="9" y="20"/>
                    <a:pt x="10" y="18"/>
                    <a:pt x="11" y="18"/>
                  </a:cubicBezTo>
                  <a:lnTo>
                    <a:pt x="36" y="1"/>
                  </a:lnTo>
                  <a:cubicBezTo>
                    <a:pt x="37" y="0"/>
                    <a:pt x="38" y="0"/>
                    <a:pt x="39" y="0"/>
                  </a:cubicBezTo>
                  <a:cubicBezTo>
                    <a:pt x="40" y="0"/>
                    <a:pt x="41" y="0"/>
                    <a:pt x="41" y="1"/>
                  </a:cubicBezTo>
                  <a:lnTo>
                    <a:pt x="67" y="18"/>
                  </a:lnTo>
                  <a:lnTo>
                    <a:pt x="80" y="55"/>
                  </a:lnTo>
                  <a:lnTo>
                    <a:pt x="158" y="68"/>
                  </a:lnTo>
                  <a:lnTo>
                    <a:pt x="240" y="34"/>
                  </a:lnTo>
                  <a:cubicBezTo>
                    <a:pt x="241" y="34"/>
                    <a:pt x="242" y="34"/>
                    <a:pt x="242" y="34"/>
                  </a:cubicBezTo>
                  <a:cubicBezTo>
                    <a:pt x="243" y="34"/>
                    <a:pt x="244" y="34"/>
                    <a:pt x="245" y="34"/>
                  </a:cubicBezTo>
                  <a:lnTo>
                    <a:pt x="261" y="44"/>
                  </a:lnTo>
                  <a:lnTo>
                    <a:pt x="280" y="7"/>
                  </a:lnTo>
                  <a:cubicBezTo>
                    <a:pt x="281" y="5"/>
                    <a:pt x="283" y="4"/>
                    <a:pt x="285" y="4"/>
                  </a:cubicBezTo>
                  <a:lnTo>
                    <a:pt x="323" y="4"/>
                  </a:lnTo>
                  <a:lnTo>
                    <a:pt x="413" y="25"/>
                  </a:lnTo>
                  <a:lnTo>
                    <a:pt x="478" y="86"/>
                  </a:lnTo>
                  <a:cubicBezTo>
                    <a:pt x="479" y="87"/>
                    <a:pt x="480" y="89"/>
                    <a:pt x="480" y="90"/>
                  </a:cubicBezTo>
                  <a:lnTo>
                    <a:pt x="476" y="105"/>
                  </a:lnTo>
                  <a:lnTo>
                    <a:pt x="496" y="142"/>
                  </a:lnTo>
                  <a:cubicBezTo>
                    <a:pt x="497" y="144"/>
                    <a:pt x="497" y="146"/>
                    <a:pt x="495" y="148"/>
                  </a:cubicBezTo>
                  <a:lnTo>
                    <a:pt x="466" y="177"/>
                  </a:lnTo>
                  <a:cubicBezTo>
                    <a:pt x="465" y="178"/>
                    <a:pt x="464" y="178"/>
                    <a:pt x="462" y="178"/>
                  </a:cubicBezTo>
                  <a:lnTo>
                    <a:pt x="461" y="178"/>
                  </a:lnTo>
                  <a:lnTo>
                    <a:pt x="452" y="175"/>
                  </a:lnTo>
                  <a:lnTo>
                    <a:pt x="437" y="201"/>
                  </a:lnTo>
                  <a:cubicBezTo>
                    <a:pt x="436" y="203"/>
                    <a:pt x="435" y="204"/>
                    <a:pt x="433" y="204"/>
                  </a:cubicBezTo>
                  <a:lnTo>
                    <a:pt x="433" y="204"/>
                  </a:lnTo>
                  <a:cubicBezTo>
                    <a:pt x="431" y="204"/>
                    <a:pt x="430" y="203"/>
                    <a:pt x="429" y="202"/>
                  </a:cubicBezTo>
                  <a:lnTo>
                    <a:pt x="391" y="151"/>
                  </a:lnTo>
                  <a:cubicBezTo>
                    <a:pt x="390" y="150"/>
                    <a:pt x="390" y="147"/>
                    <a:pt x="391" y="146"/>
                  </a:cubicBezTo>
                  <a:lnTo>
                    <a:pt x="412" y="114"/>
                  </a:lnTo>
                  <a:lnTo>
                    <a:pt x="390" y="111"/>
                  </a:lnTo>
                  <a:lnTo>
                    <a:pt x="323" y="65"/>
                  </a:lnTo>
                  <a:lnTo>
                    <a:pt x="225" y="130"/>
                  </a:lnTo>
                  <a:lnTo>
                    <a:pt x="222" y="147"/>
                  </a:lnTo>
                  <a:lnTo>
                    <a:pt x="250" y="184"/>
                  </a:lnTo>
                  <a:cubicBezTo>
                    <a:pt x="251" y="185"/>
                    <a:pt x="251" y="186"/>
                    <a:pt x="251" y="187"/>
                  </a:cubicBezTo>
                  <a:cubicBezTo>
                    <a:pt x="251" y="188"/>
                    <a:pt x="250" y="190"/>
                    <a:pt x="249" y="190"/>
                  </a:cubicBezTo>
                  <a:lnTo>
                    <a:pt x="211" y="216"/>
                  </a:lnTo>
                  <a:cubicBezTo>
                    <a:pt x="210" y="216"/>
                    <a:pt x="209" y="217"/>
                    <a:pt x="208" y="217"/>
                  </a:cubicBezTo>
                  <a:lnTo>
                    <a:pt x="183" y="21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 name="Freeform 74"/>
            <p:cNvSpPr>
              <a:spLocks noChangeArrowheads="1"/>
            </p:cNvSpPr>
            <p:nvPr/>
          </p:nvSpPr>
          <p:spPr bwMode="auto">
            <a:xfrm>
              <a:off x="2397125" y="2906713"/>
              <a:ext cx="36513" cy="11112"/>
            </a:xfrm>
            <a:custGeom>
              <a:avLst/>
              <a:gdLst/>
              <a:ahLst/>
              <a:cxnLst>
                <a:cxn ang="0">
                  <a:pos x="4" y="18"/>
                </a:cxn>
                <a:cxn ang="0">
                  <a:pos x="0" y="13"/>
                </a:cxn>
                <a:cxn ang="0">
                  <a:pos x="4" y="8"/>
                </a:cxn>
                <a:cxn ang="0">
                  <a:pos x="81" y="0"/>
                </a:cxn>
                <a:cxn ang="0">
                  <a:pos x="85" y="2"/>
                </a:cxn>
                <a:cxn ang="0">
                  <a:pos x="98" y="23"/>
                </a:cxn>
                <a:cxn ang="0">
                  <a:pos x="98" y="28"/>
                </a:cxn>
                <a:cxn ang="0">
                  <a:pos x="94" y="30"/>
                </a:cxn>
                <a:cxn ang="0">
                  <a:pos x="4" y="18"/>
                </a:cxn>
              </a:cxnLst>
              <a:rect l="0" t="0" r="r" b="b"/>
              <a:pathLst>
                <a:path w="100" h="31">
                  <a:moveTo>
                    <a:pt x="4" y="18"/>
                  </a:moveTo>
                  <a:cubicBezTo>
                    <a:pt x="2" y="17"/>
                    <a:pt x="0" y="15"/>
                    <a:pt x="0" y="13"/>
                  </a:cubicBezTo>
                  <a:cubicBezTo>
                    <a:pt x="0" y="10"/>
                    <a:pt x="2" y="9"/>
                    <a:pt x="4" y="8"/>
                  </a:cubicBezTo>
                  <a:lnTo>
                    <a:pt x="81" y="0"/>
                  </a:lnTo>
                  <a:cubicBezTo>
                    <a:pt x="83" y="0"/>
                    <a:pt x="84" y="1"/>
                    <a:pt x="85" y="2"/>
                  </a:cubicBezTo>
                  <a:lnTo>
                    <a:pt x="98" y="23"/>
                  </a:lnTo>
                  <a:cubicBezTo>
                    <a:pt x="99" y="25"/>
                    <a:pt x="99" y="27"/>
                    <a:pt x="98" y="28"/>
                  </a:cubicBezTo>
                  <a:cubicBezTo>
                    <a:pt x="97" y="29"/>
                    <a:pt x="95" y="30"/>
                    <a:pt x="94" y="30"/>
                  </a:cubicBezTo>
                  <a:lnTo>
                    <a:pt x="4" y="1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 name="Freeform 75"/>
            <p:cNvSpPr>
              <a:spLocks noChangeArrowheads="1"/>
            </p:cNvSpPr>
            <p:nvPr/>
          </p:nvSpPr>
          <p:spPr bwMode="auto">
            <a:xfrm>
              <a:off x="2397125" y="2906713"/>
              <a:ext cx="36513" cy="11112"/>
            </a:xfrm>
            <a:custGeom>
              <a:avLst/>
              <a:gdLst/>
              <a:ahLst/>
              <a:cxnLst>
                <a:cxn ang="0">
                  <a:pos x="4" y="18"/>
                </a:cxn>
                <a:cxn ang="0">
                  <a:pos x="0" y="13"/>
                </a:cxn>
                <a:cxn ang="0">
                  <a:pos x="4" y="8"/>
                </a:cxn>
                <a:cxn ang="0">
                  <a:pos x="81" y="0"/>
                </a:cxn>
                <a:cxn ang="0">
                  <a:pos x="85" y="2"/>
                </a:cxn>
                <a:cxn ang="0">
                  <a:pos x="98" y="23"/>
                </a:cxn>
                <a:cxn ang="0">
                  <a:pos x="98" y="28"/>
                </a:cxn>
                <a:cxn ang="0">
                  <a:pos x="94" y="30"/>
                </a:cxn>
                <a:cxn ang="0">
                  <a:pos x="4" y="18"/>
                </a:cxn>
              </a:cxnLst>
              <a:rect l="0" t="0" r="r" b="b"/>
              <a:pathLst>
                <a:path w="100" h="31">
                  <a:moveTo>
                    <a:pt x="4" y="18"/>
                  </a:moveTo>
                  <a:cubicBezTo>
                    <a:pt x="2" y="17"/>
                    <a:pt x="0" y="15"/>
                    <a:pt x="0" y="13"/>
                  </a:cubicBezTo>
                  <a:cubicBezTo>
                    <a:pt x="0" y="10"/>
                    <a:pt x="2" y="9"/>
                    <a:pt x="4" y="8"/>
                  </a:cubicBezTo>
                  <a:lnTo>
                    <a:pt x="81" y="0"/>
                  </a:lnTo>
                  <a:cubicBezTo>
                    <a:pt x="83" y="0"/>
                    <a:pt x="84" y="1"/>
                    <a:pt x="85" y="2"/>
                  </a:cubicBezTo>
                  <a:lnTo>
                    <a:pt x="98" y="23"/>
                  </a:lnTo>
                  <a:cubicBezTo>
                    <a:pt x="99" y="25"/>
                    <a:pt x="99" y="27"/>
                    <a:pt x="98" y="28"/>
                  </a:cubicBezTo>
                  <a:cubicBezTo>
                    <a:pt x="97" y="29"/>
                    <a:pt x="95" y="30"/>
                    <a:pt x="94" y="30"/>
                  </a:cubicBezTo>
                  <a:lnTo>
                    <a:pt x="4" y="1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 name="Freeform 76"/>
            <p:cNvSpPr>
              <a:spLocks noChangeArrowheads="1"/>
            </p:cNvSpPr>
            <p:nvPr/>
          </p:nvSpPr>
          <p:spPr bwMode="auto">
            <a:xfrm>
              <a:off x="2557463" y="3082925"/>
              <a:ext cx="22225" cy="17463"/>
            </a:xfrm>
            <a:custGeom>
              <a:avLst/>
              <a:gdLst/>
              <a:ahLst/>
              <a:cxnLst>
                <a:cxn ang="0">
                  <a:pos x="2" y="46"/>
                </a:cxn>
                <a:cxn ang="0">
                  <a:pos x="0" y="42"/>
                </a:cxn>
                <a:cxn ang="0">
                  <a:pos x="0" y="25"/>
                </a:cxn>
                <a:cxn ang="0">
                  <a:pos x="3" y="21"/>
                </a:cxn>
                <a:cxn ang="0">
                  <a:pos x="54" y="0"/>
                </a:cxn>
                <a:cxn ang="0">
                  <a:pos x="55" y="0"/>
                </a:cxn>
                <a:cxn ang="0">
                  <a:pos x="58" y="1"/>
                </a:cxn>
                <a:cxn ang="0">
                  <a:pos x="60" y="5"/>
                </a:cxn>
                <a:cxn ang="0">
                  <a:pos x="56" y="30"/>
                </a:cxn>
                <a:cxn ang="0">
                  <a:pos x="52" y="34"/>
                </a:cxn>
                <a:cxn ang="0">
                  <a:pos x="6" y="47"/>
                </a:cxn>
                <a:cxn ang="0">
                  <a:pos x="5" y="47"/>
                </a:cxn>
                <a:cxn ang="0">
                  <a:pos x="2" y="46"/>
                </a:cxn>
              </a:cxnLst>
              <a:rect l="0" t="0" r="r" b="b"/>
              <a:pathLst>
                <a:path w="61" h="48">
                  <a:moveTo>
                    <a:pt x="2" y="46"/>
                  </a:moveTo>
                  <a:cubicBezTo>
                    <a:pt x="0" y="45"/>
                    <a:pt x="0" y="44"/>
                    <a:pt x="0" y="42"/>
                  </a:cubicBezTo>
                  <a:lnTo>
                    <a:pt x="0" y="25"/>
                  </a:lnTo>
                  <a:cubicBezTo>
                    <a:pt x="0" y="23"/>
                    <a:pt x="1" y="22"/>
                    <a:pt x="3" y="21"/>
                  </a:cubicBezTo>
                  <a:lnTo>
                    <a:pt x="54" y="0"/>
                  </a:lnTo>
                  <a:lnTo>
                    <a:pt x="55" y="0"/>
                  </a:lnTo>
                  <a:cubicBezTo>
                    <a:pt x="56" y="0"/>
                    <a:pt x="57" y="0"/>
                    <a:pt x="58" y="1"/>
                  </a:cubicBezTo>
                  <a:cubicBezTo>
                    <a:pt x="60" y="2"/>
                    <a:pt x="60" y="3"/>
                    <a:pt x="60" y="5"/>
                  </a:cubicBezTo>
                  <a:lnTo>
                    <a:pt x="56" y="30"/>
                  </a:lnTo>
                  <a:cubicBezTo>
                    <a:pt x="55" y="32"/>
                    <a:pt x="54" y="34"/>
                    <a:pt x="52" y="34"/>
                  </a:cubicBezTo>
                  <a:lnTo>
                    <a:pt x="6" y="47"/>
                  </a:lnTo>
                  <a:cubicBezTo>
                    <a:pt x="5" y="47"/>
                    <a:pt x="5" y="47"/>
                    <a:pt x="5" y="47"/>
                  </a:cubicBezTo>
                  <a:cubicBezTo>
                    <a:pt x="4" y="47"/>
                    <a:pt x="2" y="47"/>
                    <a:pt x="2" y="4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 name="Freeform 77"/>
            <p:cNvSpPr>
              <a:spLocks noChangeArrowheads="1"/>
            </p:cNvSpPr>
            <p:nvPr/>
          </p:nvSpPr>
          <p:spPr bwMode="auto">
            <a:xfrm>
              <a:off x="2557463" y="3082925"/>
              <a:ext cx="22225" cy="17463"/>
            </a:xfrm>
            <a:custGeom>
              <a:avLst/>
              <a:gdLst/>
              <a:ahLst/>
              <a:cxnLst>
                <a:cxn ang="0">
                  <a:pos x="5" y="47"/>
                </a:cxn>
                <a:cxn ang="0">
                  <a:pos x="2" y="46"/>
                </a:cxn>
                <a:cxn ang="0">
                  <a:pos x="0" y="42"/>
                </a:cxn>
                <a:cxn ang="0">
                  <a:pos x="0" y="25"/>
                </a:cxn>
                <a:cxn ang="0">
                  <a:pos x="3" y="21"/>
                </a:cxn>
                <a:cxn ang="0">
                  <a:pos x="54" y="0"/>
                </a:cxn>
                <a:cxn ang="0">
                  <a:pos x="55" y="0"/>
                </a:cxn>
                <a:cxn ang="0">
                  <a:pos x="58" y="1"/>
                </a:cxn>
                <a:cxn ang="0">
                  <a:pos x="60" y="5"/>
                </a:cxn>
                <a:cxn ang="0">
                  <a:pos x="56" y="30"/>
                </a:cxn>
                <a:cxn ang="0">
                  <a:pos x="52" y="34"/>
                </a:cxn>
                <a:cxn ang="0">
                  <a:pos x="6" y="47"/>
                </a:cxn>
                <a:cxn ang="0">
                  <a:pos x="5" y="47"/>
                </a:cxn>
              </a:cxnLst>
              <a:rect l="0" t="0" r="r" b="b"/>
              <a:pathLst>
                <a:path w="61" h="48">
                  <a:moveTo>
                    <a:pt x="5" y="47"/>
                  </a:moveTo>
                  <a:cubicBezTo>
                    <a:pt x="4" y="47"/>
                    <a:pt x="2" y="47"/>
                    <a:pt x="2" y="46"/>
                  </a:cubicBezTo>
                  <a:cubicBezTo>
                    <a:pt x="0" y="45"/>
                    <a:pt x="0" y="44"/>
                    <a:pt x="0" y="42"/>
                  </a:cubicBezTo>
                  <a:lnTo>
                    <a:pt x="0" y="25"/>
                  </a:lnTo>
                  <a:cubicBezTo>
                    <a:pt x="0" y="23"/>
                    <a:pt x="1" y="22"/>
                    <a:pt x="3" y="21"/>
                  </a:cubicBezTo>
                  <a:lnTo>
                    <a:pt x="54" y="0"/>
                  </a:lnTo>
                  <a:lnTo>
                    <a:pt x="55" y="0"/>
                  </a:lnTo>
                  <a:cubicBezTo>
                    <a:pt x="56" y="0"/>
                    <a:pt x="57" y="0"/>
                    <a:pt x="58" y="1"/>
                  </a:cubicBezTo>
                  <a:cubicBezTo>
                    <a:pt x="60" y="2"/>
                    <a:pt x="60" y="3"/>
                    <a:pt x="60" y="5"/>
                  </a:cubicBezTo>
                  <a:lnTo>
                    <a:pt x="56" y="30"/>
                  </a:lnTo>
                  <a:cubicBezTo>
                    <a:pt x="55" y="32"/>
                    <a:pt x="54" y="34"/>
                    <a:pt x="52" y="34"/>
                  </a:cubicBezTo>
                  <a:lnTo>
                    <a:pt x="6" y="47"/>
                  </a:lnTo>
                  <a:cubicBezTo>
                    <a:pt x="5" y="47"/>
                    <a:pt x="5" y="47"/>
                    <a:pt x="5" y="4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 name="Freeform 78"/>
            <p:cNvSpPr>
              <a:spLocks noChangeArrowheads="1"/>
            </p:cNvSpPr>
            <p:nvPr/>
          </p:nvSpPr>
          <p:spPr bwMode="auto">
            <a:xfrm>
              <a:off x="2490788" y="2974975"/>
              <a:ext cx="19050" cy="22225"/>
            </a:xfrm>
            <a:custGeom>
              <a:avLst/>
              <a:gdLst/>
              <a:ahLst/>
              <a:cxnLst>
                <a:cxn ang="0">
                  <a:pos x="35" y="60"/>
                </a:cxn>
                <a:cxn ang="0">
                  <a:pos x="31" y="58"/>
                </a:cxn>
                <a:cxn ang="0">
                  <a:pos x="1" y="7"/>
                </a:cxn>
                <a:cxn ang="0">
                  <a:pos x="2" y="1"/>
                </a:cxn>
                <a:cxn ang="0">
                  <a:pos x="5" y="0"/>
                </a:cxn>
                <a:cxn ang="0">
                  <a:pos x="9" y="2"/>
                </a:cxn>
                <a:cxn ang="0">
                  <a:pos x="43" y="40"/>
                </a:cxn>
                <a:cxn ang="0">
                  <a:pos x="52" y="53"/>
                </a:cxn>
                <a:cxn ang="0">
                  <a:pos x="52" y="58"/>
                </a:cxn>
                <a:cxn ang="0">
                  <a:pos x="48" y="60"/>
                </a:cxn>
                <a:cxn ang="0">
                  <a:pos x="35" y="60"/>
                </a:cxn>
              </a:cxnLst>
              <a:rect l="0" t="0" r="r" b="b"/>
              <a:pathLst>
                <a:path w="54" h="61">
                  <a:moveTo>
                    <a:pt x="35" y="60"/>
                  </a:moveTo>
                  <a:cubicBezTo>
                    <a:pt x="33" y="60"/>
                    <a:pt x="32" y="59"/>
                    <a:pt x="31" y="58"/>
                  </a:cubicBezTo>
                  <a:lnTo>
                    <a:pt x="1" y="7"/>
                  </a:lnTo>
                  <a:cubicBezTo>
                    <a:pt x="0" y="5"/>
                    <a:pt x="1" y="2"/>
                    <a:pt x="2" y="1"/>
                  </a:cubicBezTo>
                  <a:cubicBezTo>
                    <a:pt x="3" y="0"/>
                    <a:pt x="4" y="0"/>
                    <a:pt x="5" y="0"/>
                  </a:cubicBezTo>
                  <a:cubicBezTo>
                    <a:pt x="7" y="0"/>
                    <a:pt x="8" y="1"/>
                    <a:pt x="9" y="2"/>
                  </a:cubicBezTo>
                  <a:lnTo>
                    <a:pt x="43" y="40"/>
                  </a:lnTo>
                  <a:lnTo>
                    <a:pt x="52" y="53"/>
                  </a:lnTo>
                  <a:cubicBezTo>
                    <a:pt x="53" y="54"/>
                    <a:pt x="53" y="56"/>
                    <a:pt x="52" y="58"/>
                  </a:cubicBezTo>
                  <a:cubicBezTo>
                    <a:pt x="51" y="59"/>
                    <a:pt x="50" y="60"/>
                    <a:pt x="48" y="60"/>
                  </a:cubicBezTo>
                  <a:lnTo>
                    <a:pt x="35" y="6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 name="Freeform 79"/>
            <p:cNvSpPr>
              <a:spLocks noChangeArrowheads="1"/>
            </p:cNvSpPr>
            <p:nvPr/>
          </p:nvSpPr>
          <p:spPr bwMode="auto">
            <a:xfrm>
              <a:off x="2490788" y="2974975"/>
              <a:ext cx="19050" cy="22225"/>
            </a:xfrm>
            <a:custGeom>
              <a:avLst/>
              <a:gdLst/>
              <a:ahLst/>
              <a:cxnLst>
                <a:cxn ang="0">
                  <a:pos x="35" y="60"/>
                </a:cxn>
                <a:cxn ang="0">
                  <a:pos x="31" y="58"/>
                </a:cxn>
                <a:cxn ang="0">
                  <a:pos x="1" y="7"/>
                </a:cxn>
                <a:cxn ang="0">
                  <a:pos x="2" y="1"/>
                </a:cxn>
                <a:cxn ang="0">
                  <a:pos x="5" y="0"/>
                </a:cxn>
                <a:cxn ang="0">
                  <a:pos x="9" y="2"/>
                </a:cxn>
                <a:cxn ang="0">
                  <a:pos x="43" y="40"/>
                </a:cxn>
                <a:cxn ang="0">
                  <a:pos x="52" y="53"/>
                </a:cxn>
                <a:cxn ang="0">
                  <a:pos x="52" y="58"/>
                </a:cxn>
                <a:cxn ang="0">
                  <a:pos x="48" y="60"/>
                </a:cxn>
                <a:cxn ang="0">
                  <a:pos x="35" y="60"/>
                </a:cxn>
              </a:cxnLst>
              <a:rect l="0" t="0" r="r" b="b"/>
              <a:pathLst>
                <a:path w="54" h="61">
                  <a:moveTo>
                    <a:pt x="35" y="60"/>
                  </a:moveTo>
                  <a:cubicBezTo>
                    <a:pt x="33" y="60"/>
                    <a:pt x="32" y="59"/>
                    <a:pt x="31" y="58"/>
                  </a:cubicBezTo>
                  <a:lnTo>
                    <a:pt x="1" y="7"/>
                  </a:lnTo>
                  <a:cubicBezTo>
                    <a:pt x="0" y="5"/>
                    <a:pt x="1" y="2"/>
                    <a:pt x="2" y="1"/>
                  </a:cubicBezTo>
                  <a:cubicBezTo>
                    <a:pt x="3" y="0"/>
                    <a:pt x="4" y="0"/>
                    <a:pt x="5" y="0"/>
                  </a:cubicBezTo>
                  <a:cubicBezTo>
                    <a:pt x="7" y="0"/>
                    <a:pt x="8" y="1"/>
                    <a:pt x="9" y="2"/>
                  </a:cubicBezTo>
                  <a:lnTo>
                    <a:pt x="43" y="40"/>
                  </a:lnTo>
                  <a:lnTo>
                    <a:pt x="52" y="53"/>
                  </a:lnTo>
                  <a:cubicBezTo>
                    <a:pt x="53" y="54"/>
                    <a:pt x="53" y="56"/>
                    <a:pt x="52" y="58"/>
                  </a:cubicBezTo>
                  <a:cubicBezTo>
                    <a:pt x="51" y="59"/>
                    <a:pt x="50" y="60"/>
                    <a:pt x="48" y="60"/>
                  </a:cubicBezTo>
                  <a:lnTo>
                    <a:pt x="35" y="6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 name="Freeform 80"/>
            <p:cNvSpPr>
              <a:spLocks noChangeArrowheads="1"/>
            </p:cNvSpPr>
            <p:nvPr/>
          </p:nvSpPr>
          <p:spPr bwMode="auto">
            <a:xfrm>
              <a:off x="2474913" y="2959100"/>
              <a:ext cx="9525" cy="20638"/>
            </a:xfrm>
            <a:custGeom>
              <a:avLst/>
              <a:gdLst/>
              <a:ahLst/>
              <a:cxnLst>
                <a:cxn ang="0">
                  <a:pos x="18" y="54"/>
                </a:cxn>
                <a:cxn ang="0">
                  <a:pos x="1" y="33"/>
                </a:cxn>
                <a:cxn ang="0">
                  <a:pos x="1" y="28"/>
                </a:cxn>
                <a:cxn ang="0">
                  <a:pos x="13" y="2"/>
                </a:cxn>
                <a:cxn ang="0">
                  <a:pos x="17" y="0"/>
                </a:cxn>
                <a:cxn ang="0">
                  <a:pos x="18" y="0"/>
                </a:cxn>
                <a:cxn ang="0">
                  <a:pos x="22" y="4"/>
                </a:cxn>
                <a:cxn ang="0">
                  <a:pos x="26" y="51"/>
                </a:cxn>
                <a:cxn ang="0">
                  <a:pos x="23" y="55"/>
                </a:cxn>
                <a:cxn ang="0">
                  <a:pos x="22" y="56"/>
                </a:cxn>
                <a:cxn ang="0">
                  <a:pos x="18" y="54"/>
                </a:cxn>
              </a:cxnLst>
              <a:rect l="0" t="0" r="r" b="b"/>
              <a:pathLst>
                <a:path w="27" h="57">
                  <a:moveTo>
                    <a:pt x="18" y="54"/>
                  </a:moveTo>
                  <a:lnTo>
                    <a:pt x="1" y="33"/>
                  </a:lnTo>
                  <a:cubicBezTo>
                    <a:pt x="0" y="31"/>
                    <a:pt x="0" y="29"/>
                    <a:pt x="1" y="28"/>
                  </a:cubicBezTo>
                  <a:lnTo>
                    <a:pt x="13" y="2"/>
                  </a:lnTo>
                  <a:cubicBezTo>
                    <a:pt x="14" y="1"/>
                    <a:pt x="16" y="0"/>
                    <a:pt x="17" y="0"/>
                  </a:cubicBezTo>
                  <a:cubicBezTo>
                    <a:pt x="18" y="0"/>
                    <a:pt x="18" y="0"/>
                    <a:pt x="18" y="0"/>
                  </a:cubicBezTo>
                  <a:cubicBezTo>
                    <a:pt x="20" y="0"/>
                    <a:pt x="22" y="2"/>
                    <a:pt x="22" y="4"/>
                  </a:cubicBezTo>
                  <a:lnTo>
                    <a:pt x="26" y="51"/>
                  </a:lnTo>
                  <a:cubicBezTo>
                    <a:pt x="26" y="53"/>
                    <a:pt x="25" y="55"/>
                    <a:pt x="23" y="55"/>
                  </a:cubicBezTo>
                  <a:cubicBezTo>
                    <a:pt x="23" y="56"/>
                    <a:pt x="22" y="56"/>
                    <a:pt x="22" y="56"/>
                  </a:cubicBezTo>
                  <a:cubicBezTo>
                    <a:pt x="20" y="56"/>
                    <a:pt x="19" y="55"/>
                    <a:pt x="18" y="5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 name="Freeform 81"/>
            <p:cNvSpPr>
              <a:spLocks noChangeArrowheads="1"/>
            </p:cNvSpPr>
            <p:nvPr/>
          </p:nvSpPr>
          <p:spPr bwMode="auto">
            <a:xfrm>
              <a:off x="2474913" y="2959100"/>
              <a:ext cx="9525" cy="20638"/>
            </a:xfrm>
            <a:custGeom>
              <a:avLst/>
              <a:gdLst/>
              <a:ahLst/>
              <a:cxnLst>
                <a:cxn ang="0">
                  <a:pos x="22" y="56"/>
                </a:cxn>
                <a:cxn ang="0">
                  <a:pos x="18" y="54"/>
                </a:cxn>
                <a:cxn ang="0">
                  <a:pos x="1" y="33"/>
                </a:cxn>
                <a:cxn ang="0">
                  <a:pos x="1" y="28"/>
                </a:cxn>
                <a:cxn ang="0">
                  <a:pos x="13" y="2"/>
                </a:cxn>
                <a:cxn ang="0">
                  <a:pos x="17" y="0"/>
                </a:cxn>
                <a:cxn ang="0">
                  <a:pos x="18" y="0"/>
                </a:cxn>
                <a:cxn ang="0">
                  <a:pos x="22" y="4"/>
                </a:cxn>
                <a:cxn ang="0">
                  <a:pos x="26" y="51"/>
                </a:cxn>
                <a:cxn ang="0">
                  <a:pos x="23" y="55"/>
                </a:cxn>
                <a:cxn ang="0">
                  <a:pos x="22" y="56"/>
                </a:cxn>
              </a:cxnLst>
              <a:rect l="0" t="0" r="r" b="b"/>
              <a:pathLst>
                <a:path w="27" h="57">
                  <a:moveTo>
                    <a:pt x="22" y="56"/>
                  </a:moveTo>
                  <a:cubicBezTo>
                    <a:pt x="20" y="56"/>
                    <a:pt x="19" y="55"/>
                    <a:pt x="18" y="54"/>
                  </a:cubicBezTo>
                  <a:lnTo>
                    <a:pt x="1" y="33"/>
                  </a:lnTo>
                  <a:cubicBezTo>
                    <a:pt x="0" y="31"/>
                    <a:pt x="0" y="29"/>
                    <a:pt x="1" y="28"/>
                  </a:cubicBezTo>
                  <a:lnTo>
                    <a:pt x="13" y="2"/>
                  </a:lnTo>
                  <a:cubicBezTo>
                    <a:pt x="14" y="1"/>
                    <a:pt x="16" y="0"/>
                    <a:pt x="17" y="0"/>
                  </a:cubicBezTo>
                  <a:cubicBezTo>
                    <a:pt x="18" y="0"/>
                    <a:pt x="18" y="0"/>
                    <a:pt x="18" y="0"/>
                  </a:cubicBezTo>
                  <a:cubicBezTo>
                    <a:pt x="20" y="0"/>
                    <a:pt x="22" y="2"/>
                    <a:pt x="22" y="4"/>
                  </a:cubicBezTo>
                  <a:lnTo>
                    <a:pt x="26" y="51"/>
                  </a:lnTo>
                  <a:cubicBezTo>
                    <a:pt x="26" y="53"/>
                    <a:pt x="25" y="55"/>
                    <a:pt x="23" y="55"/>
                  </a:cubicBezTo>
                  <a:cubicBezTo>
                    <a:pt x="23" y="56"/>
                    <a:pt x="22" y="56"/>
                    <a:pt x="22" y="5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 name="Freeform 82"/>
            <p:cNvSpPr>
              <a:spLocks noChangeArrowheads="1"/>
            </p:cNvSpPr>
            <p:nvPr/>
          </p:nvSpPr>
          <p:spPr bwMode="auto">
            <a:xfrm>
              <a:off x="2430463" y="2990850"/>
              <a:ext cx="9525" cy="19050"/>
            </a:xfrm>
            <a:custGeom>
              <a:avLst/>
              <a:gdLst/>
              <a:ahLst/>
              <a:cxnLst>
                <a:cxn ang="0">
                  <a:pos x="18" y="50"/>
                </a:cxn>
                <a:cxn ang="0">
                  <a:pos x="1" y="28"/>
                </a:cxn>
                <a:cxn ang="0">
                  <a:pos x="1" y="23"/>
                </a:cxn>
                <a:cxn ang="0">
                  <a:pos x="18" y="1"/>
                </a:cxn>
                <a:cxn ang="0">
                  <a:pos x="22" y="0"/>
                </a:cxn>
                <a:cxn ang="0">
                  <a:pos x="24" y="0"/>
                </a:cxn>
                <a:cxn ang="0">
                  <a:pos x="27" y="4"/>
                </a:cxn>
                <a:cxn ang="0">
                  <a:pos x="27" y="47"/>
                </a:cxn>
                <a:cxn ang="0">
                  <a:pos x="24" y="51"/>
                </a:cxn>
                <a:cxn ang="0">
                  <a:pos x="22" y="51"/>
                </a:cxn>
                <a:cxn ang="0">
                  <a:pos x="18" y="50"/>
                </a:cxn>
              </a:cxnLst>
              <a:rect l="0" t="0" r="r" b="b"/>
              <a:pathLst>
                <a:path w="28" h="52">
                  <a:moveTo>
                    <a:pt x="18" y="50"/>
                  </a:moveTo>
                  <a:lnTo>
                    <a:pt x="1" y="28"/>
                  </a:lnTo>
                  <a:cubicBezTo>
                    <a:pt x="0" y="27"/>
                    <a:pt x="0" y="24"/>
                    <a:pt x="1" y="23"/>
                  </a:cubicBezTo>
                  <a:lnTo>
                    <a:pt x="18" y="1"/>
                  </a:lnTo>
                  <a:cubicBezTo>
                    <a:pt x="19" y="0"/>
                    <a:pt x="21" y="0"/>
                    <a:pt x="22" y="0"/>
                  </a:cubicBezTo>
                  <a:cubicBezTo>
                    <a:pt x="22" y="0"/>
                    <a:pt x="23" y="0"/>
                    <a:pt x="24" y="0"/>
                  </a:cubicBezTo>
                  <a:cubicBezTo>
                    <a:pt x="25" y="0"/>
                    <a:pt x="27" y="2"/>
                    <a:pt x="27" y="4"/>
                  </a:cubicBezTo>
                  <a:lnTo>
                    <a:pt x="27" y="47"/>
                  </a:lnTo>
                  <a:cubicBezTo>
                    <a:pt x="27" y="49"/>
                    <a:pt x="25" y="50"/>
                    <a:pt x="24" y="51"/>
                  </a:cubicBezTo>
                  <a:cubicBezTo>
                    <a:pt x="23" y="51"/>
                    <a:pt x="23" y="51"/>
                    <a:pt x="22" y="51"/>
                  </a:cubicBezTo>
                  <a:cubicBezTo>
                    <a:pt x="21" y="51"/>
                    <a:pt x="19" y="51"/>
                    <a:pt x="18" y="5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 name="Freeform 83"/>
            <p:cNvSpPr>
              <a:spLocks noChangeArrowheads="1"/>
            </p:cNvSpPr>
            <p:nvPr/>
          </p:nvSpPr>
          <p:spPr bwMode="auto">
            <a:xfrm>
              <a:off x="2430463" y="2990850"/>
              <a:ext cx="9525" cy="19050"/>
            </a:xfrm>
            <a:custGeom>
              <a:avLst/>
              <a:gdLst/>
              <a:ahLst/>
              <a:cxnLst>
                <a:cxn ang="0">
                  <a:pos x="22" y="51"/>
                </a:cxn>
                <a:cxn ang="0">
                  <a:pos x="18" y="50"/>
                </a:cxn>
                <a:cxn ang="0">
                  <a:pos x="1" y="28"/>
                </a:cxn>
                <a:cxn ang="0">
                  <a:pos x="1" y="23"/>
                </a:cxn>
                <a:cxn ang="0">
                  <a:pos x="18" y="1"/>
                </a:cxn>
                <a:cxn ang="0">
                  <a:pos x="22" y="0"/>
                </a:cxn>
                <a:cxn ang="0">
                  <a:pos x="24" y="0"/>
                </a:cxn>
                <a:cxn ang="0">
                  <a:pos x="27" y="4"/>
                </a:cxn>
                <a:cxn ang="0">
                  <a:pos x="27" y="47"/>
                </a:cxn>
                <a:cxn ang="0">
                  <a:pos x="24" y="51"/>
                </a:cxn>
                <a:cxn ang="0">
                  <a:pos x="22" y="51"/>
                </a:cxn>
              </a:cxnLst>
              <a:rect l="0" t="0" r="r" b="b"/>
              <a:pathLst>
                <a:path w="28" h="52">
                  <a:moveTo>
                    <a:pt x="22" y="51"/>
                  </a:moveTo>
                  <a:cubicBezTo>
                    <a:pt x="21" y="51"/>
                    <a:pt x="19" y="51"/>
                    <a:pt x="18" y="50"/>
                  </a:cubicBezTo>
                  <a:lnTo>
                    <a:pt x="1" y="28"/>
                  </a:lnTo>
                  <a:cubicBezTo>
                    <a:pt x="0" y="27"/>
                    <a:pt x="0" y="24"/>
                    <a:pt x="1" y="23"/>
                  </a:cubicBezTo>
                  <a:lnTo>
                    <a:pt x="18" y="1"/>
                  </a:lnTo>
                  <a:cubicBezTo>
                    <a:pt x="19" y="0"/>
                    <a:pt x="21" y="0"/>
                    <a:pt x="22" y="0"/>
                  </a:cubicBezTo>
                  <a:cubicBezTo>
                    <a:pt x="22" y="0"/>
                    <a:pt x="23" y="0"/>
                    <a:pt x="24" y="0"/>
                  </a:cubicBezTo>
                  <a:cubicBezTo>
                    <a:pt x="25" y="0"/>
                    <a:pt x="27" y="2"/>
                    <a:pt x="27" y="4"/>
                  </a:cubicBezTo>
                  <a:lnTo>
                    <a:pt x="27" y="47"/>
                  </a:lnTo>
                  <a:cubicBezTo>
                    <a:pt x="27" y="49"/>
                    <a:pt x="25" y="50"/>
                    <a:pt x="24" y="51"/>
                  </a:cubicBezTo>
                  <a:cubicBezTo>
                    <a:pt x="23" y="51"/>
                    <a:pt x="23" y="51"/>
                    <a:pt x="22" y="5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 name="Freeform 84"/>
            <p:cNvSpPr>
              <a:spLocks noChangeArrowheads="1"/>
            </p:cNvSpPr>
            <p:nvPr/>
          </p:nvSpPr>
          <p:spPr bwMode="auto">
            <a:xfrm>
              <a:off x="2413000" y="2959100"/>
              <a:ext cx="20638" cy="30163"/>
            </a:xfrm>
            <a:custGeom>
              <a:avLst/>
              <a:gdLst/>
              <a:ahLst/>
              <a:cxnLst>
                <a:cxn ang="0">
                  <a:pos x="41" y="80"/>
                </a:cxn>
                <a:cxn ang="0">
                  <a:pos x="2" y="51"/>
                </a:cxn>
                <a:cxn ang="0">
                  <a:pos x="1" y="46"/>
                </a:cxn>
                <a:cxn ang="0">
                  <a:pos x="14" y="3"/>
                </a:cxn>
                <a:cxn ang="0">
                  <a:pos x="16" y="0"/>
                </a:cxn>
                <a:cxn ang="0">
                  <a:pos x="18" y="0"/>
                </a:cxn>
                <a:cxn ang="0">
                  <a:pos x="21" y="1"/>
                </a:cxn>
                <a:cxn ang="0">
                  <a:pos x="33" y="9"/>
                </a:cxn>
                <a:cxn ang="0">
                  <a:pos x="56" y="44"/>
                </a:cxn>
                <a:cxn ang="0">
                  <a:pos x="56" y="48"/>
                </a:cxn>
                <a:cxn ang="0">
                  <a:pos x="48" y="78"/>
                </a:cxn>
                <a:cxn ang="0">
                  <a:pos x="45" y="81"/>
                </a:cxn>
                <a:cxn ang="0">
                  <a:pos x="43" y="81"/>
                </a:cxn>
                <a:cxn ang="0">
                  <a:pos x="41" y="80"/>
                </a:cxn>
              </a:cxnLst>
              <a:rect l="0" t="0" r="r" b="b"/>
              <a:pathLst>
                <a:path w="58" h="82">
                  <a:moveTo>
                    <a:pt x="41" y="80"/>
                  </a:moveTo>
                  <a:lnTo>
                    <a:pt x="2" y="51"/>
                  </a:lnTo>
                  <a:cubicBezTo>
                    <a:pt x="1" y="49"/>
                    <a:pt x="0" y="47"/>
                    <a:pt x="1" y="46"/>
                  </a:cubicBezTo>
                  <a:lnTo>
                    <a:pt x="14" y="3"/>
                  </a:lnTo>
                  <a:cubicBezTo>
                    <a:pt x="14" y="2"/>
                    <a:pt x="15" y="1"/>
                    <a:pt x="16" y="0"/>
                  </a:cubicBezTo>
                  <a:cubicBezTo>
                    <a:pt x="17" y="0"/>
                    <a:pt x="18" y="0"/>
                    <a:pt x="18" y="0"/>
                  </a:cubicBezTo>
                  <a:cubicBezTo>
                    <a:pt x="19" y="0"/>
                    <a:pt x="20" y="0"/>
                    <a:pt x="21" y="1"/>
                  </a:cubicBezTo>
                  <a:lnTo>
                    <a:pt x="33" y="9"/>
                  </a:lnTo>
                  <a:lnTo>
                    <a:pt x="56" y="44"/>
                  </a:lnTo>
                  <a:cubicBezTo>
                    <a:pt x="57" y="46"/>
                    <a:pt x="57" y="47"/>
                    <a:pt x="56" y="48"/>
                  </a:cubicBezTo>
                  <a:lnTo>
                    <a:pt x="48" y="78"/>
                  </a:lnTo>
                  <a:cubicBezTo>
                    <a:pt x="48" y="79"/>
                    <a:pt x="46" y="80"/>
                    <a:pt x="45" y="81"/>
                  </a:cubicBezTo>
                  <a:cubicBezTo>
                    <a:pt x="44" y="81"/>
                    <a:pt x="44" y="81"/>
                    <a:pt x="43" y="81"/>
                  </a:cubicBezTo>
                  <a:cubicBezTo>
                    <a:pt x="42" y="81"/>
                    <a:pt x="41" y="81"/>
                    <a:pt x="41" y="8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 name="Freeform 85"/>
            <p:cNvSpPr>
              <a:spLocks noChangeArrowheads="1"/>
            </p:cNvSpPr>
            <p:nvPr/>
          </p:nvSpPr>
          <p:spPr bwMode="auto">
            <a:xfrm>
              <a:off x="2413000" y="2959100"/>
              <a:ext cx="20638" cy="30163"/>
            </a:xfrm>
            <a:custGeom>
              <a:avLst/>
              <a:gdLst/>
              <a:ahLst/>
              <a:cxnLst>
                <a:cxn ang="0">
                  <a:pos x="43" y="81"/>
                </a:cxn>
                <a:cxn ang="0">
                  <a:pos x="41" y="80"/>
                </a:cxn>
                <a:cxn ang="0">
                  <a:pos x="2" y="51"/>
                </a:cxn>
                <a:cxn ang="0">
                  <a:pos x="1" y="46"/>
                </a:cxn>
                <a:cxn ang="0">
                  <a:pos x="14" y="3"/>
                </a:cxn>
                <a:cxn ang="0">
                  <a:pos x="16" y="0"/>
                </a:cxn>
                <a:cxn ang="0">
                  <a:pos x="18" y="0"/>
                </a:cxn>
                <a:cxn ang="0">
                  <a:pos x="21" y="1"/>
                </a:cxn>
                <a:cxn ang="0">
                  <a:pos x="33" y="9"/>
                </a:cxn>
                <a:cxn ang="0">
                  <a:pos x="56" y="44"/>
                </a:cxn>
                <a:cxn ang="0">
                  <a:pos x="56" y="48"/>
                </a:cxn>
                <a:cxn ang="0">
                  <a:pos x="48" y="78"/>
                </a:cxn>
                <a:cxn ang="0">
                  <a:pos x="45" y="81"/>
                </a:cxn>
                <a:cxn ang="0">
                  <a:pos x="43" y="81"/>
                </a:cxn>
              </a:cxnLst>
              <a:rect l="0" t="0" r="r" b="b"/>
              <a:pathLst>
                <a:path w="58" h="82">
                  <a:moveTo>
                    <a:pt x="43" y="81"/>
                  </a:moveTo>
                  <a:cubicBezTo>
                    <a:pt x="42" y="81"/>
                    <a:pt x="41" y="81"/>
                    <a:pt x="41" y="80"/>
                  </a:cubicBezTo>
                  <a:lnTo>
                    <a:pt x="2" y="51"/>
                  </a:lnTo>
                  <a:cubicBezTo>
                    <a:pt x="1" y="49"/>
                    <a:pt x="0" y="47"/>
                    <a:pt x="1" y="46"/>
                  </a:cubicBezTo>
                  <a:lnTo>
                    <a:pt x="14" y="3"/>
                  </a:lnTo>
                  <a:cubicBezTo>
                    <a:pt x="14" y="2"/>
                    <a:pt x="15" y="1"/>
                    <a:pt x="16" y="0"/>
                  </a:cubicBezTo>
                  <a:cubicBezTo>
                    <a:pt x="17" y="0"/>
                    <a:pt x="18" y="0"/>
                    <a:pt x="18" y="0"/>
                  </a:cubicBezTo>
                  <a:cubicBezTo>
                    <a:pt x="19" y="0"/>
                    <a:pt x="20" y="0"/>
                    <a:pt x="21" y="1"/>
                  </a:cubicBezTo>
                  <a:lnTo>
                    <a:pt x="33" y="9"/>
                  </a:lnTo>
                  <a:lnTo>
                    <a:pt x="56" y="44"/>
                  </a:lnTo>
                  <a:cubicBezTo>
                    <a:pt x="57" y="46"/>
                    <a:pt x="57" y="47"/>
                    <a:pt x="56" y="48"/>
                  </a:cubicBezTo>
                  <a:lnTo>
                    <a:pt x="48" y="78"/>
                  </a:lnTo>
                  <a:cubicBezTo>
                    <a:pt x="48" y="79"/>
                    <a:pt x="46" y="80"/>
                    <a:pt x="45" y="81"/>
                  </a:cubicBezTo>
                  <a:cubicBezTo>
                    <a:pt x="44" y="81"/>
                    <a:pt x="44" y="81"/>
                    <a:pt x="43" y="8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 name="Freeform 86"/>
            <p:cNvSpPr>
              <a:spLocks noChangeArrowheads="1"/>
            </p:cNvSpPr>
            <p:nvPr/>
          </p:nvSpPr>
          <p:spPr bwMode="auto">
            <a:xfrm>
              <a:off x="2444750" y="2913063"/>
              <a:ext cx="9525" cy="26987"/>
            </a:xfrm>
            <a:custGeom>
              <a:avLst/>
              <a:gdLst/>
              <a:ahLst/>
              <a:cxnLst>
                <a:cxn ang="0">
                  <a:pos x="18" y="73"/>
                </a:cxn>
                <a:cxn ang="0">
                  <a:pos x="14" y="70"/>
                </a:cxn>
                <a:cxn ang="0">
                  <a:pos x="1" y="31"/>
                </a:cxn>
                <a:cxn ang="0">
                  <a:pos x="1" y="28"/>
                </a:cxn>
                <a:cxn ang="0">
                  <a:pos x="14" y="2"/>
                </a:cxn>
                <a:cxn ang="0">
                  <a:pos x="18" y="0"/>
                </a:cxn>
                <a:cxn ang="0">
                  <a:pos x="19" y="0"/>
                </a:cxn>
                <a:cxn ang="0">
                  <a:pos x="23" y="4"/>
                </a:cxn>
                <a:cxn ang="0">
                  <a:pos x="27" y="25"/>
                </a:cxn>
                <a:cxn ang="0">
                  <a:pos x="23" y="68"/>
                </a:cxn>
                <a:cxn ang="0">
                  <a:pos x="19" y="73"/>
                </a:cxn>
                <a:cxn ang="0">
                  <a:pos x="18" y="73"/>
                </a:cxn>
              </a:cxnLst>
              <a:rect l="0" t="0" r="r" b="b"/>
              <a:pathLst>
                <a:path w="28" h="74">
                  <a:moveTo>
                    <a:pt x="18" y="73"/>
                  </a:moveTo>
                  <a:cubicBezTo>
                    <a:pt x="16" y="73"/>
                    <a:pt x="14" y="72"/>
                    <a:pt x="14" y="70"/>
                  </a:cubicBezTo>
                  <a:lnTo>
                    <a:pt x="1" y="31"/>
                  </a:lnTo>
                  <a:cubicBezTo>
                    <a:pt x="0" y="30"/>
                    <a:pt x="1" y="29"/>
                    <a:pt x="1" y="28"/>
                  </a:cubicBezTo>
                  <a:lnTo>
                    <a:pt x="14" y="2"/>
                  </a:lnTo>
                  <a:cubicBezTo>
                    <a:pt x="15" y="1"/>
                    <a:pt x="16" y="0"/>
                    <a:pt x="18" y="0"/>
                  </a:cubicBezTo>
                  <a:lnTo>
                    <a:pt x="19" y="0"/>
                  </a:lnTo>
                  <a:cubicBezTo>
                    <a:pt x="21" y="0"/>
                    <a:pt x="22" y="2"/>
                    <a:pt x="23" y="4"/>
                  </a:cubicBezTo>
                  <a:lnTo>
                    <a:pt x="27" y="25"/>
                  </a:lnTo>
                  <a:lnTo>
                    <a:pt x="23" y="68"/>
                  </a:lnTo>
                  <a:cubicBezTo>
                    <a:pt x="23" y="71"/>
                    <a:pt x="21" y="72"/>
                    <a:pt x="19" y="73"/>
                  </a:cubicBezTo>
                  <a:lnTo>
                    <a:pt x="18" y="7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 name="Freeform 87"/>
            <p:cNvSpPr>
              <a:spLocks noChangeArrowheads="1"/>
            </p:cNvSpPr>
            <p:nvPr/>
          </p:nvSpPr>
          <p:spPr bwMode="auto">
            <a:xfrm>
              <a:off x="2444750" y="2913063"/>
              <a:ext cx="9525" cy="26987"/>
            </a:xfrm>
            <a:custGeom>
              <a:avLst/>
              <a:gdLst/>
              <a:ahLst/>
              <a:cxnLst>
                <a:cxn ang="0">
                  <a:pos x="18" y="73"/>
                </a:cxn>
                <a:cxn ang="0">
                  <a:pos x="14" y="70"/>
                </a:cxn>
                <a:cxn ang="0">
                  <a:pos x="1" y="31"/>
                </a:cxn>
                <a:cxn ang="0">
                  <a:pos x="1" y="28"/>
                </a:cxn>
                <a:cxn ang="0">
                  <a:pos x="14" y="2"/>
                </a:cxn>
                <a:cxn ang="0">
                  <a:pos x="18" y="0"/>
                </a:cxn>
                <a:cxn ang="0">
                  <a:pos x="19" y="0"/>
                </a:cxn>
                <a:cxn ang="0">
                  <a:pos x="23" y="4"/>
                </a:cxn>
                <a:cxn ang="0">
                  <a:pos x="27" y="25"/>
                </a:cxn>
                <a:cxn ang="0">
                  <a:pos x="23" y="68"/>
                </a:cxn>
                <a:cxn ang="0">
                  <a:pos x="19" y="73"/>
                </a:cxn>
                <a:cxn ang="0">
                  <a:pos x="18" y="73"/>
                </a:cxn>
              </a:cxnLst>
              <a:rect l="0" t="0" r="r" b="b"/>
              <a:pathLst>
                <a:path w="28" h="74">
                  <a:moveTo>
                    <a:pt x="18" y="73"/>
                  </a:moveTo>
                  <a:cubicBezTo>
                    <a:pt x="16" y="73"/>
                    <a:pt x="14" y="72"/>
                    <a:pt x="14" y="70"/>
                  </a:cubicBezTo>
                  <a:lnTo>
                    <a:pt x="1" y="31"/>
                  </a:lnTo>
                  <a:cubicBezTo>
                    <a:pt x="0" y="30"/>
                    <a:pt x="1" y="29"/>
                    <a:pt x="1" y="28"/>
                  </a:cubicBezTo>
                  <a:lnTo>
                    <a:pt x="14" y="2"/>
                  </a:lnTo>
                  <a:cubicBezTo>
                    <a:pt x="15" y="1"/>
                    <a:pt x="16" y="0"/>
                    <a:pt x="18" y="0"/>
                  </a:cubicBezTo>
                  <a:lnTo>
                    <a:pt x="19" y="0"/>
                  </a:lnTo>
                  <a:cubicBezTo>
                    <a:pt x="21" y="0"/>
                    <a:pt x="22" y="2"/>
                    <a:pt x="23" y="4"/>
                  </a:cubicBezTo>
                  <a:lnTo>
                    <a:pt x="27" y="25"/>
                  </a:lnTo>
                  <a:lnTo>
                    <a:pt x="23" y="68"/>
                  </a:lnTo>
                  <a:cubicBezTo>
                    <a:pt x="23" y="71"/>
                    <a:pt x="21" y="72"/>
                    <a:pt x="19" y="73"/>
                  </a:cubicBezTo>
                  <a:lnTo>
                    <a:pt x="18" y="7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 name="Freeform 88"/>
            <p:cNvSpPr>
              <a:spLocks noChangeArrowheads="1"/>
            </p:cNvSpPr>
            <p:nvPr/>
          </p:nvSpPr>
          <p:spPr bwMode="auto">
            <a:xfrm>
              <a:off x="2533650" y="3036888"/>
              <a:ext cx="19050" cy="20637"/>
            </a:xfrm>
            <a:custGeom>
              <a:avLst/>
              <a:gdLst/>
              <a:ahLst/>
              <a:cxnLst>
                <a:cxn ang="0">
                  <a:pos x="26" y="51"/>
                </a:cxn>
                <a:cxn ang="0">
                  <a:pos x="26" y="28"/>
                </a:cxn>
                <a:cxn ang="0">
                  <a:pos x="2" y="8"/>
                </a:cxn>
                <a:cxn ang="0">
                  <a:pos x="1" y="2"/>
                </a:cxn>
                <a:cxn ang="0">
                  <a:pos x="5" y="0"/>
                </a:cxn>
                <a:cxn ang="0">
                  <a:pos x="48" y="8"/>
                </a:cxn>
                <a:cxn ang="0">
                  <a:pos x="51" y="11"/>
                </a:cxn>
                <a:cxn ang="0">
                  <a:pos x="52" y="15"/>
                </a:cxn>
                <a:cxn ang="0">
                  <a:pos x="35" y="53"/>
                </a:cxn>
                <a:cxn ang="0">
                  <a:pos x="30" y="56"/>
                </a:cxn>
                <a:cxn ang="0">
                  <a:pos x="29" y="55"/>
                </a:cxn>
                <a:cxn ang="0">
                  <a:pos x="26" y="51"/>
                </a:cxn>
              </a:cxnLst>
              <a:rect l="0" t="0" r="r" b="b"/>
              <a:pathLst>
                <a:path w="53" h="57">
                  <a:moveTo>
                    <a:pt x="26" y="51"/>
                  </a:moveTo>
                  <a:lnTo>
                    <a:pt x="26" y="28"/>
                  </a:lnTo>
                  <a:lnTo>
                    <a:pt x="2" y="8"/>
                  </a:lnTo>
                  <a:cubicBezTo>
                    <a:pt x="0" y="7"/>
                    <a:pt x="0" y="4"/>
                    <a:pt x="1" y="2"/>
                  </a:cubicBezTo>
                  <a:cubicBezTo>
                    <a:pt x="2" y="1"/>
                    <a:pt x="3" y="0"/>
                    <a:pt x="5" y="0"/>
                  </a:cubicBezTo>
                  <a:lnTo>
                    <a:pt x="48" y="8"/>
                  </a:lnTo>
                  <a:cubicBezTo>
                    <a:pt x="50" y="8"/>
                    <a:pt x="51" y="9"/>
                    <a:pt x="51" y="11"/>
                  </a:cubicBezTo>
                  <a:cubicBezTo>
                    <a:pt x="52" y="12"/>
                    <a:pt x="52" y="13"/>
                    <a:pt x="52" y="15"/>
                  </a:cubicBezTo>
                  <a:lnTo>
                    <a:pt x="35" y="53"/>
                  </a:lnTo>
                  <a:cubicBezTo>
                    <a:pt x="34" y="54"/>
                    <a:pt x="32" y="56"/>
                    <a:pt x="30" y="56"/>
                  </a:cubicBezTo>
                  <a:cubicBezTo>
                    <a:pt x="30" y="56"/>
                    <a:pt x="30" y="55"/>
                    <a:pt x="29" y="55"/>
                  </a:cubicBezTo>
                  <a:cubicBezTo>
                    <a:pt x="27" y="55"/>
                    <a:pt x="26" y="53"/>
                    <a:pt x="26" y="5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 name="Freeform 89"/>
            <p:cNvSpPr>
              <a:spLocks noChangeArrowheads="1"/>
            </p:cNvSpPr>
            <p:nvPr/>
          </p:nvSpPr>
          <p:spPr bwMode="auto">
            <a:xfrm>
              <a:off x="2533650" y="3036888"/>
              <a:ext cx="19050" cy="20637"/>
            </a:xfrm>
            <a:custGeom>
              <a:avLst/>
              <a:gdLst/>
              <a:ahLst/>
              <a:cxnLst>
                <a:cxn ang="0">
                  <a:pos x="29" y="55"/>
                </a:cxn>
                <a:cxn ang="0">
                  <a:pos x="26" y="51"/>
                </a:cxn>
                <a:cxn ang="0">
                  <a:pos x="26" y="28"/>
                </a:cxn>
                <a:cxn ang="0">
                  <a:pos x="2" y="8"/>
                </a:cxn>
                <a:cxn ang="0">
                  <a:pos x="1" y="2"/>
                </a:cxn>
                <a:cxn ang="0">
                  <a:pos x="5" y="0"/>
                </a:cxn>
                <a:cxn ang="0">
                  <a:pos x="48" y="8"/>
                </a:cxn>
                <a:cxn ang="0">
                  <a:pos x="51" y="11"/>
                </a:cxn>
                <a:cxn ang="0">
                  <a:pos x="52" y="15"/>
                </a:cxn>
                <a:cxn ang="0">
                  <a:pos x="35" y="53"/>
                </a:cxn>
                <a:cxn ang="0">
                  <a:pos x="30" y="56"/>
                </a:cxn>
                <a:cxn ang="0">
                  <a:pos x="29" y="55"/>
                </a:cxn>
              </a:cxnLst>
              <a:rect l="0" t="0" r="r" b="b"/>
              <a:pathLst>
                <a:path w="53" h="57">
                  <a:moveTo>
                    <a:pt x="29" y="55"/>
                  </a:moveTo>
                  <a:cubicBezTo>
                    <a:pt x="27" y="55"/>
                    <a:pt x="26" y="53"/>
                    <a:pt x="26" y="51"/>
                  </a:cubicBezTo>
                  <a:lnTo>
                    <a:pt x="26" y="28"/>
                  </a:lnTo>
                  <a:lnTo>
                    <a:pt x="2" y="8"/>
                  </a:lnTo>
                  <a:cubicBezTo>
                    <a:pt x="0" y="7"/>
                    <a:pt x="0" y="4"/>
                    <a:pt x="1" y="2"/>
                  </a:cubicBezTo>
                  <a:cubicBezTo>
                    <a:pt x="2" y="1"/>
                    <a:pt x="3" y="0"/>
                    <a:pt x="5" y="0"/>
                  </a:cubicBezTo>
                  <a:lnTo>
                    <a:pt x="48" y="8"/>
                  </a:lnTo>
                  <a:cubicBezTo>
                    <a:pt x="50" y="8"/>
                    <a:pt x="51" y="9"/>
                    <a:pt x="51" y="11"/>
                  </a:cubicBezTo>
                  <a:cubicBezTo>
                    <a:pt x="52" y="12"/>
                    <a:pt x="52" y="13"/>
                    <a:pt x="52" y="15"/>
                  </a:cubicBezTo>
                  <a:lnTo>
                    <a:pt x="35" y="53"/>
                  </a:lnTo>
                  <a:cubicBezTo>
                    <a:pt x="34" y="54"/>
                    <a:pt x="32" y="56"/>
                    <a:pt x="30" y="56"/>
                  </a:cubicBezTo>
                  <a:cubicBezTo>
                    <a:pt x="30" y="56"/>
                    <a:pt x="30" y="55"/>
                    <a:pt x="29" y="5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 name="Freeform 90"/>
            <p:cNvSpPr>
              <a:spLocks noChangeArrowheads="1"/>
            </p:cNvSpPr>
            <p:nvPr/>
          </p:nvSpPr>
          <p:spPr bwMode="auto">
            <a:xfrm>
              <a:off x="2603500" y="4405313"/>
              <a:ext cx="558800" cy="831850"/>
            </a:xfrm>
            <a:custGeom>
              <a:avLst/>
              <a:gdLst/>
              <a:ahLst/>
              <a:cxnLst>
                <a:cxn ang="0">
                  <a:pos x="62" y="2299"/>
                </a:cxn>
                <a:cxn ang="0">
                  <a:pos x="21" y="2277"/>
                </a:cxn>
                <a:cxn ang="0">
                  <a:pos x="21" y="2217"/>
                </a:cxn>
                <a:cxn ang="0">
                  <a:pos x="34" y="1984"/>
                </a:cxn>
                <a:cxn ang="0">
                  <a:pos x="26" y="1789"/>
                </a:cxn>
                <a:cxn ang="0">
                  <a:pos x="85" y="1623"/>
                </a:cxn>
                <a:cxn ang="0">
                  <a:pos x="81" y="1430"/>
                </a:cxn>
                <a:cxn ang="0">
                  <a:pos x="127" y="1282"/>
                </a:cxn>
                <a:cxn ang="0">
                  <a:pos x="174" y="1093"/>
                </a:cxn>
                <a:cxn ang="0">
                  <a:pos x="132" y="884"/>
                </a:cxn>
                <a:cxn ang="0">
                  <a:pos x="182" y="698"/>
                </a:cxn>
                <a:cxn ang="0">
                  <a:pos x="251" y="539"/>
                </a:cxn>
                <a:cxn ang="0">
                  <a:pos x="313" y="468"/>
                </a:cxn>
                <a:cxn ang="0">
                  <a:pos x="301" y="249"/>
                </a:cxn>
                <a:cxn ang="0">
                  <a:pos x="403" y="200"/>
                </a:cxn>
                <a:cxn ang="0">
                  <a:pos x="407" y="99"/>
                </a:cxn>
                <a:cxn ang="0">
                  <a:pos x="493" y="1"/>
                </a:cxn>
                <a:cxn ang="0">
                  <a:pos x="500" y="1"/>
                </a:cxn>
                <a:cxn ang="0">
                  <a:pos x="620" y="42"/>
                </a:cxn>
                <a:cxn ang="0">
                  <a:pos x="670" y="24"/>
                </a:cxn>
                <a:cxn ang="0">
                  <a:pos x="751" y="25"/>
                </a:cxn>
                <a:cxn ang="0">
                  <a:pos x="815" y="51"/>
                </a:cxn>
                <a:cxn ang="0">
                  <a:pos x="1044" y="216"/>
                </a:cxn>
                <a:cxn ang="0">
                  <a:pos x="1208" y="354"/>
                </a:cxn>
                <a:cxn ang="0">
                  <a:pos x="1153" y="455"/>
                </a:cxn>
                <a:cxn ang="0">
                  <a:pos x="1230" y="495"/>
                </a:cxn>
                <a:cxn ang="0">
                  <a:pos x="1377" y="508"/>
                </a:cxn>
                <a:cxn ang="0">
                  <a:pos x="1466" y="346"/>
                </a:cxn>
                <a:cxn ang="0">
                  <a:pos x="1471" y="342"/>
                </a:cxn>
                <a:cxn ang="0">
                  <a:pos x="1530" y="354"/>
                </a:cxn>
                <a:cxn ang="0">
                  <a:pos x="1539" y="488"/>
                </a:cxn>
                <a:cxn ang="0">
                  <a:pos x="1460" y="529"/>
                </a:cxn>
                <a:cxn ang="0">
                  <a:pos x="1195" y="815"/>
                </a:cxn>
                <a:cxn ang="0">
                  <a:pos x="1149" y="1156"/>
                </a:cxn>
                <a:cxn ang="0">
                  <a:pos x="1249" y="1283"/>
                </a:cxn>
                <a:cxn ang="0">
                  <a:pos x="1234" y="1341"/>
                </a:cxn>
                <a:cxn ang="0">
                  <a:pos x="1289" y="1383"/>
                </a:cxn>
                <a:cxn ang="0">
                  <a:pos x="1285" y="1469"/>
                </a:cxn>
                <a:cxn ang="0">
                  <a:pos x="1217" y="1584"/>
                </a:cxn>
                <a:cxn ang="0">
                  <a:pos x="929" y="1672"/>
                </a:cxn>
                <a:cxn ang="0">
                  <a:pos x="827" y="1655"/>
                </a:cxn>
                <a:cxn ang="0">
                  <a:pos x="847" y="1719"/>
                </a:cxn>
                <a:cxn ang="0">
                  <a:pos x="818" y="1788"/>
                </a:cxn>
                <a:cxn ang="0">
                  <a:pos x="826" y="1860"/>
                </a:cxn>
                <a:cxn ang="0">
                  <a:pos x="761" y="1912"/>
                </a:cxn>
                <a:cxn ang="0">
                  <a:pos x="603" y="1859"/>
                </a:cxn>
                <a:cxn ang="0">
                  <a:pos x="603" y="2005"/>
                </a:cxn>
                <a:cxn ang="0">
                  <a:pos x="665" y="2040"/>
                </a:cxn>
                <a:cxn ang="0">
                  <a:pos x="653" y="2021"/>
                </a:cxn>
                <a:cxn ang="0">
                  <a:pos x="698" y="2001"/>
                </a:cxn>
                <a:cxn ang="0">
                  <a:pos x="702" y="2001"/>
                </a:cxn>
                <a:cxn ang="0">
                  <a:pos x="713" y="2025"/>
                </a:cxn>
                <a:cxn ang="0">
                  <a:pos x="708" y="2092"/>
                </a:cxn>
                <a:cxn ang="0">
                  <a:pos x="661" y="2095"/>
                </a:cxn>
                <a:cxn ang="0">
                  <a:pos x="635" y="2067"/>
                </a:cxn>
                <a:cxn ang="0">
                  <a:pos x="660" y="2116"/>
                </a:cxn>
                <a:cxn ang="0">
                  <a:pos x="659" y="2124"/>
                </a:cxn>
                <a:cxn ang="0">
                  <a:pos x="585" y="2182"/>
                </a:cxn>
                <a:cxn ang="0">
                  <a:pos x="558" y="2308"/>
                </a:cxn>
              </a:cxnLst>
              <a:rect l="0" t="0" r="r" b="b"/>
              <a:pathLst>
                <a:path w="1552" h="2309">
                  <a:moveTo>
                    <a:pt x="34" y="2308"/>
                  </a:moveTo>
                  <a:lnTo>
                    <a:pt x="62" y="2299"/>
                  </a:lnTo>
                  <a:lnTo>
                    <a:pt x="57" y="2285"/>
                  </a:lnTo>
                  <a:lnTo>
                    <a:pt x="21" y="2277"/>
                  </a:lnTo>
                  <a:cubicBezTo>
                    <a:pt x="19" y="2276"/>
                    <a:pt x="17" y="2274"/>
                    <a:pt x="17" y="2272"/>
                  </a:cubicBezTo>
                  <a:lnTo>
                    <a:pt x="21" y="2217"/>
                  </a:lnTo>
                  <a:lnTo>
                    <a:pt x="0" y="2061"/>
                  </a:lnTo>
                  <a:lnTo>
                    <a:pt x="34" y="1984"/>
                  </a:lnTo>
                  <a:lnTo>
                    <a:pt x="13" y="1927"/>
                  </a:lnTo>
                  <a:lnTo>
                    <a:pt x="26" y="1789"/>
                  </a:lnTo>
                  <a:lnTo>
                    <a:pt x="60" y="1670"/>
                  </a:lnTo>
                  <a:lnTo>
                    <a:pt x="85" y="1623"/>
                  </a:lnTo>
                  <a:lnTo>
                    <a:pt x="76" y="1545"/>
                  </a:lnTo>
                  <a:lnTo>
                    <a:pt x="81" y="1430"/>
                  </a:lnTo>
                  <a:lnTo>
                    <a:pt x="131" y="1365"/>
                  </a:lnTo>
                  <a:lnTo>
                    <a:pt x="127" y="1282"/>
                  </a:lnTo>
                  <a:lnTo>
                    <a:pt x="187" y="1170"/>
                  </a:lnTo>
                  <a:lnTo>
                    <a:pt x="174" y="1093"/>
                  </a:lnTo>
                  <a:lnTo>
                    <a:pt x="127" y="928"/>
                  </a:lnTo>
                  <a:lnTo>
                    <a:pt x="132" y="884"/>
                  </a:lnTo>
                  <a:lnTo>
                    <a:pt x="174" y="789"/>
                  </a:lnTo>
                  <a:lnTo>
                    <a:pt x="182" y="698"/>
                  </a:lnTo>
                  <a:lnTo>
                    <a:pt x="212" y="583"/>
                  </a:lnTo>
                  <a:lnTo>
                    <a:pt x="251" y="539"/>
                  </a:lnTo>
                  <a:lnTo>
                    <a:pt x="267" y="498"/>
                  </a:lnTo>
                  <a:lnTo>
                    <a:pt x="313" y="468"/>
                  </a:lnTo>
                  <a:lnTo>
                    <a:pt x="293" y="344"/>
                  </a:lnTo>
                  <a:lnTo>
                    <a:pt x="301" y="249"/>
                  </a:lnTo>
                  <a:cubicBezTo>
                    <a:pt x="301" y="248"/>
                    <a:pt x="302" y="246"/>
                    <a:pt x="304" y="246"/>
                  </a:cubicBezTo>
                  <a:lnTo>
                    <a:pt x="403" y="200"/>
                  </a:lnTo>
                  <a:lnTo>
                    <a:pt x="420" y="134"/>
                  </a:lnTo>
                  <a:lnTo>
                    <a:pt x="407" y="99"/>
                  </a:lnTo>
                  <a:cubicBezTo>
                    <a:pt x="407" y="97"/>
                    <a:pt x="407" y="96"/>
                    <a:pt x="408" y="94"/>
                  </a:cubicBezTo>
                  <a:lnTo>
                    <a:pt x="493" y="1"/>
                  </a:lnTo>
                  <a:cubicBezTo>
                    <a:pt x="494" y="0"/>
                    <a:pt x="495" y="0"/>
                    <a:pt x="496" y="0"/>
                  </a:cubicBezTo>
                  <a:cubicBezTo>
                    <a:pt x="497" y="0"/>
                    <a:pt x="499" y="0"/>
                    <a:pt x="500" y="1"/>
                  </a:cubicBezTo>
                  <a:lnTo>
                    <a:pt x="529" y="31"/>
                  </a:lnTo>
                  <a:lnTo>
                    <a:pt x="620" y="42"/>
                  </a:lnTo>
                  <a:lnTo>
                    <a:pt x="651" y="72"/>
                  </a:lnTo>
                  <a:lnTo>
                    <a:pt x="670" y="24"/>
                  </a:lnTo>
                  <a:cubicBezTo>
                    <a:pt x="671" y="22"/>
                    <a:pt x="672" y="21"/>
                    <a:pt x="674" y="21"/>
                  </a:cubicBezTo>
                  <a:lnTo>
                    <a:pt x="751" y="25"/>
                  </a:lnTo>
                  <a:lnTo>
                    <a:pt x="791" y="47"/>
                  </a:lnTo>
                  <a:lnTo>
                    <a:pt x="815" y="51"/>
                  </a:lnTo>
                  <a:lnTo>
                    <a:pt x="945" y="196"/>
                  </a:lnTo>
                  <a:lnTo>
                    <a:pt x="1044" y="216"/>
                  </a:lnTo>
                  <a:lnTo>
                    <a:pt x="1198" y="322"/>
                  </a:lnTo>
                  <a:lnTo>
                    <a:pt x="1208" y="354"/>
                  </a:lnTo>
                  <a:lnTo>
                    <a:pt x="1208" y="358"/>
                  </a:lnTo>
                  <a:lnTo>
                    <a:pt x="1153" y="455"/>
                  </a:lnTo>
                  <a:lnTo>
                    <a:pt x="1153" y="483"/>
                  </a:lnTo>
                  <a:lnTo>
                    <a:pt x="1230" y="495"/>
                  </a:lnTo>
                  <a:lnTo>
                    <a:pt x="1282" y="521"/>
                  </a:lnTo>
                  <a:lnTo>
                    <a:pt x="1377" y="508"/>
                  </a:lnTo>
                  <a:lnTo>
                    <a:pt x="1455" y="428"/>
                  </a:lnTo>
                  <a:lnTo>
                    <a:pt x="1466" y="346"/>
                  </a:lnTo>
                  <a:cubicBezTo>
                    <a:pt x="1466" y="345"/>
                    <a:pt x="1467" y="344"/>
                    <a:pt x="1468" y="343"/>
                  </a:cubicBezTo>
                  <a:cubicBezTo>
                    <a:pt x="1469" y="343"/>
                    <a:pt x="1470" y="342"/>
                    <a:pt x="1471" y="342"/>
                  </a:cubicBezTo>
                  <a:lnTo>
                    <a:pt x="1526" y="351"/>
                  </a:lnTo>
                  <a:cubicBezTo>
                    <a:pt x="1528" y="351"/>
                    <a:pt x="1529" y="352"/>
                    <a:pt x="1530" y="354"/>
                  </a:cubicBezTo>
                  <a:lnTo>
                    <a:pt x="1551" y="413"/>
                  </a:lnTo>
                  <a:lnTo>
                    <a:pt x="1539" y="488"/>
                  </a:lnTo>
                  <a:cubicBezTo>
                    <a:pt x="1539" y="489"/>
                    <a:pt x="1538" y="490"/>
                    <a:pt x="1536" y="491"/>
                  </a:cubicBezTo>
                  <a:lnTo>
                    <a:pt x="1460" y="529"/>
                  </a:lnTo>
                  <a:lnTo>
                    <a:pt x="1216" y="786"/>
                  </a:lnTo>
                  <a:lnTo>
                    <a:pt x="1195" y="815"/>
                  </a:lnTo>
                  <a:lnTo>
                    <a:pt x="1175" y="1046"/>
                  </a:lnTo>
                  <a:lnTo>
                    <a:pt x="1149" y="1156"/>
                  </a:lnTo>
                  <a:lnTo>
                    <a:pt x="1153" y="1212"/>
                  </a:lnTo>
                  <a:lnTo>
                    <a:pt x="1249" y="1283"/>
                  </a:lnTo>
                  <a:cubicBezTo>
                    <a:pt x="1250" y="1284"/>
                    <a:pt x="1251" y="1286"/>
                    <a:pt x="1250" y="1288"/>
                  </a:cubicBezTo>
                  <a:lnTo>
                    <a:pt x="1234" y="1341"/>
                  </a:lnTo>
                  <a:lnTo>
                    <a:pt x="1257" y="1379"/>
                  </a:lnTo>
                  <a:lnTo>
                    <a:pt x="1289" y="1383"/>
                  </a:lnTo>
                  <a:cubicBezTo>
                    <a:pt x="1292" y="1384"/>
                    <a:pt x="1293" y="1386"/>
                    <a:pt x="1293" y="1388"/>
                  </a:cubicBezTo>
                  <a:lnTo>
                    <a:pt x="1285" y="1469"/>
                  </a:lnTo>
                  <a:lnTo>
                    <a:pt x="1229" y="1547"/>
                  </a:lnTo>
                  <a:lnTo>
                    <a:pt x="1217" y="1584"/>
                  </a:lnTo>
                  <a:lnTo>
                    <a:pt x="1177" y="1616"/>
                  </a:lnTo>
                  <a:lnTo>
                    <a:pt x="929" y="1672"/>
                  </a:lnTo>
                  <a:lnTo>
                    <a:pt x="843" y="1668"/>
                  </a:lnTo>
                  <a:lnTo>
                    <a:pt x="827" y="1655"/>
                  </a:lnTo>
                  <a:lnTo>
                    <a:pt x="827" y="1697"/>
                  </a:lnTo>
                  <a:lnTo>
                    <a:pt x="847" y="1719"/>
                  </a:lnTo>
                  <a:cubicBezTo>
                    <a:pt x="848" y="1721"/>
                    <a:pt x="849" y="1723"/>
                    <a:pt x="848" y="1724"/>
                  </a:cubicBezTo>
                  <a:lnTo>
                    <a:pt x="818" y="1788"/>
                  </a:lnTo>
                  <a:lnTo>
                    <a:pt x="827" y="1857"/>
                  </a:lnTo>
                  <a:cubicBezTo>
                    <a:pt x="827" y="1858"/>
                    <a:pt x="827" y="1859"/>
                    <a:pt x="826" y="1860"/>
                  </a:cubicBezTo>
                  <a:lnTo>
                    <a:pt x="809" y="1886"/>
                  </a:lnTo>
                  <a:lnTo>
                    <a:pt x="761" y="1912"/>
                  </a:lnTo>
                  <a:lnTo>
                    <a:pt x="700" y="1913"/>
                  </a:lnTo>
                  <a:lnTo>
                    <a:pt x="603" y="1859"/>
                  </a:lnTo>
                  <a:lnTo>
                    <a:pt x="586" y="1876"/>
                  </a:lnTo>
                  <a:lnTo>
                    <a:pt x="603" y="2005"/>
                  </a:lnTo>
                  <a:lnTo>
                    <a:pt x="642" y="2043"/>
                  </a:lnTo>
                  <a:lnTo>
                    <a:pt x="665" y="2040"/>
                  </a:lnTo>
                  <a:lnTo>
                    <a:pt x="654" y="2026"/>
                  </a:lnTo>
                  <a:cubicBezTo>
                    <a:pt x="653" y="2024"/>
                    <a:pt x="652" y="2023"/>
                    <a:pt x="653" y="2021"/>
                  </a:cubicBezTo>
                  <a:cubicBezTo>
                    <a:pt x="653" y="2020"/>
                    <a:pt x="654" y="2019"/>
                    <a:pt x="656" y="2018"/>
                  </a:cubicBezTo>
                  <a:lnTo>
                    <a:pt x="698" y="2001"/>
                  </a:lnTo>
                  <a:lnTo>
                    <a:pt x="700" y="2001"/>
                  </a:lnTo>
                  <a:lnTo>
                    <a:pt x="702" y="2001"/>
                  </a:lnTo>
                  <a:cubicBezTo>
                    <a:pt x="703" y="2002"/>
                    <a:pt x="704" y="2003"/>
                    <a:pt x="704" y="2004"/>
                  </a:cubicBezTo>
                  <a:lnTo>
                    <a:pt x="713" y="2025"/>
                  </a:lnTo>
                  <a:lnTo>
                    <a:pt x="721" y="2064"/>
                  </a:lnTo>
                  <a:lnTo>
                    <a:pt x="708" y="2092"/>
                  </a:lnTo>
                  <a:cubicBezTo>
                    <a:pt x="707" y="2094"/>
                    <a:pt x="706" y="2095"/>
                    <a:pt x="704" y="2095"/>
                  </a:cubicBezTo>
                  <a:lnTo>
                    <a:pt x="661" y="2095"/>
                  </a:lnTo>
                  <a:cubicBezTo>
                    <a:pt x="660" y="2095"/>
                    <a:pt x="659" y="2094"/>
                    <a:pt x="658" y="2093"/>
                  </a:cubicBezTo>
                  <a:lnTo>
                    <a:pt x="635" y="2067"/>
                  </a:lnTo>
                  <a:lnTo>
                    <a:pt x="607" y="2082"/>
                  </a:lnTo>
                  <a:lnTo>
                    <a:pt x="660" y="2116"/>
                  </a:lnTo>
                  <a:cubicBezTo>
                    <a:pt x="661" y="2117"/>
                    <a:pt x="662" y="2119"/>
                    <a:pt x="662" y="2120"/>
                  </a:cubicBezTo>
                  <a:cubicBezTo>
                    <a:pt x="662" y="2122"/>
                    <a:pt x="661" y="2123"/>
                    <a:pt x="659" y="2124"/>
                  </a:cubicBezTo>
                  <a:lnTo>
                    <a:pt x="604" y="2150"/>
                  </a:lnTo>
                  <a:lnTo>
                    <a:pt x="585" y="2182"/>
                  </a:lnTo>
                  <a:lnTo>
                    <a:pt x="586" y="2272"/>
                  </a:lnTo>
                  <a:lnTo>
                    <a:pt x="558" y="2308"/>
                  </a:lnTo>
                  <a:lnTo>
                    <a:pt x="34" y="2308"/>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 name="Freeform 91"/>
            <p:cNvSpPr>
              <a:spLocks noChangeArrowheads="1"/>
            </p:cNvSpPr>
            <p:nvPr/>
          </p:nvSpPr>
          <p:spPr bwMode="auto">
            <a:xfrm>
              <a:off x="2603500" y="4405313"/>
              <a:ext cx="558800" cy="831850"/>
            </a:xfrm>
            <a:custGeom>
              <a:avLst/>
              <a:gdLst/>
              <a:ahLst/>
              <a:cxnLst>
                <a:cxn ang="0">
                  <a:pos x="62" y="2299"/>
                </a:cxn>
                <a:cxn ang="0">
                  <a:pos x="21" y="2277"/>
                </a:cxn>
                <a:cxn ang="0">
                  <a:pos x="21" y="2217"/>
                </a:cxn>
                <a:cxn ang="0">
                  <a:pos x="34" y="1984"/>
                </a:cxn>
                <a:cxn ang="0">
                  <a:pos x="26" y="1789"/>
                </a:cxn>
                <a:cxn ang="0">
                  <a:pos x="85" y="1623"/>
                </a:cxn>
                <a:cxn ang="0">
                  <a:pos x="81" y="1430"/>
                </a:cxn>
                <a:cxn ang="0">
                  <a:pos x="127" y="1282"/>
                </a:cxn>
                <a:cxn ang="0">
                  <a:pos x="174" y="1093"/>
                </a:cxn>
                <a:cxn ang="0">
                  <a:pos x="132" y="884"/>
                </a:cxn>
                <a:cxn ang="0">
                  <a:pos x="182" y="698"/>
                </a:cxn>
                <a:cxn ang="0">
                  <a:pos x="251" y="539"/>
                </a:cxn>
                <a:cxn ang="0">
                  <a:pos x="313" y="468"/>
                </a:cxn>
                <a:cxn ang="0">
                  <a:pos x="301" y="249"/>
                </a:cxn>
                <a:cxn ang="0">
                  <a:pos x="403" y="200"/>
                </a:cxn>
                <a:cxn ang="0">
                  <a:pos x="407" y="99"/>
                </a:cxn>
                <a:cxn ang="0">
                  <a:pos x="493" y="1"/>
                </a:cxn>
                <a:cxn ang="0">
                  <a:pos x="500" y="1"/>
                </a:cxn>
                <a:cxn ang="0">
                  <a:pos x="620" y="42"/>
                </a:cxn>
                <a:cxn ang="0">
                  <a:pos x="670" y="24"/>
                </a:cxn>
                <a:cxn ang="0">
                  <a:pos x="751" y="25"/>
                </a:cxn>
                <a:cxn ang="0">
                  <a:pos x="815" y="51"/>
                </a:cxn>
                <a:cxn ang="0">
                  <a:pos x="1044" y="216"/>
                </a:cxn>
                <a:cxn ang="0">
                  <a:pos x="1208" y="354"/>
                </a:cxn>
                <a:cxn ang="0">
                  <a:pos x="1153" y="455"/>
                </a:cxn>
                <a:cxn ang="0">
                  <a:pos x="1230" y="495"/>
                </a:cxn>
                <a:cxn ang="0">
                  <a:pos x="1377" y="508"/>
                </a:cxn>
                <a:cxn ang="0">
                  <a:pos x="1466" y="346"/>
                </a:cxn>
                <a:cxn ang="0">
                  <a:pos x="1471" y="342"/>
                </a:cxn>
                <a:cxn ang="0">
                  <a:pos x="1530" y="354"/>
                </a:cxn>
                <a:cxn ang="0">
                  <a:pos x="1539" y="488"/>
                </a:cxn>
                <a:cxn ang="0">
                  <a:pos x="1460" y="529"/>
                </a:cxn>
                <a:cxn ang="0">
                  <a:pos x="1195" y="815"/>
                </a:cxn>
                <a:cxn ang="0">
                  <a:pos x="1149" y="1156"/>
                </a:cxn>
                <a:cxn ang="0">
                  <a:pos x="1249" y="1283"/>
                </a:cxn>
                <a:cxn ang="0">
                  <a:pos x="1234" y="1341"/>
                </a:cxn>
                <a:cxn ang="0">
                  <a:pos x="1289" y="1383"/>
                </a:cxn>
                <a:cxn ang="0">
                  <a:pos x="1285" y="1469"/>
                </a:cxn>
                <a:cxn ang="0">
                  <a:pos x="1217" y="1584"/>
                </a:cxn>
                <a:cxn ang="0">
                  <a:pos x="929" y="1672"/>
                </a:cxn>
                <a:cxn ang="0">
                  <a:pos x="827" y="1655"/>
                </a:cxn>
                <a:cxn ang="0">
                  <a:pos x="847" y="1719"/>
                </a:cxn>
                <a:cxn ang="0">
                  <a:pos x="818" y="1788"/>
                </a:cxn>
                <a:cxn ang="0">
                  <a:pos x="826" y="1860"/>
                </a:cxn>
                <a:cxn ang="0">
                  <a:pos x="761" y="1912"/>
                </a:cxn>
                <a:cxn ang="0">
                  <a:pos x="603" y="1859"/>
                </a:cxn>
                <a:cxn ang="0">
                  <a:pos x="603" y="2005"/>
                </a:cxn>
                <a:cxn ang="0">
                  <a:pos x="665" y="2040"/>
                </a:cxn>
                <a:cxn ang="0">
                  <a:pos x="653" y="2021"/>
                </a:cxn>
                <a:cxn ang="0">
                  <a:pos x="698" y="2001"/>
                </a:cxn>
                <a:cxn ang="0">
                  <a:pos x="702" y="2001"/>
                </a:cxn>
                <a:cxn ang="0">
                  <a:pos x="713" y="2025"/>
                </a:cxn>
                <a:cxn ang="0">
                  <a:pos x="708" y="2092"/>
                </a:cxn>
                <a:cxn ang="0">
                  <a:pos x="661" y="2095"/>
                </a:cxn>
                <a:cxn ang="0">
                  <a:pos x="635" y="2067"/>
                </a:cxn>
                <a:cxn ang="0">
                  <a:pos x="660" y="2116"/>
                </a:cxn>
                <a:cxn ang="0">
                  <a:pos x="659" y="2124"/>
                </a:cxn>
                <a:cxn ang="0">
                  <a:pos x="585" y="2182"/>
                </a:cxn>
                <a:cxn ang="0">
                  <a:pos x="558" y="2308"/>
                </a:cxn>
              </a:cxnLst>
              <a:rect l="0" t="0" r="r" b="b"/>
              <a:pathLst>
                <a:path w="1552" h="2309">
                  <a:moveTo>
                    <a:pt x="34" y="2308"/>
                  </a:moveTo>
                  <a:lnTo>
                    <a:pt x="62" y="2299"/>
                  </a:lnTo>
                  <a:lnTo>
                    <a:pt x="57" y="2285"/>
                  </a:lnTo>
                  <a:lnTo>
                    <a:pt x="21" y="2277"/>
                  </a:lnTo>
                  <a:cubicBezTo>
                    <a:pt x="19" y="2276"/>
                    <a:pt x="17" y="2274"/>
                    <a:pt x="17" y="2272"/>
                  </a:cubicBezTo>
                  <a:lnTo>
                    <a:pt x="21" y="2217"/>
                  </a:lnTo>
                  <a:lnTo>
                    <a:pt x="0" y="2061"/>
                  </a:lnTo>
                  <a:lnTo>
                    <a:pt x="34" y="1984"/>
                  </a:lnTo>
                  <a:lnTo>
                    <a:pt x="13" y="1927"/>
                  </a:lnTo>
                  <a:lnTo>
                    <a:pt x="26" y="1789"/>
                  </a:lnTo>
                  <a:lnTo>
                    <a:pt x="60" y="1670"/>
                  </a:lnTo>
                  <a:lnTo>
                    <a:pt x="85" y="1623"/>
                  </a:lnTo>
                  <a:lnTo>
                    <a:pt x="76" y="1545"/>
                  </a:lnTo>
                  <a:lnTo>
                    <a:pt x="81" y="1430"/>
                  </a:lnTo>
                  <a:lnTo>
                    <a:pt x="131" y="1365"/>
                  </a:lnTo>
                  <a:lnTo>
                    <a:pt x="127" y="1282"/>
                  </a:lnTo>
                  <a:lnTo>
                    <a:pt x="187" y="1170"/>
                  </a:lnTo>
                  <a:lnTo>
                    <a:pt x="174" y="1093"/>
                  </a:lnTo>
                  <a:lnTo>
                    <a:pt x="127" y="928"/>
                  </a:lnTo>
                  <a:lnTo>
                    <a:pt x="132" y="884"/>
                  </a:lnTo>
                  <a:lnTo>
                    <a:pt x="174" y="789"/>
                  </a:lnTo>
                  <a:lnTo>
                    <a:pt x="182" y="698"/>
                  </a:lnTo>
                  <a:lnTo>
                    <a:pt x="212" y="583"/>
                  </a:lnTo>
                  <a:lnTo>
                    <a:pt x="251" y="539"/>
                  </a:lnTo>
                  <a:lnTo>
                    <a:pt x="267" y="498"/>
                  </a:lnTo>
                  <a:lnTo>
                    <a:pt x="313" y="468"/>
                  </a:lnTo>
                  <a:lnTo>
                    <a:pt x="293" y="344"/>
                  </a:lnTo>
                  <a:lnTo>
                    <a:pt x="301" y="249"/>
                  </a:lnTo>
                  <a:cubicBezTo>
                    <a:pt x="301" y="248"/>
                    <a:pt x="302" y="246"/>
                    <a:pt x="304" y="246"/>
                  </a:cubicBezTo>
                  <a:lnTo>
                    <a:pt x="403" y="200"/>
                  </a:lnTo>
                  <a:lnTo>
                    <a:pt x="420" y="134"/>
                  </a:lnTo>
                  <a:lnTo>
                    <a:pt x="407" y="99"/>
                  </a:lnTo>
                  <a:cubicBezTo>
                    <a:pt x="407" y="97"/>
                    <a:pt x="407" y="96"/>
                    <a:pt x="408" y="94"/>
                  </a:cubicBezTo>
                  <a:lnTo>
                    <a:pt x="493" y="1"/>
                  </a:lnTo>
                  <a:cubicBezTo>
                    <a:pt x="494" y="0"/>
                    <a:pt x="495" y="0"/>
                    <a:pt x="496" y="0"/>
                  </a:cubicBezTo>
                  <a:cubicBezTo>
                    <a:pt x="497" y="0"/>
                    <a:pt x="499" y="0"/>
                    <a:pt x="500" y="1"/>
                  </a:cubicBezTo>
                  <a:lnTo>
                    <a:pt x="529" y="31"/>
                  </a:lnTo>
                  <a:lnTo>
                    <a:pt x="620" y="42"/>
                  </a:lnTo>
                  <a:lnTo>
                    <a:pt x="651" y="72"/>
                  </a:lnTo>
                  <a:lnTo>
                    <a:pt x="670" y="24"/>
                  </a:lnTo>
                  <a:cubicBezTo>
                    <a:pt x="671" y="22"/>
                    <a:pt x="672" y="21"/>
                    <a:pt x="674" y="21"/>
                  </a:cubicBezTo>
                  <a:lnTo>
                    <a:pt x="751" y="25"/>
                  </a:lnTo>
                  <a:lnTo>
                    <a:pt x="791" y="47"/>
                  </a:lnTo>
                  <a:lnTo>
                    <a:pt x="815" y="51"/>
                  </a:lnTo>
                  <a:lnTo>
                    <a:pt x="945" y="196"/>
                  </a:lnTo>
                  <a:lnTo>
                    <a:pt x="1044" y="216"/>
                  </a:lnTo>
                  <a:lnTo>
                    <a:pt x="1198" y="322"/>
                  </a:lnTo>
                  <a:lnTo>
                    <a:pt x="1208" y="354"/>
                  </a:lnTo>
                  <a:lnTo>
                    <a:pt x="1208" y="358"/>
                  </a:lnTo>
                  <a:lnTo>
                    <a:pt x="1153" y="455"/>
                  </a:lnTo>
                  <a:lnTo>
                    <a:pt x="1153" y="483"/>
                  </a:lnTo>
                  <a:lnTo>
                    <a:pt x="1230" y="495"/>
                  </a:lnTo>
                  <a:lnTo>
                    <a:pt x="1282" y="521"/>
                  </a:lnTo>
                  <a:lnTo>
                    <a:pt x="1377" y="508"/>
                  </a:lnTo>
                  <a:lnTo>
                    <a:pt x="1455" y="428"/>
                  </a:lnTo>
                  <a:lnTo>
                    <a:pt x="1466" y="346"/>
                  </a:lnTo>
                  <a:cubicBezTo>
                    <a:pt x="1466" y="345"/>
                    <a:pt x="1467" y="344"/>
                    <a:pt x="1468" y="343"/>
                  </a:cubicBezTo>
                  <a:cubicBezTo>
                    <a:pt x="1469" y="343"/>
                    <a:pt x="1470" y="342"/>
                    <a:pt x="1471" y="342"/>
                  </a:cubicBezTo>
                  <a:lnTo>
                    <a:pt x="1526" y="351"/>
                  </a:lnTo>
                  <a:cubicBezTo>
                    <a:pt x="1528" y="351"/>
                    <a:pt x="1529" y="352"/>
                    <a:pt x="1530" y="354"/>
                  </a:cubicBezTo>
                  <a:lnTo>
                    <a:pt x="1551" y="413"/>
                  </a:lnTo>
                  <a:lnTo>
                    <a:pt x="1539" y="488"/>
                  </a:lnTo>
                  <a:cubicBezTo>
                    <a:pt x="1539" y="489"/>
                    <a:pt x="1538" y="490"/>
                    <a:pt x="1536" y="491"/>
                  </a:cubicBezTo>
                  <a:lnTo>
                    <a:pt x="1460" y="529"/>
                  </a:lnTo>
                  <a:lnTo>
                    <a:pt x="1216" y="786"/>
                  </a:lnTo>
                  <a:lnTo>
                    <a:pt x="1195" y="815"/>
                  </a:lnTo>
                  <a:lnTo>
                    <a:pt x="1175" y="1046"/>
                  </a:lnTo>
                  <a:lnTo>
                    <a:pt x="1149" y="1156"/>
                  </a:lnTo>
                  <a:lnTo>
                    <a:pt x="1153" y="1212"/>
                  </a:lnTo>
                  <a:lnTo>
                    <a:pt x="1249" y="1283"/>
                  </a:lnTo>
                  <a:cubicBezTo>
                    <a:pt x="1250" y="1284"/>
                    <a:pt x="1251" y="1286"/>
                    <a:pt x="1250" y="1288"/>
                  </a:cubicBezTo>
                  <a:lnTo>
                    <a:pt x="1234" y="1341"/>
                  </a:lnTo>
                  <a:lnTo>
                    <a:pt x="1257" y="1379"/>
                  </a:lnTo>
                  <a:lnTo>
                    <a:pt x="1289" y="1383"/>
                  </a:lnTo>
                  <a:cubicBezTo>
                    <a:pt x="1292" y="1384"/>
                    <a:pt x="1293" y="1386"/>
                    <a:pt x="1293" y="1388"/>
                  </a:cubicBezTo>
                  <a:lnTo>
                    <a:pt x="1285" y="1469"/>
                  </a:lnTo>
                  <a:lnTo>
                    <a:pt x="1229" y="1547"/>
                  </a:lnTo>
                  <a:lnTo>
                    <a:pt x="1217" y="1584"/>
                  </a:lnTo>
                  <a:lnTo>
                    <a:pt x="1177" y="1616"/>
                  </a:lnTo>
                  <a:lnTo>
                    <a:pt x="929" y="1672"/>
                  </a:lnTo>
                  <a:lnTo>
                    <a:pt x="843" y="1668"/>
                  </a:lnTo>
                  <a:lnTo>
                    <a:pt x="827" y="1655"/>
                  </a:lnTo>
                  <a:lnTo>
                    <a:pt x="827" y="1697"/>
                  </a:lnTo>
                  <a:lnTo>
                    <a:pt x="847" y="1719"/>
                  </a:lnTo>
                  <a:cubicBezTo>
                    <a:pt x="848" y="1721"/>
                    <a:pt x="849" y="1723"/>
                    <a:pt x="848" y="1724"/>
                  </a:cubicBezTo>
                  <a:lnTo>
                    <a:pt x="818" y="1788"/>
                  </a:lnTo>
                  <a:lnTo>
                    <a:pt x="827" y="1857"/>
                  </a:lnTo>
                  <a:cubicBezTo>
                    <a:pt x="827" y="1858"/>
                    <a:pt x="827" y="1859"/>
                    <a:pt x="826" y="1860"/>
                  </a:cubicBezTo>
                  <a:lnTo>
                    <a:pt x="809" y="1886"/>
                  </a:lnTo>
                  <a:lnTo>
                    <a:pt x="761" y="1912"/>
                  </a:lnTo>
                  <a:lnTo>
                    <a:pt x="700" y="1913"/>
                  </a:lnTo>
                  <a:lnTo>
                    <a:pt x="603" y="1859"/>
                  </a:lnTo>
                  <a:lnTo>
                    <a:pt x="586" y="1876"/>
                  </a:lnTo>
                  <a:lnTo>
                    <a:pt x="603" y="2005"/>
                  </a:lnTo>
                  <a:lnTo>
                    <a:pt x="642" y="2043"/>
                  </a:lnTo>
                  <a:lnTo>
                    <a:pt x="665" y="2040"/>
                  </a:lnTo>
                  <a:lnTo>
                    <a:pt x="654" y="2026"/>
                  </a:lnTo>
                  <a:cubicBezTo>
                    <a:pt x="653" y="2024"/>
                    <a:pt x="652" y="2023"/>
                    <a:pt x="653" y="2021"/>
                  </a:cubicBezTo>
                  <a:cubicBezTo>
                    <a:pt x="653" y="2020"/>
                    <a:pt x="654" y="2019"/>
                    <a:pt x="656" y="2018"/>
                  </a:cubicBezTo>
                  <a:lnTo>
                    <a:pt x="698" y="2001"/>
                  </a:lnTo>
                  <a:lnTo>
                    <a:pt x="700" y="2001"/>
                  </a:lnTo>
                  <a:lnTo>
                    <a:pt x="702" y="2001"/>
                  </a:lnTo>
                  <a:cubicBezTo>
                    <a:pt x="703" y="2002"/>
                    <a:pt x="704" y="2003"/>
                    <a:pt x="704" y="2004"/>
                  </a:cubicBezTo>
                  <a:lnTo>
                    <a:pt x="713" y="2025"/>
                  </a:lnTo>
                  <a:lnTo>
                    <a:pt x="721" y="2064"/>
                  </a:lnTo>
                  <a:lnTo>
                    <a:pt x="708" y="2092"/>
                  </a:lnTo>
                  <a:cubicBezTo>
                    <a:pt x="707" y="2094"/>
                    <a:pt x="706" y="2095"/>
                    <a:pt x="704" y="2095"/>
                  </a:cubicBezTo>
                  <a:lnTo>
                    <a:pt x="661" y="2095"/>
                  </a:lnTo>
                  <a:cubicBezTo>
                    <a:pt x="660" y="2095"/>
                    <a:pt x="659" y="2094"/>
                    <a:pt x="658" y="2093"/>
                  </a:cubicBezTo>
                  <a:lnTo>
                    <a:pt x="635" y="2067"/>
                  </a:lnTo>
                  <a:lnTo>
                    <a:pt x="607" y="2082"/>
                  </a:lnTo>
                  <a:lnTo>
                    <a:pt x="660" y="2116"/>
                  </a:lnTo>
                  <a:cubicBezTo>
                    <a:pt x="661" y="2117"/>
                    <a:pt x="662" y="2119"/>
                    <a:pt x="662" y="2120"/>
                  </a:cubicBezTo>
                  <a:cubicBezTo>
                    <a:pt x="662" y="2122"/>
                    <a:pt x="661" y="2123"/>
                    <a:pt x="659" y="2124"/>
                  </a:cubicBezTo>
                  <a:lnTo>
                    <a:pt x="604" y="2150"/>
                  </a:lnTo>
                  <a:lnTo>
                    <a:pt x="585" y="2182"/>
                  </a:lnTo>
                  <a:lnTo>
                    <a:pt x="586" y="2272"/>
                  </a:lnTo>
                  <a:lnTo>
                    <a:pt x="558" y="2308"/>
                  </a:lnTo>
                  <a:lnTo>
                    <a:pt x="34" y="230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 name="Freeform 92"/>
            <p:cNvSpPr>
              <a:spLocks noChangeArrowheads="1"/>
            </p:cNvSpPr>
            <p:nvPr/>
          </p:nvSpPr>
          <p:spPr bwMode="auto">
            <a:xfrm>
              <a:off x="2676525" y="4027488"/>
              <a:ext cx="363538" cy="414337"/>
            </a:xfrm>
            <a:custGeom>
              <a:avLst/>
              <a:gdLst/>
              <a:ahLst/>
              <a:cxnLst>
                <a:cxn ang="0">
                  <a:pos x="140" y="1143"/>
                </a:cxn>
                <a:cxn ang="0">
                  <a:pos x="69" y="916"/>
                </a:cxn>
                <a:cxn ang="0">
                  <a:pos x="73" y="888"/>
                </a:cxn>
                <a:cxn ang="0">
                  <a:pos x="89" y="873"/>
                </a:cxn>
                <a:cxn ang="0">
                  <a:pos x="53" y="803"/>
                </a:cxn>
                <a:cxn ang="0">
                  <a:pos x="43" y="720"/>
                </a:cxn>
                <a:cxn ang="0">
                  <a:pos x="1" y="661"/>
                </a:cxn>
                <a:cxn ang="0">
                  <a:pos x="51" y="588"/>
                </a:cxn>
                <a:cxn ang="0">
                  <a:pos x="22" y="503"/>
                </a:cxn>
                <a:cxn ang="0">
                  <a:pos x="26" y="433"/>
                </a:cxn>
                <a:cxn ang="0">
                  <a:pos x="51" y="408"/>
                </a:cxn>
                <a:cxn ang="0">
                  <a:pos x="72" y="237"/>
                </a:cxn>
                <a:cxn ang="0">
                  <a:pos x="1" y="107"/>
                </a:cxn>
                <a:cxn ang="0">
                  <a:pos x="112" y="118"/>
                </a:cxn>
                <a:cxn ang="0">
                  <a:pos x="248" y="14"/>
                </a:cxn>
                <a:cxn ang="0">
                  <a:pos x="357" y="2"/>
                </a:cxn>
                <a:cxn ang="0">
                  <a:pos x="361" y="144"/>
                </a:cxn>
                <a:cxn ang="0">
                  <a:pos x="436" y="229"/>
                </a:cxn>
                <a:cxn ang="0">
                  <a:pos x="539" y="247"/>
                </a:cxn>
                <a:cxn ang="0">
                  <a:pos x="629" y="292"/>
                </a:cxn>
                <a:cxn ang="0">
                  <a:pos x="713" y="321"/>
                </a:cxn>
                <a:cxn ang="0">
                  <a:pos x="793" y="429"/>
                </a:cxn>
                <a:cxn ang="0">
                  <a:pos x="776" y="484"/>
                </a:cxn>
                <a:cxn ang="0">
                  <a:pos x="946" y="571"/>
                </a:cxn>
                <a:cxn ang="0">
                  <a:pos x="950" y="648"/>
                </a:cxn>
                <a:cxn ang="0">
                  <a:pos x="984" y="663"/>
                </a:cxn>
                <a:cxn ang="0">
                  <a:pos x="993" y="897"/>
                </a:cxn>
                <a:cxn ang="0">
                  <a:pos x="973" y="910"/>
                </a:cxn>
                <a:cxn ang="0">
                  <a:pos x="967" y="908"/>
                </a:cxn>
                <a:cxn ang="0">
                  <a:pos x="884" y="834"/>
                </a:cxn>
                <a:cxn ang="0">
                  <a:pos x="657" y="876"/>
                </a:cxn>
                <a:cxn ang="0">
                  <a:pos x="616" y="1015"/>
                </a:cxn>
                <a:cxn ang="0">
                  <a:pos x="587" y="1104"/>
                </a:cxn>
                <a:cxn ang="0">
                  <a:pos x="583" y="1104"/>
                </a:cxn>
                <a:cxn ang="0">
                  <a:pos x="474" y="1079"/>
                </a:cxn>
                <a:cxn ang="0">
                  <a:pos x="451" y="1134"/>
                </a:cxn>
                <a:cxn ang="0">
                  <a:pos x="447" y="1133"/>
                </a:cxn>
                <a:cxn ang="0">
                  <a:pos x="322" y="1088"/>
                </a:cxn>
                <a:cxn ang="0">
                  <a:pos x="212" y="1150"/>
                </a:cxn>
                <a:cxn ang="0">
                  <a:pos x="145" y="1147"/>
                </a:cxn>
              </a:cxnLst>
              <a:rect l="0" t="0" r="r" b="b"/>
              <a:pathLst>
                <a:path w="1010" h="1152">
                  <a:moveTo>
                    <a:pt x="145" y="1147"/>
                  </a:moveTo>
                  <a:cubicBezTo>
                    <a:pt x="143" y="1147"/>
                    <a:pt x="141" y="1145"/>
                    <a:pt x="140" y="1143"/>
                  </a:cubicBezTo>
                  <a:lnTo>
                    <a:pt x="111" y="978"/>
                  </a:lnTo>
                  <a:lnTo>
                    <a:pt x="69" y="916"/>
                  </a:lnTo>
                  <a:cubicBezTo>
                    <a:pt x="68" y="915"/>
                    <a:pt x="68" y="914"/>
                    <a:pt x="68" y="913"/>
                  </a:cubicBezTo>
                  <a:lnTo>
                    <a:pt x="73" y="888"/>
                  </a:lnTo>
                  <a:cubicBezTo>
                    <a:pt x="73" y="887"/>
                    <a:pt x="73" y="885"/>
                    <a:pt x="74" y="885"/>
                  </a:cubicBezTo>
                  <a:lnTo>
                    <a:pt x="89" y="873"/>
                  </a:lnTo>
                  <a:lnTo>
                    <a:pt x="89" y="832"/>
                  </a:lnTo>
                  <a:lnTo>
                    <a:pt x="53" y="803"/>
                  </a:lnTo>
                  <a:cubicBezTo>
                    <a:pt x="52" y="803"/>
                    <a:pt x="52" y="801"/>
                    <a:pt x="51" y="800"/>
                  </a:cubicBezTo>
                  <a:lnTo>
                    <a:pt x="43" y="720"/>
                  </a:lnTo>
                  <a:lnTo>
                    <a:pt x="6" y="684"/>
                  </a:lnTo>
                  <a:lnTo>
                    <a:pt x="1" y="661"/>
                  </a:lnTo>
                  <a:cubicBezTo>
                    <a:pt x="0" y="660"/>
                    <a:pt x="1" y="658"/>
                    <a:pt x="1" y="657"/>
                  </a:cubicBezTo>
                  <a:lnTo>
                    <a:pt x="51" y="588"/>
                  </a:lnTo>
                  <a:lnTo>
                    <a:pt x="22" y="540"/>
                  </a:lnTo>
                  <a:lnTo>
                    <a:pt x="22" y="503"/>
                  </a:lnTo>
                  <a:lnTo>
                    <a:pt x="42" y="473"/>
                  </a:lnTo>
                  <a:lnTo>
                    <a:pt x="26" y="433"/>
                  </a:lnTo>
                  <a:cubicBezTo>
                    <a:pt x="26" y="431"/>
                    <a:pt x="26" y="429"/>
                    <a:pt x="28" y="428"/>
                  </a:cubicBezTo>
                  <a:lnTo>
                    <a:pt x="51" y="408"/>
                  </a:lnTo>
                  <a:lnTo>
                    <a:pt x="51" y="275"/>
                  </a:lnTo>
                  <a:lnTo>
                    <a:pt x="72" y="237"/>
                  </a:lnTo>
                  <a:lnTo>
                    <a:pt x="1" y="112"/>
                  </a:lnTo>
                  <a:cubicBezTo>
                    <a:pt x="0" y="111"/>
                    <a:pt x="0" y="109"/>
                    <a:pt x="1" y="107"/>
                  </a:cubicBezTo>
                  <a:cubicBezTo>
                    <a:pt x="2" y="106"/>
                    <a:pt x="4" y="105"/>
                    <a:pt x="5" y="105"/>
                  </a:cubicBezTo>
                  <a:lnTo>
                    <a:pt x="112" y="118"/>
                  </a:lnTo>
                  <a:lnTo>
                    <a:pt x="177" y="85"/>
                  </a:lnTo>
                  <a:lnTo>
                    <a:pt x="248" y="14"/>
                  </a:lnTo>
                  <a:lnTo>
                    <a:pt x="353" y="0"/>
                  </a:lnTo>
                  <a:cubicBezTo>
                    <a:pt x="355" y="0"/>
                    <a:pt x="356" y="1"/>
                    <a:pt x="357" y="2"/>
                  </a:cubicBezTo>
                  <a:lnTo>
                    <a:pt x="374" y="45"/>
                  </a:lnTo>
                  <a:lnTo>
                    <a:pt x="361" y="144"/>
                  </a:lnTo>
                  <a:lnTo>
                    <a:pt x="382" y="193"/>
                  </a:lnTo>
                  <a:lnTo>
                    <a:pt x="436" y="229"/>
                  </a:lnTo>
                  <a:lnTo>
                    <a:pt x="536" y="245"/>
                  </a:lnTo>
                  <a:cubicBezTo>
                    <a:pt x="537" y="245"/>
                    <a:pt x="538" y="246"/>
                    <a:pt x="539" y="247"/>
                  </a:cubicBezTo>
                  <a:lnTo>
                    <a:pt x="559" y="275"/>
                  </a:lnTo>
                  <a:lnTo>
                    <a:pt x="629" y="292"/>
                  </a:lnTo>
                  <a:lnTo>
                    <a:pt x="664" y="321"/>
                  </a:lnTo>
                  <a:lnTo>
                    <a:pt x="713" y="321"/>
                  </a:lnTo>
                  <a:lnTo>
                    <a:pt x="749" y="338"/>
                  </a:lnTo>
                  <a:lnTo>
                    <a:pt x="793" y="429"/>
                  </a:lnTo>
                  <a:cubicBezTo>
                    <a:pt x="794" y="431"/>
                    <a:pt x="794" y="432"/>
                    <a:pt x="793" y="433"/>
                  </a:cubicBezTo>
                  <a:lnTo>
                    <a:pt x="776" y="484"/>
                  </a:lnTo>
                  <a:lnTo>
                    <a:pt x="805" y="562"/>
                  </a:lnTo>
                  <a:lnTo>
                    <a:pt x="946" y="571"/>
                  </a:lnTo>
                  <a:cubicBezTo>
                    <a:pt x="948" y="571"/>
                    <a:pt x="950" y="573"/>
                    <a:pt x="950" y="575"/>
                  </a:cubicBezTo>
                  <a:lnTo>
                    <a:pt x="950" y="648"/>
                  </a:lnTo>
                  <a:lnTo>
                    <a:pt x="981" y="660"/>
                  </a:lnTo>
                  <a:cubicBezTo>
                    <a:pt x="983" y="660"/>
                    <a:pt x="983" y="661"/>
                    <a:pt x="984" y="663"/>
                  </a:cubicBezTo>
                  <a:lnTo>
                    <a:pt x="1009" y="726"/>
                  </a:lnTo>
                  <a:lnTo>
                    <a:pt x="993" y="897"/>
                  </a:lnTo>
                  <a:cubicBezTo>
                    <a:pt x="992" y="899"/>
                    <a:pt x="992" y="900"/>
                    <a:pt x="990" y="901"/>
                  </a:cubicBezTo>
                  <a:lnTo>
                    <a:pt x="973" y="910"/>
                  </a:lnTo>
                  <a:cubicBezTo>
                    <a:pt x="972" y="910"/>
                    <a:pt x="972" y="910"/>
                    <a:pt x="971" y="910"/>
                  </a:cubicBezTo>
                  <a:cubicBezTo>
                    <a:pt x="970" y="910"/>
                    <a:pt x="968" y="909"/>
                    <a:pt x="967" y="908"/>
                  </a:cubicBezTo>
                  <a:lnTo>
                    <a:pt x="921" y="849"/>
                  </a:lnTo>
                  <a:lnTo>
                    <a:pt x="884" y="834"/>
                  </a:lnTo>
                  <a:lnTo>
                    <a:pt x="819" y="834"/>
                  </a:lnTo>
                  <a:lnTo>
                    <a:pt x="657" y="876"/>
                  </a:lnTo>
                  <a:lnTo>
                    <a:pt x="615" y="958"/>
                  </a:lnTo>
                  <a:lnTo>
                    <a:pt x="616" y="1015"/>
                  </a:lnTo>
                  <a:lnTo>
                    <a:pt x="590" y="1101"/>
                  </a:lnTo>
                  <a:cubicBezTo>
                    <a:pt x="590" y="1103"/>
                    <a:pt x="589" y="1104"/>
                    <a:pt x="587" y="1104"/>
                  </a:cubicBezTo>
                  <a:cubicBezTo>
                    <a:pt x="587" y="1105"/>
                    <a:pt x="586" y="1105"/>
                    <a:pt x="586" y="1105"/>
                  </a:cubicBezTo>
                  <a:cubicBezTo>
                    <a:pt x="585" y="1105"/>
                    <a:pt x="584" y="1105"/>
                    <a:pt x="583" y="1104"/>
                  </a:cubicBezTo>
                  <a:lnTo>
                    <a:pt x="545" y="1083"/>
                  </a:lnTo>
                  <a:lnTo>
                    <a:pt x="474" y="1079"/>
                  </a:lnTo>
                  <a:lnTo>
                    <a:pt x="454" y="1131"/>
                  </a:lnTo>
                  <a:cubicBezTo>
                    <a:pt x="454" y="1133"/>
                    <a:pt x="453" y="1134"/>
                    <a:pt x="451" y="1134"/>
                  </a:cubicBezTo>
                  <a:lnTo>
                    <a:pt x="450" y="1134"/>
                  </a:lnTo>
                  <a:cubicBezTo>
                    <a:pt x="449" y="1134"/>
                    <a:pt x="448" y="1134"/>
                    <a:pt x="447" y="1133"/>
                  </a:cubicBezTo>
                  <a:lnTo>
                    <a:pt x="413" y="1099"/>
                  </a:lnTo>
                  <a:lnTo>
                    <a:pt x="322" y="1088"/>
                  </a:lnTo>
                  <a:lnTo>
                    <a:pt x="294" y="1060"/>
                  </a:lnTo>
                  <a:lnTo>
                    <a:pt x="212" y="1150"/>
                  </a:lnTo>
                  <a:cubicBezTo>
                    <a:pt x="211" y="1151"/>
                    <a:pt x="210" y="1151"/>
                    <a:pt x="209" y="1151"/>
                  </a:cubicBezTo>
                  <a:lnTo>
                    <a:pt x="145" y="114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 name="Freeform 93"/>
            <p:cNvSpPr>
              <a:spLocks noChangeArrowheads="1"/>
            </p:cNvSpPr>
            <p:nvPr/>
          </p:nvSpPr>
          <p:spPr bwMode="auto">
            <a:xfrm>
              <a:off x="2676525" y="4027488"/>
              <a:ext cx="363538" cy="414337"/>
            </a:xfrm>
            <a:custGeom>
              <a:avLst/>
              <a:gdLst/>
              <a:ahLst/>
              <a:cxnLst>
                <a:cxn ang="0">
                  <a:pos x="140" y="1143"/>
                </a:cxn>
                <a:cxn ang="0">
                  <a:pos x="69" y="916"/>
                </a:cxn>
                <a:cxn ang="0">
                  <a:pos x="73" y="888"/>
                </a:cxn>
                <a:cxn ang="0">
                  <a:pos x="89" y="873"/>
                </a:cxn>
                <a:cxn ang="0">
                  <a:pos x="53" y="803"/>
                </a:cxn>
                <a:cxn ang="0">
                  <a:pos x="43" y="720"/>
                </a:cxn>
                <a:cxn ang="0">
                  <a:pos x="1" y="661"/>
                </a:cxn>
                <a:cxn ang="0">
                  <a:pos x="51" y="588"/>
                </a:cxn>
                <a:cxn ang="0">
                  <a:pos x="22" y="503"/>
                </a:cxn>
                <a:cxn ang="0">
                  <a:pos x="26" y="433"/>
                </a:cxn>
                <a:cxn ang="0">
                  <a:pos x="51" y="408"/>
                </a:cxn>
                <a:cxn ang="0">
                  <a:pos x="72" y="237"/>
                </a:cxn>
                <a:cxn ang="0">
                  <a:pos x="1" y="107"/>
                </a:cxn>
                <a:cxn ang="0">
                  <a:pos x="112" y="118"/>
                </a:cxn>
                <a:cxn ang="0">
                  <a:pos x="248" y="14"/>
                </a:cxn>
                <a:cxn ang="0">
                  <a:pos x="357" y="2"/>
                </a:cxn>
                <a:cxn ang="0">
                  <a:pos x="361" y="144"/>
                </a:cxn>
                <a:cxn ang="0">
                  <a:pos x="436" y="229"/>
                </a:cxn>
                <a:cxn ang="0">
                  <a:pos x="539" y="247"/>
                </a:cxn>
                <a:cxn ang="0">
                  <a:pos x="629" y="292"/>
                </a:cxn>
                <a:cxn ang="0">
                  <a:pos x="713" y="321"/>
                </a:cxn>
                <a:cxn ang="0">
                  <a:pos x="793" y="429"/>
                </a:cxn>
                <a:cxn ang="0">
                  <a:pos x="776" y="484"/>
                </a:cxn>
                <a:cxn ang="0">
                  <a:pos x="946" y="571"/>
                </a:cxn>
                <a:cxn ang="0">
                  <a:pos x="950" y="648"/>
                </a:cxn>
                <a:cxn ang="0">
                  <a:pos x="984" y="663"/>
                </a:cxn>
                <a:cxn ang="0">
                  <a:pos x="993" y="897"/>
                </a:cxn>
                <a:cxn ang="0">
                  <a:pos x="973" y="910"/>
                </a:cxn>
                <a:cxn ang="0">
                  <a:pos x="967" y="908"/>
                </a:cxn>
                <a:cxn ang="0">
                  <a:pos x="884" y="834"/>
                </a:cxn>
                <a:cxn ang="0">
                  <a:pos x="657" y="876"/>
                </a:cxn>
                <a:cxn ang="0">
                  <a:pos x="616" y="1015"/>
                </a:cxn>
                <a:cxn ang="0">
                  <a:pos x="587" y="1104"/>
                </a:cxn>
                <a:cxn ang="0">
                  <a:pos x="583" y="1104"/>
                </a:cxn>
                <a:cxn ang="0">
                  <a:pos x="474" y="1079"/>
                </a:cxn>
                <a:cxn ang="0">
                  <a:pos x="451" y="1134"/>
                </a:cxn>
                <a:cxn ang="0">
                  <a:pos x="447" y="1133"/>
                </a:cxn>
                <a:cxn ang="0">
                  <a:pos x="322" y="1088"/>
                </a:cxn>
                <a:cxn ang="0">
                  <a:pos x="212" y="1150"/>
                </a:cxn>
                <a:cxn ang="0">
                  <a:pos x="145" y="1147"/>
                </a:cxn>
              </a:cxnLst>
              <a:rect l="0" t="0" r="r" b="b"/>
              <a:pathLst>
                <a:path w="1010" h="1152">
                  <a:moveTo>
                    <a:pt x="145" y="1147"/>
                  </a:moveTo>
                  <a:cubicBezTo>
                    <a:pt x="143" y="1147"/>
                    <a:pt x="141" y="1145"/>
                    <a:pt x="140" y="1143"/>
                  </a:cubicBezTo>
                  <a:lnTo>
                    <a:pt x="111" y="978"/>
                  </a:lnTo>
                  <a:lnTo>
                    <a:pt x="69" y="916"/>
                  </a:lnTo>
                  <a:cubicBezTo>
                    <a:pt x="68" y="915"/>
                    <a:pt x="68" y="914"/>
                    <a:pt x="68" y="913"/>
                  </a:cubicBezTo>
                  <a:lnTo>
                    <a:pt x="73" y="888"/>
                  </a:lnTo>
                  <a:cubicBezTo>
                    <a:pt x="73" y="887"/>
                    <a:pt x="73" y="885"/>
                    <a:pt x="74" y="885"/>
                  </a:cubicBezTo>
                  <a:lnTo>
                    <a:pt x="89" y="873"/>
                  </a:lnTo>
                  <a:lnTo>
                    <a:pt x="89" y="832"/>
                  </a:lnTo>
                  <a:lnTo>
                    <a:pt x="53" y="803"/>
                  </a:lnTo>
                  <a:cubicBezTo>
                    <a:pt x="52" y="803"/>
                    <a:pt x="52" y="801"/>
                    <a:pt x="51" y="800"/>
                  </a:cubicBezTo>
                  <a:lnTo>
                    <a:pt x="43" y="720"/>
                  </a:lnTo>
                  <a:lnTo>
                    <a:pt x="6" y="684"/>
                  </a:lnTo>
                  <a:lnTo>
                    <a:pt x="1" y="661"/>
                  </a:lnTo>
                  <a:cubicBezTo>
                    <a:pt x="0" y="660"/>
                    <a:pt x="1" y="658"/>
                    <a:pt x="1" y="657"/>
                  </a:cubicBezTo>
                  <a:lnTo>
                    <a:pt x="51" y="588"/>
                  </a:lnTo>
                  <a:lnTo>
                    <a:pt x="22" y="540"/>
                  </a:lnTo>
                  <a:lnTo>
                    <a:pt x="22" y="503"/>
                  </a:lnTo>
                  <a:lnTo>
                    <a:pt x="42" y="473"/>
                  </a:lnTo>
                  <a:lnTo>
                    <a:pt x="26" y="433"/>
                  </a:lnTo>
                  <a:cubicBezTo>
                    <a:pt x="26" y="431"/>
                    <a:pt x="26" y="429"/>
                    <a:pt x="28" y="428"/>
                  </a:cubicBezTo>
                  <a:lnTo>
                    <a:pt x="51" y="408"/>
                  </a:lnTo>
                  <a:lnTo>
                    <a:pt x="51" y="275"/>
                  </a:lnTo>
                  <a:lnTo>
                    <a:pt x="72" y="237"/>
                  </a:lnTo>
                  <a:lnTo>
                    <a:pt x="1" y="112"/>
                  </a:lnTo>
                  <a:cubicBezTo>
                    <a:pt x="0" y="111"/>
                    <a:pt x="0" y="109"/>
                    <a:pt x="1" y="107"/>
                  </a:cubicBezTo>
                  <a:cubicBezTo>
                    <a:pt x="2" y="106"/>
                    <a:pt x="4" y="105"/>
                    <a:pt x="5" y="105"/>
                  </a:cubicBezTo>
                  <a:lnTo>
                    <a:pt x="112" y="118"/>
                  </a:lnTo>
                  <a:lnTo>
                    <a:pt x="177" y="85"/>
                  </a:lnTo>
                  <a:lnTo>
                    <a:pt x="248" y="14"/>
                  </a:lnTo>
                  <a:lnTo>
                    <a:pt x="353" y="0"/>
                  </a:lnTo>
                  <a:cubicBezTo>
                    <a:pt x="355" y="0"/>
                    <a:pt x="356" y="1"/>
                    <a:pt x="357" y="2"/>
                  </a:cubicBezTo>
                  <a:lnTo>
                    <a:pt x="374" y="45"/>
                  </a:lnTo>
                  <a:lnTo>
                    <a:pt x="361" y="144"/>
                  </a:lnTo>
                  <a:lnTo>
                    <a:pt x="382" y="193"/>
                  </a:lnTo>
                  <a:lnTo>
                    <a:pt x="436" y="229"/>
                  </a:lnTo>
                  <a:lnTo>
                    <a:pt x="536" y="245"/>
                  </a:lnTo>
                  <a:cubicBezTo>
                    <a:pt x="537" y="245"/>
                    <a:pt x="538" y="246"/>
                    <a:pt x="539" y="247"/>
                  </a:cubicBezTo>
                  <a:lnTo>
                    <a:pt x="559" y="275"/>
                  </a:lnTo>
                  <a:lnTo>
                    <a:pt x="629" y="292"/>
                  </a:lnTo>
                  <a:lnTo>
                    <a:pt x="664" y="321"/>
                  </a:lnTo>
                  <a:lnTo>
                    <a:pt x="713" y="321"/>
                  </a:lnTo>
                  <a:lnTo>
                    <a:pt x="749" y="338"/>
                  </a:lnTo>
                  <a:lnTo>
                    <a:pt x="793" y="429"/>
                  </a:lnTo>
                  <a:cubicBezTo>
                    <a:pt x="794" y="431"/>
                    <a:pt x="794" y="432"/>
                    <a:pt x="793" y="433"/>
                  </a:cubicBezTo>
                  <a:lnTo>
                    <a:pt x="776" y="484"/>
                  </a:lnTo>
                  <a:lnTo>
                    <a:pt x="805" y="562"/>
                  </a:lnTo>
                  <a:lnTo>
                    <a:pt x="946" y="571"/>
                  </a:lnTo>
                  <a:cubicBezTo>
                    <a:pt x="948" y="571"/>
                    <a:pt x="950" y="573"/>
                    <a:pt x="950" y="575"/>
                  </a:cubicBezTo>
                  <a:lnTo>
                    <a:pt x="950" y="648"/>
                  </a:lnTo>
                  <a:lnTo>
                    <a:pt x="981" y="660"/>
                  </a:lnTo>
                  <a:cubicBezTo>
                    <a:pt x="983" y="660"/>
                    <a:pt x="983" y="661"/>
                    <a:pt x="984" y="663"/>
                  </a:cubicBezTo>
                  <a:lnTo>
                    <a:pt x="1009" y="726"/>
                  </a:lnTo>
                  <a:lnTo>
                    <a:pt x="993" y="897"/>
                  </a:lnTo>
                  <a:cubicBezTo>
                    <a:pt x="992" y="899"/>
                    <a:pt x="992" y="900"/>
                    <a:pt x="990" y="901"/>
                  </a:cubicBezTo>
                  <a:lnTo>
                    <a:pt x="973" y="910"/>
                  </a:lnTo>
                  <a:cubicBezTo>
                    <a:pt x="972" y="910"/>
                    <a:pt x="972" y="910"/>
                    <a:pt x="971" y="910"/>
                  </a:cubicBezTo>
                  <a:cubicBezTo>
                    <a:pt x="970" y="910"/>
                    <a:pt x="968" y="909"/>
                    <a:pt x="967" y="908"/>
                  </a:cubicBezTo>
                  <a:lnTo>
                    <a:pt x="921" y="849"/>
                  </a:lnTo>
                  <a:lnTo>
                    <a:pt x="884" y="834"/>
                  </a:lnTo>
                  <a:lnTo>
                    <a:pt x="819" y="834"/>
                  </a:lnTo>
                  <a:lnTo>
                    <a:pt x="657" y="876"/>
                  </a:lnTo>
                  <a:lnTo>
                    <a:pt x="615" y="958"/>
                  </a:lnTo>
                  <a:lnTo>
                    <a:pt x="616" y="1015"/>
                  </a:lnTo>
                  <a:lnTo>
                    <a:pt x="590" y="1101"/>
                  </a:lnTo>
                  <a:cubicBezTo>
                    <a:pt x="590" y="1103"/>
                    <a:pt x="589" y="1104"/>
                    <a:pt x="587" y="1104"/>
                  </a:cubicBezTo>
                  <a:cubicBezTo>
                    <a:pt x="587" y="1105"/>
                    <a:pt x="586" y="1105"/>
                    <a:pt x="586" y="1105"/>
                  </a:cubicBezTo>
                  <a:cubicBezTo>
                    <a:pt x="585" y="1105"/>
                    <a:pt x="584" y="1105"/>
                    <a:pt x="583" y="1104"/>
                  </a:cubicBezTo>
                  <a:lnTo>
                    <a:pt x="545" y="1083"/>
                  </a:lnTo>
                  <a:lnTo>
                    <a:pt x="474" y="1079"/>
                  </a:lnTo>
                  <a:lnTo>
                    <a:pt x="454" y="1131"/>
                  </a:lnTo>
                  <a:cubicBezTo>
                    <a:pt x="454" y="1133"/>
                    <a:pt x="453" y="1134"/>
                    <a:pt x="451" y="1134"/>
                  </a:cubicBezTo>
                  <a:lnTo>
                    <a:pt x="450" y="1134"/>
                  </a:lnTo>
                  <a:cubicBezTo>
                    <a:pt x="449" y="1134"/>
                    <a:pt x="448" y="1134"/>
                    <a:pt x="447" y="1133"/>
                  </a:cubicBezTo>
                  <a:lnTo>
                    <a:pt x="413" y="1099"/>
                  </a:lnTo>
                  <a:lnTo>
                    <a:pt x="322" y="1088"/>
                  </a:lnTo>
                  <a:lnTo>
                    <a:pt x="294" y="1060"/>
                  </a:lnTo>
                  <a:lnTo>
                    <a:pt x="212" y="1150"/>
                  </a:lnTo>
                  <a:cubicBezTo>
                    <a:pt x="211" y="1151"/>
                    <a:pt x="210" y="1151"/>
                    <a:pt x="209" y="1151"/>
                  </a:cubicBezTo>
                  <a:lnTo>
                    <a:pt x="145" y="114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 name="Freeform 94"/>
            <p:cNvSpPr>
              <a:spLocks noChangeArrowheads="1"/>
            </p:cNvSpPr>
            <p:nvPr/>
          </p:nvSpPr>
          <p:spPr bwMode="auto">
            <a:xfrm>
              <a:off x="3251200" y="3741738"/>
              <a:ext cx="69850" cy="52387"/>
            </a:xfrm>
            <a:custGeom>
              <a:avLst/>
              <a:gdLst/>
              <a:ahLst/>
              <a:cxnLst>
                <a:cxn ang="0">
                  <a:pos x="8" y="128"/>
                </a:cxn>
                <a:cxn ang="0">
                  <a:pos x="5" y="124"/>
                </a:cxn>
                <a:cxn ang="0">
                  <a:pos x="1" y="31"/>
                </a:cxn>
                <a:cxn ang="0">
                  <a:pos x="3" y="27"/>
                </a:cxn>
                <a:cxn ang="0">
                  <a:pos x="28" y="10"/>
                </a:cxn>
                <a:cxn ang="0">
                  <a:pos x="149" y="0"/>
                </a:cxn>
                <a:cxn ang="0">
                  <a:pos x="189" y="13"/>
                </a:cxn>
                <a:cxn ang="0">
                  <a:pos x="192" y="19"/>
                </a:cxn>
                <a:cxn ang="0">
                  <a:pos x="184" y="61"/>
                </a:cxn>
                <a:cxn ang="0">
                  <a:pos x="136" y="122"/>
                </a:cxn>
                <a:cxn ang="0">
                  <a:pos x="70" y="145"/>
                </a:cxn>
                <a:cxn ang="0">
                  <a:pos x="69" y="145"/>
                </a:cxn>
                <a:cxn ang="0">
                  <a:pos x="68" y="145"/>
                </a:cxn>
                <a:cxn ang="0">
                  <a:pos x="8" y="128"/>
                </a:cxn>
              </a:cxnLst>
              <a:rect l="0" t="0" r="r" b="b"/>
              <a:pathLst>
                <a:path w="194" h="146">
                  <a:moveTo>
                    <a:pt x="8" y="128"/>
                  </a:moveTo>
                  <a:cubicBezTo>
                    <a:pt x="6" y="127"/>
                    <a:pt x="5" y="126"/>
                    <a:pt x="5" y="124"/>
                  </a:cubicBezTo>
                  <a:lnTo>
                    <a:pt x="1" y="31"/>
                  </a:lnTo>
                  <a:cubicBezTo>
                    <a:pt x="0" y="29"/>
                    <a:pt x="1" y="28"/>
                    <a:pt x="3" y="27"/>
                  </a:cubicBezTo>
                  <a:lnTo>
                    <a:pt x="28" y="10"/>
                  </a:lnTo>
                  <a:lnTo>
                    <a:pt x="149" y="0"/>
                  </a:lnTo>
                  <a:lnTo>
                    <a:pt x="189" y="13"/>
                  </a:lnTo>
                  <a:cubicBezTo>
                    <a:pt x="191" y="14"/>
                    <a:pt x="193" y="16"/>
                    <a:pt x="192" y="19"/>
                  </a:cubicBezTo>
                  <a:lnTo>
                    <a:pt x="184" y="61"/>
                  </a:lnTo>
                  <a:lnTo>
                    <a:pt x="136" y="122"/>
                  </a:lnTo>
                  <a:lnTo>
                    <a:pt x="70" y="145"/>
                  </a:lnTo>
                  <a:lnTo>
                    <a:pt x="69" y="145"/>
                  </a:lnTo>
                  <a:lnTo>
                    <a:pt x="68" y="145"/>
                  </a:lnTo>
                  <a:lnTo>
                    <a:pt x="8" y="12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 name="Freeform 95"/>
            <p:cNvSpPr>
              <a:spLocks noChangeArrowheads="1"/>
            </p:cNvSpPr>
            <p:nvPr/>
          </p:nvSpPr>
          <p:spPr bwMode="auto">
            <a:xfrm>
              <a:off x="3251200" y="3741738"/>
              <a:ext cx="69850" cy="52387"/>
            </a:xfrm>
            <a:custGeom>
              <a:avLst/>
              <a:gdLst/>
              <a:ahLst/>
              <a:cxnLst>
                <a:cxn ang="0">
                  <a:pos x="68" y="145"/>
                </a:cxn>
                <a:cxn ang="0">
                  <a:pos x="8" y="128"/>
                </a:cxn>
                <a:cxn ang="0">
                  <a:pos x="5" y="124"/>
                </a:cxn>
                <a:cxn ang="0">
                  <a:pos x="1" y="31"/>
                </a:cxn>
                <a:cxn ang="0">
                  <a:pos x="3" y="27"/>
                </a:cxn>
                <a:cxn ang="0">
                  <a:pos x="28" y="10"/>
                </a:cxn>
                <a:cxn ang="0">
                  <a:pos x="149" y="0"/>
                </a:cxn>
                <a:cxn ang="0">
                  <a:pos x="189" y="13"/>
                </a:cxn>
                <a:cxn ang="0">
                  <a:pos x="192" y="19"/>
                </a:cxn>
                <a:cxn ang="0">
                  <a:pos x="184" y="61"/>
                </a:cxn>
                <a:cxn ang="0">
                  <a:pos x="136" y="122"/>
                </a:cxn>
                <a:cxn ang="0">
                  <a:pos x="70" y="145"/>
                </a:cxn>
                <a:cxn ang="0">
                  <a:pos x="69" y="145"/>
                </a:cxn>
                <a:cxn ang="0">
                  <a:pos x="68" y="145"/>
                </a:cxn>
              </a:cxnLst>
              <a:rect l="0" t="0" r="r" b="b"/>
              <a:pathLst>
                <a:path w="194" h="146">
                  <a:moveTo>
                    <a:pt x="68" y="145"/>
                  </a:moveTo>
                  <a:lnTo>
                    <a:pt x="8" y="128"/>
                  </a:lnTo>
                  <a:cubicBezTo>
                    <a:pt x="6" y="127"/>
                    <a:pt x="5" y="126"/>
                    <a:pt x="5" y="124"/>
                  </a:cubicBezTo>
                  <a:lnTo>
                    <a:pt x="1" y="31"/>
                  </a:lnTo>
                  <a:cubicBezTo>
                    <a:pt x="0" y="29"/>
                    <a:pt x="1" y="28"/>
                    <a:pt x="3" y="27"/>
                  </a:cubicBezTo>
                  <a:lnTo>
                    <a:pt x="28" y="10"/>
                  </a:lnTo>
                  <a:lnTo>
                    <a:pt x="149" y="0"/>
                  </a:lnTo>
                  <a:lnTo>
                    <a:pt x="189" y="13"/>
                  </a:lnTo>
                  <a:cubicBezTo>
                    <a:pt x="191" y="14"/>
                    <a:pt x="193" y="16"/>
                    <a:pt x="192" y="19"/>
                  </a:cubicBezTo>
                  <a:lnTo>
                    <a:pt x="184" y="61"/>
                  </a:lnTo>
                  <a:lnTo>
                    <a:pt x="136" y="122"/>
                  </a:lnTo>
                  <a:lnTo>
                    <a:pt x="70" y="145"/>
                  </a:lnTo>
                  <a:lnTo>
                    <a:pt x="69" y="145"/>
                  </a:lnTo>
                  <a:lnTo>
                    <a:pt x="68" y="14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1" name="Freeform 96"/>
            <p:cNvSpPr>
              <a:spLocks noChangeArrowheads="1"/>
            </p:cNvSpPr>
            <p:nvPr/>
          </p:nvSpPr>
          <p:spPr bwMode="auto">
            <a:xfrm>
              <a:off x="2552700" y="3584575"/>
              <a:ext cx="1174750" cy="1230313"/>
            </a:xfrm>
            <a:custGeom>
              <a:avLst/>
              <a:gdLst/>
              <a:ahLst/>
              <a:cxnLst>
                <a:cxn ang="0">
                  <a:pos x="1727" y="3309"/>
                </a:cxn>
                <a:cxn ang="0">
                  <a:pos x="1525" y="3128"/>
                </a:cxn>
                <a:cxn ang="0">
                  <a:pos x="1483" y="3140"/>
                </a:cxn>
                <a:cxn ang="0">
                  <a:pos x="1352" y="3065"/>
                </a:cxn>
                <a:cxn ang="0">
                  <a:pos x="1686" y="2694"/>
                </a:cxn>
                <a:cxn ang="0">
                  <a:pos x="1610" y="2626"/>
                </a:cxn>
                <a:cxn ang="0">
                  <a:pos x="1534" y="2467"/>
                </a:cxn>
                <a:cxn ang="0">
                  <a:pos x="1334" y="2310"/>
                </a:cxn>
                <a:cxn ang="0">
                  <a:pos x="1331" y="2125"/>
                </a:cxn>
                <a:cxn ang="0">
                  <a:pos x="1288" y="1882"/>
                </a:cxn>
                <a:cxn ang="0">
                  <a:pos x="1115" y="1715"/>
                </a:cxn>
                <a:cxn ang="0">
                  <a:pos x="1009" y="1561"/>
                </a:cxn>
                <a:cxn ang="0">
                  <a:pos x="899" y="1513"/>
                </a:cxn>
                <a:cxn ang="0">
                  <a:pos x="700" y="1377"/>
                </a:cxn>
                <a:cxn ang="0">
                  <a:pos x="529" y="1323"/>
                </a:cxn>
                <a:cxn ang="0">
                  <a:pos x="293" y="1358"/>
                </a:cxn>
                <a:cxn ang="0">
                  <a:pos x="276" y="1214"/>
                </a:cxn>
                <a:cxn ang="0">
                  <a:pos x="121" y="1223"/>
                </a:cxn>
                <a:cxn ang="0">
                  <a:pos x="76" y="1178"/>
                </a:cxn>
                <a:cxn ang="0">
                  <a:pos x="30" y="992"/>
                </a:cxn>
                <a:cxn ang="0">
                  <a:pos x="185" y="808"/>
                </a:cxn>
                <a:cxn ang="0">
                  <a:pos x="315" y="452"/>
                </a:cxn>
                <a:cxn ang="0">
                  <a:pos x="388" y="380"/>
                </a:cxn>
                <a:cxn ang="0">
                  <a:pos x="331" y="289"/>
                </a:cxn>
                <a:cxn ang="0">
                  <a:pos x="467" y="265"/>
                </a:cxn>
                <a:cxn ang="0">
                  <a:pos x="493" y="279"/>
                </a:cxn>
                <a:cxn ang="0">
                  <a:pos x="570" y="331"/>
                </a:cxn>
                <a:cxn ang="0">
                  <a:pos x="630" y="363"/>
                </a:cxn>
                <a:cxn ang="0">
                  <a:pos x="877" y="251"/>
                </a:cxn>
                <a:cxn ang="0">
                  <a:pos x="797" y="179"/>
                </a:cxn>
                <a:cxn ang="0">
                  <a:pos x="759" y="78"/>
                </a:cxn>
                <a:cxn ang="0">
                  <a:pos x="909" y="110"/>
                </a:cxn>
                <a:cxn ang="0">
                  <a:pos x="1157" y="0"/>
                </a:cxn>
                <a:cxn ang="0">
                  <a:pos x="1196" y="63"/>
                </a:cxn>
                <a:cxn ang="0">
                  <a:pos x="1175" y="223"/>
                </a:cxn>
                <a:cxn ang="0">
                  <a:pos x="1224" y="306"/>
                </a:cxn>
                <a:cxn ang="0">
                  <a:pos x="1501" y="275"/>
                </a:cxn>
                <a:cxn ang="0">
                  <a:pos x="1629" y="238"/>
                </a:cxn>
                <a:cxn ang="0">
                  <a:pos x="1865" y="95"/>
                </a:cxn>
                <a:cxn ang="0">
                  <a:pos x="1910" y="103"/>
                </a:cxn>
                <a:cxn ang="0">
                  <a:pos x="1996" y="352"/>
                </a:cxn>
                <a:cxn ang="0">
                  <a:pos x="1941" y="494"/>
                </a:cxn>
                <a:cxn ang="0">
                  <a:pos x="1948" y="533"/>
                </a:cxn>
                <a:cxn ang="0">
                  <a:pos x="1886" y="584"/>
                </a:cxn>
                <a:cxn ang="0">
                  <a:pos x="2059" y="622"/>
                </a:cxn>
                <a:cxn ang="0">
                  <a:pos x="2161" y="490"/>
                </a:cxn>
                <a:cxn ang="0">
                  <a:pos x="2393" y="569"/>
                </a:cxn>
                <a:cxn ang="0">
                  <a:pos x="2457" y="589"/>
                </a:cxn>
                <a:cxn ang="0">
                  <a:pos x="2479" y="619"/>
                </a:cxn>
                <a:cxn ang="0">
                  <a:pos x="2538" y="621"/>
                </a:cxn>
                <a:cxn ang="0">
                  <a:pos x="2879" y="685"/>
                </a:cxn>
                <a:cxn ang="0">
                  <a:pos x="3241" y="907"/>
                </a:cxn>
                <a:cxn ang="0">
                  <a:pos x="3054" y="1378"/>
                </a:cxn>
                <a:cxn ang="0">
                  <a:pos x="2920" y="1759"/>
                </a:cxn>
                <a:cxn ang="0">
                  <a:pos x="2750" y="2236"/>
                </a:cxn>
                <a:cxn ang="0">
                  <a:pos x="2645" y="2382"/>
                </a:cxn>
                <a:cxn ang="0">
                  <a:pos x="2273" y="2492"/>
                </a:cxn>
                <a:cxn ang="0">
                  <a:pos x="2128" y="2777"/>
                </a:cxn>
                <a:cxn ang="0">
                  <a:pos x="2012" y="2990"/>
                </a:cxn>
                <a:cxn ang="0">
                  <a:pos x="1789" y="3326"/>
                </a:cxn>
                <a:cxn ang="0">
                  <a:pos x="1703" y="3410"/>
                </a:cxn>
              </a:cxnLst>
              <a:rect l="0" t="0" r="r" b="b"/>
              <a:pathLst>
                <a:path w="3264" h="3416">
                  <a:moveTo>
                    <a:pt x="1703" y="3410"/>
                  </a:moveTo>
                  <a:lnTo>
                    <a:pt x="1695" y="3351"/>
                  </a:lnTo>
                  <a:cubicBezTo>
                    <a:pt x="1695" y="3350"/>
                    <a:pt x="1695" y="3349"/>
                    <a:pt x="1696" y="3348"/>
                  </a:cubicBezTo>
                  <a:lnTo>
                    <a:pt x="1727" y="3309"/>
                  </a:lnTo>
                  <a:lnTo>
                    <a:pt x="1688" y="3278"/>
                  </a:lnTo>
                  <a:lnTo>
                    <a:pt x="1670" y="3234"/>
                  </a:lnTo>
                  <a:lnTo>
                    <a:pt x="1561" y="3168"/>
                  </a:lnTo>
                  <a:lnTo>
                    <a:pt x="1525" y="3128"/>
                  </a:lnTo>
                  <a:lnTo>
                    <a:pt x="1489" y="3143"/>
                  </a:lnTo>
                  <a:cubicBezTo>
                    <a:pt x="1489" y="3144"/>
                    <a:pt x="1488" y="3144"/>
                    <a:pt x="1487" y="3144"/>
                  </a:cubicBezTo>
                  <a:cubicBezTo>
                    <a:pt x="1487" y="3144"/>
                    <a:pt x="1486" y="3144"/>
                    <a:pt x="1485" y="3143"/>
                  </a:cubicBezTo>
                  <a:cubicBezTo>
                    <a:pt x="1484" y="3143"/>
                    <a:pt x="1483" y="3141"/>
                    <a:pt x="1483" y="3140"/>
                  </a:cubicBezTo>
                  <a:lnTo>
                    <a:pt x="1474" y="3102"/>
                  </a:lnTo>
                  <a:lnTo>
                    <a:pt x="1423" y="3059"/>
                  </a:lnTo>
                  <a:lnTo>
                    <a:pt x="1356" y="3068"/>
                  </a:lnTo>
                  <a:cubicBezTo>
                    <a:pt x="1354" y="3068"/>
                    <a:pt x="1353" y="3067"/>
                    <a:pt x="1352" y="3065"/>
                  </a:cubicBezTo>
                  <a:cubicBezTo>
                    <a:pt x="1351" y="3063"/>
                    <a:pt x="1351" y="3061"/>
                    <a:pt x="1353" y="3060"/>
                  </a:cubicBezTo>
                  <a:lnTo>
                    <a:pt x="1599" y="2802"/>
                  </a:lnTo>
                  <a:lnTo>
                    <a:pt x="1674" y="2764"/>
                  </a:lnTo>
                  <a:lnTo>
                    <a:pt x="1686" y="2694"/>
                  </a:lnTo>
                  <a:lnTo>
                    <a:pt x="1666" y="2640"/>
                  </a:lnTo>
                  <a:lnTo>
                    <a:pt x="1614" y="2632"/>
                  </a:lnTo>
                  <a:cubicBezTo>
                    <a:pt x="1613" y="2632"/>
                    <a:pt x="1612" y="2631"/>
                    <a:pt x="1611" y="2630"/>
                  </a:cubicBezTo>
                  <a:cubicBezTo>
                    <a:pt x="1610" y="2629"/>
                    <a:pt x="1610" y="2628"/>
                    <a:pt x="1610" y="2626"/>
                  </a:cubicBezTo>
                  <a:lnTo>
                    <a:pt x="1627" y="2525"/>
                  </a:lnTo>
                  <a:lnTo>
                    <a:pt x="1623" y="2475"/>
                  </a:lnTo>
                  <a:lnTo>
                    <a:pt x="1538" y="2471"/>
                  </a:lnTo>
                  <a:cubicBezTo>
                    <a:pt x="1536" y="2471"/>
                    <a:pt x="1534" y="2470"/>
                    <a:pt x="1534" y="2467"/>
                  </a:cubicBezTo>
                  <a:lnTo>
                    <a:pt x="1505" y="2335"/>
                  </a:lnTo>
                  <a:lnTo>
                    <a:pt x="1460" y="2318"/>
                  </a:lnTo>
                  <a:lnTo>
                    <a:pt x="1404" y="2331"/>
                  </a:lnTo>
                  <a:lnTo>
                    <a:pt x="1334" y="2310"/>
                  </a:lnTo>
                  <a:cubicBezTo>
                    <a:pt x="1332" y="2309"/>
                    <a:pt x="1331" y="2308"/>
                    <a:pt x="1331" y="2306"/>
                  </a:cubicBezTo>
                  <a:lnTo>
                    <a:pt x="1314" y="2137"/>
                  </a:lnTo>
                  <a:cubicBezTo>
                    <a:pt x="1313" y="2135"/>
                    <a:pt x="1314" y="2133"/>
                    <a:pt x="1316" y="2132"/>
                  </a:cubicBezTo>
                  <a:lnTo>
                    <a:pt x="1331" y="2125"/>
                  </a:lnTo>
                  <a:lnTo>
                    <a:pt x="1347" y="1958"/>
                  </a:lnTo>
                  <a:lnTo>
                    <a:pt x="1323" y="1899"/>
                  </a:lnTo>
                  <a:lnTo>
                    <a:pt x="1291" y="1887"/>
                  </a:lnTo>
                  <a:cubicBezTo>
                    <a:pt x="1289" y="1886"/>
                    <a:pt x="1288" y="1884"/>
                    <a:pt x="1288" y="1882"/>
                  </a:cubicBezTo>
                  <a:lnTo>
                    <a:pt x="1288" y="1811"/>
                  </a:lnTo>
                  <a:lnTo>
                    <a:pt x="1148" y="1803"/>
                  </a:lnTo>
                  <a:cubicBezTo>
                    <a:pt x="1146" y="1802"/>
                    <a:pt x="1145" y="1801"/>
                    <a:pt x="1144" y="1799"/>
                  </a:cubicBezTo>
                  <a:lnTo>
                    <a:pt x="1115" y="1715"/>
                  </a:lnTo>
                  <a:lnTo>
                    <a:pt x="1131" y="1663"/>
                  </a:lnTo>
                  <a:lnTo>
                    <a:pt x="1089" y="1576"/>
                  </a:lnTo>
                  <a:lnTo>
                    <a:pt x="1058" y="1561"/>
                  </a:lnTo>
                  <a:lnTo>
                    <a:pt x="1009" y="1561"/>
                  </a:lnTo>
                  <a:cubicBezTo>
                    <a:pt x="1008" y="1561"/>
                    <a:pt x="1007" y="1561"/>
                    <a:pt x="1006" y="1560"/>
                  </a:cubicBezTo>
                  <a:lnTo>
                    <a:pt x="972" y="1531"/>
                  </a:lnTo>
                  <a:lnTo>
                    <a:pt x="902" y="1515"/>
                  </a:lnTo>
                  <a:cubicBezTo>
                    <a:pt x="901" y="1515"/>
                    <a:pt x="900" y="1514"/>
                    <a:pt x="899" y="1513"/>
                  </a:cubicBezTo>
                  <a:lnTo>
                    <a:pt x="879" y="1485"/>
                  </a:lnTo>
                  <a:lnTo>
                    <a:pt x="780" y="1468"/>
                  </a:lnTo>
                  <a:lnTo>
                    <a:pt x="723" y="1429"/>
                  </a:lnTo>
                  <a:lnTo>
                    <a:pt x="700" y="1377"/>
                  </a:lnTo>
                  <a:lnTo>
                    <a:pt x="712" y="1277"/>
                  </a:lnTo>
                  <a:lnTo>
                    <a:pt x="697" y="1240"/>
                  </a:lnTo>
                  <a:lnTo>
                    <a:pt x="599" y="1253"/>
                  </a:lnTo>
                  <a:lnTo>
                    <a:pt x="529" y="1323"/>
                  </a:lnTo>
                  <a:lnTo>
                    <a:pt x="460" y="1358"/>
                  </a:lnTo>
                  <a:lnTo>
                    <a:pt x="352" y="1346"/>
                  </a:lnTo>
                  <a:lnTo>
                    <a:pt x="294" y="1358"/>
                  </a:lnTo>
                  <a:lnTo>
                    <a:pt x="293" y="1358"/>
                  </a:lnTo>
                  <a:cubicBezTo>
                    <a:pt x="292" y="1358"/>
                    <a:pt x="291" y="1358"/>
                    <a:pt x="290" y="1357"/>
                  </a:cubicBezTo>
                  <a:lnTo>
                    <a:pt x="277" y="1344"/>
                  </a:lnTo>
                  <a:cubicBezTo>
                    <a:pt x="276" y="1343"/>
                    <a:pt x="276" y="1342"/>
                    <a:pt x="276" y="1341"/>
                  </a:cubicBezTo>
                  <a:lnTo>
                    <a:pt x="276" y="1214"/>
                  </a:lnTo>
                  <a:lnTo>
                    <a:pt x="190" y="1265"/>
                  </a:lnTo>
                  <a:lnTo>
                    <a:pt x="144" y="1261"/>
                  </a:lnTo>
                  <a:cubicBezTo>
                    <a:pt x="143" y="1261"/>
                    <a:pt x="141" y="1260"/>
                    <a:pt x="141" y="1259"/>
                  </a:cubicBezTo>
                  <a:lnTo>
                    <a:pt x="121" y="1223"/>
                  </a:lnTo>
                  <a:lnTo>
                    <a:pt x="77" y="1219"/>
                  </a:lnTo>
                  <a:cubicBezTo>
                    <a:pt x="75" y="1219"/>
                    <a:pt x="74" y="1218"/>
                    <a:pt x="73" y="1217"/>
                  </a:cubicBezTo>
                  <a:cubicBezTo>
                    <a:pt x="73" y="1216"/>
                    <a:pt x="72" y="1215"/>
                    <a:pt x="72" y="1213"/>
                  </a:cubicBezTo>
                  <a:lnTo>
                    <a:pt x="76" y="1178"/>
                  </a:lnTo>
                  <a:lnTo>
                    <a:pt x="23" y="1124"/>
                  </a:lnTo>
                  <a:lnTo>
                    <a:pt x="1" y="1063"/>
                  </a:lnTo>
                  <a:cubicBezTo>
                    <a:pt x="0" y="1062"/>
                    <a:pt x="0" y="1061"/>
                    <a:pt x="1" y="1060"/>
                  </a:cubicBezTo>
                  <a:lnTo>
                    <a:pt x="30" y="992"/>
                  </a:lnTo>
                  <a:lnTo>
                    <a:pt x="60" y="974"/>
                  </a:lnTo>
                  <a:lnTo>
                    <a:pt x="64" y="922"/>
                  </a:lnTo>
                  <a:lnTo>
                    <a:pt x="116" y="852"/>
                  </a:lnTo>
                  <a:lnTo>
                    <a:pt x="185" y="808"/>
                  </a:lnTo>
                  <a:lnTo>
                    <a:pt x="319" y="770"/>
                  </a:lnTo>
                  <a:lnTo>
                    <a:pt x="369" y="536"/>
                  </a:lnTo>
                  <a:lnTo>
                    <a:pt x="352" y="479"/>
                  </a:lnTo>
                  <a:lnTo>
                    <a:pt x="315" y="452"/>
                  </a:lnTo>
                  <a:cubicBezTo>
                    <a:pt x="314" y="451"/>
                    <a:pt x="314" y="450"/>
                    <a:pt x="314" y="448"/>
                  </a:cubicBezTo>
                  <a:lnTo>
                    <a:pt x="314" y="389"/>
                  </a:lnTo>
                  <a:cubicBezTo>
                    <a:pt x="314" y="386"/>
                    <a:pt x="316" y="384"/>
                    <a:pt x="318" y="384"/>
                  </a:cubicBezTo>
                  <a:lnTo>
                    <a:pt x="388" y="380"/>
                  </a:lnTo>
                  <a:lnTo>
                    <a:pt x="375" y="351"/>
                  </a:lnTo>
                  <a:lnTo>
                    <a:pt x="339" y="347"/>
                  </a:lnTo>
                  <a:cubicBezTo>
                    <a:pt x="337" y="347"/>
                    <a:pt x="335" y="345"/>
                    <a:pt x="335" y="343"/>
                  </a:cubicBezTo>
                  <a:lnTo>
                    <a:pt x="331" y="289"/>
                  </a:lnTo>
                  <a:cubicBezTo>
                    <a:pt x="331" y="287"/>
                    <a:pt x="331" y="286"/>
                    <a:pt x="332" y="285"/>
                  </a:cubicBezTo>
                  <a:cubicBezTo>
                    <a:pt x="333" y="284"/>
                    <a:pt x="334" y="284"/>
                    <a:pt x="335" y="284"/>
                  </a:cubicBezTo>
                  <a:lnTo>
                    <a:pt x="459" y="284"/>
                  </a:lnTo>
                  <a:lnTo>
                    <a:pt x="467" y="265"/>
                  </a:lnTo>
                  <a:cubicBezTo>
                    <a:pt x="467" y="264"/>
                    <a:pt x="468" y="263"/>
                    <a:pt x="470" y="263"/>
                  </a:cubicBezTo>
                  <a:lnTo>
                    <a:pt x="471" y="263"/>
                  </a:lnTo>
                  <a:cubicBezTo>
                    <a:pt x="472" y="263"/>
                    <a:pt x="473" y="263"/>
                    <a:pt x="474" y="264"/>
                  </a:cubicBezTo>
                  <a:lnTo>
                    <a:pt x="493" y="279"/>
                  </a:lnTo>
                  <a:lnTo>
                    <a:pt x="533" y="263"/>
                  </a:lnTo>
                  <a:cubicBezTo>
                    <a:pt x="533" y="263"/>
                    <a:pt x="534" y="263"/>
                    <a:pt x="535" y="263"/>
                  </a:cubicBezTo>
                  <a:cubicBezTo>
                    <a:pt x="536" y="263"/>
                    <a:pt x="538" y="264"/>
                    <a:pt x="539" y="265"/>
                  </a:cubicBezTo>
                  <a:lnTo>
                    <a:pt x="570" y="331"/>
                  </a:lnTo>
                  <a:lnTo>
                    <a:pt x="583" y="322"/>
                  </a:lnTo>
                  <a:cubicBezTo>
                    <a:pt x="583" y="321"/>
                    <a:pt x="585" y="321"/>
                    <a:pt x="585" y="321"/>
                  </a:cubicBezTo>
                  <a:cubicBezTo>
                    <a:pt x="587" y="321"/>
                    <a:pt x="588" y="321"/>
                    <a:pt x="589" y="322"/>
                  </a:cubicBezTo>
                  <a:lnTo>
                    <a:pt x="630" y="363"/>
                  </a:lnTo>
                  <a:lnTo>
                    <a:pt x="691" y="363"/>
                  </a:lnTo>
                  <a:lnTo>
                    <a:pt x="799" y="305"/>
                  </a:lnTo>
                  <a:lnTo>
                    <a:pt x="823" y="273"/>
                  </a:lnTo>
                  <a:lnTo>
                    <a:pt x="877" y="251"/>
                  </a:lnTo>
                  <a:lnTo>
                    <a:pt x="877" y="242"/>
                  </a:lnTo>
                  <a:lnTo>
                    <a:pt x="810" y="238"/>
                  </a:lnTo>
                  <a:cubicBezTo>
                    <a:pt x="808" y="238"/>
                    <a:pt x="806" y="236"/>
                    <a:pt x="805" y="234"/>
                  </a:cubicBezTo>
                  <a:lnTo>
                    <a:pt x="797" y="179"/>
                  </a:lnTo>
                  <a:lnTo>
                    <a:pt x="801" y="134"/>
                  </a:lnTo>
                  <a:lnTo>
                    <a:pt x="765" y="110"/>
                  </a:lnTo>
                  <a:cubicBezTo>
                    <a:pt x="764" y="110"/>
                    <a:pt x="763" y="108"/>
                    <a:pt x="763" y="107"/>
                  </a:cubicBezTo>
                  <a:lnTo>
                    <a:pt x="759" y="78"/>
                  </a:lnTo>
                  <a:cubicBezTo>
                    <a:pt x="759" y="76"/>
                    <a:pt x="759" y="74"/>
                    <a:pt x="760" y="73"/>
                  </a:cubicBezTo>
                  <a:cubicBezTo>
                    <a:pt x="761" y="73"/>
                    <a:pt x="762" y="72"/>
                    <a:pt x="763" y="72"/>
                  </a:cubicBezTo>
                  <a:cubicBezTo>
                    <a:pt x="763" y="72"/>
                    <a:pt x="764" y="72"/>
                    <a:pt x="765" y="72"/>
                  </a:cubicBezTo>
                  <a:lnTo>
                    <a:pt x="909" y="110"/>
                  </a:lnTo>
                  <a:lnTo>
                    <a:pt x="1078" y="48"/>
                  </a:lnTo>
                  <a:lnTo>
                    <a:pt x="1102" y="3"/>
                  </a:lnTo>
                  <a:cubicBezTo>
                    <a:pt x="1103" y="1"/>
                    <a:pt x="1105" y="0"/>
                    <a:pt x="1107" y="0"/>
                  </a:cubicBezTo>
                  <a:lnTo>
                    <a:pt x="1157" y="0"/>
                  </a:lnTo>
                  <a:cubicBezTo>
                    <a:pt x="1160" y="0"/>
                    <a:pt x="1162" y="2"/>
                    <a:pt x="1162" y="5"/>
                  </a:cubicBezTo>
                  <a:lnTo>
                    <a:pt x="1166" y="52"/>
                  </a:lnTo>
                  <a:lnTo>
                    <a:pt x="1193" y="60"/>
                  </a:lnTo>
                  <a:cubicBezTo>
                    <a:pt x="1194" y="60"/>
                    <a:pt x="1195" y="61"/>
                    <a:pt x="1196" y="63"/>
                  </a:cubicBezTo>
                  <a:lnTo>
                    <a:pt x="1209" y="110"/>
                  </a:lnTo>
                  <a:cubicBezTo>
                    <a:pt x="1209" y="111"/>
                    <a:pt x="1209" y="113"/>
                    <a:pt x="1207" y="114"/>
                  </a:cubicBezTo>
                  <a:lnTo>
                    <a:pt x="1186" y="135"/>
                  </a:lnTo>
                  <a:lnTo>
                    <a:pt x="1175" y="223"/>
                  </a:lnTo>
                  <a:lnTo>
                    <a:pt x="1195" y="243"/>
                  </a:lnTo>
                  <a:cubicBezTo>
                    <a:pt x="1195" y="244"/>
                    <a:pt x="1196" y="245"/>
                    <a:pt x="1196" y="246"/>
                  </a:cubicBezTo>
                  <a:lnTo>
                    <a:pt x="1196" y="282"/>
                  </a:lnTo>
                  <a:lnTo>
                    <a:pt x="1224" y="306"/>
                  </a:lnTo>
                  <a:lnTo>
                    <a:pt x="1276" y="321"/>
                  </a:lnTo>
                  <a:lnTo>
                    <a:pt x="1397" y="263"/>
                  </a:lnTo>
                  <a:lnTo>
                    <a:pt x="1459" y="271"/>
                  </a:lnTo>
                  <a:lnTo>
                    <a:pt x="1501" y="275"/>
                  </a:lnTo>
                  <a:lnTo>
                    <a:pt x="1513" y="232"/>
                  </a:lnTo>
                  <a:cubicBezTo>
                    <a:pt x="1513" y="230"/>
                    <a:pt x="1515" y="229"/>
                    <a:pt x="1517" y="229"/>
                  </a:cubicBezTo>
                  <a:lnTo>
                    <a:pt x="1585" y="220"/>
                  </a:lnTo>
                  <a:lnTo>
                    <a:pt x="1629" y="238"/>
                  </a:lnTo>
                  <a:lnTo>
                    <a:pt x="1668" y="263"/>
                  </a:lnTo>
                  <a:lnTo>
                    <a:pt x="1741" y="254"/>
                  </a:lnTo>
                  <a:lnTo>
                    <a:pt x="1790" y="217"/>
                  </a:lnTo>
                  <a:lnTo>
                    <a:pt x="1865" y="95"/>
                  </a:lnTo>
                  <a:lnTo>
                    <a:pt x="1878" y="82"/>
                  </a:lnTo>
                  <a:cubicBezTo>
                    <a:pt x="1879" y="81"/>
                    <a:pt x="1881" y="81"/>
                    <a:pt x="1882" y="81"/>
                  </a:cubicBezTo>
                  <a:cubicBezTo>
                    <a:pt x="1883" y="81"/>
                    <a:pt x="1884" y="81"/>
                    <a:pt x="1885" y="82"/>
                  </a:cubicBezTo>
                  <a:lnTo>
                    <a:pt x="1910" y="103"/>
                  </a:lnTo>
                  <a:lnTo>
                    <a:pt x="1970" y="281"/>
                  </a:lnTo>
                  <a:lnTo>
                    <a:pt x="2011" y="297"/>
                  </a:lnTo>
                  <a:cubicBezTo>
                    <a:pt x="2013" y="298"/>
                    <a:pt x="2014" y="300"/>
                    <a:pt x="2013" y="303"/>
                  </a:cubicBezTo>
                  <a:lnTo>
                    <a:pt x="1996" y="352"/>
                  </a:lnTo>
                  <a:lnTo>
                    <a:pt x="1887" y="471"/>
                  </a:lnTo>
                  <a:lnTo>
                    <a:pt x="1894" y="525"/>
                  </a:lnTo>
                  <a:lnTo>
                    <a:pt x="1938" y="495"/>
                  </a:lnTo>
                  <a:cubicBezTo>
                    <a:pt x="1939" y="494"/>
                    <a:pt x="1940" y="494"/>
                    <a:pt x="1941" y="494"/>
                  </a:cubicBezTo>
                  <a:cubicBezTo>
                    <a:pt x="1942" y="494"/>
                    <a:pt x="1944" y="495"/>
                    <a:pt x="1945" y="496"/>
                  </a:cubicBezTo>
                  <a:cubicBezTo>
                    <a:pt x="1946" y="497"/>
                    <a:pt x="1946" y="500"/>
                    <a:pt x="1945" y="502"/>
                  </a:cubicBezTo>
                  <a:lnTo>
                    <a:pt x="1931" y="519"/>
                  </a:lnTo>
                  <a:lnTo>
                    <a:pt x="1948" y="533"/>
                  </a:lnTo>
                  <a:cubicBezTo>
                    <a:pt x="1949" y="534"/>
                    <a:pt x="1950" y="536"/>
                    <a:pt x="1950" y="537"/>
                  </a:cubicBezTo>
                  <a:lnTo>
                    <a:pt x="1950" y="579"/>
                  </a:lnTo>
                  <a:cubicBezTo>
                    <a:pt x="1950" y="582"/>
                    <a:pt x="1948" y="584"/>
                    <a:pt x="1945" y="584"/>
                  </a:cubicBezTo>
                  <a:lnTo>
                    <a:pt x="1886" y="584"/>
                  </a:lnTo>
                  <a:lnTo>
                    <a:pt x="1885" y="587"/>
                  </a:lnTo>
                  <a:lnTo>
                    <a:pt x="2051" y="579"/>
                  </a:lnTo>
                  <a:cubicBezTo>
                    <a:pt x="2054" y="579"/>
                    <a:pt x="2056" y="581"/>
                    <a:pt x="2056" y="583"/>
                  </a:cubicBezTo>
                  <a:lnTo>
                    <a:pt x="2059" y="622"/>
                  </a:lnTo>
                  <a:lnTo>
                    <a:pt x="2085" y="573"/>
                  </a:lnTo>
                  <a:lnTo>
                    <a:pt x="2128" y="555"/>
                  </a:lnTo>
                  <a:lnTo>
                    <a:pt x="2157" y="493"/>
                  </a:lnTo>
                  <a:cubicBezTo>
                    <a:pt x="2158" y="491"/>
                    <a:pt x="2159" y="490"/>
                    <a:pt x="2161" y="490"/>
                  </a:cubicBezTo>
                  <a:lnTo>
                    <a:pt x="2242" y="486"/>
                  </a:lnTo>
                  <a:lnTo>
                    <a:pt x="2379" y="537"/>
                  </a:lnTo>
                  <a:cubicBezTo>
                    <a:pt x="2380" y="537"/>
                    <a:pt x="2381" y="538"/>
                    <a:pt x="2382" y="540"/>
                  </a:cubicBezTo>
                  <a:lnTo>
                    <a:pt x="2393" y="569"/>
                  </a:lnTo>
                  <a:lnTo>
                    <a:pt x="2426" y="554"/>
                  </a:lnTo>
                  <a:cubicBezTo>
                    <a:pt x="2427" y="554"/>
                    <a:pt x="2428" y="553"/>
                    <a:pt x="2428" y="553"/>
                  </a:cubicBezTo>
                  <a:cubicBezTo>
                    <a:pt x="2430" y="553"/>
                    <a:pt x="2431" y="554"/>
                    <a:pt x="2432" y="555"/>
                  </a:cubicBezTo>
                  <a:lnTo>
                    <a:pt x="2457" y="589"/>
                  </a:lnTo>
                  <a:cubicBezTo>
                    <a:pt x="2459" y="591"/>
                    <a:pt x="2459" y="593"/>
                    <a:pt x="2458" y="594"/>
                  </a:cubicBezTo>
                  <a:lnTo>
                    <a:pt x="2448" y="610"/>
                  </a:lnTo>
                  <a:lnTo>
                    <a:pt x="2476" y="617"/>
                  </a:lnTo>
                  <a:cubicBezTo>
                    <a:pt x="2477" y="617"/>
                    <a:pt x="2478" y="618"/>
                    <a:pt x="2479" y="619"/>
                  </a:cubicBezTo>
                  <a:cubicBezTo>
                    <a:pt x="2480" y="621"/>
                    <a:pt x="2480" y="622"/>
                    <a:pt x="2479" y="623"/>
                  </a:cubicBezTo>
                  <a:lnTo>
                    <a:pt x="2470" y="651"/>
                  </a:lnTo>
                  <a:lnTo>
                    <a:pt x="2536" y="622"/>
                  </a:lnTo>
                  <a:cubicBezTo>
                    <a:pt x="2537" y="621"/>
                    <a:pt x="2538" y="621"/>
                    <a:pt x="2538" y="621"/>
                  </a:cubicBezTo>
                  <a:cubicBezTo>
                    <a:pt x="2539" y="621"/>
                    <a:pt x="2540" y="621"/>
                    <a:pt x="2540" y="621"/>
                  </a:cubicBezTo>
                  <a:lnTo>
                    <a:pt x="2676" y="672"/>
                  </a:lnTo>
                  <a:lnTo>
                    <a:pt x="2839" y="672"/>
                  </a:lnTo>
                  <a:lnTo>
                    <a:pt x="2879" y="685"/>
                  </a:lnTo>
                  <a:lnTo>
                    <a:pt x="3079" y="846"/>
                  </a:lnTo>
                  <a:lnTo>
                    <a:pt x="3208" y="862"/>
                  </a:lnTo>
                  <a:cubicBezTo>
                    <a:pt x="3210" y="863"/>
                    <a:pt x="3211" y="863"/>
                    <a:pt x="3212" y="864"/>
                  </a:cubicBezTo>
                  <a:lnTo>
                    <a:pt x="3241" y="907"/>
                  </a:lnTo>
                  <a:lnTo>
                    <a:pt x="3263" y="1023"/>
                  </a:lnTo>
                  <a:lnTo>
                    <a:pt x="3229" y="1185"/>
                  </a:lnTo>
                  <a:lnTo>
                    <a:pt x="3139" y="1301"/>
                  </a:lnTo>
                  <a:lnTo>
                    <a:pt x="3054" y="1378"/>
                  </a:lnTo>
                  <a:lnTo>
                    <a:pt x="2987" y="1504"/>
                  </a:lnTo>
                  <a:lnTo>
                    <a:pt x="2924" y="1538"/>
                  </a:lnTo>
                  <a:lnTo>
                    <a:pt x="2907" y="1642"/>
                  </a:lnTo>
                  <a:lnTo>
                    <a:pt x="2920" y="1759"/>
                  </a:lnTo>
                  <a:lnTo>
                    <a:pt x="2899" y="1917"/>
                  </a:lnTo>
                  <a:lnTo>
                    <a:pt x="2864" y="1970"/>
                  </a:lnTo>
                  <a:lnTo>
                    <a:pt x="2848" y="2078"/>
                  </a:lnTo>
                  <a:lnTo>
                    <a:pt x="2750" y="2236"/>
                  </a:lnTo>
                  <a:lnTo>
                    <a:pt x="2734" y="2298"/>
                  </a:lnTo>
                  <a:lnTo>
                    <a:pt x="2664" y="2351"/>
                  </a:lnTo>
                  <a:lnTo>
                    <a:pt x="2648" y="2380"/>
                  </a:lnTo>
                  <a:cubicBezTo>
                    <a:pt x="2648" y="2381"/>
                    <a:pt x="2646" y="2382"/>
                    <a:pt x="2645" y="2382"/>
                  </a:cubicBezTo>
                  <a:lnTo>
                    <a:pt x="2457" y="2390"/>
                  </a:lnTo>
                  <a:lnTo>
                    <a:pt x="2445" y="2417"/>
                  </a:lnTo>
                  <a:cubicBezTo>
                    <a:pt x="2445" y="2418"/>
                    <a:pt x="2444" y="2419"/>
                    <a:pt x="2443" y="2420"/>
                  </a:cubicBezTo>
                  <a:lnTo>
                    <a:pt x="2273" y="2492"/>
                  </a:lnTo>
                  <a:lnTo>
                    <a:pt x="2139" y="2618"/>
                  </a:lnTo>
                  <a:lnTo>
                    <a:pt x="2106" y="2680"/>
                  </a:lnTo>
                  <a:lnTo>
                    <a:pt x="2115" y="2753"/>
                  </a:lnTo>
                  <a:lnTo>
                    <a:pt x="2128" y="2777"/>
                  </a:lnTo>
                  <a:cubicBezTo>
                    <a:pt x="2128" y="2779"/>
                    <a:pt x="2128" y="2780"/>
                    <a:pt x="2127" y="2782"/>
                  </a:cubicBezTo>
                  <a:lnTo>
                    <a:pt x="2119" y="2795"/>
                  </a:lnTo>
                  <a:lnTo>
                    <a:pt x="2107" y="2886"/>
                  </a:lnTo>
                  <a:lnTo>
                    <a:pt x="2012" y="2990"/>
                  </a:lnTo>
                  <a:lnTo>
                    <a:pt x="1971" y="3094"/>
                  </a:lnTo>
                  <a:lnTo>
                    <a:pt x="1907" y="3188"/>
                  </a:lnTo>
                  <a:lnTo>
                    <a:pt x="1804" y="3269"/>
                  </a:lnTo>
                  <a:lnTo>
                    <a:pt x="1789" y="3326"/>
                  </a:lnTo>
                  <a:lnTo>
                    <a:pt x="1712" y="3413"/>
                  </a:lnTo>
                  <a:cubicBezTo>
                    <a:pt x="1711" y="3414"/>
                    <a:pt x="1709" y="3414"/>
                    <a:pt x="1708" y="3414"/>
                  </a:cubicBezTo>
                  <a:cubicBezTo>
                    <a:pt x="1708" y="3415"/>
                    <a:pt x="1707" y="3414"/>
                    <a:pt x="1706" y="3414"/>
                  </a:cubicBezTo>
                  <a:cubicBezTo>
                    <a:pt x="1705" y="3414"/>
                    <a:pt x="1703" y="3412"/>
                    <a:pt x="1703" y="341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2" name="Freeform 97"/>
            <p:cNvSpPr>
              <a:spLocks noChangeArrowheads="1"/>
            </p:cNvSpPr>
            <p:nvPr/>
          </p:nvSpPr>
          <p:spPr bwMode="auto">
            <a:xfrm>
              <a:off x="2552700" y="3584575"/>
              <a:ext cx="1174750" cy="1230313"/>
            </a:xfrm>
            <a:custGeom>
              <a:avLst/>
              <a:gdLst/>
              <a:ahLst/>
              <a:cxnLst>
                <a:cxn ang="0">
                  <a:pos x="1696" y="3348"/>
                </a:cxn>
                <a:cxn ang="0">
                  <a:pos x="1561" y="3168"/>
                </a:cxn>
                <a:cxn ang="0">
                  <a:pos x="1485" y="3143"/>
                </a:cxn>
                <a:cxn ang="0">
                  <a:pos x="1356" y="3068"/>
                </a:cxn>
                <a:cxn ang="0">
                  <a:pos x="1674" y="2764"/>
                </a:cxn>
                <a:cxn ang="0">
                  <a:pos x="1611" y="2630"/>
                </a:cxn>
                <a:cxn ang="0">
                  <a:pos x="1538" y="2471"/>
                </a:cxn>
                <a:cxn ang="0">
                  <a:pos x="1404" y="2331"/>
                </a:cxn>
                <a:cxn ang="0">
                  <a:pos x="1316" y="2132"/>
                </a:cxn>
                <a:cxn ang="0">
                  <a:pos x="1291" y="1887"/>
                </a:cxn>
                <a:cxn ang="0">
                  <a:pos x="1144" y="1799"/>
                </a:cxn>
                <a:cxn ang="0">
                  <a:pos x="1058" y="1561"/>
                </a:cxn>
                <a:cxn ang="0">
                  <a:pos x="902" y="1515"/>
                </a:cxn>
                <a:cxn ang="0">
                  <a:pos x="723" y="1429"/>
                </a:cxn>
                <a:cxn ang="0">
                  <a:pos x="599" y="1253"/>
                </a:cxn>
                <a:cxn ang="0">
                  <a:pos x="294" y="1358"/>
                </a:cxn>
                <a:cxn ang="0">
                  <a:pos x="276" y="1341"/>
                </a:cxn>
                <a:cxn ang="0">
                  <a:pos x="141" y="1259"/>
                </a:cxn>
                <a:cxn ang="0">
                  <a:pos x="72" y="1213"/>
                </a:cxn>
                <a:cxn ang="0">
                  <a:pos x="1" y="1060"/>
                </a:cxn>
                <a:cxn ang="0">
                  <a:pos x="116" y="852"/>
                </a:cxn>
                <a:cxn ang="0">
                  <a:pos x="352" y="479"/>
                </a:cxn>
                <a:cxn ang="0">
                  <a:pos x="318" y="384"/>
                </a:cxn>
                <a:cxn ang="0">
                  <a:pos x="335" y="343"/>
                </a:cxn>
                <a:cxn ang="0">
                  <a:pos x="459" y="284"/>
                </a:cxn>
                <a:cxn ang="0">
                  <a:pos x="474" y="264"/>
                </a:cxn>
                <a:cxn ang="0">
                  <a:pos x="539" y="265"/>
                </a:cxn>
                <a:cxn ang="0">
                  <a:pos x="589" y="322"/>
                </a:cxn>
                <a:cxn ang="0">
                  <a:pos x="823" y="273"/>
                </a:cxn>
                <a:cxn ang="0">
                  <a:pos x="805" y="234"/>
                </a:cxn>
                <a:cxn ang="0">
                  <a:pos x="763" y="107"/>
                </a:cxn>
                <a:cxn ang="0">
                  <a:pos x="765" y="72"/>
                </a:cxn>
                <a:cxn ang="0">
                  <a:pos x="1107" y="0"/>
                </a:cxn>
                <a:cxn ang="0">
                  <a:pos x="1193" y="60"/>
                </a:cxn>
                <a:cxn ang="0">
                  <a:pos x="1186" y="135"/>
                </a:cxn>
                <a:cxn ang="0">
                  <a:pos x="1196" y="282"/>
                </a:cxn>
                <a:cxn ang="0">
                  <a:pos x="1459" y="271"/>
                </a:cxn>
                <a:cxn ang="0">
                  <a:pos x="1585" y="220"/>
                </a:cxn>
                <a:cxn ang="0">
                  <a:pos x="1790" y="217"/>
                </a:cxn>
                <a:cxn ang="0">
                  <a:pos x="1885" y="82"/>
                </a:cxn>
                <a:cxn ang="0">
                  <a:pos x="2013" y="303"/>
                </a:cxn>
                <a:cxn ang="0">
                  <a:pos x="1938" y="495"/>
                </a:cxn>
                <a:cxn ang="0">
                  <a:pos x="1931" y="519"/>
                </a:cxn>
                <a:cxn ang="0">
                  <a:pos x="1945" y="584"/>
                </a:cxn>
                <a:cxn ang="0">
                  <a:pos x="2056" y="583"/>
                </a:cxn>
                <a:cxn ang="0">
                  <a:pos x="2157" y="493"/>
                </a:cxn>
                <a:cxn ang="0">
                  <a:pos x="2382" y="540"/>
                </a:cxn>
                <a:cxn ang="0">
                  <a:pos x="2432" y="555"/>
                </a:cxn>
                <a:cxn ang="0">
                  <a:pos x="2476" y="617"/>
                </a:cxn>
                <a:cxn ang="0">
                  <a:pos x="2536" y="622"/>
                </a:cxn>
                <a:cxn ang="0">
                  <a:pos x="2839" y="672"/>
                </a:cxn>
                <a:cxn ang="0">
                  <a:pos x="3212" y="864"/>
                </a:cxn>
                <a:cxn ang="0">
                  <a:pos x="3139" y="1301"/>
                </a:cxn>
                <a:cxn ang="0">
                  <a:pos x="2907" y="1642"/>
                </a:cxn>
                <a:cxn ang="0">
                  <a:pos x="2848" y="2078"/>
                </a:cxn>
                <a:cxn ang="0">
                  <a:pos x="2648" y="2380"/>
                </a:cxn>
                <a:cxn ang="0">
                  <a:pos x="2443" y="2420"/>
                </a:cxn>
                <a:cxn ang="0">
                  <a:pos x="2115" y="2753"/>
                </a:cxn>
                <a:cxn ang="0">
                  <a:pos x="2107" y="2886"/>
                </a:cxn>
                <a:cxn ang="0">
                  <a:pos x="1804" y="3269"/>
                </a:cxn>
                <a:cxn ang="0">
                  <a:pos x="1706" y="3414"/>
                </a:cxn>
              </a:cxnLst>
              <a:rect l="0" t="0" r="r" b="b"/>
              <a:pathLst>
                <a:path w="3264" h="3416">
                  <a:moveTo>
                    <a:pt x="1706" y="3414"/>
                  </a:moveTo>
                  <a:cubicBezTo>
                    <a:pt x="1705" y="3414"/>
                    <a:pt x="1703" y="3412"/>
                    <a:pt x="1703" y="3410"/>
                  </a:cubicBezTo>
                  <a:lnTo>
                    <a:pt x="1695" y="3351"/>
                  </a:lnTo>
                  <a:cubicBezTo>
                    <a:pt x="1695" y="3350"/>
                    <a:pt x="1695" y="3349"/>
                    <a:pt x="1696" y="3348"/>
                  </a:cubicBezTo>
                  <a:lnTo>
                    <a:pt x="1727" y="3309"/>
                  </a:lnTo>
                  <a:lnTo>
                    <a:pt x="1688" y="3278"/>
                  </a:lnTo>
                  <a:lnTo>
                    <a:pt x="1670" y="3234"/>
                  </a:lnTo>
                  <a:lnTo>
                    <a:pt x="1561" y="3168"/>
                  </a:lnTo>
                  <a:lnTo>
                    <a:pt x="1525" y="3128"/>
                  </a:lnTo>
                  <a:lnTo>
                    <a:pt x="1489" y="3143"/>
                  </a:lnTo>
                  <a:cubicBezTo>
                    <a:pt x="1489" y="3144"/>
                    <a:pt x="1488" y="3144"/>
                    <a:pt x="1487" y="3144"/>
                  </a:cubicBezTo>
                  <a:cubicBezTo>
                    <a:pt x="1487" y="3144"/>
                    <a:pt x="1486" y="3144"/>
                    <a:pt x="1485" y="3143"/>
                  </a:cubicBezTo>
                  <a:cubicBezTo>
                    <a:pt x="1484" y="3143"/>
                    <a:pt x="1483" y="3141"/>
                    <a:pt x="1483" y="3140"/>
                  </a:cubicBezTo>
                  <a:lnTo>
                    <a:pt x="1474" y="3102"/>
                  </a:lnTo>
                  <a:lnTo>
                    <a:pt x="1423" y="3059"/>
                  </a:lnTo>
                  <a:lnTo>
                    <a:pt x="1356" y="3068"/>
                  </a:lnTo>
                  <a:cubicBezTo>
                    <a:pt x="1354" y="3068"/>
                    <a:pt x="1353" y="3067"/>
                    <a:pt x="1352" y="3065"/>
                  </a:cubicBezTo>
                  <a:cubicBezTo>
                    <a:pt x="1351" y="3063"/>
                    <a:pt x="1351" y="3061"/>
                    <a:pt x="1353" y="3060"/>
                  </a:cubicBezTo>
                  <a:lnTo>
                    <a:pt x="1599" y="2802"/>
                  </a:lnTo>
                  <a:lnTo>
                    <a:pt x="1674" y="2764"/>
                  </a:lnTo>
                  <a:lnTo>
                    <a:pt x="1686" y="2694"/>
                  </a:lnTo>
                  <a:lnTo>
                    <a:pt x="1666" y="2640"/>
                  </a:lnTo>
                  <a:lnTo>
                    <a:pt x="1614" y="2632"/>
                  </a:lnTo>
                  <a:cubicBezTo>
                    <a:pt x="1613" y="2632"/>
                    <a:pt x="1612" y="2631"/>
                    <a:pt x="1611" y="2630"/>
                  </a:cubicBezTo>
                  <a:cubicBezTo>
                    <a:pt x="1610" y="2629"/>
                    <a:pt x="1610" y="2628"/>
                    <a:pt x="1610" y="2626"/>
                  </a:cubicBezTo>
                  <a:lnTo>
                    <a:pt x="1627" y="2525"/>
                  </a:lnTo>
                  <a:lnTo>
                    <a:pt x="1623" y="2475"/>
                  </a:lnTo>
                  <a:lnTo>
                    <a:pt x="1538" y="2471"/>
                  </a:lnTo>
                  <a:cubicBezTo>
                    <a:pt x="1536" y="2471"/>
                    <a:pt x="1534" y="2470"/>
                    <a:pt x="1534" y="2467"/>
                  </a:cubicBezTo>
                  <a:lnTo>
                    <a:pt x="1505" y="2335"/>
                  </a:lnTo>
                  <a:lnTo>
                    <a:pt x="1460" y="2318"/>
                  </a:lnTo>
                  <a:lnTo>
                    <a:pt x="1404" y="2331"/>
                  </a:lnTo>
                  <a:lnTo>
                    <a:pt x="1334" y="2310"/>
                  </a:lnTo>
                  <a:cubicBezTo>
                    <a:pt x="1332" y="2309"/>
                    <a:pt x="1331" y="2308"/>
                    <a:pt x="1331" y="2306"/>
                  </a:cubicBezTo>
                  <a:lnTo>
                    <a:pt x="1314" y="2137"/>
                  </a:lnTo>
                  <a:cubicBezTo>
                    <a:pt x="1313" y="2135"/>
                    <a:pt x="1314" y="2133"/>
                    <a:pt x="1316" y="2132"/>
                  </a:cubicBezTo>
                  <a:lnTo>
                    <a:pt x="1331" y="2125"/>
                  </a:lnTo>
                  <a:lnTo>
                    <a:pt x="1347" y="1958"/>
                  </a:lnTo>
                  <a:lnTo>
                    <a:pt x="1323" y="1899"/>
                  </a:lnTo>
                  <a:lnTo>
                    <a:pt x="1291" y="1887"/>
                  </a:lnTo>
                  <a:cubicBezTo>
                    <a:pt x="1289" y="1886"/>
                    <a:pt x="1288" y="1884"/>
                    <a:pt x="1288" y="1882"/>
                  </a:cubicBezTo>
                  <a:lnTo>
                    <a:pt x="1288" y="1811"/>
                  </a:lnTo>
                  <a:lnTo>
                    <a:pt x="1148" y="1803"/>
                  </a:lnTo>
                  <a:cubicBezTo>
                    <a:pt x="1146" y="1802"/>
                    <a:pt x="1145" y="1801"/>
                    <a:pt x="1144" y="1799"/>
                  </a:cubicBezTo>
                  <a:lnTo>
                    <a:pt x="1115" y="1715"/>
                  </a:lnTo>
                  <a:lnTo>
                    <a:pt x="1131" y="1663"/>
                  </a:lnTo>
                  <a:lnTo>
                    <a:pt x="1089" y="1576"/>
                  </a:lnTo>
                  <a:lnTo>
                    <a:pt x="1058" y="1561"/>
                  </a:lnTo>
                  <a:lnTo>
                    <a:pt x="1009" y="1561"/>
                  </a:lnTo>
                  <a:cubicBezTo>
                    <a:pt x="1008" y="1561"/>
                    <a:pt x="1007" y="1561"/>
                    <a:pt x="1006" y="1560"/>
                  </a:cubicBezTo>
                  <a:lnTo>
                    <a:pt x="972" y="1531"/>
                  </a:lnTo>
                  <a:lnTo>
                    <a:pt x="902" y="1515"/>
                  </a:lnTo>
                  <a:cubicBezTo>
                    <a:pt x="901" y="1515"/>
                    <a:pt x="900" y="1514"/>
                    <a:pt x="899" y="1513"/>
                  </a:cubicBezTo>
                  <a:lnTo>
                    <a:pt x="879" y="1485"/>
                  </a:lnTo>
                  <a:lnTo>
                    <a:pt x="780" y="1468"/>
                  </a:lnTo>
                  <a:lnTo>
                    <a:pt x="723" y="1429"/>
                  </a:lnTo>
                  <a:lnTo>
                    <a:pt x="700" y="1377"/>
                  </a:lnTo>
                  <a:lnTo>
                    <a:pt x="712" y="1277"/>
                  </a:lnTo>
                  <a:lnTo>
                    <a:pt x="697" y="1240"/>
                  </a:lnTo>
                  <a:lnTo>
                    <a:pt x="599" y="1253"/>
                  </a:lnTo>
                  <a:lnTo>
                    <a:pt x="529" y="1323"/>
                  </a:lnTo>
                  <a:lnTo>
                    <a:pt x="460" y="1358"/>
                  </a:lnTo>
                  <a:lnTo>
                    <a:pt x="352" y="1346"/>
                  </a:lnTo>
                  <a:lnTo>
                    <a:pt x="294" y="1358"/>
                  </a:lnTo>
                  <a:lnTo>
                    <a:pt x="293" y="1358"/>
                  </a:lnTo>
                  <a:cubicBezTo>
                    <a:pt x="292" y="1358"/>
                    <a:pt x="291" y="1358"/>
                    <a:pt x="290" y="1357"/>
                  </a:cubicBezTo>
                  <a:lnTo>
                    <a:pt x="277" y="1344"/>
                  </a:lnTo>
                  <a:cubicBezTo>
                    <a:pt x="276" y="1343"/>
                    <a:pt x="276" y="1342"/>
                    <a:pt x="276" y="1341"/>
                  </a:cubicBezTo>
                  <a:lnTo>
                    <a:pt x="276" y="1214"/>
                  </a:lnTo>
                  <a:lnTo>
                    <a:pt x="190" y="1265"/>
                  </a:lnTo>
                  <a:lnTo>
                    <a:pt x="144" y="1261"/>
                  </a:lnTo>
                  <a:cubicBezTo>
                    <a:pt x="143" y="1261"/>
                    <a:pt x="141" y="1260"/>
                    <a:pt x="141" y="1259"/>
                  </a:cubicBezTo>
                  <a:lnTo>
                    <a:pt x="121" y="1223"/>
                  </a:lnTo>
                  <a:lnTo>
                    <a:pt x="77" y="1219"/>
                  </a:lnTo>
                  <a:cubicBezTo>
                    <a:pt x="75" y="1219"/>
                    <a:pt x="74" y="1218"/>
                    <a:pt x="73" y="1217"/>
                  </a:cubicBezTo>
                  <a:cubicBezTo>
                    <a:pt x="73" y="1216"/>
                    <a:pt x="72" y="1215"/>
                    <a:pt x="72" y="1213"/>
                  </a:cubicBezTo>
                  <a:lnTo>
                    <a:pt x="76" y="1178"/>
                  </a:lnTo>
                  <a:lnTo>
                    <a:pt x="23" y="1124"/>
                  </a:lnTo>
                  <a:lnTo>
                    <a:pt x="1" y="1063"/>
                  </a:lnTo>
                  <a:cubicBezTo>
                    <a:pt x="0" y="1062"/>
                    <a:pt x="0" y="1061"/>
                    <a:pt x="1" y="1060"/>
                  </a:cubicBezTo>
                  <a:lnTo>
                    <a:pt x="30" y="992"/>
                  </a:lnTo>
                  <a:lnTo>
                    <a:pt x="60" y="974"/>
                  </a:lnTo>
                  <a:lnTo>
                    <a:pt x="64" y="922"/>
                  </a:lnTo>
                  <a:lnTo>
                    <a:pt x="116" y="852"/>
                  </a:lnTo>
                  <a:lnTo>
                    <a:pt x="185" y="808"/>
                  </a:lnTo>
                  <a:lnTo>
                    <a:pt x="319" y="770"/>
                  </a:lnTo>
                  <a:lnTo>
                    <a:pt x="369" y="536"/>
                  </a:lnTo>
                  <a:lnTo>
                    <a:pt x="352" y="479"/>
                  </a:lnTo>
                  <a:lnTo>
                    <a:pt x="315" y="452"/>
                  </a:lnTo>
                  <a:cubicBezTo>
                    <a:pt x="314" y="451"/>
                    <a:pt x="314" y="450"/>
                    <a:pt x="314" y="448"/>
                  </a:cubicBezTo>
                  <a:lnTo>
                    <a:pt x="314" y="389"/>
                  </a:lnTo>
                  <a:cubicBezTo>
                    <a:pt x="314" y="386"/>
                    <a:pt x="316" y="384"/>
                    <a:pt x="318" y="384"/>
                  </a:cubicBezTo>
                  <a:lnTo>
                    <a:pt x="388" y="380"/>
                  </a:lnTo>
                  <a:lnTo>
                    <a:pt x="375" y="351"/>
                  </a:lnTo>
                  <a:lnTo>
                    <a:pt x="339" y="347"/>
                  </a:lnTo>
                  <a:cubicBezTo>
                    <a:pt x="337" y="347"/>
                    <a:pt x="335" y="345"/>
                    <a:pt x="335" y="343"/>
                  </a:cubicBezTo>
                  <a:lnTo>
                    <a:pt x="331" y="289"/>
                  </a:lnTo>
                  <a:cubicBezTo>
                    <a:pt x="331" y="287"/>
                    <a:pt x="331" y="286"/>
                    <a:pt x="332" y="285"/>
                  </a:cubicBezTo>
                  <a:cubicBezTo>
                    <a:pt x="333" y="284"/>
                    <a:pt x="334" y="284"/>
                    <a:pt x="335" y="284"/>
                  </a:cubicBezTo>
                  <a:lnTo>
                    <a:pt x="459" y="284"/>
                  </a:lnTo>
                  <a:lnTo>
                    <a:pt x="467" y="265"/>
                  </a:lnTo>
                  <a:cubicBezTo>
                    <a:pt x="467" y="264"/>
                    <a:pt x="468" y="263"/>
                    <a:pt x="470" y="263"/>
                  </a:cubicBezTo>
                  <a:lnTo>
                    <a:pt x="471" y="263"/>
                  </a:lnTo>
                  <a:cubicBezTo>
                    <a:pt x="472" y="263"/>
                    <a:pt x="473" y="263"/>
                    <a:pt x="474" y="264"/>
                  </a:cubicBezTo>
                  <a:lnTo>
                    <a:pt x="493" y="279"/>
                  </a:lnTo>
                  <a:lnTo>
                    <a:pt x="533" y="263"/>
                  </a:lnTo>
                  <a:cubicBezTo>
                    <a:pt x="533" y="263"/>
                    <a:pt x="534" y="263"/>
                    <a:pt x="535" y="263"/>
                  </a:cubicBezTo>
                  <a:cubicBezTo>
                    <a:pt x="536" y="263"/>
                    <a:pt x="538" y="264"/>
                    <a:pt x="539" y="265"/>
                  </a:cubicBezTo>
                  <a:lnTo>
                    <a:pt x="570" y="331"/>
                  </a:lnTo>
                  <a:lnTo>
                    <a:pt x="583" y="322"/>
                  </a:lnTo>
                  <a:cubicBezTo>
                    <a:pt x="583" y="321"/>
                    <a:pt x="585" y="321"/>
                    <a:pt x="585" y="321"/>
                  </a:cubicBezTo>
                  <a:cubicBezTo>
                    <a:pt x="587" y="321"/>
                    <a:pt x="588" y="321"/>
                    <a:pt x="589" y="322"/>
                  </a:cubicBezTo>
                  <a:lnTo>
                    <a:pt x="630" y="363"/>
                  </a:lnTo>
                  <a:lnTo>
                    <a:pt x="691" y="363"/>
                  </a:lnTo>
                  <a:lnTo>
                    <a:pt x="799" y="305"/>
                  </a:lnTo>
                  <a:lnTo>
                    <a:pt x="823" y="273"/>
                  </a:lnTo>
                  <a:lnTo>
                    <a:pt x="877" y="251"/>
                  </a:lnTo>
                  <a:lnTo>
                    <a:pt x="877" y="242"/>
                  </a:lnTo>
                  <a:lnTo>
                    <a:pt x="810" y="238"/>
                  </a:lnTo>
                  <a:cubicBezTo>
                    <a:pt x="808" y="238"/>
                    <a:pt x="806" y="236"/>
                    <a:pt x="805" y="234"/>
                  </a:cubicBezTo>
                  <a:lnTo>
                    <a:pt x="797" y="179"/>
                  </a:lnTo>
                  <a:lnTo>
                    <a:pt x="801" y="134"/>
                  </a:lnTo>
                  <a:lnTo>
                    <a:pt x="765" y="110"/>
                  </a:lnTo>
                  <a:cubicBezTo>
                    <a:pt x="764" y="110"/>
                    <a:pt x="763" y="108"/>
                    <a:pt x="763" y="107"/>
                  </a:cubicBezTo>
                  <a:lnTo>
                    <a:pt x="759" y="78"/>
                  </a:lnTo>
                  <a:cubicBezTo>
                    <a:pt x="759" y="76"/>
                    <a:pt x="759" y="74"/>
                    <a:pt x="760" y="73"/>
                  </a:cubicBezTo>
                  <a:cubicBezTo>
                    <a:pt x="761" y="73"/>
                    <a:pt x="762" y="72"/>
                    <a:pt x="763" y="72"/>
                  </a:cubicBezTo>
                  <a:cubicBezTo>
                    <a:pt x="763" y="72"/>
                    <a:pt x="764" y="72"/>
                    <a:pt x="765" y="72"/>
                  </a:cubicBezTo>
                  <a:lnTo>
                    <a:pt x="909" y="110"/>
                  </a:lnTo>
                  <a:lnTo>
                    <a:pt x="1078" y="48"/>
                  </a:lnTo>
                  <a:lnTo>
                    <a:pt x="1102" y="3"/>
                  </a:lnTo>
                  <a:cubicBezTo>
                    <a:pt x="1103" y="1"/>
                    <a:pt x="1105" y="0"/>
                    <a:pt x="1107" y="0"/>
                  </a:cubicBezTo>
                  <a:lnTo>
                    <a:pt x="1157" y="0"/>
                  </a:lnTo>
                  <a:cubicBezTo>
                    <a:pt x="1160" y="0"/>
                    <a:pt x="1162" y="2"/>
                    <a:pt x="1162" y="5"/>
                  </a:cubicBezTo>
                  <a:lnTo>
                    <a:pt x="1166" y="52"/>
                  </a:lnTo>
                  <a:lnTo>
                    <a:pt x="1193" y="60"/>
                  </a:lnTo>
                  <a:cubicBezTo>
                    <a:pt x="1194" y="60"/>
                    <a:pt x="1195" y="61"/>
                    <a:pt x="1196" y="63"/>
                  </a:cubicBezTo>
                  <a:lnTo>
                    <a:pt x="1209" y="110"/>
                  </a:lnTo>
                  <a:cubicBezTo>
                    <a:pt x="1209" y="111"/>
                    <a:pt x="1209" y="113"/>
                    <a:pt x="1207" y="114"/>
                  </a:cubicBezTo>
                  <a:lnTo>
                    <a:pt x="1186" y="135"/>
                  </a:lnTo>
                  <a:lnTo>
                    <a:pt x="1175" y="223"/>
                  </a:lnTo>
                  <a:lnTo>
                    <a:pt x="1195" y="243"/>
                  </a:lnTo>
                  <a:cubicBezTo>
                    <a:pt x="1195" y="244"/>
                    <a:pt x="1196" y="245"/>
                    <a:pt x="1196" y="246"/>
                  </a:cubicBezTo>
                  <a:lnTo>
                    <a:pt x="1196" y="282"/>
                  </a:lnTo>
                  <a:lnTo>
                    <a:pt x="1224" y="306"/>
                  </a:lnTo>
                  <a:lnTo>
                    <a:pt x="1276" y="321"/>
                  </a:lnTo>
                  <a:lnTo>
                    <a:pt x="1397" y="263"/>
                  </a:lnTo>
                  <a:lnTo>
                    <a:pt x="1459" y="271"/>
                  </a:lnTo>
                  <a:lnTo>
                    <a:pt x="1501" y="275"/>
                  </a:lnTo>
                  <a:lnTo>
                    <a:pt x="1513" y="232"/>
                  </a:lnTo>
                  <a:cubicBezTo>
                    <a:pt x="1513" y="230"/>
                    <a:pt x="1515" y="229"/>
                    <a:pt x="1517" y="229"/>
                  </a:cubicBezTo>
                  <a:lnTo>
                    <a:pt x="1585" y="220"/>
                  </a:lnTo>
                  <a:lnTo>
                    <a:pt x="1629" y="238"/>
                  </a:lnTo>
                  <a:lnTo>
                    <a:pt x="1668" y="263"/>
                  </a:lnTo>
                  <a:lnTo>
                    <a:pt x="1741" y="254"/>
                  </a:lnTo>
                  <a:lnTo>
                    <a:pt x="1790" y="217"/>
                  </a:lnTo>
                  <a:lnTo>
                    <a:pt x="1865" y="95"/>
                  </a:lnTo>
                  <a:lnTo>
                    <a:pt x="1878" y="82"/>
                  </a:lnTo>
                  <a:cubicBezTo>
                    <a:pt x="1879" y="81"/>
                    <a:pt x="1881" y="81"/>
                    <a:pt x="1882" y="81"/>
                  </a:cubicBezTo>
                  <a:cubicBezTo>
                    <a:pt x="1883" y="81"/>
                    <a:pt x="1884" y="81"/>
                    <a:pt x="1885" y="82"/>
                  </a:cubicBezTo>
                  <a:lnTo>
                    <a:pt x="1910" y="103"/>
                  </a:lnTo>
                  <a:lnTo>
                    <a:pt x="1970" y="281"/>
                  </a:lnTo>
                  <a:lnTo>
                    <a:pt x="2011" y="297"/>
                  </a:lnTo>
                  <a:cubicBezTo>
                    <a:pt x="2013" y="298"/>
                    <a:pt x="2014" y="300"/>
                    <a:pt x="2013" y="303"/>
                  </a:cubicBezTo>
                  <a:lnTo>
                    <a:pt x="1996" y="352"/>
                  </a:lnTo>
                  <a:lnTo>
                    <a:pt x="1887" y="471"/>
                  </a:lnTo>
                  <a:lnTo>
                    <a:pt x="1894" y="525"/>
                  </a:lnTo>
                  <a:lnTo>
                    <a:pt x="1938" y="495"/>
                  </a:lnTo>
                  <a:cubicBezTo>
                    <a:pt x="1939" y="494"/>
                    <a:pt x="1940" y="494"/>
                    <a:pt x="1941" y="494"/>
                  </a:cubicBezTo>
                  <a:cubicBezTo>
                    <a:pt x="1942" y="494"/>
                    <a:pt x="1944" y="495"/>
                    <a:pt x="1945" y="496"/>
                  </a:cubicBezTo>
                  <a:cubicBezTo>
                    <a:pt x="1946" y="497"/>
                    <a:pt x="1946" y="500"/>
                    <a:pt x="1945" y="502"/>
                  </a:cubicBezTo>
                  <a:lnTo>
                    <a:pt x="1931" y="519"/>
                  </a:lnTo>
                  <a:lnTo>
                    <a:pt x="1948" y="533"/>
                  </a:lnTo>
                  <a:cubicBezTo>
                    <a:pt x="1949" y="534"/>
                    <a:pt x="1950" y="536"/>
                    <a:pt x="1950" y="537"/>
                  </a:cubicBezTo>
                  <a:lnTo>
                    <a:pt x="1950" y="579"/>
                  </a:lnTo>
                  <a:cubicBezTo>
                    <a:pt x="1950" y="582"/>
                    <a:pt x="1948" y="584"/>
                    <a:pt x="1945" y="584"/>
                  </a:cubicBezTo>
                  <a:lnTo>
                    <a:pt x="1886" y="584"/>
                  </a:lnTo>
                  <a:lnTo>
                    <a:pt x="1885" y="587"/>
                  </a:lnTo>
                  <a:lnTo>
                    <a:pt x="2051" y="579"/>
                  </a:lnTo>
                  <a:cubicBezTo>
                    <a:pt x="2054" y="579"/>
                    <a:pt x="2056" y="581"/>
                    <a:pt x="2056" y="583"/>
                  </a:cubicBezTo>
                  <a:lnTo>
                    <a:pt x="2059" y="622"/>
                  </a:lnTo>
                  <a:lnTo>
                    <a:pt x="2085" y="573"/>
                  </a:lnTo>
                  <a:lnTo>
                    <a:pt x="2128" y="555"/>
                  </a:lnTo>
                  <a:lnTo>
                    <a:pt x="2157" y="493"/>
                  </a:lnTo>
                  <a:cubicBezTo>
                    <a:pt x="2158" y="491"/>
                    <a:pt x="2159" y="490"/>
                    <a:pt x="2161" y="490"/>
                  </a:cubicBezTo>
                  <a:lnTo>
                    <a:pt x="2242" y="486"/>
                  </a:lnTo>
                  <a:lnTo>
                    <a:pt x="2379" y="537"/>
                  </a:lnTo>
                  <a:cubicBezTo>
                    <a:pt x="2380" y="537"/>
                    <a:pt x="2381" y="538"/>
                    <a:pt x="2382" y="540"/>
                  </a:cubicBezTo>
                  <a:lnTo>
                    <a:pt x="2393" y="569"/>
                  </a:lnTo>
                  <a:lnTo>
                    <a:pt x="2426" y="554"/>
                  </a:lnTo>
                  <a:cubicBezTo>
                    <a:pt x="2427" y="554"/>
                    <a:pt x="2428" y="553"/>
                    <a:pt x="2428" y="553"/>
                  </a:cubicBezTo>
                  <a:cubicBezTo>
                    <a:pt x="2430" y="553"/>
                    <a:pt x="2431" y="554"/>
                    <a:pt x="2432" y="555"/>
                  </a:cubicBezTo>
                  <a:lnTo>
                    <a:pt x="2457" y="589"/>
                  </a:lnTo>
                  <a:cubicBezTo>
                    <a:pt x="2459" y="591"/>
                    <a:pt x="2459" y="593"/>
                    <a:pt x="2458" y="594"/>
                  </a:cubicBezTo>
                  <a:lnTo>
                    <a:pt x="2448" y="610"/>
                  </a:lnTo>
                  <a:lnTo>
                    <a:pt x="2476" y="617"/>
                  </a:lnTo>
                  <a:cubicBezTo>
                    <a:pt x="2477" y="617"/>
                    <a:pt x="2478" y="618"/>
                    <a:pt x="2479" y="619"/>
                  </a:cubicBezTo>
                  <a:cubicBezTo>
                    <a:pt x="2480" y="621"/>
                    <a:pt x="2480" y="622"/>
                    <a:pt x="2479" y="623"/>
                  </a:cubicBezTo>
                  <a:lnTo>
                    <a:pt x="2470" y="651"/>
                  </a:lnTo>
                  <a:lnTo>
                    <a:pt x="2536" y="622"/>
                  </a:lnTo>
                  <a:cubicBezTo>
                    <a:pt x="2537" y="621"/>
                    <a:pt x="2538" y="621"/>
                    <a:pt x="2538" y="621"/>
                  </a:cubicBezTo>
                  <a:cubicBezTo>
                    <a:pt x="2539" y="621"/>
                    <a:pt x="2540" y="621"/>
                    <a:pt x="2540" y="621"/>
                  </a:cubicBezTo>
                  <a:lnTo>
                    <a:pt x="2676" y="672"/>
                  </a:lnTo>
                  <a:lnTo>
                    <a:pt x="2839" y="672"/>
                  </a:lnTo>
                  <a:lnTo>
                    <a:pt x="2879" y="685"/>
                  </a:lnTo>
                  <a:lnTo>
                    <a:pt x="3079" y="846"/>
                  </a:lnTo>
                  <a:lnTo>
                    <a:pt x="3208" y="862"/>
                  </a:lnTo>
                  <a:cubicBezTo>
                    <a:pt x="3210" y="863"/>
                    <a:pt x="3211" y="863"/>
                    <a:pt x="3212" y="864"/>
                  </a:cubicBezTo>
                  <a:lnTo>
                    <a:pt x="3241" y="907"/>
                  </a:lnTo>
                  <a:lnTo>
                    <a:pt x="3263" y="1023"/>
                  </a:lnTo>
                  <a:lnTo>
                    <a:pt x="3229" y="1185"/>
                  </a:lnTo>
                  <a:lnTo>
                    <a:pt x="3139" y="1301"/>
                  </a:lnTo>
                  <a:lnTo>
                    <a:pt x="3054" y="1378"/>
                  </a:lnTo>
                  <a:lnTo>
                    <a:pt x="2987" y="1504"/>
                  </a:lnTo>
                  <a:lnTo>
                    <a:pt x="2924" y="1538"/>
                  </a:lnTo>
                  <a:lnTo>
                    <a:pt x="2907" y="1642"/>
                  </a:lnTo>
                  <a:lnTo>
                    <a:pt x="2920" y="1759"/>
                  </a:lnTo>
                  <a:lnTo>
                    <a:pt x="2899" y="1917"/>
                  </a:lnTo>
                  <a:lnTo>
                    <a:pt x="2864" y="1970"/>
                  </a:lnTo>
                  <a:lnTo>
                    <a:pt x="2848" y="2078"/>
                  </a:lnTo>
                  <a:lnTo>
                    <a:pt x="2750" y="2236"/>
                  </a:lnTo>
                  <a:lnTo>
                    <a:pt x="2734" y="2298"/>
                  </a:lnTo>
                  <a:lnTo>
                    <a:pt x="2664" y="2351"/>
                  </a:lnTo>
                  <a:lnTo>
                    <a:pt x="2648" y="2380"/>
                  </a:lnTo>
                  <a:cubicBezTo>
                    <a:pt x="2648" y="2381"/>
                    <a:pt x="2646" y="2382"/>
                    <a:pt x="2645" y="2382"/>
                  </a:cubicBezTo>
                  <a:lnTo>
                    <a:pt x="2457" y="2390"/>
                  </a:lnTo>
                  <a:lnTo>
                    <a:pt x="2445" y="2417"/>
                  </a:lnTo>
                  <a:cubicBezTo>
                    <a:pt x="2445" y="2418"/>
                    <a:pt x="2444" y="2419"/>
                    <a:pt x="2443" y="2420"/>
                  </a:cubicBezTo>
                  <a:lnTo>
                    <a:pt x="2273" y="2492"/>
                  </a:lnTo>
                  <a:lnTo>
                    <a:pt x="2139" y="2618"/>
                  </a:lnTo>
                  <a:lnTo>
                    <a:pt x="2106" y="2680"/>
                  </a:lnTo>
                  <a:lnTo>
                    <a:pt x="2115" y="2753"/>
                  </a:lnTo>
                  <a:lnTo>
                    <a:pt x="2128" y="2777"/>
                  </a:lnTo>
                  <a:cubicBezTo>
                    <a:pt x="2128" y="2779"/>
                    <a:pt x="2128" y="2780"/>
                    <a:pt x="2127" y="2782"/>
                  </a:cubicBezTo>
                  <a:lnTo>
                    <a:pt x="2119" y="2795"/>
                  </a:lnTo>
                  <a:lnTo>
                    <a:pt x="2107" y="2886"/>
                  </a:lnTo>
                  <a:lnTo>
                    <a:pt x="2012" y="2990"/>
                  </a:lnTo>
                  <a:lnTo>
                    <a:pt x="1971" y="3094"/>
                  </a:lnTo>
                  <a:lnTo>
                    <a:pt x="1907" y="3188"/>
                  </a:lnTo>
                  <a:lnTo>
                    <a:pt x="1804" y="3269"/>
                  </a:lnTo>
                  <a:lnTo>
                    <a:pt x="1789" y="3326"/>
                  </a:lnTo>
                  <a:lnTo>
                    <a:pt x="1712" y="3413"/>
                  </a:lnTo>
                  <a:cubicBezTo>
                    <a:pt x="1711" y="3414"/>
                    <a:pt x="1709" y="3414"/>
                    <a:pt x="1708" y="3414"/>
                  </a:cubicBezTo>
                  <a:cubicBezTo>
                    <a:pt x="1708" y="3415"/>
                    <a:pt x="1707" y="3414"/>
                    <a:pt x="1706" y="341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3" name="Freeform 98"/>
            <p:cNvSpPr>
              <a:spLocks noChangeArrowheads="1"/>
            </p:cNvSpPr>
            <p:nvPr/>
          </p:nvSpPr>
          <p:spPr bwMode="auto">
            <a:xfrm>
              <a:off x="3235325" y="3738563"/>
              <a:ext cx="20638" cy="25400"/>
            </a:xfrm>
            <a:custGeom>
              <a:avLst/>
              <a:gdLst/>
              <a:ahLst/>
              <a:cxnLst>
                <a:cxn ang="0">
                  <a:pos x="9" y="66"/>
                </a:cxn>
                <a:cxn ang="0">
                  <a:pos x="0" y="44"/>
                </a:cxn>
                <a:cxn ang="0">
                  <a:pos x="1" y="40"/>
                </a:cxn>
                <a:cxn ang="0">
                  <a:pos x="22" y="14"/>
                </a:cxn>
                <a:cxn ang="0">
                  <a:pos x="49" y="0"/>
                </a:cxn>
                <a:cxn ang="0">
                  <a:pos x="51" y="0"/>
                </a:cxn>
                <a:cxn ang="0">
                  <a:pos x="55" y="2"/>
                </a:cxn>
                <a:cxn ang="0">
                  <a:pos x="55" y="8"/>
                </a:cxn>
                <a:cxn ang="0">
                  <a:pos x="43" y="19"/>
                </a:cxn>
                <a:cxn ang="0">
                  <a:pos x="52" y="21"/>
                </a:cxn>
                <a:cxn ang="0">
                  <a:pos x="56" y="25"/>
                </a:cxn>
                <a:cxn ang="0">
                  <a:pos x="55" y="29"/>
                </a:cxn>
                <a:cxn ang="0">
                  <a:pos x="16" y="67"/>
                </a:cxn>
                <a:cxn ang="0">
                  <a:pos x="13" y="69"/>
                </a:cxn>
                <a:cxn ang="0">
                  <a:pos x="12" y="68"/>
                </a:cxn>
                <a:cxn ang="0">
                  <a:pos x="9" y="66"/>
                </a:cxn>
              </a:cxnLst>
              <a:rect l="0" t="0" r="r" b="b"/>
              <a:pathLst>
                <a:path w="57" h="70">
                  <a:moveTo>
                    <a:pt x="9" y="66"/>
                  </a:moveTo>
                  <a:lnTo>
                    <a:pt x="0" y="44"/>
                  </a:lnTo>
                  <a:cubicBezTo>
                    <a:pt x="0" y="43"/>
                    <a:pt x="0" y="41"/>
                    <a:pt x="1" y="40"/>
                  </a:cubicBezTo>
                  <a:lnTo>
                    <a:pt x="22" y="14"/>
                  </a:lnTo>
                  <a:lnTo>
                    <a:pt x="49" y="0"/>
                  </a:lnTo>
                  <a:cubicBezTo>
                    <a:pt x="50" y="0"/>
                    <a:pt x="51" y="0"/>
                    <a:pt x="51" y="0"/>
                  </a:cubicBezTo>
                  <a:cubicBezTo>
                    <a:pt x="53" y="0"/>
                    <a:pt x="54" y="1"/>
                    <a:pt x="55" y="2"/>
                  </a:cubicBezTo>
                  <a:cubicBezTo>
                    <a:pt x="56" y="4"/>
                    <a:pt x="56" y="6"/>
                    <a:pt x="55" y="8"/>
                  </a:cubicBezTo>
                  <a:lnTo>
                    <a:pt x="43" y="19"/>
                  </a:lnTo>
                  <a:lnTo>
                    <a:pt x="52" y="21"/>
                  </a:lnTo>
                  <a:cubicBezTo>
                    <a:pt x="54" y="22"/>
                    <a:pt x="55" y="23"/>
                    <a:pt x="56" y="25"/>
                  </a:cubicBezTo>
                  <a:cubicBezTo>
                    <a:pt x="56" y="26"/>
                    <a:pt x="56" y="28"/>
                    <a:pt x="55" y="29"/>
                  </a:cubicBezTo>
                  <a:lnTo>
                    <a:pt x="16" y="67"/>
                  </a:lnTo>
                  <a:cubicBezTo>
                    <a:pt x="16" y="68"/>
                    <a:pt x="14" y="69"/>
                    <a:pt x="13" y="69"/>
                  </a:cubicBezTo>
                  <a:lnTo>
                    <a:pt x="12" y="68"/>
                  </a:lnTo>
                  <a:cubicBezTo>
                    <a:pt x="11" y="68"/>
                    <a:pt x="9" y="67"/>
                    <a:pt x="9" y="6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4" name="Freeform 99"/>
            <p:cNvSpPr>
              <a:spLocks noChangeArrowheads="1"/>
            </p:cNvSpPr>
            <p:nvPr/>
          </p:nvSpPr>
          <p:spPr bwMode="auto">
            <a:xfrm>
              <a:off x="3235325" y="3738563"/>
              <a:ext cx="20638" cy="25400"/>
            </a:xfrm>
            <a:custGeom>
              <a:avLst/>
              <a:gdLst/>
              <a:ahLst/>
              <a:cxnLst>
                <a:cxn ang="0">
                  <a:pos x="12" y="68"/>
                </a:cxn>
                <a:cxn ang="0">
                  <a:pos x="9" y="66"/>
                </a:cxn>
                <a:cxn ang="0">
                  <a:pos x="0" y="44"/>
                </a:cxn>
                <a:cxn ang="0">
                  <a:pos x="1" y="40"/>
                </a:cxn>
                <a:cxn ang="0">
                  <a:pos x="22" y="14"/>
                </a:cxn>
                <a:cxn ang="0">
                  <a:pos x="49" y="0"/>
                </a:cxn>
                <a:cxn ang="0">
                  <a:pos x="51" y="0"/>
                </a:cxn>
                <a:cxn ang="0">
                  <a:pos x="55" y="2"/>
                </a:cxn>
                <a:cxn ang="0">
                  <a:pos x="55" y="8"/>
                </a:cxn>
                <a:cxn ang="0">
                  <a:pos x="43" y="19"/>
                </a:cxn>
                <a:cxn ang="0">
                  <a:pos x="52" y="21"/>
                </a:cxn>
                <a:cxn ang="0">
                  <a:pos x="56" y="25"/>
                </a:cxn>
                <a:cxn ang="0">
                  <a:pos x="55" y="29"/>
                </a:cxn>
                <a:cxn ang="0">
                  <a:pos x="16" y="67"/>
                </a:cxn>
                <a:cxn ang="0">
                  <a:pos x="13" y="69"/>
                </a:cxn>
                <a:cxn ang="0">
                  <a:pos x="12" y="68"/>
                </a:cxn>
              </a:cxnLst>
              <a:rect l="0" t="0" r="r" b="b"/>
              <a:pathLst>
                <a:path w="57" h="70">
                  <a:moveTo>
                    <a:pt x="12" y="68"/>
                  </a:moveTo>
                  <a:cubicBezTo>
                    <a:pt x="11" y="68"/>
                    <a:pt x="9" y="67"/>
                    <a:pt x="9" y="66"/>
                  </a:cubicBezTo>
                  <a:lnTo>
                    <a:pt x="0" y="44"/>
                  </a:lnTo>
                  <a:cubicBezTo>
                    <a:pt x="0" y="43"/>
                    <a:pt x="0" y="41"/>
                    <a:pt x="1" y="40"/>
                  </a:cubicBezTo>
                  <a:lnTo>
                    <a:pt x="22" y="14"/>
                  </a:lnTo>
                  <a:lnTo>
                    <a:pt x="49" y="0"/>
                  </a:lnTo>
                  <a:cubicBezTo>
                    <a:pt x="50" y="0"/>
                    <a:pt x="51" y="0"/>
                    <a:pt x="51" y="0"/>
                  </a:cubicBezTo>
                  <a:cubicBezTo>
                    <a:pt x="53" y="0"/>
                    <a:pt x="54" y="1"/>
                    <a:pt x="55" y="2"/>
                  </a:cubicBezTo>
                  <a:cubicBezTo>
                    <a:pt x="56" y="4"/>
                    <a:pt x="56" y="6"/>
                    <a:pt x="55" y="8"/>
                  </a:cubicBezTo>
                  <a:lnTo>
                    <a:pt x="43" y="19"/>
                  </a:lnTo>
                  <a:lnTo>
                    <a:pt x="52" y="21"/>
                  </a:lnTo>
                  <a:cubicBezTo>
                    <a:pt x="54" y="22"/>
                    <a:pt x="55" y="23"/>
                    <a:pt x="56" y="25"/>
                  </a:cubicBezTo>
                  <a:cubicBezTo>
                    <a:pt x="56" y="26"/>
                    <a:pt x="56" y="28"/>
                    <a:pt x="55" y="29"/>
                  </a:cubicBezTo>
                  <a:lnTo>
                    <a:pt x="16" y="67"/>
                  </a:lnTo>
                  <a:cubicBezTo>
                    <a:pt x="16" y="68"/>
                    <a:pt x="14" y="69"/>
                    <a:pt x="13" y="69"/>
                  </a:cubicBezTo>
                  <a:lnTo>
                    <a:pt x="12" y="6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5" name="Freeform 100"/>
            <p:cNvSpPr>
              <a:spLocks noChangeArrowheads="1"/>
            </p:cNvSpPr>
            <p:nvPr/>
          </p:nvSpPr>
          <p:spPr bwMode="auto">
            <a:xfrm>
              <a:off x="3279775" y="3733800"/>
              <a:ext cx="11113" cy="11113"/>
            </a:xfrm>
            <a:custGeom>
              <a:avLst/>
              <a:gdLst/>
              <a:ahLst/>
              <a:cxnLst>
                <a:cxn ang="0">
                  <a:pos x="2" y="29"/>
                </a:cxn>
                <a:cxn ang="0">
                  <a:pos x="1" y="24"/>
                </a:cxn>
                <a:cxn ang="0">
                  <a:pos x="14" y="2"/>
                </a:cxn>
                <a:cxn ang="0">
                  <a:pos x="18" y="0"/>
                </a:cxn>
                <a:cxn ang="0">
                  <a:pos x="18" y="0"/>
                </a:cxn>
                <a:cxn ang="0">
                  <a:pos x="22" y="2"/>
                </a:cxn>
                <a:cxn ang="0">
                  <a:pos x="31" y="15"/>
                </a:cxn>
                <a:cxn ang="0">
                  <a:pos x="31" y="19"/>
                </a:cxn>
                <a:cxn ang="0">
                  <a:pos x="28" y="22"/>
                </a:cxn>
                <a:cxn ang="0">
                  <a:pos x="7" y="30"/>
                </a:cxn>
                <a:cxn ang="0">
                  <a:pos x="6" y="31"/>
                </a:cxn>
                <a:cxn ang="0">
                  <a:pos x="2" y="29"/>
                </a:cxn>
              </a:cxnLst>
              <a:rect l="0" t="0" r="r" b="b"/>
              <a:pathLst>
                <a:path w="33" h="32">
                  <a:moveTo>
                    <a:pt x="2" y="29"/>
                  </a:moveTo>
                  <a:cubicBezTo>
                    <a:pt x="1" y="28"/>
                    <a:pt x="0" y="25"/>
                    <a:pt x="1" y="24"/>
                  </a:cubicBezTo>
                  <a:lnTo>
                    <a:pt x="14" y="2"/>
                  </a:lnTo>
                  <a:cubicBezTo>
                    <a:pt x="15" y="1"/>
                    <a:pt x="17" y="0"/>
                    <a:pt x="18" y="0"/>
                  </a:cubicBezTo>
                  <a:lnTo>
                    <a:pt x="18" y="0"/>
                  </a:lnTo>
                  <a:cubicBezTo>
                    <a:pt x="20" y="0"/>
                    <a:pt x="21" y="1"/>
                    <a:pt x="22" y="2"/>
                  </a:cubicBezTo>
                  <a:lnTo>
                    <a:pt x="31" y="15"/>
                  </a:lnTo>
                  <a:cubicBezTo>
                    <a:pt x="31" y="16"/>
                    <a:pt x="32" y="18"/>
                    <a:pt x="31" y="19"/>
                  </a:cubicBezTo>
                  <a:cubicBezTo>
                    <a:pt x="31" y="20"/>
                    <a:pt x="30" y="21"/>
                    <a:pt x="28" y="22"/>
                  </a:cubicBezTo>
                  <a:lnTo>
                    <a:pt x="7" y="30"/>
                  </a:lnTo>
                  <a:cubicBezTo>
                    <a:pt x="7" y="31"/>
                    <a:pt x="6" y="31"/>
                    <a:pt x="6" y="31"/>
                  </a:cubicBezTo>
                  <a:cubicBezTo>
                    <a:pt x="4" y="31"/>
                    <a:pt x="3" y="30"/>
                    <a:pt x="2" y="2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6" name="Freeform 101"/>
            <p:cNvSpPr>
              <a:spLocks noChangeArrowheads="1"/>
            </p:cNvSpPr>
            <p:nvPr/>
          </p:nvSpPr>
          <p:spPr bwMode="auto">
            <a:xfrm>
              <a:off x="3279775" y="3733800"/>
              <a:ext cx="11113" cy="11113"/>
            </a:xfrm>
            <a:custGeom>
              <a:avLst/>
              <a:gdLst/>
              <a:ahLst/>
              <a:cxnLst>
                <a:cxn ang="0">
                  <a:pos x="6" y="31"/>
                </a:cxn>
                <a:cxn ang="0">
                  <a:pos x="2" y="29"/>
                </a:cxn>
                <a:cxn ang="0">
                  <a:pos x="1" y="24"/>
                </a:cxn>
                <a:cxn ang="0">
                  <a:pos x="14" y="2"/>
                </a:cxn>
                <a:cxn ang="0">
                  <a:pos x="18" y="0"/>
                </a:cxn>
                <a:cxn ang="0">
                  <a:pos x="18" y="0"/>
                </a:cxn>
                <a:cxn ang="0">
                  <a:pos x="22" y="2"/>
                </a:cxn>
                <a:cxn ang="0">
                  <a:pos x="31" y="15"/>
                </a:cxn>
                <a:cxn ang="0">
                  <a:pos x="31" y="19"/>
                </a:cxn>
                <a:cxn ang="0">
                  <a:pos x="28" y="22"/>
                </a:cxn>
                <a:cxn ang="0">
                  <a:pos x="7" y="30"/>
                </a:cxn>
                <a:cxn ang="0">
                  <a:pos x="6" y="31"/>
                </a:cxn>
              </a:cxnLst>
              <a:rect l="0" t="0" r="r" b="b"/>
              <a:pathLst>
                <a:path w="33" h="32">
                  <a:moveTo>
                    <a:pt x="6" y="31"/>
                  </a:moveTo>
                  <a:cubicBezTo>
                    <a:pt x="4" y="31"/>
                    <a:pt x="3" y="30"/>
                    <a:pt x="2" y="29"/>
                  </a:cubicBezTo>
                  <a:cubicBezTo>
                    <a:pt x="1" y="28"/>
                    <a:pt x="0" y="25"/>
                    <a:pt x="1" y="24"/>
                  </a:cubicBezTo>
                  <a:lnTo>
                    <a:pt x="14" y="2"/>
                  </a:lnTo>
                  <a:cubicBezTo>
                    <a:pt x="15" y="1"/>
                    <a:pt x="17" y="0"/>
                    <a:pt x="18" y="0"/>
                  </a:cubicBezTo>
                  <a:lnTo>
                    <a:pt x="18" y="0"/>
                  </a:lnTo>
                  <a:cubicBezTo>
                    <a:pt x="20" y="0"/>
                    <a:pt x="21" y="1"/>
                    <a:pt x="22" y="2"/>
                  </a:cubicBezTo>
                  <a:lnTo>
                    <a:pt x="31" y="15"/>
                  </a:lnTo>
                  <a:cubicBezTo>
                    <a:pt x="31" y="16"/>
                    <a:pt x="32" y="18"/>
                    <a:pt x="31" y="19"/>
                  </a:cubicBezTo>
                  <a:cubicBezTo>
                    <a:pt x="31" y="20"/>
                    <a:pt x="30" y="21"/>
                    <a:pt x="28" y="22"/>
                  </a:cubicBezTo>
                  <a:lnTo>
                    <a:pt x="7" y="30"/>
                  </a:lnTo>
                  <a:cubicBezTo>
                    <a:pt x="7" y="31"/>
                    <a:pt x="6" y="31"/>
                    <a:pt x="6" y="3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7" name="Freeform 102"/>
            <p:cNvSpPr>
              <a:spLocks noChangeArrowheads="1"/>
            </p:cNvSpPr>
            <p:nvPr/>
          </p:nvSpPr>
          <p:spPr bwMode="auto">
            <a:xfrm>
              <a:off x="3257550" y="3724275"/>
              <a:ext cx="20638" cy="17463"/>
            </a:xfrm>
            <a:custGeom>
              <a:avLst/>
              <a:gdLst/>
              <a:ahLst/>
              <a:cxnLst>
                <a:cxn ang="0">
                  <a:pos x="13" y="43"/>
                </a:cxn>
                <a:cxn ang="0">
                  <a:pos x="9" y="40"/>
                </a:cxn>
                <a:cxn ang="0">
                  <a:pos x="1" y="19"/>
                </a:cxn>
                <a:cxn ang="0">
                  <a:pos x="3" y="13"/>
                </a:cxn>
                <a:cxn ang="0">
                  <a:pos x="19" y="0"/>
                </a:cxn>
                <a:cxn ang="0">
                  <a:pos x="22" y="0"/>
                </a:cxn>
                <a:cxn ang="0">
                  <a:pos x="26" y="1"/>
                </a:cxn>
                <a:cxn ang="0">
                  <a:pos x="56" y="39"/>
                </a:cxn>
                <a:cxn ang="0">
                  <a:pos x="56" y="45"/>
                </a:cxn>
                <a:cxn ang="0">
                  <a:pos x="52" y="47"/>
                </a:cxn>
                <a:cxn ang="0">
                  <a:pos x="13" y="43"/>
                </a:cxn>
              </a:cxnLst>
              <a:rect l="0" t="0" r="r" b="b"/>
              <a:pathLst>
                <a:path w="58" h="48">
                  <a:moveTo>
                    <a:pt x="13" y="43"/>
                  </a:moveTo>
                  <a:cubicBezTo>
                    <a:pt x="11" y="43"/>
                    <a:pt x="10" y="42"/>
                    <a:pt x="9" y="40"/>
                  </a:cubicBezTo>
                  <a:lnTo>
                    <a:pt x="1" y="19"/>
                  </a:lnTo>
                  <a:cubicBezTo>
                    <a:pt x="0" y="17"/>
                    <a:pt x="1" y="15"/>
                    <a:pt x="3" y="13"/>
                  </a:cubicBezTo>
                  <a:lnTo>
                    <a:pt x="19" y="0"/>
                  </a:lnTo>
                  <a:cubicBezTo>
                    <a:pt x="20" y="0"/>
                    <a:pt x="21" y="0"/>
                    <a:pt x="22" y="0"/>
                  </a:cubicBezTo>
                  <a:cubicBezTo>
                    <a:pt x="24" y="0"/>
                    <a:pt x="25" y="0"/>
                    <a:pt x="26" y="1"/>
                  </a:cubicBezTo>
                  <a:lnTo>
                    <a:pt x="56" y="39"/>
                  </a:lnTo>
                  <a:cubicBezTo>
                    <a:pt x="57" y="41"/>
                    <a:pt x="57" y="43"/>
                    <a:pt x="56" y="45"/>
                  </a:cubicBezTo>
                  <a:cubicBezTo>
                    <a:pt x="55" y="46"/>
                    <a:pt x="54" y="47"/>
                    <a:pt x="52" y="47"/>
                  </a:cubicBezTo>
                  <a:lnTo>
                    <a:pt x="13" y="4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8" name="Freeform 103"/>
            <p:cNvSpPr>
              <a:spLocks noChangeArrowheads="1"/>
            </p:cNvSpPr>
            <p:nvPr/>
          </p:nvSpPr>
          <p:spPr bwMode="auto">
            <a:xfrm>
              <a:off x="3257550" y="3724275"/>
              <a:ext cx="20638" cy="17463"/>
            </a:xfrm>
            <a:custGeom>
              <a:avLst/>
              <a:gdLst/>
              <a:ahLst/>
              <a:cxnLst>
                <a:cxn ang="0">
                  <a:pos x="13" y="43"/>
                </a:cxn>
                <a:cxn ang="0">
                  <a:pos x="9" y="40"/>
                </a:cxn>
                <a:cxn ang="0">
                  <a:pos x="1" y="19"/>
                </a:cxn>
                <a:cxn ang="0">
                  <a:pos x="3" y="13"/>
                </a:cxn>
                <a:cxn ang="0">
                  <a:pos x="19" y="0"/>
                </a:cxn>
                <a:cxn ang="0">
                  <a:pos x="22" y="0"/>
                </a:cxn>
                <a:cxn ang="0">
                  <a:pos x="26" y="1"/>
                </a:cxn>
                <a:cxn ang="0">
                  <a:pos x="56" y="39"/>
                </a:cxn>
                <a:cxn ang="0">
                  <a:pos x="56" y="45"/>
                </a:cxn>
                <a:cxn ang="0">
                  <a:pos x="52" y="47"/>
                </a:cxn>
                <a:cxn ang="0">
                  <a:pos x="13" y="43"/>
                </a:cxn>
              </a:cxnLst>
              <a:rect l="0" t="0" r="r" b="b"/>
              <a:pathLst>
                <a:path w="58" h="48">
                  <a:moveTo>
                    <a:pt x="13" y="43"/>
                  </a:moveTo>
                  <a:cubicBezTo>
                    <a:pt x="11" y="43"/>
                    <a:pt x="10" y="42"/>
                    <a:pt x="9" y="40"/>
                  </a:cubicBezTo>
                  <a:lnTo>
                    <a:pt x="1" y="19"/>
                  </a:lnTo>
                  <a:cubicBezTo>
                    <a:pt x="0" y="17"/>
                    <a:pt x="1" y="15"/>
                    <a:pt x="3" y="13"/>
                  </a:cubicBezTo>
                  <a:lnTo>
                    <a:pt x="19" y="0"/>
                  </a:lnTo>
                  <a:cubicBezTo>
                    <a:pt x="20" y="0"/>
                    <a:pt x="21" y="0"/>
                    <a:pt x="22" y="0"/>
                  </a:cubicBezTo>
                  <a:cubicBezTo>
                    <a:pt x="24" y="0"/>
                    <a:pt x="25" y="0"/>
                    <a:pt x="26" y="1"/>
                  </a:cubicBezTo>
                  <a:lnTo>
                    <a:pt x="56" y="39"/>
                  </a:lnTo>
                  <a:cubicBezTo>
                    <a:pt x="57" y="41"/>
                    <a:pt x="57" y="43"/>
                    <a:pt x="56" y="45"/>
                  </a:cubicBezTo>
                  <a:cubicBezTo>
                    <a:pt x="55" y="46"/>
                    <a:pt x="54" y="47"/>
                    <a:pt x="52" y="47"/>
                  </a:cubicBezTo>
                  <a:lnTo>
                    <a:pt x="13" y="4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9" name="Freeform 104"/>
            <p:cNvSpPr>
              <a:spLocks noChangeArrowheads="1"/>
            </p:cNvSpPr>
            <p:nvPr/>
          </p:nvSpPr>
          <p:spPr bwMode="auto">
            <a:xfrm>
              <a:off x="2551113" y="4270375"/>
              <a:ext cx="207962" cy="965200"/>
            </a:xfrm>
            <a:custGeom>
              <a:avLst/>
              <a:gdLst/>
              <a:ahLst/>
              <a:cxnLst>
                <a:cxn ang="0">
                  <a:pos x="98" y="2652"/>
                </a:cxn>
                <a:cxn ang="0">
                  <a:pos x="56" y="2617"/>
                </a:cxn>
                <a:cxn ang="0">
                  <a:pos x="68" y="2541"/>
                </a:cxn>
                <a:cxn ang="0">
                  <a:pos x="97" y="2484"/>
                </a:cxn>
                <a:cxn ang="0">
                  <a:pos x="91" y="2451"/>
                </a:cxn>
                <a:cxn ang="0">
                  <a:pos x="98" y="2419"/>
                </a:cxn>
                <a:cxn ang="0">
                  <a:pos x="112" y="2404"/>
                </a:cxn>
                <a:cxn ang="0">
                  <a:pos x="118" y="2405"/>
                </a:cxn>
                <a:cxn ang="0">
                  <a:pos x="119" y="2378"/>
                </a:cxn>
                <a:cxn ang="0">
                  <a:pos x="89" y="2371"/>
                </a:cxn>
                <a:cxn ang="0">
                  <a:pos x="125" y="2335"/>
                </a:cxn>
                <a:cxn ang="0">
                  <a:pos x="45" y="2353"/>
                </a:cxn>
                <a:cxn ang="0">
                  <a:pos x="39" y="2352"/>
                </a:cxn>
                <a:cxn ang="0">
                  <a:pos x="0" y="2306"/>
                </a:cxn>
                <a:cxn ang="0">
                  <a:pos x="42" y="2098"/>
                </a:cxn>
                <a:cxn ang="0">
                  <a:pos x="21" y="1866"/>
                </a:cxn>
                <a:cxn ang="0">
                  <a:pos x="59" y="1847"/>
                </a:cxn>
                <a:cxn ang="0">
                  <a:pos x="56" y="1796"/>
                </a:cxn>
                <a:cxn ang="0">
                  <a:pos x="77" y="1794"/>
                </a:cxn>
                <a:cxn ang="0">
                  <a:pos x="195" y="1375"/>
                </a:cxn>
                <a:cxn ang="0">
                  <a:pos x="182" y="1163"/>
                </a:cxn>
                <a:cxn ang="0">
                  <a:pos x="195" y="1029"/>
                </a:cxn>
                <a:cxn ang="0">
                  <a:pos x="258" y="741"/>
                </a:cxn>
                <a:cxn ang="0">
                  <a:pos x="271" y="513"/>
                </a:cxn>
                <a:cxn ang="0">
                  <a:pos x="309" y="356"/>
                </a:cxn>
                <a:cxn ang="0">
                  <a:pos x="275" y="61"/>
                </a:cxn>
                <a:cxn ang="0">
                  <a:pos x="336" y="39"/>
                </a:cxn>
                <a:cxn ang="0">
                  <a:pos x="360" y="0"/>
                </a:cxn>
                <a:cxn ang="0">
                  <a:pos x="364" y="2"/>
                </a:cxn>
                <a:cxn ang="0">
                  <a:pos x="412" y="121"/>
                </a:cxn>
                <a:cxn ang="0">
                  <a:pos x="450" y="153"/>
                </a:cxn>
                <a:cxn ang="0">
                  <a:pos x="448" y="203"/>
                </a:cxn>
                <a:cxn ang="0">
                  <a:pos x="429" y="237"/>
                </a:cxn>
                <a:cxn ang="0">
                  <a:pos x="500" y="462"/>
                </a:cxn>
                <a:cxn ang="0">
                  <a:pos x="564" y="469"/>
                </a:cxn>
                <a:cxn ang="0">
                  <a:pos x="560" y="577"/>
                </a:cxn>
                <a:cxn ang="0">
                  <a:pos x="458" y="626"/>
                </a:cxn>
                <a:cxn ang="0">
                  <a:pos x="471" y="842"/>
                </a:cxn>
                <a:cxn ang="0">
                  <a:pos x="422" y="876"/>
                </a:cxn>
                <a:cxn ang="0">
                  <a:pos x="368" y="960"/>
                </a:cxn>
                <a:cxn ang="0">
                  <a:pos x="331" y="1165"/>
                </a:cxn>
                <a:cxn ang="0">
                  <a:pos x="285" y="1300"/>
                </a:cxn>
                <a:cxn ang="0">
                  <a:pos x="344" y="1544"/>
                </a:cxn>
                <a:cxn ang="0">
                  <a:pos x="289" y="1739"/>
                </a:cxn>
                <a:cxn ang="0">
                  <a:pos x="237" y="1806"/>
                </a:cxn>
                <a:cxn ang="0">
                  <a:pos x="242" y="1997"/>
                </a:cxn>
                <a:cxn ang="0">
                  <a:pos x="183" y="2164"/>
                </a:cxn>
                <a:cxn ang="0">
                  <a:pos x="191" y="2356"/>
                </a:cxn>
                <a:cxn ang="0">
                  <a:pos x="157" y="2435"/>
                </a:cxn>
                <a:cxn ang="0">
                  <a:pos x="175" y="2641"/>
                </a:cxn>
                <a:cxn ang="0">
                  <a:pos x="212" y="2652"/>
                </a:cxn>
                <a:cxn ang="0">
                  <a:pos x="221" y="2677"/>
                </a:cxn>
                <a:cxn ang="0">
                  <a:pos x="211" y="2681"/>
                </a:cxn>
              </a:cxnLst>
              <a:rect l="0" t="0" r="r" b="b"/>
              <a:pathLst>
                <a:path w="578" h="2682">
                  <a:moveTo>
                    <a:pt x="100" y="2681"/>
                  </a:moveTo>
                  <a:lnTo>
                    <a:pt x="98" y="2652"/>
                  </a:lnTo>
                  <a:lnTo>
                    <a:pt x="57" y="2623"/>
                  </a:lnTo>
                  <a:cubicBezTo>
                    <a:pt x="55" y="2622"/>
                    <a:pt x="54" y="2619"/>
                    <a:pt x="56" y="2617"/>
                  </a:cubicBezTo>
                  <a:lnTo>
                    <a:pt x="84" y="2577"/>
                  </a:lnTo>
                  <a:lnTo>
                    <a:pt x="68" y="2541"/>
                  </a:lnTo>
                  <a:cubicBezTo>
                    <a:pt x="67" y="2540"/>
                    <a:pt x="68" y="2538"/>
                    <a:pt x="68" y="2537"/>
                  </a:cubicBezTo>
                  <a:lnTo>
                    <a:pt x="97" y="2484"/>
                  </a:lnTo>
                  <a:lnTo>
                    <a:pt x="89" y="2456"/>
                  </a:lnTo>
                  <a:cubicBezTo>
                    <a:pt x="89" y="2454"/>
                    <a:pt x="89" y="2452"/>
                    <a:pt x="91" y="2451"/>
                  </a:cubicBezTo>
                  <a:lnTo>
                    <a:pt x="109" y="2437"/>
                  </a:lnTo>
                  <a:lnTo>
                    <a:pt x="98" y="2419"/>
                  </a:lnTo>
                  <a:cubicBezTo>
                    <a:pt x="97" y="2417"/>
                    <a:pt x="97" y="2414"/>
                    <a:pt x="99" y="2413"/>
                  </a:cubicBezTo>
                  <a:lnTo>
                    <a:pt x="112" y="2404"/>
                  </a:lnTo>
                  <a:cubicBezTo>
                    <a:pt x="113" y="2404"/>
                    <a:pt x="114" y="2403"/>
                    <a:pt x="115" y="2403"/>
                  </a:cubicBezTo>
                  <a:cubicBezTo>
                    <a:pt x="116" y="2403"/>
                    <a:pt x="118" y="2404"/>
                    <a:pt x="118" y="2405"/>
                  </a:cubicBezTo>
                  <a:lnTo>
                    <a:pt x="121" y="2409"/>
                  </a:lnTo>
                  <a:lnTo>
                    <a:pt x="119" y="2378"/>
                  </a:lnTo>
                  <a:lnTo>
                    <a:pt x="93" y="2375"/>
                  </a:lnTo>
                  <a:cubicBezTo>
                    <a:pt x="91" y="2374"/>
                    <a:pt x="90" y="2373"/>
                    <a:pt x="89" y="2371"/>
                  </a:cubicBezTo>
                  <a:cubicBezTo>
                    <a:pt x="89" y="2370"/>
                    <a:pt x="89" y="2368"/>
                    <a:pt x="91" y="2367"/>
                  </a:cubicBezTo>
                  <a:lnTo>
                    <a:pt x="125" y="2335"/>
                  </a:lnTo>
                  <a:lnTo>
                    <a:pt x="82" y="2328"/>
                  </a:lnTo>
                  <a:lnTo>
                    <a:pt x="45" y="2353"/>
                  </a:lnTo>
                  <a:cubicBezTo>
                    <a:pt x="45" y="2353"/>
                    <a:pt x="44" y="2354"/>
                    <a:pt x="43" y="2354"/>
                  </a:cubicBezTo>
                  <a:cubicBezTo>
                    <a:pt x="41" y="2354"/>
                    <a:pt x="40" y="2353"/>
                    <a:pt x="39" y="2352"/>
                  </a:cubicBezTo>
                  <a:lnTo>
                    <a:pt x="1" y="2310"/>
                  </a:lnTo>
                  <a:cubicBezTo>
                    <a:pt x="0" y="2309"/>
                    <a:pt x="0" y="2307"/>
                    <a:pt x="0" y="2306"/>
                  </a:cubicBezTo>
                  <a:lnTo>
                    <a:pt x="17" y="2141"/>
                  </a:lnTo>
                  <a:lnTo>
                    <a:pt x="42" y="2098"/>
                  </a:lnTo>
                  <a:lnTo>
                    <a:pt x="21" y="1999"/>
                  </a:lnTo>
                  <a:lnTo>
                    <a:pt x="21" y="1866"/>
                  </a:lnTo>
                  <a:cubicBezTo>
                    <a:pt x="21" y="1865"/>
                    <a:pt x="22" y="1863"/>
                    <a:pt x="24" y="1862"/>
                  </a:cubicBezTo>
                  <a:lnTo>
                    <a:pt x="59" y="1847"/>
                  </a:lnTo>
                  <a:lnTo>
                    <a:pt x="55" y="1799"/>
                  </a:lnTo>
                  <a:cubicBezTo>
                    <a:pt x="55" y="1798"/>
                    <a:pt x="55" y="1797"/>
                    <a:pt x="56" y="1796"/>
                  </a:cubicBezTo>
                  <a:cubicBezTo>
                    <a:pt x="57" y="1795"/>
                    <a:pt x="58" y="1794"/>
                    <a:pt x="60" y="1794"/>
                  </a:cubicBezTo>
                  <a:lnTo>
                    <a:pt x="77" y="1794"/>
                  </a:lnTo>
                  <a:lnTo>
                    <a:pt x="182" y="1501"/>
                  </a:lnTo>
                  <a:lnTo>
                    <a:pt x="195" y="1375"/>
                  </a:lnTo>
                  <a:lnTo>
                    <a:pt x="174" y="1199"/>
                  </a:lnTo>
                  <a:lnTo>
                    <a:pt x="182" y="1163"/>
                  </a:lnTo>
                  <a:lnTo>
                    <a:pt x="207" y="1125"/>
                  </a:lnTo>
                  <a:lnTo>
                    <a:pt x="195" y="1029"/>
                  </a:lnTo>
                  <a:lnTo>
                    <a:pt x="259" y="833"/>
                  </a:lnTo>
                  <a:lnTo>
                    <a:pt x="258" y="741"/>
                  </a:lnTo>
                  <a:lnTo>
                    <a:pt x="280" y="689"/>
                  </a:lnTo>
                  <a:lnTo>
                    <a:pt x="271" y="513"/>
                  </a:lnTo>
                  <a:lnTo>
                    <a:pt x="297" y="472"/>
                  </a:lnTo>
                  <a:lnTo>
                    <a:pt x="309" y="356"/>
                  </a:lnTo>
                  <a:lnTo>
                    <a:pt x="301" y="217"/>
                  </a:lnTo>
                  <a:lnTo>
                    <a:pt x="275" y="61"/>
                  </a:lnTo>
                  <a:cubicBezTo>
                    <a:pt x="275" y="58"/>
                    <a:pt x="276" y="56"/>
                    <a:pt x="279" y="55"/>
                  </a:cubicBezTo>
                  <a:lnTo>
                    <a:pt x="336" y="39"/>
                  </a:lnTo>
                  <a:lnTo>
                    <a:pt x="356" y="3"/>
                  </a:lnTo>
                  <a:cubicBezTo>
                    <a:pt x="357" y="1"/>
                    <a:pt x="358" y="1"/>
                    <a:pt x="360" y="0"/>
                  </a:cubicBezTo>
                  <a:lnTo>
                    <a:pt x="361" y="0"/>
                  </a:lnTo>
                  <a:cubicBezTo>
                    <a:pt x="362" y="0"/>
                    <a:pt x="363" y="1"/>
                    <a:pt x="364" y="2"/>
                  </a:cubicBezTo>
                  <a:lnTo>
                    <a:pt x="402" y="40"/>
                  </a:lnTo>
                  <a:lnTo>
                    <a:pt x="412" y="121"/>
                  </a:lnTo>
                  <a:lnTo>
                    <a:pt x="448" y="149"/>
                  </a:lnTo>
                  <a:cubicBezTo>
                    <a:pt x="449" y="150"/>
                    <a:pt x="450" y="152"/>
                    <a:pt x="450" y="153"/>
                  </a:cubicBezTo>
                  <a:lnTo>
                    <a:pt x="450" y="200"/>
                  </a:lnTo>
                  <a:cubicBezTo>
                    <a:pt x="450" y="201"/>
                    <a:pt x="449" y="203"/>
                    <a:pt x="448" y="203"/>
                  </a:cubicBezTo>
                  <a:lnTo>
                    <a:pt x="432" y="215"/>
                  </a:lnTo>
                  <a:lnTo>
                    <a:pt x="429" y="237"/>
                  </a:lnTo>
                  <a:lnTo>
                    <a:pt x="470" y="299"/>
                  </a:lnTo>
                  <a:lnTo>
                    <a:pt x="500" y="462"/>
                  </a:lnTo>
                  <a:lnTo>
                    <a:pt x="560" y="466"/>
                  </a:lnTo>
                  <a:cubicBezTo>
                    <a:pt x="562" y="466"/>
                    <a:pt x="563" y="467"/>
                    <a:pt x="564" y="469"/>
                  </a:cubicBezTo>
                  <a:lnTo>
                    <a:pt x="577" y="507"/>
                  </a:lnTo>
                  <a:lnTo>
                    <a:pt x="560" y="577"/>
                  </a:lnTo>
                  <a:cubicBezTo>
                    <a:pt x="560" y="579"/>
                    <a:pt x="559" y="580"/>
                    <a:pt x="557" y="580"/>
                  </a:cubicBezTo>
                  <a:lnTo>
                    <a:pt x="458" y="626"/>
                  </a:lnTo>
                  <a:lnTo>
                    <a:pt x="450" y="716"/>
                  </a:lnTo>
                  <a:lnTo>
                    <a:pt x="471" y="842"/>
                  </a:lnTo>
                  <a:cubicBezTo>
                    <a:pt x="471" y="844"/>
                    <a:pt x="471" y="846"/>
                    <a:pt x="469" y="847"/>
                  </a:cubicBezTo>
                  <a:lnTo>
                    <a:pt x="422" y="876"/>
                  </a:lnTo>
                  <a:lnTo>
                    <a:pt x="407" y="916"/>
                  </a:lnTo>
                  <a:lnTo>
                    <a:pt x="368" y="960"/>
                  </a:lnTo>
                  <a:lnTo>
                    <a:pt x="340" y="1072"/>
                  </a:lnTo>
                  <a:lnTo>
                    <a:pt x="331" y="1165"/>
                  </a:lnTo>
                  <a:lnTo>
                    <a:pt x="289" y="1259"/>
                  </a:lnTo>
                  <a:lnTo>
                    <a:pt x="285" y="1300"/>
                  </a:lnTo>
                  <a:lnTo>
                    <a:pt x="331" y="1463"/>
                  </a:lnTo>
                  <a:lnTo>
                    <a:pt x="344" y="1544"/>
                  </a:lnTo>
                  <a:lnTo>
                    <a:pt x="284" y="1657"/>
                  </a:lnTo>
                  <a:lnTo>
                    <a:pt x="289" y="1739"/>
                  </a:lnTo>
                  <a:cubicBezTo>
                    <a:pt x="289" y="1740"/>
                    <a:pt x="289" y="1742"/>
                    <a:pt x="288" y="1743"/>
                  </a:cubicBezTo>
                  <a:lnTo>
                    <a:pt x="237" y="1806"/>
                  </a:lnTo>
                  <a:lnTo>
                    <a:pt x="234" y="1917"/>
                  </a:lnTo>
                  <a:lnTo>
                    <a:pt x="242" y="1997"/>
                  </a:lnTo>
                  <a:lnTo>
                    <a:pt x="216" y="2046"/>
                  </a:lnTo>
                  <a:lnTo>
                    <a:pt x="183" y="2164"/>
                  </a:lnTo>
                  <a:lnTo>
                    <a:pt x="170" y="2299"/>
                  </a:lnTo>
                  <a:lnTo>
                    <a:pt x="191" y="2356"/>
                  </a:lnTo>
                  <a:cubicBezTo>
                    <a:pt x="192" y="2357"/>
                    <a:pt x="192" y="2358"/>
                    <a:pt x="191" y="2359"/>
                  </a:cubicBezTo>
                  <a:lnTo>
                    <a:pt x="157" y="2435"/>
                  </a:lnTo>
                  <a:lnTo>
                    <a:pt x="179" y="2589"/>
                  </a:lnTo>
                  <a:lnTo>
                    <a:pt x="175" y="2641"/>
                  </a:lnTo>
                  <a:lnTo>
                    <a:pt x="209" y="2649"/>
                  </a:lnTo>
                  <a:cubicBezTo>
                    <a:pt x="211" y="2649"/>
                    <a:pt x="212" y="2650"/>
                    <a:pt x="212" y="2652"/>
                  </a:cubicBezTo>
                  <a:lnTo>
                    <a:pt x="221" y="2673"/>
                  </a:lnTo>
                  <a:lnTo>
                    <a:pt x="221" y="2677"/>
                  </a:lnTo>
                  <a:cubicBezTo>
                    <a:pt x="220" y="2678"/>
                    <a:pt x="219" y="2679"/>
                    <a:pt x="218" y="2679"/>
                  </a:cubicBezTo>
                  <a:lnTo>
                    <a:pt x="211" y="2681"/>
                  </a:lnTo>
                  <a:lnTo>
                    <a:pt x="100" y="268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0" name="Freeform 105"/>
            <p:cNvSpPr>
              <a:spLocks noChangeArrowheads="1"/>
            </p:cNvSpPr>
            <p:nvPr/>
          </p:nvSpPr>
          <p:spPr bwMode="auto">
            <a:xfrm>
              <a:off x="2551113" y="4270375"/>
              <a:ext cx="207962" cy="965200"/>
            </a:xfrm>
            <a:custGeom>
              <a:avLst/>
              <a:gdLst/>
              <a:ahLst/>
              <a:cxnLst>
                <a:cxn ang="0">
                  <a:pos x="98" y="2652"/>
                </a:cxn>
                <a:cxn ang="0">
                  <a:pos x="56" y="2617"/>
                </a:cxn>
                <a:cxn ang="0">
                  <a:pos x="68" y="2541"/>
                </a:cxn>
                <a:cxn ang="0">
                  <a:pos x="97" y="2484"/>
                </a:cxn>
                <a:cxn ang="0">
                  <a:pos x="91" y="2451"/>
                </a:cxn>
                <a:cxn ang="0">
                  <a:pos x="98" y="2419"/>
                </a:cxn>
                <a:cxn ang="0">
                  <a:pos x="112" y="2404"/>
                </a:cxn>
                <a:cxn ang="0">
                  <a:pos x="118" y="2405"/>
                </a:cxn>
                <a:cxn ang="0">
                  <a:pos x="119" y="2378"/>
                </a:cxn>
                <a:cxn ang="0">
                  <a:pos x="89" y="2371"/>
                </a:cxn>
                <a:cxn ang="0">
                  <a:pos x="125" y="2335"/>
                </a:cxn>
                <a:cxn ang="0">
                  <a:pos x="45" y="2353"/>
                </a:cxn>
                <a:cxn ang="0">
                  <a:pos x="39" y="2352"/>
                </a:cxn>
                <a:cxn ang="0">
                  <a:pos x="0" y="2306"/>
                </a:cxn>
                <a:cxn ang="0">
                  <a:pos x="42" y="2098"/>
                </a:cxn>
                <a:cxn ang="0">
                  <a:pos x="21" y="1866"/>
                </a:cxn>
                <a:cxn ang="0">
                  <a:pos x="59" y="1847"/>
                </a:cxn>
                <a:cxn ang="0">
                  <a:pos x="56" y="1796"/>
                </a:cxn>
                <a:cxn ang="0">
                  <a:pos x="77" y="1794"/>
                </a:cxn>
                <a:cxn ang="0">
                  <a:pos x="195" y="1375"/>
                </a:cxn>
                <a:cxn ang="0">
                  <a:pos x="182" y="1163"/>
                </a:cxn>
                <a:cxn ang="0">
                  <a:pos x="195" y="1029"/>
                </a:cxn>
                <a:cxn ang="0">
                  <a:pos x="258" y="741"/>
                </a:cxn>
                <a:cxn ang="0">
                  <a:pos x="271" y="513"/>
                </a:cxn>
                <a:cxn ang="0">
                  <a:pos x="309" y="356"/>
                </a:cxn>
                <a:cxn ang="0">
                  <a:pos x="275" y="61"/>
                </a:cxn>
                <a:cxn ang="0">
                  <a:pos x="336" y="39"/>
                </a:cxn>
                <a:cxn ang="0">
                  <a:pos x="360" y="0"/>
                </a:cxn>
                <a:cxn ang="0">
                  <a:pos x="364" y="2"/>
                </a:cxn>
                <a:cxn ang="0">
                  <a:pos x="412" y="121"/>
                </a:cxn>
                <a:cxn ang="0">
                  <a:pos x="450" y="153"/>
                </a:cxn>
                <a:cxn ang="0">
                  <a:pos x="448" y="203"/>
                </a:cxn>
                <a:cxn ang="0">
                  <a:pos x="429" y="237"/>
                </a:cxn>
                <a:cxn ang="0">
                  <a:pos x="500" y="462"/>
                </a:cxn>
                <a:cxn ang="0">
                  <a:pos x="564" y="469"/>
                </a:cxn>
                <a:cxn ang="0">
                  <a:pos x="560" y="577"/>
                </a:cxn>
                <a:cxn ang="0">
                  <a:pos x="458" y="626"/>
                </a:cxn>
                <a:cxn ang="0">
                  <a:pos x="471" y="842"/>
                </a:cxn>
                <a:cxn ang="0">
                  <a:pos x="422" y="876"/>
                </a:cxn>
                <a:cxn ang="0">
                  <a:pos x="368" y="960"/>
                </a:cxn>
                <a:cxn ang="0">
                  <a:pos x="331" y="1165"/>
                </a:cxn>
                <a:cxn ang="0">
                  <a:pos x="285" y="1300"/>
                </a:cxn>
                <a:cxn ang="0">
                  <a:pos x="344" y="1544"/>
                </a:cxn>
                <a:cxn ang="0">
                  <a:pos x="289" y="1739"/>
                </a:cxn>
                <a:cxn ang="0">
                  <a:pos x="237" y="1806"/>
                </a:cxn>
                <a:cxn ang="0">
                  <a:pos x="242" y="1997"/>
                </a:cxn>
                <a:cxn ang="0">
                  <a:pos x="183" y="2164"/>
                </a:cxn>
                <a:cxn ang="0">
                  <a:pos x="191" y="2356"/>
                </a:cxn>
                <a:cxn ang="0">
                  <a:pos x="157" y="2435"/>
                </a:cxn>
                <a:cxn ang="0">
                  <a:pos x="175" y="2641"/>
                </a:cxn>
                <a:cxn ang="0">
                  <a:pos x="212" y="2652"/>
                </a:cxn>
                <a:cxn ang="0">
                  <a:pos x="221" y="2677"/>
                </a:cxn>
                <a:cxn ang="0">
                  <a:pos x="211" y="2681"/>
                </a:cxn>
              </a:cxnLst>
              <a:rect l="0" t="0" r="r" b="b"/>
              <a:pathLst>
                <a:path w="578" h="2682">
                  <a:moveTo>
                    <a:pt x="100" y="2681"/>
                  </a:moveTo>
                  <a:lnTo>
                    <a:pt x="98" y="2652"/>
                  </a:lnTo>
                  <a:lnTo>
                    <a:pt x="57" y="2623"/>
                  </a:lnTo>
                  <a:cubicBezTo>
                    <a:pt x="55" y="2622"/>
                    <a:pt x="54" y="2619"/>
                    <a:pt x="56" y="2617"/>
                  </a:cubicBezTo>
                  <a:lnTo>
                    <a:pt x="84" y="2577"/>
                  </a:lnTo>
                  <a:lnTo>
                    <a:pt x="68" y="2541"/>
                  </a:lnTo>
                  <a:cubicBezTo>
                    <a:pt x="67" y="2540"/>
                    <a:pt x="68" y="2538"/>
                    <a:pt x="68" y="2537"/>
                  </a:cubicBezTo>
                  <a:lnTo>
                    <a:pt x="97" y="2484"/>
                  </a:lnTo>
                  <a:lnTo>
                    <a:pt x="89" y="2456"/>
                  </a:lnTo>
                  <a:cubicBezTo>
                    <a:pt x="89" y="2454"/>
                    <a:pt x="89" y="2452"/>
                    <a:pt x="91" y="2451"/>
                  </a:cubicBezTo>
                  <a:lnTo>
                    <a:pt x="109" y="2437"/>
                  </a:lnTo>
                  <a:lnTo>
                    <a:pt x="98" y="2419"/>
                  </a:lnTo>
                  <a:cubicBezTo>
                    <a:pt x="97" y="2417"/>
                    <a:pt x="97" y="2414"/>
                    <a:pt x="99" y="2413"/>
                  </a:cubicBezTo>
                  <a:lnTo>
                    <a:pt x="112" y="2404"/>
                  </a:lnTo>
                  <a:cubicBezTo>
                    <a:pt x="113" y="2404"/>
                    <a:pt x="114" y="2403"/>
                    <a:pt x="115" y="2403"/>
                  </a:cubicBezTo>
                  <a:cubicBezTo>
                    <a:pt x="116" y="2403"/>
                    <a:pt x="118" y="2404"/>
                    <a:pt x="118" y="2405"/>
                  </a:cubicBezTo>
                  <a:lnTo>
                    <a:pt x="121" y="2409"/>
                  </a:lnTo>
                  <a:lnTo>
                    <a:pt x="119" y="2378"/>
                  </a:lnTo>
                  <a:lnTo>
                    <a:pt x="93" y="2375"/>
                  </a:lnTo>
                  <a:cubicBezTo>
                    <a:pt x="91" y="2374"/>
                    <a:pt x="90" y="2373"/>
                    <a:pt x="89" y="2371"/>
                  </a:cubicBezTo>
                  <a:cubicBezTo>
                    <a:pt x="89" y="2370"/>
                    <a:pt x="89" y="2368"/>
                    <a:pt x="91" y="2367"/>
                  </a:cubicBezTo>
                  <a:lnTo>
                    <a:pt x="125" y="2335"/>
                  </a:lnTo>
                  <a:lnTo>
                    <a:pt x="82" y="2328"/>
                  </a:lnTo>
                  <a:lnTo>
                    <a:pt x="45" y="2353"/>
                  </a:lnTo>
                  <a:cubicBezTo>
                    <a:pt x="45" y="2353"/>
                    <a:pt x="44" y="2354"/>
                    <a:pt x="43" y="2354"/>
                  </a:cubicBezTo>
                  <a:cubicBezTo>
                    <a:pt x="41" y="2354"/>
                    <a:pt x="40" y="2353"/>
                    <a:pt x="39" y="2352"/>
                  </a:cubicBezTo>
                  <a:lnTo>
                    <a:pt x="1" y="2310"/>
                  </a:lnTo>
                  <a:cubicBezTo>
                    <a:pt x="0" y="2309"/>
                    <a:pt x="0" y="2307"/>
                    <a:pt x="0" y="2306"/>
                  </a:cubicBezTo>
                  <a:lnTo>
                    <a:pt x="17" y="2141"/>
                  </a:lnTo>
                  <a:lnTo>
                    <a:pt x="42" y="2098"/>
                  </a:lnTo>
                  <a:lnTo>
                    <a:pt x="21" y="1999"/>
                  </a:lnTo>
                  <a:lnTo>
                    <a:pt x="21" y="1866"/>
                  </a:lnTo>
                  <a:cubicBezTo>
                    <a:pt x="21" y="1865"/>
                    <a:pt x="22" y="1863"/>
                    <a:pt x="24" y="1862"/>
                  </a:cubicBezTo>
                  <a:lnTo>
                    <a:pt x="59" y="1847"/>
                  </a:lnTo>
                  <a:lnTo>
                    <a:pt x="55" y="1799"/>
                  </a:lnTo>
                  <a:cubicBezTo>
                    <a:pt x="55" y="1798"/>
                    <a:pt x="55" y="1797"/>
                    <a:pt x="56" y="1796"/>
                  </a:cubicBezTo>
                  <a:cubicBezTo>
                    <a:pt x="57" y="1795"/>
                    <a:pt x="58" y="1794"/>
                    <a:pt x="60" y="1794"/>
                  </a:cubicBezTo>
                  <a:lnTo>
                    <a:pt x="77" y="1794"/>
                  </a:lnTo>
                  <a:lnTo>
                    <a:pt x="182" y="1501"/>
                  </a:lnTo>
                  <a:lnTo>
                    <a:pt x="195" y="1375"/>
                  </a:lnTo>
                  <a:lnTo>
                    <a:pt x="174" y="1199"/>
                  </a:lnTo>
                  <a:lnTo>
                    <a:pt x="182" y="1163"/>
                  </a:lnTo>
                  <a:lnTo>
                    <a:pt x="207" y="1125"/>
                  </a:lnTo>
                  <a:lnTo>
                    <a:pt x="195" y="1029"/>
                  </a:lnTo>
                  <a:lnTo>
                    <a:pt x="259" y="833"/>
                  </a:lnTo>
                  <a:lnTo>
                    <a:pt x="258" y="741"/>
                  </a:lnTo>
                  <a:lnTo>
                    <a:pt x="280" y="689"/>
                  </a:lnTo>
                  <a:lnTo>
                    <a:pt x="271" y="513"/>
                  </a:lnTo>
                  <a:lnTo>
                    <a:pt x="297" y="472"/>
                  </a:lnTo>
                  <a:lnTo>
                    <a:pt x="309" y="356"/>
                  </a:lnTo>
                  <a:lnTo>
                    <a:pt x="301" y="217"/>
                  </a:lnTo>
                  <a:lnTo>
                    <a:pt x="275" y="61"/>
                  </a:lnTo>
                  <a:cubicBezTo>
                    <a:pt x="275" y="58"/>
                    <a:pt x="276" y="56"/>
                    <a:pt x="279" y="55"/>
                  </a:cubicBezTo>
                  <a:lnTo>
                    <a:pt x="336" y="39"/>
                  </a:lnTo>
                  <a:lnTo>
                    <a:pt x="356" y="3"/>
                  </a:lnTo>
                  <a:cubicBezTo>
                    <a:pt x="357" y="1"/>
                    <a:pt x="358" y="1"/>
                    <a:pt x="360" y="0"/>
                  </a:cubicBezTo>
                  <a:lnTo>
                    <a:pt x="361" y="0"/>
                  </a:lnTo>
                  <a:cubicBezTo>
                    <a:pt x="362" y="0"/>
                    <a:pt x="363" y="1"/>
                    <a:pt x="364" y="2"/>
                  </a:cubicBezTo>
                  <a:lnTo>
                    <a:pt x="402" y="40"/>
                  </a:lnTo>
                  <a:lnTo>
                    <a:pt x="412" y="121"/>
                  </a:lnTo>
                  <a:lnTo>
                    <a:pt x="448" y="149"/>
                  </a:lnTo>
                  <a:cubicBezTo>
                    <a:pt x="449" y="150"/>
                    <a:pt x="450" y="152"/>
                    <a:pt x="450" y="153"/>
                  </a:cubicBezTo>
                  <a:lnTo>
                    <a:pt x="450" y="200"/>
                  </a:lnTo>
                  <a:cubicBezTo>
                    <a:pt x="450" y="201"/>
                    <a:pt x="449" y="203"/>
                    <a:pt x="448" y="203"/>
                  </a:cubicBezTo>
                  <a:lnTo>
                    <a:pt x="432" y="215"/>
                  </a:lnTo>
                  <a:lnTo>
                    <a:pt x="429" y="237"/>
                  </a:lnTo>
                  <a:lnTo>
                    <a:pt x="470" y="299"/>
                  </a:lnTo>
                  <a:lnTo>
                    <a:pt x="500" y="462"/>
                  </a:lnTo>
                  <a:lnTo>
                    <a:pt x="560" y="466"/>
                  </a:lnTo>
                  <a:cubicBezTo>
                    <a:pt x="562" y="466"/>
                    <a:pt x="563" y="467"/>
                    <a:pt x="564" y="469"/>
                  </a:cubicBezTo>
                  <a:lnTo>
                    <a:pt x="577" y="507"/>
                  </a:lnTo>
                  <a:lnTo>
                    <a:pt x="560" y="577"/>
                  </a:lnTo>
                  <a:cubicBezTo>
                    <a:pt x="560" y="579"/>
                    <a:pt x="559" y="580"/>
                    <a:pt x="557" y="580"/>
                  </a:cubicBezTo>
                  <a:lnTo>
                    <a:pt x="458" y="626"/>
                  </a:lnTo>
                  <a:lnTo>
                    <a:pt x="450" y="716"/>
                  </a:lnTo>
                  <a:lnTo>
                    <a:pt x="471" y="842"/>
                  </a:lnTo>
                  <a:cubicBezTo>
                    <a:pt x="471" y="844"/>
                    <a:pt x="471" y="846"/>
                    <a:pt x="469" y="847"/>
                  </a:cubicBezTo>
                  <a:lnTo>
                    <a:pt x="422" y="876"/>
                  </a:lnTo>
                  <a:lnTo>
                    <a:pt x="407" y="916"/>
                  </a:lnTo>
                  <a:lnTo>
                    <a:pt x="368" y="960"/>
                  </a:lnTo>
                  <a:lnTo>
                    <a:pt x="340" y="1072"/>
                  </a:lnTo>
                  <a:lnTo>
                    <a:pt x="331" y="1165"/>
                  </a:lnTo>
                  <a:lnTo>
                    <a:pt x="289" y="1259"/>
                  </a:lnTo>
                  <a:lnTo>
                    <a:pt x="285" y="1300"/>
                  </a:lnTo>
                  <a:lnTo>
                    <a:pt x="331" y="1463"/>
                  </a:lnTo>
                  <a:lnTo>
                    <a:pt x="344" y="1544"/>
                  </a:lnTo>
                  <a:lnTo>
                    <a:pt x="284" y="1657"/>
                  </a:lnTo>
                  <a:lnTo>
                    <a:pt x="289" y="1739"/>
                  </a:lnTo>
                  <a:cubicBezTo>
                    <a:pt x="289" y="1740"/>
                    <a:pt x="289" y="1742"/>
                    <a:pt x="288" y="1743"/>
                  </a:cubicBezTo>
                  <a:lnTo>
                    <a:pt x="237" y="1806"/>
                  </a:lnTo>
                  <a:lnTo>
                    <a:pt x="234" y="1917"/>
                  </a:lnTo>
                  <a:lnTo>
                    <a:pt x="242" y="1997"/>
                  </a:lnTo>
                  <a:lnTo>
                    <a:pt x="216" y="2046"/>
                  </a:lnTo>
                  <a:lnTo>
                    <a:pt x="183" y="2164"/>
                  </a:lnTo>
                  <a:lnTo>
                    <a:pt x="170" y="2299"/>
                  </a:lnTo>
                  <a:lnTo>
                    <a:pt x="191" y="2356"/>
                  </a:lnTo>
                  <a:cubicBezTo>
                    <a:pt x="192" y="2357"/>
                    <a:pt x="192" y="2358"/>
                    <a:pt x="191" y="2359"/>
                  </a:cubicBezTo>
                  <a:lnTo>
                    <a:pt x="157" y="2435"/>
                  </a:lnTo>
                  <a:lnTo>
                    <a:pt x="179" y="2589"/>
                  </a:lnTo>
                  <a:lnTo>
                    <a:pt x="175" y="2641"/>
                  </a:lnTo>
                  <a:lnTo>
                    <a:pt x="209" y="2649"/>
                  </a:lnTo>
                  <a:cubicBezTo>
                    <a:pt x="211" y="2649"/>
                    <a:pt x="212" y="2650"/>
                    <a:pt x="212" y="2652"/>
                  </a:cubicBezTo>
                  <a:lnTo>
                    <a:pt x="221" y="2673"/>
                  </a:lnTo>
                  <a:lnTo>
                    <a:pt x="221" y="2677"/>
                  </a:lnTo>
                  <a:cubicBezTo>
                    <a:pt x="220" y="2678"/>
                    <a:pt x="219" y="2679"/>
                    <a:pt x="218" y="2679"/>
                  </a:cubicBezTo>
                  <a:lnTo>
                    <a:pt x="211" y="2681"/>
                  </a:lnTo>
                  <a:lnTo>
                    <a:pt x="100" y="268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1" name="Freeform 106"/>
            <p:cNvSpPr>
              <a:spLocks noChangeArrowheads="1"/>
            </p:cNvSpPr>
            <p:nvPr/>
          </p:nvSpPr>
          <p:spPr bwMode="auto">
            <a:xfrm>
              <a:off x="2559050" y="5221288"/>
              <a:ext cx="25400" cy="15875"/>
            </a:xfrm>
            <a:custGeom>
              <a:avLst/>
              <a:gdLst/>
              <a:ahLst/>
              <a:cxnLst>
                <a:cxn ang="0">
                  <a:pos x="7" y="41"/>
                </a:cxn>
                <a:cxn ang="0">
                  <a:pos x="1" y="28"/>
                </a:cxn>
                <a:cxn ang="0">
                  <a:pos x="3" y="22"/>
                </a:cxn>
                <a:cxn ang="0">
                  <a:pos x="41" y="1"/>
                </a:cxn>
                <a:cxn ang="0">
                  <a:pos x="43" y="0"/>
                </a:cxn>
                <a:cxn ang="0">
                  <a:pos x="46" y="1"/>
                </a:cxn>
                <a:cxn ang="0">
                  <a:pos x="67" y="18"/>
                </a:cxn>
                <a:cxn ang="0">
                  <a:pos x="69" y="23"/>
                </a:cxn>
                <a:cxn ang="0">
                  <a:pos x="66" y="41"/>
                </a:cxn>
                <a:cxn ang="0">
                  <a:pos x="7" y="41"/>
                </a:cxn>
              </a:cxnLst>
              <a:rect l="0" t="0" r="r" b="b"/>
              <a:pathLst>
                <a:path w="70" h="42">
                  <a:moveTo>
                    <a:pt x="7" y="41"/>
                  </a:moveTo>
                  <a:lnTo>
                    <a:pt x="1" y="28"/>
                  </a:lnTo>
                  <a:cubicBezTo>
                    <a:pt x="0" y="26"/>
                    <a:pt x="1" y="23"/>
                    <a:pt x="3" y="22"/>
                  </a:cubicBezTo>
                  <a:lnTo>
                    <a:pt x="41" y="1"/>
                  </a:lnTo>
                  <a:cubicBezTo>
                    <a:pt x="42" y="1"/>
                    <a:pt x="42" y="0"/>
                    <a:pt x="43" y="0"/>
                  </a:cubicBezTo>
                  <a:cubicBezTo>
                    <a:pt x="44" y="0"/>
                    <a:pt x="45" y="1"/>
                    <a:pt x="46" y="1"/>
                  </a:cubicBezTo>
                  <a:lnTo>
                    <a:pt x="67" y="18"/>
                  </a:lnTo>
                  <a:cubicBezTo>
                    <a:pt x="68" y="19"/>
                    <a:pt x="69" y="21"/>
                    <a:pt x="69" y="23"/>
                  </a:cubicBezTo>
                  <a:lnTo>
                    <a:pt x="66" y="41"/>
                  </a:lnTo>
                  <a:lnTo>
                    <a:pt x="7" y="4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2" name="Freeform 107"/>
            <p:cNvSpPr>
              <a:spLocks noChangeArrowheads="1"/>
            </p:cNvSpPr>
            <p:nvPr/>
          </p:nvSpPr>
          <p:spPr bwMode="auto">
            <a:xfrm>
              <a:off x="2559050" y="5221288"/>
              <a:ext cx="25400" cy="15875"/>
            </a:xfrm>
            <a:custGeom>
              <a:avLst/>
              <a:gdLst/>
              <a:ahLst/>
              <a:cxnLst>
                <a:cxn ang="0">
                  <a:pos x="7" y="41"/>
                </a:cxn>
                <a:cxn ang="0">
                  <a:pos x="1" y="28"/>
                </a:cxn>
                <a:cxn ang="0">
                  <a:pos x="3" y="22"/>
                </a:cxn>
                <a:cxn ang="0">
                  <a:pos x="41" y="1"/>
                </a:cxn>
                <a:cxn ang="0">
                  <a:pos x="43" y="0"/>
                </a:cxn>
                <a:cxn ang="0">
                  <a:pos x="46" y="1"/>
                </a:cxn>
                <a:cxn ang="0">
                  <a:pos x="67" y="18"/>
                </a:cxn>
                <a:cxn ang="0">
                  <a:pos x="69" y="23"/>
                </a:cxn>
                <a:cxn ang="0">
                  <a:pos x="66" y="41"/>
                </a:cxn>
                <a:cxn ang="0">
                  <a:pos x="7" y="41"/>
                </a:cxn>
              </a:cxnLst>
              <a:rect l="0" t="0" r="r" b="b"/>
              <a:pathLst>
                <a:path w="70" h="42">
                  <a:moveTo>
                    <a:pt x="7" y="41"/>
                  </a:moveTo>
                  <a:lnTo>
                    <a:pt x="1" y="28"/>
                  </a:lnTo>
                  <a:cubicBezTo>
                    <a:pt x="0" y="26"/>
                    <a:pt x="1" y="23"/>
                    <a:pt x="3" y="22"/>
                  </a:cubicBezTo>
                  <a:lnTo>
                    <a:pt x="41" y="1"/>
                  </a:lnTo>
                  <a:cubicBezTo>
                    <a:pt x="42" y="1"/>
                    <a:pt x="42" y="0"/>
                    <a:pt x="43" y="0"/>
                  </a:cubicBezTo>
                  <a:cubicBezTo>
                    <a:pt x="44" y="0"/>
                    <a:pt x="45" y="1"/>
                    <a:pt x="46" y="1"/>
                  </a:cubicBezTo>
                  <a:lnTo>
                    <a:pt x="67" y="18"/>
                  </a:lnTo>
                  <a:cubicBezTo>
                    <a:pt x="68" y="19"/>
                    <a:pt x="69" y="21"/>
                    <a:pt x="69" y="23"/>
                  </a:cubicBezTo>
                  <a:lnTo>
                    <a:pt x="66" y="41"/>
                  </a:lnTo>
                  <a:lnTo>
                    <a:pt x="7" y="4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3" name="Freeform 108"/>
            <p:cNvSpPr>
              <a:spLocks noChangeArrowheads="1"/>
            </p:cNvSpPr>
            <p:nvPr/>
          </p:nvSpPr>
          <p:spPr bwMode="auto">
            <a:xfrm>
              <a:off x="2535238" y="5111750"/>
              <a:ext cx="33337" cy="73025"/>
            </a:xfrm>
            <a:custGeom>
              <a:avLst/>
              <a:gdLst/>
              <a:ahLst/>
              <a:cxnLst>
                <a:cxn ang="0">
                  <a:pos x="8" y="195"/>
                </a:cxn>
                <a:cxn ang="0">
                  <a:pos x="4" y="192"/>
                </a:cxn>
                <a:cxn ang="0">
                  <a:pos x="0" y="170"/>
                </a:cxn>
                <a:cxn ang="0">
                  <a:pos x="21" y="33"/>
                </a:cxn>
                <a:cxn ang="0">
                  <a:pos x="43" y="2"/>
                </a:cxn>
                <a:cxn ang="0">
                  <a:pos x="46" y="0"/>
                </a:cxn>
                <a:cxn ang="0">
                  <a:pos x="47" y="0"/>
                </a:cxn>
                <a:cxn ang="0">
                  <a:pos x="50" y="1"/>
                </a:cxn>
                <a:cxn ang="0">
                  <a:pos x="71" y="18"/>
                </a:cxn>
                <a:cxn ang="0">
                  <a:pos x="89" y="79"/>
                </a:cxn>
                <a:cxn ang="0">
                  <a:pos x="88" y="84"/>
                </a:cxn>
                <a:cxn ang="0">
                  <a:pos x="65" y="107"/>
                </a:cxn>
                <a:cxn ang="0">
                  <a:pos x="76" y="129"/>
                </a:cxn>
                <a:cxn ang="0">
                  <a:pos x="76" y="134"/>
                </a:cxn>
                <a:cxn ang="0">
                  <a:pos x="72" y="136"/>
                </a:cxn>
                <a:cxn ang="0">
                  <a:pos x="69" y="136"/>
                </a:cxn>
                <a:cxn ang="0">
                  <a:pos x="77" y="169"/>
                </a:cxn>
                <a:cxn ang="0">
                  <a:pos x="76" y="172"/>
                </a:cxn>
                <a:cxn ang="0">
                  <a:pos x="72" y="174"/>
                </a:cxn>
                <a:cxn ang="0">
                  <a:pos x="63" y="174"/>
                </a:cxn>
                <a:cxn ang="0">
                  <a:pos x="55" y="200"/>
                </a:cxn>
                <a:cxn ang="0">
                  <a:pos x="51" y="204"/>
                </a:cxn>
                <a:cxn ang="0">
                  <a:pos x="8" y="195"/>
                </a:cxn>
              </a:cxnLst>
              <a:rect l="0" t="0" r="r" b="b"/>
              <a:pathLst>
                <a:path w="91" h="205">
                  <a:moveTo>
                    <a:pt x="8" y="195"/>
                  </a:moveTo>
                  <a:cubicBezTo>
                    <a:pt x="6" y="195"/>
                    <a:pt x="4" y="193"/>
                    <a:pt x="4" y="192"/>
                  </a:cubicBezTo>
                  <a:lnTo>
                    <a:pt x="0" y="170"/>
                  </a:lnTo>
                  <a:lnTo>
                    <a:pt x="21" y="33"/>
                  </a:lnTo>
                  <a:lnTo>
                    <a:pt x="43" y="2"/>
                  </a:lnTo>
                  <a:cubicBezTo>
                    <a:pt x="44" y="1"/>
                    <a:pt x="45" y="0"/>
                    <a:pt x="46" y="0"/>
                  </a:cubicBezTo>
                  <a:lnTo>
                    <a:pt x="47" y="0"/>
                  </a:lnTo>
                  <a:cubicBezTo>
                    <a:pt x="48" y="0"/>
                    <a:pt x="49" y="0"/>
                    <a:pt x="50" y="1"/>
                  </a:cubicBezTo>
                  <a:lnTo>
                    <a:pt x="71" y="18"/>
                  </a:lnTo>
                  <a:lnTo>
                    <a:pt x="89" y="79"/>
                  </a:lnTo>
                  <a:cubicBezTo>
                    <a:pt x="90" y="81"/>
                    <a:pt x="89" y="83"/>
                    <a:pt x="88" y="84"/>
                  </a:cubicBezTo>
                  <a:lnTo>
                    <a:pt x="65" y="107"/>
                  </a:lnTo>
                  <a:lnTo>
                    <a:pt x="76" y="129"/>
                  </a:lnTo>
                  <a:cubicBezTo>
                    <a:pt x="77" y="131"/>
                    <a:pt x="77" y="133"/>
                    <a:pt x="76" y="134"/>
                  </a:cubicBezTo>
                  <a:cubicBezTo>
                    <a:pt x="75" y="135"/>
                    <a:pt x="74" y="136"/>
                    <a:pt x="72" y="136"/>
                  </a:cubicBezTo>
                  <a:lnTo>
                    <a:pt x="69" y="136"/>
                  </a:lnTo>
                  <a:lnTo>
                    <a:pt x="77" y="169"/>
                  </a:lnTo>
                  <a:cubicBezTo>
                    <a:pt x="77" y="170"/>
                    <a:pt x="77" y="171"/>
                    <a:pt x="76" y="172"/>
                  </a:cubicBezTo>
                  <a:cubicBezTo>
                    <a:pt x="75" y="174"/>
                    <a:pt x="74" y="174"/>
                    <a:pt x="72" y="174"/>
                  </a:cubicBezTo>
                  <a:lnTo>
                    <a:pt x="63" y="174"/>
                  </a:lnTo>
                  <a:lnTo>
                    <a:pt x="55" y="200"/>
                  </a:lnTo>
                  <a:cubicBezTo>
                    <a:pt x="55" y="203"/>
                    <a:pt x="53" y="204"/>
                    <a:pt x="51" y="204"/>
                  </a:cubicBezTo>
                  <a:lnTo>
                    <a:pt x="8" y="19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4" name="Freeform 109"/>
            <p:cNvSpPr>
              <a:spLocks noChangeArrowheads="1"/>
            </p:cNvSpPr>
            <p:nvPr/>
          </p:nvSpPr>
          <p:spPr bwMode="auto">
            <a:xfrm>
              <a:off x="2535238" y="5111750"/>
              <a:ext cx="33337" cy="73025"/>
            </a:xfrm>
            <a:custGeom>
              <a:avLst/>
              <a:gdLst/>
              <a:ahLst/>
              <a:cxnLst>
                <a:cxn ang="0">
                  <a:pos x="8" y="195"/>
                </a:cxn>
                <a:cxn ang="0">
                  <a:pos x="4" y="192"/>
                </a:cxn>
                <a:cxn ang="0">
                  <a:pos x="0" y="170"/>
                </a:cxn>
                <a:cxn ang="0">
                  <a:pos x="21" y="33"/>
                </a:cxn>
                <a:cxn ang="0">
                  <a:pos x="43" y="2"/>
                </a:cxn>
                <a:cxn ang="0">
                  <a:pos x="46" y="0"/>
                </a:cxn>
                <a:cxn ang="0">
                  <a:pos x="47" y="0"/>
                </a:cxn>
                <a:cxn ang="0">
                  <a:pos x="50" y="1"/>
                </a:cxn>
                <a:cxn ang="0">
                  <a:pos x="71" y="18"/>
                </a:cxn>
                <a:cxn ang="0">
                  <a:pos x="89" y="79"/>
                </a:cxn>
                <a:cxn ang="0">
                  <a:pos x="88" y="84"/>
                </a:cxn>
                <a:cxn ang="0">
                  <a:pos x="65" y="107"/>
                </a:cxn>
                <a:cxn ang="0">
                  <a:pos x="76" y="129"/>
                </a:cxn>
                <a:cxn ang="0">
                  <a:pos x="76" y="134"/>
                </a:cxn>
                <a:cxn ang="0">
                  <a:pos x="72" y="136"/>
                </a:cxn>
                <a:cxn ang="0">
                  <a:pos x="69" y="136"/>
                </a:cxn>
                <a:cxn ang="0">
                  <a:pos x="77" y="169"/>
                </a:cxn>
                <a:cxn ang="0">
                  <a:pos x="76" y="172"/>
                </a:cxn>
                <a:cxn ang="0">
                  <a:pos x="72" y="174"/>
                </a:cxn>
                <a:cxn ang="0">
                  <a:pos x="63" y="174"/>
                </a:cxn>
                <a:cxn ang="0">
                  <a:pos x="55" y="200"/>
                </a:cxn>
                <a:cxn ang="0">
                  <a:pos x="51" y="204"/>
                </a:cxn>
                <a:cxn ang="0">
                  <a:pos x="8" y="195"/>
                </a:cxn>
              </a:cxnLst>
              <a:rect l="0" t="0" r="r" b="b"/>
              <a:pathLst>
                <a:path w="91" h="205">
                  <a:moveTo>
                    <a:pt x="8" y="195"/>
                  </a:moveTo>
                  <a:cubicBezTo>
                    <a:pt x="6" y="195"/>
                    <a:pt x="4" y="193"/>
                    <a:pt x="4" y="192"/>
                  </a:cubicBezTo>
                  <a:lnTo>
                    <a:pt x="0" y="170"/>
                  </a:lnTo>
                  <a:lnTo>
                    <a:pt x="21" y="33"/>
                  </a:lnTo>
                  <a:lnTo>
                    <a:pt x="43" y="2"/>
                  </a:lnTo>
                  <a:cubicBezTo>
                    <a:pt x="44" y="1"/>
                    <a:pt x="45" y="0"/>
                    <a:pt x="46" y="0"/>
                  </a:cubicBezTo>
                  <a:lnTo>
                    <a:pt x="47" y="0"/>
                  </a:lnTo>
                  <a:cubicBezTo>
                    <a:pt x="48" y="0"/>
                    <a:pt x="49" y="0"/>
                    <a:pt x="50" y="1"/>
                  </a:cubicBezTo>
                  <a:lnTo>
                    <a:pt x="71" y="18"/>
                  </a:lnTo>
                  <a:lnTo>
                    <a:pt x="89" y="79"/>
                  </a:lnTo>
                  <a:cubicBezTo>
                    <a:pt x="90" y="81"/>
                    <a:pt x="89" y="83"/>
                    <a:pt x="88" y="84"/>
                  </a:cubicBezTo>
                  <a:lnTo>
                    <a:pt x="65" y="107"/>
                  </a:lnTo>
                  <a:lnTo>
                    <a:pt x="76" y="129"/>
                  </a:lnTo>
                  <a:cubicBezTo>
                    <a:pt x="77" y="131"/>
                    <a:pt x="77" y="133"/>
                    <a:pt x="76" y="134"/>
                  </a:cubicBezTo>
                  <a:cubicBezTo>
                    <a:pt x="75" y="135"/>
                    <a:pt x="74" y="136"/>
                    <a:pt x="72" y="136"/>
                  </a:cubicBezTo>
                  <a:lnTo>
                    <a:pt x="69" y="136"/>
                  </a:lnTo>
                  <a:lnTo>
                    <a:pt x="77" y="169"/>
                  </a:lnTo>
                  <a:cubicBezTo>
                    <a:pt x="77" y="170"/>
                    <a:pt x="77" y="171"/>
                    <a:pt x="76" y="172"/>
                  </a:cubicBezTo>
                  <a:cubicBezTo>
                    <a:pt x="75" y="174"/>
                    <a:pt x="74" y="174"/>
                    <a:pt x="72" y="174"/>
                  </a:cubicBezTo>
                  <a:lnTo>
                    <a:pt x="63" y="174"/>
                  </a:lnTo>
                  <a:lnTo>
                    <a:pt x="55" y="200"/>
                  </a:lnTo>
                  <a:cubicBezTo>
                    <a:pt x="55" y="203"/>
                    <a:pt x="53" y="204"/>
                    <a:pt x="51" y="204"/>
                  </a:cubicBezTo>
                  <a:lnTo>
                    <a:pt x="8" y="19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5" name="Freeform 110"/>
            <p:cNvSpPr>
              <a:spLocks noChangeArrowheads="1"/>
            </p:cNvSpPr>
            <p:nvPr/>
          </p:nvSpPr>
          <p:spPr bwMode="auto">
            <a:xfrm>
              <a:off x="2341563" y="3698875"/>
              <a:ext cx="173037" cy="193675"/>
            </a:xfrm>
            <a:custGeom>
              <a:avLst/>
              <a:gdLst/>
              <a:ahLst/>
              <a:cxnLst>
                <a:cxn ang="0">
                  <a:pos x="115" y="534"/>
                </a:cxn>
                <a:cxn ang="0">
                  <a:pos x="99" y="498"/>
                </a:cxn>
                <a:cxn ang="0">
                  <a:pos x="64" y="490"/>
                </a:cxn>
                <a:cxn ang="0">
                  <a:pos x="32" y="499"/>
                </a:cxn>
                <a:cxn ang="0">
                  <a:pos x="31" y="499"/>
                </a:cxn>
                <a:cxn ang="0">
                  <a:pos x="28" y="498"/>
                </a:cxn>
                <a:cxn ang="0">
                  <a:pos x="26" y="495"/>
                </a:cxn>
                <a:cxn ang="0">
                  <a:pos x="18" y="457"/>
                </a:cxn>
                <a:cxn ang="0">
                  <a:pos x="19" y="452"/>
                </a:cxn>
                <a:cxn ang="0">
                  <a:pos x="46" y="433"/>
                </a:cxn>
                <a:cxn ang="0">
                  <a:pos x="35" y="407"/>
                </a:cxn>
                <a:cxn ang="0">
                  <a:pos x="36" y="402"/>
                </a:cxn>
                <a:cxn ang="0">
                  <a:pos x="79" y="368"/>
                </a:cxn>
                <a:cxn ang="0">
                  <a:pos x="85" y="328"/>
                </a:cxn>
                <a:cxn ang="0">
                  <a:pos x="76" y="309"/>
                </a:cxn>
                <a:cxn ang="0">
                  <a:pos x="51" y="341"/>
                </a:cxn>
                <a:cxn ang="0">
                  <a:pos x="48" y="342"/>
                </a:cxn>
                <a:cxn ang="0">
                  <a:pos x="45" y="342"/>
                </a:cxn>
                <a:cxn ang="0">
                  <a:pos x="3" y="312"/>
                </a:cxn>
                <a:cxn ang="0">
                  <a:pos x="0" y="308"/>
                </a:cxn>
                <a:cxn ang="0">
                  <a:pos x="0" y="202"/>
                </a:cxn>
                <a:cxn ang="0">
                  <a:pos x="2" y="199"/>
                </a:cxn>
                <a:cxn ang="0">
                  <a:pos x="36" y="173"/>
                </a:cxn>
                <a:cxn ang="0">
                  <a:pos x="60" y="103"/>
                </a:cxn>
                <a:cxn ang="0">
                  <a:pos x="60" y="54"/>
                </a:cxn>
                <a:cxn ang="0">
                  <a:pos x="62" y="50"/>
                </a:cxn>
                <a:cxn ang="0">
                  <a:pos x="164" y="0"/>
                </a:cxn>
                <a:cxn ang="0">
                  <a:pos x="166" y="0"/>
                </a:cxn>
                <a:cxn ang="0">
                  <a:pos x="168" y="0"/>
                </a:cxn>
                <a:cxn ang="0">
                  <a:pos x="270" y="50"/>
                </a:cxn>
                <a:cxn ang="0">
                  <a:pos x="304" y="92"/>
                </a:cxn>
                <a:cxn ang="0">
                  <a:pos x="387" y="92"/>
                </a:cxn>
                <a:cxn ang="0">
                  <a:pos x="397" y="84"/>
                </a:cxn>
                <a:cxn ang="0">
                  <a:pos x="399" y="83"/>
                </a:cxn>
                <a:cxn ang="0">
                  <a:pos x="402" y="84"/>
                </a:cxn>
                <a:cxn ang="0">
                  <a:pos x="465" y="122"/>
                </a:cxn>
                <a:cxn ang="0">
                  <a:pos x="468" y="126"/>
                </a:cxn>
                <a:cxn ang="0">
                  <a:pos x="465" y="130"/>
                </a:cxn>
                <a:cxn ang="0">
                  <a:pos x="448" y="140"/>
                </a:cxn>
                <a:cxn ang="0">
                  <a:pos x="480" y="196"/>
                </a:cxn>
                <a:cxn ang="0">
                  <a:pos x="480" y="200"/>
                </a:cxn>
                <a:cxn ang="0">
                  <a:pos x="475" y="203"/>
                </a:cxn>
                <a:cxn ang="0">
                  <a:pos x="466" y="203"/>
                </a:cxn>
                <a:cxn ang="0">
                  <a:pos x="433" y="260"/>
                </a:cxn>
                <a:cxn ang="0">
                  <a:pos x="356" y="333"/>
                </a:cxn>
                <a:cxn ang="0">
                  <a:pos x="238" y="383"/>
                </a:cxn>
                <a:cxn ang="0">
                  <a:pos x="230" y="411"/>
                </a:cxn>
                <a:cxn ang="0">
                  <a:pos x="226" y="414"/>
                </a:cxn>
                <a:cxn ang="0">
                  <a:pos x="207" y="414"/>
                </a:cxn>
                <a:cxn ang="0">
                  <a:pos x="187" y="446"/>
                </a:cxn>
                <a:cxn ang="0">
                  <a:pos x="184" y="507"/>
                </a:cxn>
                <a:cxn ang="0">
                  <a:pos x="182" y="511"/>
                </a:cxn>
                <a:cxn ang="0">
                  <a:pos x="152" y="532"/>
                </a:cxn>
                <a:cxn ang="0">
                  <a:pos x="120" y="537"/>
                </a:cxn>
                <a:cxn ang="0">
                  <a:pos x="115" y="534"/>
                </a:cxn>
              </a:cxnLst>
              <a:rect l="0" t="0" r="r" b="b"/>
              <a:pathLst>
                <a:path w="481" h="538">
                  <a:moveTo>
                    <a:pt x="115" y="534"/>
                  </a:moveTo>
                  <a:lnTo>
                    <a:pt x="99" y="498"/>
                  </a:lnTo>
                  <a:lnTo>
                    <a:pt x="64" y="490"/>
                  </a:lnTo>
                  <a:lnTo>
                    <a:pt x="32" y="499"/>
                  </a:lnTo>
                  <a:cubicBezTo>
                    <a:pt x="31" y="499"/>
                    <a:pt x="31" y="499"/>
                    <a:pt x="31" y="499"/>
                  </a:cubicBezTo>
                  <a:cubicBezTo>
                    <a:pt x="30" y="499"/>
                    <a:pt x="29" y="499"/>
                    <a:pt x="28" y="498"/>
                  </a:cubicBezTo>
                  <a:cubicBezTo>
                    <a:pt x="27" y="497"/>
                    <a:pt x="26" y="496"/>
                    <a:pt x="26" y="495"/>
                  </a:cubicBezTo>
                  <a:lnTo>
                    <a:pt x="18" y="457"/>
                  </a:lnTo>
                  <a:cubicBezTo>
                    <a:pt x="17" y="455"/>
                    <a:pt x="18" y="453"/>
                    <a:pt x="19" y="452"/>
                  </a:cubicBezTo>
                  <a:lnTo>
                    <a:pt x="46" y="433"/>
                  </a:lnTo>
                  <a:lnTo>
                    <a:pt x="35" y="407"/>
                  </a:lnTo>
                  <a:cubicBezTo>
                    <a:pt x="34" y="405"/>
                    <a:pt x="35" y="403"/>
                    <a:pt x="36" y="402"/>
                  </a:cubicBezTo>
                  <a:lnTo>
                    <a:pt x="79" y="368"/>
                  </a:lnTo>
                  <a:lnTo>
                    <a:pt x="85" y="328"/>
                  </a:lnTo>
                  <a:lnTo>
                    <a:pt x="76" y="309"/>
                  </a:lnTo>
                  <a:lnTo>
                    <a:pt x="51" y="341"/>
                  </a:lnTo>
                  <a:cubicBezTo>
                    <a:pt x="50" y="342"/>
                    <a:pt x="49" y="342"/>
                    <a:pt x="48" y="342"/>
                  </a:cubicBezTo>
                  <a:cubicBezTo>
                    <a:pt x="47" y="342"/>
                    <a:pt x="46" y="342"/>
                    <a:pt x="45" y="342"/>
                  </a:cubicBezTo>
                  <a:lnTo>
                    <a:pt x="3" y="312"/>
                  </a:lnTo>
                  <a:cubicBezTo>
                    <a:pt x="1" y="311"/>
                    <a:pt x="0" y="310"/>
                    <a:pt x="0" y="308"/>
                  </a:cubicBezTo>
                  <a:lnTo>
                    <a:pt x="0" y="202"/>
                  </a:lnTo>
                  <a:cubicBezTo>
                    <a:pt x="0" y="201"/>
                    <a:pt x="1" y="199"/>
                    <a:pt x="2" y="199"/>
                  </a:cubicBezTo>
                  <a:lnTo>
                    <a:pt x="36" y="173"/>
                  </a:lnTo>
                  <a:lnTo>
                    <a:pt x="60" y="103"/>
                  </a:lnTo>
                  <a:lnTo>
                    <a:pt x="60" y="54"/>
                  </a:lnTo>
                  <a:cubicBezTo>
                    <a:pt x="60" y="52"/>
                    <a:pt x="61" y="51"/>
                    <a:pt x="62" y="50"/>
                  </a:cubicBezTo>
                  <a:lnTo>
                    <a:pt x="164" y="0"/>
                  </a:lnTo>
                  <a:cubicBezTo>
                    <a:pt x="165" y="0"/>
                    <a:pt x="166" y="0"/>
                    <a:pt x="166" y="0"/>
                  </a:cubicBezTo>
                  <a:cubicBezTo>
                    <a:pt x="167" y="0"/>
                    <a:pt x="168" y="0"/>
                    <a:pt x="168" y="0"/>
                  </a:cubicBezTo>
                  <a:lnTo>
                    <a:pt x="270" y="50"/>
                  </a:lnTo>
                  <a:lnTo>
                    <a:pt x="304" y="92"/>
                  </a:lnTo>
                  <a:lnTo>
                    <a:pt x="387" y="92"/>
                  </a:lnTo>
                  <a:lnTo>
                    <a:pt x="397" y="84"/>
                  </a:lnTo>
                  <a:cubicBezTo>
                    <a:pt x="398" y="84"/>
                    <a:pt x="398" y="83"/>
                    <a:pt x="399" y="83"/>
                  </a:cubicBezTo>
                  <a:cubicBezTo>
                    <a:pt x="400" y="83"/>
                    <a:pt x="401" y="84"/>
                    <a:pt x="402" y="84"/>
                  </a:cubicBezTo>
                  <a:lnTo>
                    <a:pt x="465" y="122"/>
                  </a:lnTo>
                  <a:cubicBezTo>
                    <a:pt x="467" y="123"/>
                    <a:pt x="468" y="124"/>
                    <a:pt x="468" y="126"/>
                  </a:cubicBezTo>
                  <a:cubicBezTo>
                    <a:pt x="468" y="128"/>
                    <a:pt x="467" y="129"/>
                    <a:pt x="465" y="130"/>
                  </a:cubicBezTo>
                  <a:lnTo>
                    <a:pt x="448" y="140"/>
                  </a:lnTo>
                  <a:lnTo>
                    <a:pt x="480" y="196"/>
                  </a:lnTo>
                  <a:cubicBezTo>
                    <a:pt x="480" y="197"/>
                    <a:pt x="480" y="199"/>
                    <a:pt x="480" y="200"/>
                  </a:cubicBezTo>
                  <a:cubicBezTo>
                    <a:pt x="479" y="202"/>
                    <a:pt x="477" y="203"/>
                    <a:pt x="475" y="203"/>
                  </a:cubicBezTo>
                  <a:lnTo>
                    <a:pt x="466" y="203"/>
                  </a:lnTo>
                  <a:lnTo>
                    <a:pt x="433" y="260"/>
                  </a:lnTo>
                  <a:lnTo>
                    <a:pt x="356" y="333"/>
                  </a:lnTo>
                  <a:lnTo>
                    <a:pt x="238" y="383"/>
                  </a:lnTo>
                  <a:lnTo>
                    <a:pt x="230" y="411"/>
                  </a:lnTo>
                  <a:cubicBezTo>
                    <a:pt x="229" y="413"/>
                    <a:pt x="228" y="414"/>
                    <a:pt x="226" y="414"/>
                  </a:cubicBezTo>
                  <a:lnTo>
                    <a:pt x="207" y="414"/>
                  </a:lnTo>
                  <a:lnTo>
                    <a:pt x="187" y="446"/>
                  </a:lnTo>
                  <a:lnTo>
                    <a:pt x="184" y="507"/>
                  </a:lnTo>
                  <a:cubicBezTo>
                    <a:pt x="183" y="509"/>
                    <a:pt x="183" y="510"/>
                    <a:pt x="182" y="511"/>
                  </a:cubicBezTo>
                  <a:lnTo>
                    <a:pt x="152" y="532"/>
                  </a:lnTo>
                  <a:lnTo>
                    <a:pt x="120" y="537"/>
                  </a:lnTo>
                  <a:cubicBezTo>
                    <a:pt x="118" y="537"/>
                    <a:pt x="116" y="536"/>
                    <a:pt x="115" y="53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6" name="Freeform 111"/>
            <p:cNvSpPr>
              <a:spLocks noChangeArrowheads="1"/>
            </p:cNvSpPr>
            <p:nvPr/>
          </p:nvSpPr>
          <p:spPr bwMode="auto">
            <a:xfrm>
              <a:off x="2341563" y="3698875"/>
              <a:ext cx="173037" cy="193675"/>
            </a:xfrm>
            <a:custGeom>
              <a:avLst/>
              <a:gdLst/>
              <a:ahLst/>
              <a:cxnLst>
                <a:cxn ang="0">
                  <a:pos x="120" y="537"/>
                </a:cxn>
                <a:cxn ang="0">
                  <a:pos x="115" y="534"/>
                </a:cxn>
                <a:cxn ang="0">
                  <a:pos x="99" y="498"/>
                </a:cxn>
                <a:cxn ang="0">
                  <a:pos x="64" y="490"/>
                </a:cxn>
                <a:cxn ang="0">
                  <a:pos x="32" y="499"/>
                </a:cxn>
                <a:cxn ang="0">
                  <a:pos x="31" y="499"/>
                </a:cxn>
                <a:cxn ang="0">
                  <a:pos x="28" y="498"/>
                </a:cxn>
                <a:cxn ang="0">
                  <a:pos x="26" y="495"/>
                </a:cxn>
                <a:cxn ang="0">
                  <a:pos x="18" y="457"/>
                </a:cxn>
                <a:cxn ang="0">
                  <a:pos x="19" y="452"/>
                </a:cxn>
                <a:cxn ang="0">
                  <a:pos x="46" y="433"/>
                </a:cxn>
                <a:cxn ang="0">
                  <a:pos x="35" y="407"/>
                </a:cxn>
                <a:cxn ang="0">
                  <a:pos x="36" y="402"/>
                </a:cxn>
                <a:cxn ang="0">
                  <a:pos x="79" y="368"/>
                </a:cxn>
                <a:cxn ang="0">
                  <a:pos x="85" y="328"/>
                </a:cxn>
                <a:cxn ang="0">
                  <a:pos x="76" y="309"/>
                </a:cxn>
                <a:cxn ang="0">
                  <a:pos x="51" y="341"/>
                </a:cxn>
                <a:cxn ang="0">
                  <a:pos x="48" y="342"/>
                </a:cxn>
                <a:cxn ang="0">
                  <a:pos x="45" y="342"/>
                </a:cxn>
                <a:cxn ang="0">
                  <a:pos x="3" y="312"/>
                </a:cxn>
                <a:cxn ang="0">
                  <a:pos x="0" y="308"/>
                </a:cxn>
                <a:cxn ang="0">
                  <a:pos x="0" y="202"/>
                </a:cxn>
                <a:cxn ang="0">
                  <a:pos x="2" y="199"/>
                </a:cxn>
                <a:cxn ang="0">
                  <a:pos x="36" y="173"/>
                </a:cxn>
                <a:cxn ang="0">
                  <a:pos x="60" y="103"/>
                </a:cxn>
                <a:cxn ang="0">
                  <a:pos x="60" y="54"/>
                </a:cxn>
                <a:cxn ang="0">
                  <a:pos x="62" y="50"/>
                </a:cxn>
                <a:cxn ang="0">
                  <a:pos x="164" y="0"/>
                </a:cxn>
                <a:cxn ang="0">
                  <a:pos x="166" y="0"/>
                </a:cxn>
                <a:cxn ang="0">
                  <a:pos x="168" y="0"/>
                </a:cxn>
                <a:cxn ang="0">
                  <a:pos x="270" y="50"/>
                </a:cxn>
                <a:cxn ang="0">
                  <a:pos x="304" y="92"/>
                </a:cxn>
                <a:cxn ang="0">
                  <a:pos x="387" y="92"/>
                </a:cxn>
                <a:cxn ang="0">
                  <a:pos x="397" y="84"/>
                </a:cxn>
                <a:cxn ang="0">
                  <a:pos x="399" y="83"/>
                </a:cxn>
                <a:cxn ang="0">
                  <a:pos x="402" y="84"/>
                </a:cxn>
                <a:cxn ang="0">
                  <a:pos x="465" y="122"/>
                </a:cxn>
                <a:cxn ang="0">
                  <a:pos x="468" y="126"/>
                </a:cxn>
                <a:cxn ang="0">
                  <a:pos x="465" y="130"/>
                </a:cxn>
                <a:cxn ang="0">
                  <a:pos x="448" y="140"/>
                </a:cxn>
                <a:cxn ang="0">
                  <a:pos x="480" y="196"/>
                </a:cxn>
                <a:cxn ang="0">
                  <a:pos x="480" y="200"/>
                </a:cxn>
                <a:cxn ang="0">
                  <a:pos x="475" y="203"/>
                </a:cxn>
                <a:cxn ang="0">
                  <a:pos x="466" y="203"/>
                </a:cxn>
                <a:cxn ang="0">
                  <a:pos x="433" y="260"/>
                </a:cxn>
                <a:cxn ang="0">
                  <a:pos x="356" y="333"/>
                </a:cxn>
                <a:cxn ang="0">
                  <a:pos x="238" y="383"/>
                </a:cxn>
                <a:cxn ang="0">
                  <a:pos x="230" y="411"/>
                </a:cxn>
                <a:cxn ang="0">
                  <a:pos x="226" y="414"/>
                </a:cxn>
                <a:cxn ang="0">
                  <a:pos x="207" y="414"/>
                </a:cxn>
                <a:cxn ang="0">
                  <a:pos x="187" y="446"/>
                </a:cxn>
                <a:cxn ang="0">
                  <a:pos x="184" y="507"/>
                </a:cxn>
                <a:cxn ang="0">
                  <a:pos x="182" y="511"/>
                </a:cxn>
                <a:cxn ang="0">
                  <a:pos x="152" y="532"/>
                </a:cxn>
                <a:cxn ang="0">
                  <a:pos x="120" y="537"/>
                </a:cxn>
              </a:cxnLst>
              <a:rect l="0" t="0" r="r" b="b"/>
              <a:pathLst>
                <a:path w="481" h="538">
                  <a:moveTo>
                    <a:pt x="120" y="537"/>
                  </a:moveTo>
                  <a:cubicBezTo>
                    <a:pt x="118" y="537"/>
                    <a:pt x="116" y="536"/>
                    <a:pt x="115" y="534"/>
                  </a:cubicBezTo>
                  <a:lnTo>
                    <a:pt x="99" y="498"/>
                  </a:lnTo>
                  <a:lnTo>
                    <a:pt x="64" y="490"/>
                  </a:lnTo>
                  <a:lnTo>
                    <a:pt x="32" y="499"/>
                  </a:lnTo>
                  <a:cubicBezTo>
                    <a:pt x="31" y="499"/>
                    <a:pt x="31" y="499"/>
                    <a:pt x="31" y="499"/>
                  </a:cubicBezTo>
                  <a:cubicBezTo>
                    <a:pt x="30" y="499"/>
                    <a:pt x="29" y="499"/>
                    <a:pt x="28" y="498"/>
                  </a:cubicBezTo>
                  <a:cubicBezTo>
                    <a:pt x="27" y="497"/>
                    <a:pt x="26" y="496"/>
                    <a:pt x="26" y="495"/>
                  </a:cubicBezTo>
                  <a:lnTo>
                    <a:pt x="18" y="457"/>
                  </a:lnTo>
                  <a:cubicBezTo>
                    <a:pt x="17" y="455"/>
                    <a:pt x="18" y="453"/>
                    <a:pt x="19" y="452"/>
                  </a:cubicBezTo>
                  <a:lnTo>
                    <a:pt x="46" y="433"/>
                  </a:lnTo>
                  <a:lnTo>
                    <a:pt x="35" y="407"/>
                  </a:lnTo>
                  <a:cubicBezTo>
                    <a:pt x="34" y="405"/>
                    <a:pt x="35" y="403"/>
                    <a:pt x="36" y="402"/>
                  </a:cubicBezTo>
                  <a:lnTo>
                    <a:pt x="79" y="368"/>
                  </a:lnTo>
                  <a:lnTo>
                    <a:pt x="85" y="328"/>
                  </a:lnTo>
                  <a:lnTo>
                    <a:pt x="76" y="309"/>
                  </a:lnTo>
                  <a:lnTo>
                    <a:pt x="51" y="341"/>
                  </a:lnTo>
                  <a:cubicBezTo>
                    <a:pt x="50" y="342"/>
                    <a:pt x="49" y="342"/>
                    <a:pt x="48" y="342"/>
                  </a:cubicBezTo>
                  <a:cubicBezTo>
                    <a:pt x="47" y="342"/>
                    <a:pt x="46" y="342"/>
                    <a:pt x="45" y="342"/>
                  </a:cubicBezTo>
                  <a:lnTo>
                    <a:pt x="3" y="312"/>
                  </a:lnTo>
                  <a:cubicBezTo>
                    <a:pt x="1" y="311"/>
                    <a:pt x="0" y="310"/>
                    <a:pt x="0" y="308"/>
                  </a:cubicBezTo>
                  <a:lnTo>
                    <a:pt x="0" y="202"/>
                  </a:lnTo>
                  <a:cubicBezTo>
                    <a:pt x="0" y="201"/>
                    <a:pt x="1" y="199"/>
                    <a:pt x="2" y="199"/>
                  </a:cubicBezTo>
                  <a:lnTo>
                    <a:pt x="36" y="173"/>
                  </a:lnTo>
                  <a:lnTo>
                    <a:pt x="60" y="103"/>
                  </a:lnTo>
                  <a:lnTo>
                    <a:pt x="60" y="54"/>
                  </a:lnTo>
                  <a:cubicBezTo>
                    <a:pt x="60" y="52"/>
                    <a:pt x="61" y="51"/>
                    <a:pt x="62" y="50"/>
                  </a:cubicBezTo>
                  <a:lnTo>
                    <a:pt x="164" y="0"/>
                  </a:lnTo>
                  <a:cubicBezTo>
                    <a:pt x="165" y="0"/>
                    <a:pt x="166" y="0"/>
                    <a:pt x="166" y="0"/>
                  </a:cubicBezTo>
                  <a:cubicBezTo>
                    <a:pt x="167" y="0"/>
                    <a:pt x="168" y="0"/>
                    <a:pt x="168" y="0"/>
                  </a:cubicBezTo>
                  <a:lnTo>
                    <a:pt x="270" y="50"/>
                  </a:lnTo>
                  <a:lnTo>
                    <a:pt x="304" y="92"/>
                  </a:lnTo>
                  <a:lnTo>
                    <a:pt x="387" y="92"/>
                  </a:lnTo>
                  <a:lnTo>
                    <a:pt x="397" y="84"/>
                  </a:lnTo>
                  <a:cubicBezTo>
                    <a:pt x="398" y="84"/>
                    <a:pt x="398" y="83"/>
                    <a:pt x="399" y="83"/>
                  </a:cubicBezTo>
                  <a:cubicBezTo>
                    <a:pt x="400" y="83"/>
                    <a:pt x="401" y="84"/>
                    <a:pt x="402" y="84"/>
                  </a:cubicBezTo>
                  <a:lnTo>
                    <a:pt x="465" y="122"/>
                  </a:lnTo>
                  <a:cubicBezTo>
                    <a:pt x="467" y="123"/>
                    <a:pt x="468" y="124"/>
                    <a:pt x="468" y="126"/>
                  </a:cubicBezTo>
                  <a:cubicBezTo>
                    <a:pt x="468" y="128"/>
                    <a:pt x="467" y="129"/>
                    <a:pt x="465" y="130"/>
                  </a:cubicBezTo>
                  <a:lnTo>
                    <a:pt x="448" y="140"/>
                  </a:lnTo>
                  <a:lnTo>
                    <a:pt x="480" y="196"/>
                  </a:lnTo>
                  <a:cubicBezTo>
                    <a:pt x="480" y="197"/>
                    <a:pt x="480" y="199"/>
                    <a:pt x="480" y="200"/>
                  </a:cubicBezTo>
                  <a:cubicBezTo>
                    <a:pt x="479" y="202"/>
                    <a:pt x="477" y="203"/>
                    <a:pt x="475" y="203"/>
                  </a:cubicBezTo>
                  <a:lnTo>
                    <a:pt x="466" y="203"/>
                  </a:lnTo>
                  <a:lnTo>
                    <a:pt x="433" y="260"/>
                  </a:lnTo>
                  <a:lnTo>
                    <a:pt x="356" y="333"/>
                  </a:lnTo>
                  <a:lnTo>
                    <a:pt x="238" y="383"/>
                  </a:lnTo>
                  <a:lnTo>
                    <a:pt x="230" y="411"/>
                  </a:lnTo>
                  <a:cubicBezTo>
                    <a:pt x="229" y="413"/>
                    <a:pt x="228" y="414"/>
                    <a:pt x="226" y="414"/>
                  </a:cubicBezTo>
                  <a:lnTo>
                    <a:pt x="207" y="414"/>
                  </a:lnTo>
                  <a:lnTo>
                    <a:pt x="187" y="446"/>
                  </a:lnTo>
                  <a:lnTo>
                    <a:pt x="184" y="507"/>
                  </a:lnTo>
                  <a:cubicBezTo>
                    <a:pt x="183" y="509"/>
                    <a:pt x="183" y="510"/>
                    <a:pt x="182" y="511"/>
                  </a:cubicBezTo>
                  <a:lnTo>
                    <a:pt x="152" y="532"/>
                  </a:lnTo>
                  <a:lnTo>
                    <a:pt x="120" y="53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7" name="Freeform 112"/>
            <p:cNvSpPr>
              <a:spLocks noChangeArrowheads="1"/>
            </p:cNvSpPr>
            <p:nvPr/>
          </p:nvSpPr>
          <p:spPr bwMode="auto">
            <a:xfrm>
              <a:off x="3135313" y="3570288"/>
              <a:ext cx="90487" cy="112712"/>
            </a:xfrm>
            <a:custGeom>
              <a:avLst/>
              <a:gdLst/>
              <a:ahLst/>
              <a:cxnLst>
                <a:cxn ang="0">
                  <a:pos x="41" y="309"/>
                </a:cxn>
                <a:cxn ang="0">
                  <a:pos x="3" y="284"/>
                </a:cxn>
                <a:cxn ang="0">
                  <a:pos x="1" y="280"/>
                </a:cxn>
                <a:cxn ang="0">
                  <a:pos x="2" y="277"/>
                </a:cxn>
                <a:cxn ang="0">
                  <a:pos x="28" y="251"/>
                </a:cxn>
                <a:cxn ang="0">
                  <a:pos x="39" y="169"/>
                </a:cxn>
                <a:cxn ang="0">
                  <a:pos x="10" y="117"/>
                </a:cxn>
                <a:cxn ang="0">
                  <a:pos x="5" y="60"/>
                </a:cxn>
                <a:cxn ang="0">
                  <a:pos x="6" y="57"/>
                </a:cxn>
                <a:cxn ang="0">
                  <a:pos x="40" y="15"/>
                </a:cxn>
                <a:cxn ang="0">
                  <a:pos x="53" y="2"/>
                </a:cxn>
                <a:cxn ang="0">
                  <a:pos x="56" y="0"/>
                </a:cxn>
                <a:cxn ang="0">
                  <a:pos x="58" y="1"/>
                </a:cxn>
                <a:cxn ang="0">
                  <a:pos x="160" y="43"/>
                </a:cxn>
                <a:cxn ang="0">
                  <a:pos x="229" y="99"/>
                </a:cxn>
                <a:cxn ang="0">
                  <a:pos x="251" y="134"/>
                </a:cxn>
                <a:cxn ang="0">
                  <a:pos x="251" y="139"/>
                </a:cxn>
                <a:cxn ang="0">
                  <a:pos x="175" y="261"/>
                </a:cxn>
                <a:cxn ang="0">
                  <a:pos x="123" y="301"/>
                </a:cxn>
                <a:cxn ang="0">
                  <a:pos x="43" y="310"/>
                </a:cxn>
                <a:cxn ang="0">
                  <a:pos x="41" y="309"/>
                </a:cxn>
              </a:cxnLst>
              <a:rect l="0" t="0" r="r" b="b"/>
              <a:pathLst>
                <a:path w="253" h="311">
                  <a:moveTo>
                    <a:pt x="41" y="309"/>
                  </a:moveTo>
                  <a:lnTo>
                    <a:pt x="3" y="284"/>
                  </a:lnTo>
                  <a:cubicBezTo>
                    <a:pt x="2" y="283"/>
                    <a:pt x="1" y="282"/>
                    <a:pt x="1" y="280"/>
                  </a:cubicBezTo>
                  <a:cubicBezTo>
                    <a:pt x="0" y="279"/>
                    <a:pt x="1" y="278"/>
                    <a:pt x="2" y="277"/>
                  </a:cubicBezTo>
                  <a:lnTo>
                    <a:pt x="28" y="251"/>
                  </a:lnTo>
                  <a:lnTo>
                    <a:pt x="39" y="169"/>
                  </a:lnTo>
                  <a:lnTo>
                    <a:pt x="10" y="117"/>
                  </a:lnTo>
                  <a:lnTo>
                    <a:pt x="5" y="60"/>
                  </a:lnTo>
                  <a:cubicBezTo>
                    <a:pt x="5" y="59"/>
                    <a:pt x="5" y="58"/>
                    <a:pt x="6" y="57"/>
                  </a:cubicBezTo>
                  <a:lnTo>
                    <a:pt x="40" y="15"/>
                  </a:lnTo>
                  <a:lnTo>
                    <a:pt x="53" y="2"/>
                  </a:lnTo>
                  <a:cubicBezTo>
                    <a:pt x="54" y="1"/>
                    <a:pt x="55" y="0"/>
                    <a:pt x="56" y="0"/>
                  </a:cubicBezTo>
                  <a:cubicBezTo>
                    <a:pt x="57" y="0"/>
                    <a:pt x="57" y="0"/>
                    <a:pt x="58" y="1"/>
                  </a:cubicBezTo>
                  <a:lnTo>
                    <a:pt x="160" y="43"/>
                  </a:lnTo>
                  <a:lnTo>
                    <a:pt x="229" y="99"/>
                  </a:lnTo>
                  <a:lnTo>
                    <a:pt x="251" y="134"/>
                  </a:lnTo>
                  <a:cubicBezTo>
                    <a:pt x="252" y="135"/>
                    <a:pt x="252" y="137"/>
                    <a:pt x="251" y="139"/>
                  </a:cubicBezTo>
                  <a:lnTo>
                    <a:pt x="175" y="261"/>
                  </a:lnTo>
                  <a:lnTo>
                    <a:pt x="123" y="301"/>
                  </a:lnTo>
                  <a:lnTo>
                    <a:pt x="43" y="310"/>
                  </a:lnTo>
                  <a:cubicBezTo>
                    <a:pt x="43" y="310"/>
                    <a:pt x="41" y="310"/>
                    <a:pt x="41" y="30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8" name="Freeform 113"/>
            <p:cNvSpPr>
              <a:spLocks noChangeArrowheads="1"/>
            </p:cNvSpPr>
            <p:nvPr/>
          </p:nvSpPr>
          <p:spPr bwMode="auto">
            <a:xfrm>
              <a:off x="3135313" y="3570288"/>
              <a:ext cx="90487" cy="112712"/>
            </a:xfrm>
            <a:custGeom>
              <a:avLst/>
              <a:gdLst/>
              <a:ahLst/>
              <a:cxnLst>
                <a:cxn ang="0">
                  <a:pos x="43" y="310"/>
                </a:cxn>
                <a:cxn ang="0">
                  <a:pos x="41" y="309"/>
                </a:cxn>
                <a:cxn ang="0">
                  <a:pos x="3" y="284"/>
                </a:cxn>
                <a:cxn ang="0">
                  <a:pos x="1" y="280"/>
                </a:cxn>
                <a:cxn ang="0">
                  <a:pos x="2" y="277"/>
                </a:cxn>
                <a:cxn ang="0">
                  <a:pos x="28" y="251"/>
                </a:cxn>
                <a:cxn ang="0">
                  <a:pos x="39" y="169"/>
                </a:cxn>
                <a:cxn ang="0">
                  <a:pos x="10" y="117"/>
                </a:cxn>
                <a:cxn ang="0">
                  <a:pos x="5" y="60"/>
                </a:cxn>
                <a:cxn ang="0">
                  <a:pos x="6" y="57"/>
                </a:cxn>
                <a:cxn ang="0">
                  <a:pos x="40" y="15"/>
                </a:cxn>
                <a:cxn ang="0">
                  <a:pos x="53" y="2"/>
                </a:cxn>
                <a:cxn ang="0">
                  <a:pos x="56" y="0"/>
                </a:cxn>
                <a:cxn ang="0">
                  <a:pos x="58" y="1"/>
                </a:cxn>
                <a:cxn ang="0">
                  <a:pos x="160" y="43"/>
                </a:cxn>
                <a:cxn ang="0">
                  <a:pos x="229" y="99"/>
                </a:cxn>
                <a:cxn ang="0">
                  <a:pos x="251" y="134"/>
                </a:cxn>
                <a:cxn ang="0">
                  <a:pos x="251" y="139"/>
                </a:cxn>
                <a:cxn ang="0">
                  <a:pos x="175" y="261"/>
                </a:cxn>
                <a:cxn ang="0">
                  <a:pos x="123" y="301"/>
                </a:cxn>
                <a:cxn ang="0">
                  <a:pos x="43" y="310"/>
                </a:cxn>
              </a:cxnLst>
              <a:rect l="0" t="0" r="r" b="b"/>
              <a:pathLst>
                <a:path w="253" h="311">
                  <a:moveTo>
                    <a:pt x="43" y="310"/>
                  </a:moveTo>
                  <a:cubicBezTo>
                    <a:pt x="43" y="310"/>
                    <a:pt x="41" y="310"/>
                    <a:pt x="41" y="309"/>
                  </a:cubicBezTo>
                  <a:lnTo>
                    <a:pt x="3" y="284"/>
                  </a:lnTo>
                  <a:cubicBezTo>
                    <a:pt x="2" y="283"/>
                    <a:pt x="1" y="282"/>
                    <a:pt x="1" y="280"/>
                  </a:cubicBezTo>
                  <a:cubicBezTo>
                    <a:pt x="0" y="279"/>
                    <a:pt x="1" y="278"/>
                    <a:pt x="2" y="277"/>
                  </a:cubicBezTo>
                  <a:lnTo>
                    <a:pt x="28" y="251"/>
                  </a:lnTo>
                  <a:lnTo>
                    <a:pt x="39" y="169"/>
                  </a:lnTo>
                  <a:lnTo>
                    <a:pt x="10" y="117"/>
                  </a:lnTo>
                  <a:lnTo>
                    <a:pt x="5" y="60"/>
                  </a:lnTo>
                  <a:cubicBezTo>
                    <a:pt x="5" y="59"/>
                    <a:pt x="5" y="58"/>
                    <a:pt x="6" y="57"/>
                  </a:cubicBezTo>
                  <a:lnTo>
                    <a:pt x="40" y="15"/>
                  </a:lnTo>
                  <a:lnTo>
                    <a:pt x="53" y="2"/>
                  </a:lnTo>
                  <a:cubicBezTo>
                    <a:pt x="54" y="1"/>
                    <a:pt x="55" y="0"/>
                    <a:pt x="56" y="0"/>
                  </a:cubicBezTo>
                  <a:cubicBezTo>
                    <a:pt x="57" y="0"/>
                    <a:pt x="57" y="0"/>
                    <a:pt x="58" y="1"/>
                  </a:cubicBezTo>
                  <a:lnTo>
                    <a:pt x="160" y="43"/>
                  </a:lnTo>
                  <a:lnTo>
                    <a:pt x="229" y="99"/>
                  </a:lnTo>
                  <a:lnTo>
                    <a:pt x="251" y="134"/>
                  </a:lnTo>
                  <a:cubicBezTo>
                    <a:pt x="252" y="135"/>
                    <a:pt x="252" y="137"/>
                    <a:pt x="251" y="139"/>
                  </a:cubicBezTo>
                  <a:lnTo>
                    <a:pt x="175" y="261"/>
                  </a:lnTo>
                  <a:lnTo>
                    <a:pt x="123" y="301"/>
                  </a:lnTo>
                  <a:lnTo>
                    <a:pt x="43" y="31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9" name="Freeform 114"/>
            <p:cNvSpPr>
              <a:spLocks noChangeArrowheads="1"/>
            </p:cNvSpPr>
            <p:nvPr/>
          </p:nvSpPr>
          <p:spPr bwMode="auto">
            <a:xfrm>
              <a:off x="2930525" y="3490913"/>
              <a:ext cx="149225" cy="212725"/>
            </a:xfrm>
            <a:custGeom>
              <a:avLst/>
              <a:gdLst/>
              <a:ahLst/>
              <a:cxnLst>
                <a:cxn ang="0">
                  <a:pos x="168" y="572"/>
                </a:cxn>
                <a:cxn ang="0">
                  <a:pos x="137" y="546"/>
                </a:cxn>
                <a:cxn ang="0">
                  <a:pos x="135" y="542"/>
                </a:cxn>
                <a:cxn ang="0">
                  <a:pos x="135" y="506"/>
                </a:cxn>
                <a:cxn ang="0">
                  <a:pos x="115" y="486"/>
                </a:cxn>
                <a:cxn ang="0">
                  <a:pos x="114" y="482"/>
                </a:cxn>
                <a:cxn ang="0">
                  <a:pos x="127" y="389"/>
                </a:cxn>
                <a:cxn ang="0">
                  <a:pos x="148" y="368"/>
                </a:cxn>
                <a:cxn ang="0">
                  <a:pos x="136" y="326"/>
                </a:cxn>
                <a:cxn ang="0">
                  <a:pos x="109" y="318"/>
                </a:cxn>
                <a:cxn ang="0">
                  <a:pos x="106" y="314"/>
                </a:cxn>
                <a:cxn ang="0">
                  <a:pos x="102" y="268"/>
                </a:cxn>
                <a:cxn ang="0">
                  <a:pos x="55" y="268"/>
                </a:cxn>
                <a:cxn ang="0">
                  <a:pos x="51" y="266"/>
                </a:cxn>
                <a:cxn ang="0">
                  <a:pos x="1" y="185"/>
                </a:cxn>
                <a:cxn ang="0">
                  <a:pos x="0" y="181"/>
                </a:cxn>
                <a:cxn ang="0">
                  <a:pos x="17" y="135"/>
                </a:cxn>
                <a:cxn ang="0">
                  <a:pos x="60" y="105"/>
                </a:cxn>
                <a:cxn ang="0">
                  <a:pos x="46" y="103"/>
                </a:cxn>
                <a:cxn ang="0">
                  <a:pos x="42" y="98"/>
                </a:cxn>
                <a:cxn ang="0">
                  <a:pos x="42" y="56"/>
                </a:cxn>
                <a:cxn ang="0">
                  <a:pos x="45" y="52"/>
                </a:cxn>
                <a:cxn ang="0">
                  <a:pos x="117" y="14"/>
                </a:cxn>
                <a:cxn ang="0">
                  <a:pos x="123" y="2"/>
                </a:cxn>
                <a:cxn ang="0">
                  <a:pos x="127" y="0"/>
                </a:cxn>
                <a:cxn ang="0">
                  <a:pos x="149" y="0"/>
                </a:cxn>
                <a:cxn ang="0">
                  <a:pos x="223" y="56"/>
                </a:cxn>
                <a:cxn ang="0">
                  <a:pos x="241" y="120"/>
                </a:cxn>
                <a:cxn ang="0">
                  <a:pos x="302" y="136"/>
                </a:cxn>
                <a:cxn ang="0">
                  <a:pos x="364" y="205"/>
                </a:cxn>
                <a:cxn ang="0">
                  <a:pos x="365" y="210"/>
                </a:cxn>
                <a:cxn ang="0">
                  <a:pos x="331" y="282"/>
                </a:cxn>
                <a:cxn ang="0">
                  <a:pos x="327" y="285"/>
                </a:cxn>
                <a:cxn ang="0">
                  <a:pos x="288" y="293"/>
                </a:cxn>
                <a:cxn ang="0">
                  <a:pos x="272" y="351"/>
                </a:cxn>
                <a:cxn ang="0">
                  <a:pos x="313" y="408"/>
                </a:cxn>
                <a:cxn ang="0">
                  <a:pos x="340" y="415"/>
                </a:cxn>
                <a:cxn ang="0">
                  <a:pos x="343" y="418"/>
                </a:cxn>
                <a:cxn ang="0">
                  <a:pos x="373" y="490"/>
                </a:cxn>
                <a:cxn ang="0">
                  <a:pos x="410" y="531"/>
                </a:cxn>
                <a:cxn ang="0">
                  <a:pos x="411" y="536"/>
                </a:cxn>
                <a:cxn ang="0">
                  <a:pos x="407" y="539"/>
                </a:cxn>
                <a:cxn ang="0">
                  <a:pos x="347" y="530"/>
                </a:cxn>
                <a:cxn ang="0">
                  <a:pos x="227" y="588"/>
                </a:cxn>
                <a:cxn ang="0">
                  <a:pos x="225" y="588"/>
                </a:cxn>
                <a:cxn ang="0">
                  <a:pos x="223" y="588"/>
                </a:cxn>
                <a:cxn ang="0">
                  <a:pos x="168" y="572"/>
                </a:cxn>
              </a:cxnLst>
              <a:rect l="0" t="0" r="r" b="b"/>
              <a:pathLst>
                <a:path w="413" h="589">
                  <a:moveTo>
                    <a:pt x="168" y="572"/>
                  </a:moveTo>
                  <a:lnTo>
                    <a:pt x="137" y="546"/>
                  </a:lnTo>
                  <a:cubicBezTo>
                    <a:pt x="136" y="545"/>
                    <a:pt x="135" y="544"/>
                    <a:pt x="135" y="542"/>
                  </a:cubicBezTo>
                  <a:lnTo>
                    <a:pt x="135" y="506"/>
                  </a:lnTo>
                  <a:lnTo>
                    <a:pt x="115" y="486"/>
                  </a:lnTo>
                  <a:cubicBezTo>
                    <a:pt x="114" y="485"/>
                    <a:pt x="114" y="484"/>
                    <a:pt x="114" y="482"/>
                  </a:cubicBezTo>
                  <a:lnTo>
                    <a:pt x="127" y="389"/>
                  </a:lnTo>
                  <a:lnTo>
                    <a:pt x="148" y="368"/>
                  </a:lnTo>
                  <a:lnTo>
                    <a:pt x="136" y="326"/>
                  </a:lnTo>
                  <a:lnTo>
                    <a:pt x="109" y="318"/>
                  </a:lnTo>
                  <a:cubicBezTo>
                    <a:pt x="107" y="318"/>
                    <a:pt x="106" y="316"/>
                    <a:pt x="106" y="314"/>
                  </a:cubicBezTo>
                  <a:lnTo>
                    <a:pt x="102" y="268"/>
                  </a:lnTo>
                  <a:lnTo>
                    <a:pt x="55" y="268"/>
                  </a:lnTo>
                  <a:cubicBezTo>
                    <a:pt x="54" y="268"/>
                    <a:pt x="52" y="267"/>
                    <a:pt x="51" y="266"/>
                  </a:cubicBezTo>
                  <a:lnTo>
                    <a:pt x="1" y="185"/>
                  </a:lnTo>
                  <a:cubicBezTo>
                    <a:pt x="0" y="184"/>
                    <a:pt x="0" y="182"/>
                    <a:pt x="0" y="181"/>
                  </a:cubicBezTo>
                  <a:lnTo>
                    <a:pt x="17" y="135"/>
                  </a:lnTo>
                  <a:lnTo>
                    <a:pt x="60" y="105"/>
                  </a:lnTo>
                  <a:lnTo>
                    <a:pt x="46" y="103"/>
                  </a:lnTo>
                  <a:cubicBezTo>
                    <a:pt x="44" y="102"/>
                    <a:pt x="42" y="101"/>
                    <a:pt x="42" y="98"/>
                  </a:cubicBezTo>
                  <a:lnTo>
                    <a:pt x="42" y="56"/>
                  </a:lnTo>
                  <a:cubicBezTo>
                    <a:pt x="42" y="54"/>
                    <a:pt x="43" y="53"/>
                    <a:pt x="45" y="52"/>
                  </a:cubicBezTo>
                  <a:lnTo>
                    <a:pt x="117" y="14"/>
                  </a:lnTo>
                  <a:lnTo>
                    <a:pt x="123" y="2"/>
                  </a:lnTo>
                  <a:cubicBezTo>
                    <a:pt x="124" y="1"/>
                    <a:pt x="126" y="0"/>
                    <a:pt x="127" y="0"/>
                  </a:cubicBezTo>
                  <a:lnTo>
                    <a:pt x="149" y="0"/>
                  </a:lnTo>
                  <a:lnTo>
                    <a:pt x="223" y="56"/>
                  </a:lnTo>
                  <a:lnTo>
                    <a:pt x="241" y="120"/>
                  </a:lnTo>
                  <a:lnTo>
                    <a:pt x="302" y="136"/>
                  </a:lnTo>
                  <a:lnTo>
                    <a:pt x="364" y="205"/>
                  </a:lnTo>
                  <a:cubicBezTo>
                    <a:pt x="365" y="206"/>
                    <a:pt x="365" y="208"/>
                    <a:pt x="365" y="210"/>
                  </a:cubicBezTo>
                  <a:lnTo>
                    <a:pt x="331" y="282"/>
                  </a:lnTo>
                  <a:cubicBezTo>
                    <a:pt x="330" y="283"/>
                    <a:pt x="329" y="284"/>
                    <a:pt x="327" y="285"/>
                  </a:cubicBezTo>
                  <a:lnTo>
                    <a:pt x="288" y="293"/>
                  </a:lnTo>
                  <a:lnTo>
                    <a:pt x="272" y="351"/>
                  </a:lnTo>
                  <a:lnTo>
                    <a:pt x="313" y="408"/>
                  </a:lnTo>
                  <a:lnTo>
                    <a:pt x="340" y="415"/>
                  </a:lnTo>
                  <a:cubicBezTo>
                    <a:pt x="342" y="415"/>
                    <a:pt x="343" y="416"/>
                    <a:pt x="343" y="418"/>
                  </a:cubicBezTo>
                  <a:lnTo>
                    <a:pt x="373" y="490"/>
                  </a:lnTo>
                  <a:lnTo>
                    <a:pt x="410" y="531"/>
                  </a:lnTo>
                  <a:cubicBezTo>
                    <a:pt x="412" y="532"/>
                    <a:pt x="412" y="534"/>
                    <a:pt x="411" y="536"/>
                  </a:cubicBezTo>
                  <a:cubicBezTo>
                    <a:pt x="410" y="538"/>
                    <a:pt x="409" y="539"/>
                    <a:pt x="407" y="539"/>
                  </a:cubicBezTo>
                  <a:lnTo>
                    <a:pt x="347" y="530"/>
                  </a:lnTo>
                  <a:lnTo>
                    <a:pt x="227" y="588"/>
                  </a:lnTo>
                  <a:cubicBezTo>
                    <a:pt x="226" y="588"/>
                    <a:pt x="225" y="588"/>
                    <a:pt x="225" y="588"/>
                  </a:cubicBezTo>
                  <a:cubicBezTo>
                    <a:pt x="225" y="588"/>
                    <a:pt x="224" y="588"/>
                    <a:pt x="223" y="588"/>
                  </a:cubicBezTo>
                  <a:lnTo>
                    <a:pt x="168" y="57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0" name="Freeform 115"/>
            <p:cNvSpPr>
              <a:spLocks noChangeArrowheads="1"/>
            </p:cNvSpPr>
            <p:nvPr/>
          </p:nvSpPr>
          <p:spPr bwMode="auto">
            <a:xfrm>
              <a:off x="2930525" y="3490913"/>
              <a:ext cx="149225" cy="212725"/>
            </a:xfrm>
            <a:custGeom>
              <a:avLst/>
              <a:gdLst/>
              <a:ahLst/>
              <a:cxnLst>
                <a:cxn ang="0">
                  <a:pos x="223" y="588"/>
                </a:cxn>
                <a:cxn ang="0">
                  <a:pos x="168" y="572"/>
                </a:cxn>
                <a:cxn ang="0">
                  <a:pos x="137" y="546"/>
                </a:cxn>
                <a:cxn ang="0">
                  <a:pos x="135" y="542"/>
                </a:cxn>
                <a:cxn ang="0">
                  <a:pos x="135" y="506"/>
                </a:cxn>
                <a:cxn ang="0">
                  <a:pos x="115" y="486"/>
                </a:cxn>
                <a:cxn ang="0">
                  <a:pos x="114" y="482"/>
                </a:cxn>
                <a:cxn ang="0">
                  <a:pos x="127" y="389"/>
                </a:cxn>
                <a:cxn ang="0">
                  <a:pos x="148" y="368"/>
                </a:cxn>
                <a:cxn ang="0">
                  <a:pos x="136" y="326"/>
                </a:cxn>
                <a:cxn ang="0">
                  <a:pos x="109" y="318"/>
                </a:cxn>
                <a:cxn ang="0">
                  <a:pos x="106" y="314"/>
                </a:cxn>
                <a:cxn ang="0">
                  <a:pos x="102" y="268"/>
                </a:cxn>
                <a:cxn ang="0">
                  <a:pos x="55" y="268"/>
                </a:cxn>
                <a:cxn ang="0">
                  <a:pos x="51" y="266"/>
                </a:cxn>
                <a:cxn ang="0">
                  <a:pos x="1" y="185"/>
                </a:cxn>
                <a:cxn ang="0">
                  <a:pos x="0" y="181"/>
                </a:cxn>
                <a:cxn ang="0">
                  <a:pos x="17" y="135"/>
                </a:cxn>
                <a:cxn ang="0">
                  <a:pos x="60" y="105"/>
                </a:cxn>
                <a:cxn ang="0">
                  <a:pos x="46" y="103"/>
                </a:cxn>
                <a:cxn ang="0">
                  <a:pos x="42" y="98"/>
                </a:cxn>
                <a:cxn ang="0">
                  <a:pos x="42" y="56"/>
                </a:cxn>
                <a:cxn ang="0">
                  <a:pos x="45" y="52"/>
                </a:cxn>
                <a:cxn ang="0">
                  <a:pos x="117" y="14"/>
                </a:cxn>
                <a:cxn ang="0">
                  <a:pos x="123" y="2"/>
                </a:cxn>
                <a:cxn ang="0">
                  <a:pos x="127" y="0"/>
                </a:cxn>
                <a:cxn ang="0">
                  <a:pos x="149" y="0"/>
                </a:cxn>
                <a:cxn ang="0">
                  <a:pos x="223" y="56"/>
                </a:cxn>
                <a:cxn ang="0">
                  <a:pos x="241" y="120"/>
                </a:cxn>
                <a:cxn ang="0">
                  <a:pos x="302" y="136"/>
                </a:cxn>
                <a:cxn ang="0">
                  <a:pos x="364" y="205"/>
                </a:cxn>
                <a:cxn ang="0">
                  <a:pos x="365" y="210"/>
                </a:cxn>
                <a:cxn ang="0">
                  <a:pos x="331" y="282"/>
                </a:cxn>
                <a:cxn ang="0">
                  <a:pos x="327" y="285"/>
                </a:cxn>
                <a:cxn ang="0">
                  <a:pos x="288" y="293"/>
                </a:cxn>
                <a:cxn ang="0">
                  <a:pos x="272" y="351"/>
                </a:cxn>
                <a:cxn ang="0">
                  <a:pos x="313" y="408"/>
                </a:cxn>
                <a:cxn ang="0">
                  <a:pos x="340" y="415"/>
                </a:cxn>
                <a:cxn ang="0">
                  <a:pos x="343" y="418"/>
                </a:cxn>
                <a:cxn ang="0">
                  <a:pos x="373" y="490"/>
                </a:cxn>
                <a:cxn ang="0">
                  <a:pos x="410" y="531"/>
                </a:cxn>
                <a:cxn ang="0">
                  <a:pos x="411" y="536"/>
                </a:cxn>
                <a:cxn ang="0">
                  <a:pos x="407" y="539"/>
                </a:cxn>
                <a:cxn ang="0">
                  <a:pos x="347" y="530"/>
                </a:cxn>
                <a:cxn ang="0">
                  <a:pos x="227" y="588"/>
                </a:cxn>
                <a:cxn ang="0">
                  <a:pos x="225" y="588"/>
                </a:cxn>
                <a:cxn ang="0">
                  <a:pos x="223" y="588"/>
                </a:cxn>
              </a:cxnLst>
              <a:rect l="0" t="0" r="r" b="b"/>
              <a:pathLst>
                <a:path w="413" h="589">
                  <a:moveTo>
                    <a:pt x="223" y="588"/>
                  </a:moveTo>
                  <a:lnTo>
                    <a:pt x="168" y="572"/>
                  </a:lnTo>
                  <a:lnTo>
                    <a:pt x="137" y="546"/>
                  </a:lnTo>
                  <a:cubicBezTo>
                    <a:pt x="136" y="545"/>
                    <a:pt x="135" y="544"/>
                    <a:pt x="135" y="542"/>
                  </a:cubicBezTo>
                  <a:lnTo>
                    <a:pt x="135" y="506"/>
                  </a:lnTo>
                  <a:lnTo>
                    <a:pt x="115" y="486"/>
                  </a:lnTo>
                  <a:cubicBezTo>
                    <a:pt x="114" y="485"/>
                    <a:pt x="114" y="484"/>
                    <a:pt x="114" y="482"/>
                  </a:cubicBezTo>
                  <a:lnTo>
                    <a:pt x="127" y="389"/>
                  </a:lnTo>
                  <a:lnTo>
                    <a:pt x="148" y="368"/>
                  </a:lnTo>
                  <a:lnTo>
                    <a:pt x="136" y="326"/>
                  </a:lnTo>
                  <a:lnTo>
                    <a:pt x="109" y="318"/>
                  </a:lnTo>
                  <a:cubicBezTo>
                    <a:pt x="107" y="318"/>
                    <a:pt x="106" y="316"/>
                    <a:pt x="106" y="314"/>
                  </a:cubicBezTo>
                  <a:lnTo>
                    <a:pt x="102" y="268"/>
                  </a:lnTo>
                  <a:lnTo>
                    <a:pt x="55" y="268"/>
                  </a:lnTo>
                  <a:cubicBezTo>
                    <a:pt x="54" y="268"/>
                    <a:pt x="52" y="267"/>
                    <a:pt x="51" y="266"/>
                  </a:cubicBezTo>
                  <a:lnTo>
                    <a:pt x="1" y="185"/>
                  </a:lnTo>
                  <a:cubicBezTo>
                    <a:pt x="0" y="184"/>
                    <a:pt x="0" y="182"/>
                    <a:pt x="0" y="181"/>
                  </a:cubicBezTo>
                  <a:lnTo>
                    <a:pt x="17" y="135"/>
                  </a:lnTo>
                  <a:lnTo>
                    <a:pt x="60" y="105"/>
                  </a:lnTo>
                  <a:lnTo>
                    <a:pt x="46" y="103"/>
                  </a:lnTo>
                  <a:cubicBezTo>
                    <a:pt x="44" y="102"/>
                    <a:pt x="42" y="101"/>
                    <a:pt x="42" y="98"/>
                  </a:cubicBezTo>
                  <a:lnTo>
                    <a:pt x="42" y="56"/>
                  </a:lnTo>
                  <a:cubicBezTo>
                    <a:pt x="42" y="54"/>
                    <a:pt x="43" y="53"/>
                    <a:pt x="45" y="52"/>
                  </a:cubicBezTo>
                  <a:lnTo>
                    <a:pt x="117" y="14"/>
                  </a:lnTo>
                  <a:lnTo>
                    <a:pt x="123" y="2"/>
                  </a:lnTo>
                  <a:cubicBezTo>
                    <a:pt x="124" y="1"/>
                    <a:pt x="126" y="0"/>
                    <a:pt x="127" y="0"/>
                  </a:cubicBezTo>
                  <a:lnTo>
                    <a:pt x="149" y="0"/>
                  </a:lnTo>
                  <a:lnTo>
                    <a:pt x="223" y="56"/>
                  </a:lnTo>
                  <a:lnTo>
                    <a:pt x="241" y="120"/>
                  </a:lnTo>
                  <a:lnTo>
                    <a:pt x="302" y="136"/>
                  </a:lnTo>
                  <a:lnTo>
                    <a:pt x="364" y="205"/>
                  </a:lnTo>
                  <a:cubicBezTo>
                    <a:pt x="365" y="206"/>
                    <a:pt x="365" y="208"/>
                    <a:pt x="365" y="210"/>
                  </a:cubicBezTo>
                  <a:lnTo>
                    <a:pt x="331" y="282"/>
                  </a:lnTo>
                  <a:cubicBezTo>
                    <a:pt x="330" y="283"/>
                    <a:pt x="329" y="284"/>
                    <a:pt x="327" y="285"/>
                  </a:cubicBezTo>
                  <a:lnTo>
                    <a:pt x="288" y="293"/>
                  </a:lnTo>
                  <a:lnTo>
                    <a:pt x="272" y="351"/>
                  </a:lnTo>
                  <a:lnTo>
                    <a:pt x="313" y="408"/>
                  </a:lnTo>
                  <a:lnTo>
                    <a:pt x="340" y="415"/>
                  </a:lnTo>
                  <a:cubicBezTo>
                    <a:pt x="342" y="415"/>
                    <a:pt x="343" y="416"/>
                    <a:pt x="343" y="418"/>
                  </a:cubicBezTo>
                  <a:lnTo>
                    <a:pt x="373" y="490"/>
                  </a:lnTo>
                  <a:lnTo>
                    <a:pt x="410" y="531"/>
                  </a:lnTo>
                  <a:cubicBezTo>
                    <a:pt x="412" y="532"/>
                    <a:pt x="412" y="534"/>
                    <a:pt x="411" y="536"/>
                  </a:cubicBezTo>
                  <a:cubicBezTo>
                    <a:pt x="410" y="538"/>
                    <a:pt x="409" y="539"/>
                    <a:pt x="407" y="539"/>
                  </a:cubicBezTo>
                  <a:lnTo>
                    <a:pt x="347" y="530"/>
                  </a:lnTo>
                  <a:lnTo>
                    <a:pt x="227" y="588"/>
                  </a:lnTo>
                  <a:cubicBezTo>
                    <a:pt x="226" y="588"/>
                    <a:pt x="225" y="588"/>
                    <a:pt x="225" y="588"/>
                  </a:cubicBezTo>
                  <a:cubicBezTo>
                    <a:pt x="225" y="588"/>
                    <a:pt x="224" y="588"/>
                    <a:pt x="223" y="58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1" name="Freeform 116"/>
            <p:cNvSpPr>
              <a:spLocks noChangeArrowheads="1"/>
            </p:cNvSpPr>
            <p:nvPr/>
          </p:nvSpPr>
          <p:spPr bwMode="auto">
            <a:xfrm>
              <a:off x="2886075" y="4324350"/>
              <a:ext cx="255588" cy="271463"/>
            </a:xfrm>
            <a:custGeom>
              <a:avLst/>
              <a:gdLst/>
              <a:ahLst/>
              <a:cxnLst>
                <a:cxn ang="0">
                  <a:pos x="494" y="753"/>
                </a:cxn>
                <a:cxn ang="0">
                  <a:pos x="443" y="728"/>
                </a:cxn>
                <a:cxn ang="0">
                  <a:pos x="364" y="715"/>
                </a:cxn>
                <a:cxn ang="0">
                  <a:pos x="360" y="711"/>
                </a:cxn>
                <a:cxn ang="0">
                  <a:pos x="360" y="677"/>
                </a:cxn>
                <a:cxn ang="0">
                  <a:pos x="415" y="579"/>
                </a:cxn>
                <a:cxn ang="0">
                  <a:pos x="407" y="551"/>
                </a:cxn>
                <a:cxn ang="0">
                  <a:pos x="256" y="448"/>
                </a:cxn>
                <a:cxn ang="0">
                  <a:pos x="156" y="428"/>
                </a:cxn>
                <a:cxn ang="0">
                  <a:pos x="27" y="282"/>
                </a:cxn>
                <a:cxn ang="0">
                  <a:pos x="4" y="280"/>
                </a:cxn>
                <a:cxn ang="0">
                  <a:pos x="1" y="277"/>
                </a:cxn>
                <a:cxn ang="0">
                  <a:pos x="0" y="274"/>
                </a:cxn>
                <a:cxn ang="0">
                  <a:pos x="25" y="189"/>
                </a:cxn>
                <a:cxn ang="0">
                  <a:pos x="25" y="131"/>
                </a:cxn>
                <a:cxn ang="0">
                  <a:pos x="68" y="44"/>
                </a:cxn>
                <a:cxn ang="0">
                  <a:pos x="71" y="42"/>
                </a:cxn>
                <a:cxn ang="0">
                  <a:pos x="236" y="0"/>
                </a:cxn>
                <a:cxn ang="0">
                  <a:pos x="305" y="0"/>
                </a:cxn>
                <a:cxn ang="0">
                  <a:pos x="345" y="17"/>
                </a:cxn>
                <a:cxn ang="0">
                  <a:pos x="394" y="77"/>
                </a:cxn>
                <a:cxn ang="0">
                  <a:pos x="411" y="246"/>
                </a:cxn>
                <a:cxn ang="0">
                  <a:pos x="476" y="266"/>
                </a:cxn>
                <a:cxn ang="0">
                  <a:pos x="533" y="253"/>
                </a:cxn>
                <a:cxn ang="0">
                  <a:pos x="582" y="271"/>
                </a:cxn>
                <a:cxn ang="0">
                  <a:pos x="585" y="274"/>
                </a:cxn>
                <a:cxn ang="0">
                  <a:pos x="614" y="406"/>
                </a:cxn>
                <a:cxn ang="0">
                  <a:pos x="700" y="410"/>
                </a:cxn>
                <a:cxn ang="0">
                  <a:pos x="704" y="414"/>
                </a:cxn>
                <a:cxn ang="0">
                  <a:pos x="708" y="469"/>
                </a:cxn>
                <a:cxn ang="0">
                  <a:pos x="691" y="572"/>
                </a:cxn>
                <a:cxn ang="0">
                  <a:pos x="679" y="656"/>
                </a:cxn>
                <a:cxn ang="0">
                  <a:pos x="597" y="739"/>
                </a:cxn>
                <a:cxn ang="0">
                  <a:pos x="496" y="753"/>
                </a:cxn>
                <a:cxn ang="0">
                  <a:pos x="494" y="753"/>
                </a:cxn>
              </a:cxnLst>
              <a:rect l="0" t="0" r="r" b="b"/>
              <a:pathLst>
                <a:path w="709" h="754">
                  <a:moveTo>
                    <a:pt x="494" y="753"/>
                  </a:moveTo>
                  <a:lnTo>
                    <a:pt x="443" y="728"/>
                  </a:lnTo>
                  <a:lnTo>
                    <a:pt x="364" y="715"/>
                  </a:lnTo>
                  <a:cubicBezTo>
                    <a:pt x="362" y="715"/>
                    <a:pt x="360" y="713"/>
                    <a:pt x="360" y="711"/>
                  </a:cubicBezTo>
                  <a:lnTo>
                    <a:pt x="360" y="677"/>
                  </a:lnTo>
                  <a:lnTo>
                    <a:pt x="415" y="579"/>
                  </a:lnTo>
                  <a:lnTo>
                    <a:pt x="407" y="551"/>
                  </a:lnTo>
                  <a:lnTo>
                    <a:pt x="256" y="448"/>
                  </a:lnTo>
                  <a:lnTo>
                    <a:pt x="156" y="428"/>
                  </a:lnTo>
                  <a:lnTo>
                    <a:pt x="27" y="282"/>
                  </a:lnTo>
                  <a:lnTo>
                    <a:pt x="4" y="280"/>
                  </a:lnTo>
                  <a:cubicBezTo>
                    <a:pt x="3" y="280"/>
                    <a:pt x="1" y="279"/>
                    <a:pt x="1" y="277"/>
                  </a:cubicBezTo>
                  <a:cubicBezTo>
                    <a:pt x="0" y="276"/>
                    <a:pt x="0" y="275"/>
                    <a:pt x="0" y="274"/>
                  </a:cubicBezTo>
                  <a:lnTo>
                    <a:pt x="25" y="189"/>
                  </a:lnTo>
                  <a:lnTo>
                    <a:pt x="25" y="131"/>
                  </a:lnTo>
                  <a:lnTo>
                    <a:pt x="68" y="44"/>
                  </a:lnTo>
                  <a:cubicBezTo>
                    <a:pt x="69" y="43"/>
                    <a:pt x="70" y="42"/>
                    <a:pt x="71" y="42"/>
                  </a:cubicBezTo>
                  <a:lnTo>
                    <a:pt x="236" y="0"/>
                  </a:lnTo>
                  <a:lnTo>
                    <a:pt x="305" y="0"/>
                  </a:lnTo>
                  <a:lnTo>
                    <a:pt x="345" y="17"/>
                  </a:lnTo>
                  <a:lnTo>
                    <a:pt x="394" y="77"/>
                  </a:lnTo>
                  <a:lnTo>
                    <a:pt x="411" y="246"/>
                  </a:lnTo>
                  <a:lnTo>
                    <a:pt x="476" y="266"/>
                  </a:lnTo>
                  <a:lnTo>
                    <a:pt x="533" y="253"/>
                  </a:lnTo>
                  <a:lnTo>
                    <a:pt x="582" y="271"/>
                  </a:lnTo>
                  <a:cubicBezTo>
                    <a:pt x="584" y="271"/>
                    <a:pt x="585" y="272"/>
                    <a:pt x="585" y="274"/>
                  </a:cubicBezTo>
                  <a:lnTo>
                    <a:pt x="614" y="406"/>
                  </a:lnTo>
                  <a:lnTo>
                    <a:pt x="700" y="410"/>
                  </a:lnTo>
                  <a:cubicBezTo>
                    <a:pt x="702" y="410"/>
                    <a:pt x="704" y="412"/>
                    <a:pt x="704" y="414"/>
                  </a:cubicBezTo>
                  <a:lnTo>
                    <a:pt x="708" y="469"/>
                  </a:lnTo>
                  <a:lnTo>
                    <a:pt x="691" y="572"/>
                  </a:lnTo>
                  <a:lnTo>
                    <a:pt x="679" y="656"/>
                  </a:lnTo>
                  <a:lnTo>
                    <a:pt x="597" y="739"/>
                  </a:lnTo>
                  <a:lnTo>
                    <a:pt x="496" y="753"/>
                  </a:lnTo>
                  <a:cubicBezTo>
                    <a:pt x="495" y="753"/>
                    <a:pt x="495" y="753"/>
                    <a:pt x="494" y="75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2" name="Freeform 117"/>
            <p:cNvSpPr>
              <a:spLocks noChangeArrowheads="1"/>
            </p:cNvSpPr>
            <p:nvPr/>
          </p:nvSpPr>
          <p:spPr bwMode="auto">
            <a:xfrm>
              <a:off x="2886075" y="4324350"/>
              <a:ext cx="255588" cy="271463"/>
            </a:xfrm>
            <a:custGeom>
              <a:avLst/>
              <a:gdLst/>
              <a:ahLst/>
              <a:cxnLst>
                <a:cxn ang="0">
                  <a:pos x="496" y="753"/>
                </a:cxn>
                <a:cxn ang="0">
                  <a:pos x="494" y="753"/>
                </a:cxn>
                <a:cxn ang="0">
                  <a:pos x="443" y="728"/>
                </a:cxn>
                <a:cxn ang="0">
                  <a:pos x="364" y="715"/>
                </a:cxn>
                <a:cxn ang="0">
                  <a:pos x="360" y="711"/>
                </a:cxn>
                <a:cxn ang="0">
                  <a:pos x="360" y="677"/>
                </a:cxn>
                <a:cxn ang="0">
                  <a:pos x="415" y="579"/>
                </a:cxn>
                <a:cxn ang="0">
                  <a:pos x="407" y="551"/>
                </a:cxn>
                <a:cxn ang="0">
                  <a:pos x="256" y="448"/>
                </a:cxn>
                <a:cxn ang="0">
                  <a:pos x="156" y="428"/>
                </a:cxn>
                <a:cxn ang="0">
                  <a:pos x="27" y="282"/>
                </a:cxn>
                <a:cxn ang="0">
                  <a:pos x="4" y="280"/>
                </a:cxn>
                <a:cxn ang="0">
                  <a:pos x="1" y="277"/>
                </a:cxn>
                <a:cxn ang="0">
                  <a:pos x="0" y="274"/>
                </a:cxn>
                <a:cxn ang="0">
                  <a:pos x="25" y="189"/>
                </a:cxn>
                <a:cxn ang="0">
                  <a:pos x="25" y="131"/>
                </a:cxn>
                <a:cxn ang="0">
                  <a:pos x="68" y="44"/>
                </a:cxn>
                <a:cxn ang="0">
                  <a:pos x="71" y="42"/>
                </a:cxn>
                <a:cxn ang="0">
                  <a:pos x="236" y="0"/>
                </a:cxn>
                <a:cxn ang="0">
                  <a:pos x="305" y="0"/>
                </a:cxn>
                <a:cxn ang="0">
                  <a:pos x="345" y="17"/>
                </a:cxn>
                <a:cxn ang="0">
                  <a:pos x="394" y="77"/>
                </a:cxn>
                <a:cxn ang="0">
                  <a:pos x="411" y="246"/>
                </a:cxn>
                <a:cxn ang="0">
                  <a:pos x="476" y="266"/>
                </a:cxn>
                <a:cxn ang="0">
                  <a:pos x="533" y="253"/>
                </a:cxn>
                <a:cxn ang="0">
                  <a:pos x="582" y="271"/>
                </a:cxn>
                <a:cxn ang="0">
                  <a:pos x="585" y="274"/>
                </a:cxn>
                <a:cxn ang="0">
                  <a:pos x="614" y="406"/>
                </a:cxn>
                <a:cxn ang="0">
                  <a:pos x="700" y="410"/>
                </a:cxn>
                <a:cxn ang="0">
                  <a:pos x="704" y="414"/>
                </a:cxn>
                <a:cxn ang="0">
                  <a:pos x="708" y="469"/>
                </a:cxn>
                <a:cxn ang="0">
                  <a:pos x="691" y="572"/>
                </a:cxn>
                <a:cxn ang="0">
                  <a:pos x="679" y="656"/>
                </a:cxn>
                <a:cxn ang="0">
                  <a:pos x="597" y="739"/>
                </a:cxn>
                <a:cxn ang="0">
                  <a:pos x="496" y="753"/>
                </a:cxn>
              </a:cxnLst>
              <a:rect l="0" t="0" r="r" b="b"/>
              <a:pathLst>
                <a:path w="709" h="754">
                  <a:moveTo>
                    <a:pt x="496" y="753"/>
                  </a:moveTo>
                  <a:cubicBezTo>
                    <a:pt x="495" y="753"/>
                    <a:pt x="495" y="753"/>
                    <a:pt x="494" y="753"/>
                  </a:cubicBezTo>
                  <a:lnTo>
                    <a:pt x="443" y="728"/>
                  </a:lnTo>
                  <a:lnTo>
                    <a:pt x="364" y="715"/>
                  </a:lnTo>
                  <a:cubicBezTo>
                    <a:pt x="362" y="715"/>
                    <a:pt x="360" y="713"/>
                    <a:pt x="360" y="711"/>
                  </a:cubicBezTo>
                  <a:lnTo>
                    <a:pt x="360" y="677"/>
                  </a:lnTo>
                  <a:lnTo>
                    <a:pt x="415" y="579"/>
                  </a:lnTo>
                  <a:lnTo>
                    <a:pt x="407" y="551"/>
                  </a:lnTo>
                  <a:lnTo>
                    <a:pt x="256" y="448"/>
                  </a:lnTo>
                  <a:lnTo>
                    <a:pt x="156" y="428"/>
                  </a:lnTo>
                  <a:lnTo>
                    <a:pt x="27" y="282"/>
                  </a:lnTo>
                  <a:lnTo>
                    <a:pt x="4" y="280"/>
                  </a:lnTo>
                  <a:cubicBezTo>
                    <a:pt x="3" y="280"/>
                    <a:pt x="1" y="279"/>
                    <a:pt x="1" y="277"/>
                  </a:cubicBezTo>
                  <a:cubicBezTo>
                    <a:pt x="0" y="276"/>
                    <a:pt x="0" y="275"/>
                    <a:pt x="0" y="274"/>
                  </a:cubicBezTo>
                  <a:lnTo>
                    <a:pt x="25" y="189"/>
                  </a:lnTo>
                  <a:lnTo>
                    <a:pt x="25" y="131"/>
                  </a:lnTo>
                  <a:lnTo>
                    <a:pt x="68" y="44"/>
                  </a:lnTo>
                  <a:cubicBezTo>
                    <a:pt x="69" y="43"/>
                    <a:pt x="70" y="42"/>
                    <a:pt x="71" y="42"/>
                  </a:cubicBezTo>
                  <a:lnTo>
                    <a:pt x="236" y="0"/>
                  </a:lnTo>
                  <a:lnTo>
                    <a:pt x="305" y="0"/>
                  </a:lnTo>
                  <a:lnTo>
                    <a:pt x="345" y="17"/>
                  </a:lnTo>
                  <a:lnTo>
                    <a:pt x="394" y="77"/>
                  </a:lnTo>
                  <a:lnTo>
                    <a:pt x="411" y="246"/>
                  </a:lnTo>
                  <a:lnTo>
                    <a:pt x="476" y="266"/>
                  </a:lnTo>
                  <a:lnTo>
                    <a:pt x="533" y="253"/>
                  </a:lnTo>
                  <a:lnTo>
                    <a:pt x="582" y="271"/>
                  </a:lnTo>
                  <a:cubicBezTo>
                    <a:pt x="584" y="271"/>
                    <a:pt x="585" y="272"/>
                    <a:pt x="585" y="274"/>
                  </a:cubicBezTo>
                  <a:lnTo>
                    <a:pt x="614" y="406"/>
                  </a:lnTo>
                  <a:lnTo>
                    <a:pt x="700" y="410"/>
                  </a:lnTo>
                  <a:cubicBezTo>
                    <a:pt x="702" y="410"/>
                    <a:pt x="704" y="412"/>
                    <a:pt x="704" y="414"/>
                  </a:cubicBezTo>
                  <a:lnTo>
                    <a:pt x="708" y="469"/>
                  </a:lnTo>
                  <a:lnTo>
                    <a:pt x="691" y="572"/>
                  </a:lnTo>
                  <a:lnTo>
                    <a:pt x="679" y="656"/>
                  </a:lnTo>
                  <a:lnTo>
                    <a:pt x="597" y="739"/>
                  </a:lnTo>
                  <a:lnTo>
                    <a:pt x="496" y="75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3" name="Freeform 118"/>
            <p:cNvSpPr>
              <a:spLocks noChangeArrowheads="1"/>
            </p:cNvSpPr>
            <p:nvPr/>
          </p:nvSpPr>
          <p:spPr bwMode="auto">
            <a:xfrm>
              <a:off x="2327275" y="3741738"/>
              <a:ext cx="379413" cy="552450"/>
            </a:xfrm>
            <a:custGeom>
              <a:avLst/>
              <a:gdLst/>
              <a:ahLst/>
              <a:cxnLst>
                <a:cxn ang="0">
                  <a:pos x="748" y="1409"/>
                </a:cxn>
                <a:cxn ang="0">
                  <a:pos x="511" y="1287"/>
                </a:cxn>
                <a:cxn ang="0">
                  <a:pos x="411" y="1190"/>
                </a:cxn>
                <a:cxn ang="0">
                  <a:pos x="302" y="951"/>
                </a:cxn>
                <a:cxn ang="0">
                  <a:pos x="154" y="647"/>
                </a:cxn>
                <a:cxn ang="0">
                  <a:pos x="15" y="487"/>
                </a:cxn>
                <a:cxn ang="0">
                  <a:pos x="29" y="454"/>
                </a:cxn>
                <a:cxn ang="0">
                  <a:pos x="0" y="357"/>
                </a:cxn>
                <a:cxn ang="0">
                  <a:pos x="74" y="281"/>
                </a:cxn>
                <a:cxn ang="0">
                  <a:pos x="78" y="280"/>
                </a:cxn>
                <a:cxn ang="0">
                  <a:pos x="94" y="312"/>
                </a:cxn>
                <a:cxn ang="0">
                  <a:pos x="66" y="337"/>
                </a:cxn>
                <a:cxn ang="0">
                  <a:pos x="102" y="360"/>
                </a:cxn>
                <a:cxn ang="0">
                  <a:pos x="145" y="371"/>
                </a:cxn>
                <a:cxn ang="0">
                  <a:pos x="187" y="402"/>
                </a:cxn>
                <a:cxn ang="0">
                  <a:pos x="217" y="322"/>
                </a:cxn>
                <a:cxn ang="0">
                  <a:pos x="242" y="284"/>
                </a:cxn>
                <a:cxn ang="0">
                  <a:pos x="268" y="258"/>
                </a:cxn>
                <a:cxn ang="0">
                  <a:pos x="389" y="204"/>
                </a:cxn>
                <a:cxn ang="0">
                  <a:pos x="497" y="75"/>
                </a:cxn>
                <a:cxn ang="0">
                  <a:pos x="505" y="72"/>
                </a:cxn>
                <a:cxn ang="0">
                  <a:pos x="477" y="14"/>
                </a:cxn>
                <a:cxn ang="0">
                  <a:pos x="501" y="0"/>
                </a:cxn>
                <a:cxn ang="0">
                  <a:pos x="606" y="78"/>
                </a:cxn>
                <a:cxn ang="0">
                  <a:pos x="641" y="93"/>
                </a:cxn>
                <a:cxn ang="0">
                  <a:pos x="679" y="140"/>
                </a:cxn>
                <a:cxn ang="0">
                  <a:pos x="695" y="195"/>
                </a:cxn>
                <a:cxn ang="0">
                  <a:pos x="787" y="179"/>
                </a:cxn>
                <a:cxn ang="0">
                  <a:pos x="790" y="178"/>
                </a:cxn>
                <a:cxn ang="0">
                  <a:pos x="859" y="179"/>
                </a:cxn>
                <a:cxn ang="0">
                  <a:pos x="863" y="179"/>
                </a:cxn>
                <a:cxn ang="0">
                  <a:pos x="946" y="235"/>
                </a:cxn>
                <a:cxn ang="0">
                  <a:pos x="902" y="308"/>
                </a:cxn>
                <a:cxn ang="0">
                  <a:pos x="950" y="336"/>
                </a:cxn>
                <a:cxn ang="0">
                  <a:pos x="811" y="378"/>
                </a:cxn>
                <a:cxn ang="0">
                  <a:pos x="695" y="486"/>
                </a:cxn>
                <a:cxn ang="0">
                  <a:pos x="689" y="542"/>
                </a:cxn>
                <a:cxn ang="0">
                  <a:pos x="633" y="623"/>
                </a:cxn>
                <a:cxn ang="0">
                  <a:pos x="707" y="734"/>
                </a:cxn>
                <a:cxn ang="0">
                  <a:pos x="705" y="771"/>
                </a:cxn>
                <a:cxn ang="0">
                  <a:pos x="750" y="777"/>
                </a:cxn>
                <a:cxn ang="0">
                  <a:pos x="810" y="817"/>
                </a:cxn>
                <a:cxn ang="0">
                  <a:pos x="903" y="762"/>
                </a:cxn>
                <a:cxn ang="0">
                  <a:pos x="908" y="767"/>
                </a:cxn>
                <a:cxn ang="0">
                  <a:pos x="917" y="910"/>
                </a:cxn>
                <a:cxn ang="0">
                  <a:pos x="975" y="897"/>
                </a:cxn>
                <a:cxn ang="0">
                  <a:pos x="1051" y="1027"/>
                </a:cxn>
                <a:cxn ang="0">
                  <a:pos x="1030" y="1069"/>
                </a:cxn>
                <a:cxn ang="0">
                  <a:pos x="1029" y="1206"/>
                </a:cxn>
                <a:cxn ang="0">
                  <a:pos x="1022" y="1264"/>
                </a:cxn>
                <a:cxn ang="0">
                  <a:pos x="1000" y="1298"/>
                </a:cxn>
                <a:cxn ang="0">
                  <a:pos x="1030" y="1378"/>
                </a:cxn>
                <a:cxn ang="0">
                  <a:pos x="980" y="1453"/>
                </a:cxn>
                <a:cxn ang="0">
                  <a:pos x="983" y="1476"/>
                </a:cxn>
                <a:cxn ang="0">
                  <a:pos x="959" y="1516"/>
                </a:cxn>
                <a:cxn ang="0">
                  <a:pos x="899" y="1533"/>
                </a:cxn>
              </a:cxnLst>
              <a:rect l="0" t="0" r="r" b="b"/>
              <a:pathLst>
                <a:path w="1053" h="1534">
                  <a:moveTo>
                    <a:pt x="896" y="1532"/>
                  </a:moveTo>
                  <a:lnTo>
                    <a:pt x="748" y="1409"/>
                  </a:lnTo>
                  <a:lnTo>
                    <a:pt x="626" y="1363"/>
                  </a:lnTo>
                  <a:lnTo>
                    <a:pt x="511" y="1287"/>
                  </a:lnTo>
                  <a:lnTo>
                    <a:pt x="413" y="1193"/>
                  </a:lnTo>
                  <a:cubicBezTo>
                    <a:pt x="412" y="1192"/>
                    <a:pt x="411" y="1191"/>
                    <a:pt x="411" y="1190"/>
                  </a:cubicBezTo>
                  <a:lnTo>
                    <a:pt x="407" y="1105"/>
                  </a:lnTo>
                  <a:lnTo>
                    <a:pt x="302" y="951"/>
                  </a:lnTo>
                  <a:lnTo>
                    <a:pt x="200" y="688"/>
                  </a:lnTo>
                  <a:lnTo>
                    <a:pt x="154" y="647"/>
                  </a:lnTo>
                  <a:lnTo>
                    <a:pt x="111" y="561"/>
                  </a:lnTo>
                  <a:lnTo>
                    <a:pt x="15" y="487"/>
                  </a:lnTo>
                  <a:cubicBezTo>
                    <a:pt x="13" y="485"/>
                    <a:pt x="13" y="483"/>
                    <a:pt x="14" y="481"/>
                  </a:cubicBezTo>
                  <a:lnTo>
                    <a:pt x="29" y="454"/>
                  </a:lnTo>
                  <a:lnTo>
                    <a:pt x="14" y="435"/>
                  </a:lnTo>
                  <a:lnTo>
                    <a:pt x="0" y="357"/>
                  </a:lnTo>
                  <a:cubicBezTo>
                    <a:pt x="0" y="356"/>
                    <a:pt x="1" y="354"/>
                    <a:pt x="2" y="353"/>
                  </a:cubicBezTo>
                  <a:lnTo>
                    <a:pt x="74" y="281"/>
                  </a:lnTo>
                  <a:cubicBezTo>
                    <a:pt x="75" y="280"/>
                    <a:pt x="76" y="280"/>
                    <a:pt x="77" y="280"/>
                  </a:cubicBezTo>
                  <a:cubicBezTo>
                    <a:pt x="78" y="280"/>
                    <a:pt x="78" y="280"/>
                    <a:pt x="78" y="280"/>
                  </a:cubicBezTo>
                  <a:cubicBezTo>
                    <a:pt x="80" y="280"/>
                    <a:pt x="81" y="281"/>
                    <a:pt x="81" y="283"/>
                  </a:cubicBezTo>
                  <a:lnTo>
                    <a:pt x="94" y="312"/>
                  </a:lnTo>
                  <a:cubicBezTo>
                    <a:pt x="95" y="314"/>
                    <a:pt x="94" y="317"/>
                    <a:pt x="93" y="318"/>
                  </a:cubicBezTo>
                  <a:lnTo>
                    <a:pt x="66" y="337"/>
                  </a:lnTo>
                  <a:lnTo>
                    <a:pt x="72" y="368"/>
                  </a:lnTo>
                  <a:lnTo>
                    <a:pt x="102" y="360"/>
                  </a:lnTo>
                  <a:lnTo>
                    <a:pt x="142" y="369"/>
                  </a:lnTo>
                  <a:cubicBezTo>
                    <a:pt x="143" y="369"/>
                    <a:pt x="144" y="370"/>
                    <a:pt x="145" y="371"/>
                  </a:cubicBezTo>
                  <a:lnTo>
                    <a:pt x="161" y="406"/>
                  </a:lnTo>
                  <a:lnTo>
                    <a:pt x="187" y="402"/>
                  </a:lnTo>
                  <a:lnTo>
                    <a:pt x="212" y="383"/>
                  </a:lnTo>
                  <a:lnTo>
                    <a:pt x="217" y="322"/>
                  </a:lnTo>
                  <a:lnTo>
                    <a:pt x="238" y="286"/>
                  </a:lnTo>
                  <a:cubicBezTo>
                    <a:pt x="239" y="285"/>
                    <a:pt x="241" y="284"/>
                    <a:pt x="242" y="284"/>
                  </a:cubicBezTo>
                  <a:lnTo>
                    <a:pt x="260" y="284"/>
                  </a:lnTo>
                  <a:lnTo>
                    <a:pt x="268" y="258"/>
                  </a:lnTo>
                  <a:cubicBezTo>
                    <a:pt x="268" y="256"/>
                    <a:pt x="269" y="255"/>
                    <a:pt x="270" y="255"/>
                  </a:cubicBezTo>
                  <a:lnTo>
                    <a:pt x="389" y="204"/>
                  </a:lnTo>
                  <a:lnTo>
                    <a:pt x="464" y="133"/>
                  </a:lnTo>
                  <a:lnTo>
                    <a:pt x="497" y="75"/>
                  </a:lnTo>
                  <a:cubicBezTo>
                    <a:pt x="498" y="73"/>
                    <a:pt x="499" y="72"/>
                    <a:pt x="501" y="72"/>
                  </a:cubicBezTo>
                  <a:lnTo>
                    <a:pt x="505" y="72"/>
                  </a:lnTo>
                  <a:lnTo>
                    <a:pt x="475" y="20"/>
                  </a:lnTo>
                  <a:cubicBezTo>
                    <a:pt x="474" y="18"/>
                    <a:pt x="475" y="15"/>
                    <a:pt x="477" y="14"/>
                  </a:cubicBezTo>
                  <a:lnTo>
                    <a:pt x="498" y="1"/>
                  </a:lnTo>
                  <a:cubicBezTo>
                    <a:pt x="499" y="1"/>
                    <a:pt x="500" y="0"/>
                    <a:pt x="501" y="0"/>
                  </a:cubicBezTo>
                  <a:lnTo>
                    <a:pt x="544" y="9"/>
                  </a:lnTo>
                  <a:lnTo>
                    <a:pt x="606" y="78"/>
                  </a:lnTo>
                  <a:lnTo>
                    <a:pt x="638" y="90"/>
                  </a:lnTo>
                  <a:cubicBezTo>
                    <a:pt x="639" y="90"/>
                    <a:pt x="640" y="91"/>
                    <a:pt x="641" y="93"/>
                  </a:cubicBezTo>
                  <a:lnTo>
                    <a:pt x="653" y="136"/>
                  </a:lnTo>
                  <a:lnTo>
                    <a:pt x="679" y="140"/>
                  </a:lnTo>
                  <a:cubicBezTo>
                    <a:pt x="681" y="140"/>
                    <a:pt x="683" y="142"/>
                    <a:pt x="683" y="144"/>
                  </a:cubicBezTo>
                  <a:lnTo>
                    <a:pt x="695" y="195"/>
                  </a:lnTo>
                  <a:lnTo>
                    <a:pt x="751" y="199"/>
                  </a:lnTo>
                  <a:lnTo>
                    <a:pt x="787" y="179"/>
                  </a:lnTo>
                  <a:cubicBezTo>
                    <a:pt x="787" y="178"/>
                    <a:pt x="788" y="178"/>
                    <a:pt x="789" y="178"/>
                  </a:cubicBezTo>
                  <a:lnTo>
                    <a:pt x="790" y="178"/>
                  </a:lnTo>
                  <a:lnTo>
                    <a:pt x="835" y="190"/>
                  </a:lnTo>
                  <a:lnTo>
                    <a:pt x="859" y="179"/>
                  </a:lnTo>
                  <a:cubicBezTo>
                    <a:pt x="859" y="178"/>
                    <a:pt x="860" y="178"/>
                    <a:pt x="861" y="178"/>
                  </a:cubicBezTo>
                  <a:cubicBezTo>
                    <a:pt x="861" y="178"/>
                    <a:pt x="862" y="178"/>
                    <a:pt x="863" y="179"/>
                  </a:cubicBezTo>
                  <a:lnTo>
                    <a:pt x="926" y="204"/>
                  </a:lnTo>
                  <a:lnTo>
                    <a:pt x="946" y="235"/>
                  </a:lnTo>
                  <a:cubicBezTo>
                    <a:pt x="946" y="237"/>
                    <a:pt x="946" y="239"/>
                    <a:pt x="945" y="240"/>
                  </a:cubicBezTo>
                  <a:lnTo>
                    <a:pt x="902" y="308"/>
                  </a:lnTo>
                  <a:lnTo>
                    <a:pt x="948" y="331"/>
                  </a:lnTo>
                  <a:cubicBezTo>
                    <a:pt x="950" y="332"/>
                    <a:pt x="951" y="334"/>
                    <a:pt x="950" y="336"/>
                  </a:cubicBezTo>
                  <a:cubicBezTo>
                    <a:pt x="950" y="338"/>
                    <a:pt x="949" y="339"/>
                    <a:pt x="947" y="340"/>
                  </a:cubicBezTo>
                  <a:lnTo>
                    <a:pt x="811" y="378"/>
                  </a:lnTo>
                  <a:lnTo>
                    <a:pt x="745" y="420"/>
                  </a:lnTo>
                  <a:lnTo>
                    <a:pt x="695" y="486"/>
                  </a:lnTo>
                  <a:lnTo>
                    <a:pt x="692" y="539"/>
                  </a:lnTo>
                  <a:cubicBezTo>
                    <a:pt x="692" y="540"/>
                    <a:pt x="691" y="542"/>
                    <a:pt x="689" y="542"/>
                  </a:cubicBezTo>
                  <a:lnTo>
                    <a:pt x="660" y="559"/>
                  </a:lnTo>
                  <a:lnTo>
                    <a:pt x="633" y="623"/>
                  </a:lnTo>
                  <a:lnTo>
                    <a:pt x="653" y="681"/>
                  </a:lnTo>
                  <a:lnTo>
                    <a:pt x="707" y="734"/>
                  </a:lnTo>
                  <a:cubicBezTo>
                    <a:pt x="709" y="735"/>
                    <a:pt x="709" y="736"/>
                    <a:pt x="709" y="738"/>
                  </a:cubicBezTo>
                  <a:lnTo>
                    <a:pt x="705" y="771"/>
                  </a:lnTo>
                  <a:lnTo>
                    <a:pt x="747" y="775"/>
                  </a:lnTo>
                  <a:cubicBezTo>
                    <a:pt x="748" y="775"/>
                    <a:pt x="750" y="776"/>
                    <a:pt x="750" y="777"/>
                  </a:cubicBezTo>
                  <a:lnTo>
                    <a:pt x="771" y="813"/>
                  </a:lnTo>
                  <a:lnTo>
                    <a:pt x="810" y="817"/>
                  </a:lnTo>
                  <a:lnTo>
                    <a:pt x="901" y="763"/>
                  </a:lnTo>
                  <a:cubicBezTo>
                    <a:pt x="902" y="762"/>
                    <a:pt x="902" y="762"/>
                    <a:pt x="903" y="762"/>
                  </a:cubicBezTo>
                  <a:cubicBezTo>
                    <a:pt x="904" y="762"/>
                    <a:pt x="905" y="762"/>
                    <a:pt x="905" y="763"/>
                  </a:cubicBezTo>
                  <a:cubicBezTo>
                    <a:pt x="907" y="763"/>
                    <a:pt x="908" y="765"/>
                    <a:pt x="908" y="767"/>
                  </a:cubicBezTo>
                  <a:lnTo>
                    <a:pt x="908" y="900"/>
                  </a:lnTo>
                  <a:lnTo>
                    <a:pt x="917" y="910"/>
                  </a:lnTo>
                  <a:lnTo>
                    <a:pt x="974" y="897"/>
                  </a:lnTo>
                  <a:lnTo>
                    <a:pt x="975" y="897"/>
                  </a:lnTo>
                  <a:cubicBezTo>
                    <a:pt x="977" y="897"/>
                    <a:pt x="978" y="898"/>
                    <a:pt x="979" y="900"/>
                  </a:cubicBezTo>
                  <a:lnTo>
                    <a:pt x="1051" y="1027"/>
                  </a:lnTo>
                  <a:cubicBezTo>
                    <a:pt x="1052" y="1028"/>
                    <a:pt x="1052" y="1030"/>
                    <a:pt x="1051" y="1031"/>
                  </a:cubicBezTo>
                  <a:lnTo>
                    <a:pt x="1030" y="1069"/>
                  </a:lnTo>
                  <a:lnTo>
                    <a:pt x="1031" y="1202"/>
                  </a:lnTo>
                  <a:cubicBezTo>
                    <a:pt x="1031" y="1204"/>
                    <a:pt x="1030" y="1205"/>
                    <a:pt x="1029" y="1206"/>
                  </a:cubicBezTo>
                  <a:lnTo>
                    <a:pt x="1006" y="1225"/>
                  </a:lnTo>
                  <a:lnTo>
                    <a:pt x="1022" y="1264"/>
                  </a:lnTo>
                  <a:cubicBezTo>
                    <a:pt x="1023" y="1266"/>
                    <a:pt x="1022" y="1267"/>
                    <a:pt x="1021" y="1269"/>
                  </a:cubicBezTo>
                  <a:lnTo>
                    <a:pt x="1000" y="1298"/>
                  </a:lnTo>
                  <a:lnTo>
                    <a:pt x="1001" y="1329"/>
                  </a:lnTo>
                  <a:lnTo>
                    <a:pt x="1030" y="1378"/>
                  </a:lnTo>
                  <a:cubicBezTo>
                    <a:pt x="1031" y="1379"/>
                    <a:pt x="1031" y="1381"/>
                    <a:pt x="1030" y="1383"/>
                  </a:cubicBezTo>
                  <a:lnTo>
                    <a:pt x="980" y="1453"/>
                  </a:lnTo>
                  <a:lnTo>
                    <a:pt x="984" y="1472"/>
                  </a:lnTo>
                  <a:cubicBezTo>
                    <a:pt x="984" y="1473"/>
                    <a:pt x="984" y="1474"/>
                    <a:pt x="983" y="1476"/>
                  </a:cubicBezTo>
                  <a:lnTo>
                    <a:pt x="962" y="1514"/>
                  </a:lnTo>
                  <a:cubicBezTo>
                    <a:pt x="962" y="1515"/>
                    <a:pt x="961" y="1516"/>
                    <a:pt x="959" y="1516"/>
                  </a:cubicBezTo>
                  <a:lnTo>
                    <a:pt x="900" y="1533"/>
                  </a:lnTo>
                  <a:cubicBezTo>
                    <a:pt x="900" y="1533"/>
                    <a:pt x="900" y="1533"/>
                    <a:pt x="899" y="1533"/>
                  </a:cubicBezTo>
                  <a:cubicBezTo>
                    <a:pt x="898" y="1533"/>
                    <a:pt x="897" y="1532"/>
                    <a:pt x="896" y="153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4" name="Freeform 119"/>
            <p:cNvSpPr>
              <a:spLocks noChangeArrowheads="1"/>
            </p:cNvSpPr>
            <p:nvPr/>
          </p:nvSpPr>
          <p:spPr bwMode="auto">
            <a:xfrm>
              <a:off x="2327275" y="3741738"/>
              <a:ext cx="379413" cy="552450"/>
            </a:xfrm>
            <a:custGeom>
              <a:avLst/>
              <a:gdLst/>
              <a:ahLst/>
              <a:cxnLst>
                <a:cxn ang="0">
                  <a:pos x="896" y="1532"/>
                </a:cxn>
                <a:cxn ang="0">
                  <a:pos x="626" y="1363"/>
                </a:cxn>
                <a:cxn ang="0">
                  <a:pos x="413" y="1193"/>
                </a:cxn>
                <a:cxn ang="0">
                  <a:pos x="407" y="1105"/>
                </a:cxn>
                <a:cxn ang="0">
                  <a:pos x="200" y="688"/>
                </a:cxn>
                <a:cxn ang="0">
                  <a:pos x="111" y="561"/>
                </a:cxn>
                <a:cxn ang="0">
                  <a:pos x="14" y="481"/>
                </a:cxn>
                <a:cxn ang="0">
                  <a:pos x="14" y="435"/>
                </a:cxn>
                <a:cxn ang="0">
                  <a:pos x="2" y="353"/>
                </a:cxn>
                <a:cxn ang="0">
                  <a:pos x="77" y="280"/>
                </a:cxn>
                <a:cxn ang="0">
                  <a:pos x="81" y="283"/>
                </a:cxn>
                <a:cxn ang="0">
                  <a:pos x="93" y="318"/>
                </a:cxn>
                <a:cxn ang="0">
                  <a:pos x="72" y="368"/>
                </a:cxn>
                <a:cxn ang="0">
                  <a:pos x="142" y="369"/>
                </a:cxn>
                <a:cxn ang="0">
                  <a:pos x="161" y="406"/>
                </a:cxn>
                <a:cxn ang="0">
                  <a:pos x="212" y="383"/>
                </a:cxn>
                <a:cxn ang="0">
                  <a:pos x="238" y="286"/>
                </a:cxn>
                <a:cxn ang="0">
                  <a:pos x="260" y="284"/>
                </a:cxn>
                <a:cxn ang="0">
                  <a:pos x="270" y="255"/>
                </a:cxn>
                <a:cxn ang="0">
                  <a:pos x="464" y="133"/>
                </a:cxn>
                <a:cxn ang="0">
                  <a:pos x="501" y="72"/>
                </a:cxn>
                <a:cxn ang="0">
                  <a:pos x="475" y="20"/>
                </a:cxn>
                <a:cxn ang="0">
                  <a:pos x="498" y="1"/>
                </a:cxn>
                <a:cxn ang="0">
                  <a:pos x="544" y="9"/>
                </a:cxn>
                <a:cxn ang="0">
                  <a:pos x="638" y="90"/>
                </a:cxn>
                <a:cxn ang="0">
                  <a:pos x="653" y="136"/>
                </a:cxn>
                <a:cxn ang="0">
                  <a:pos x="683" y="144"/>
                </a:cxn>
                <a:cxn ang="0">
                  <a:pos x="751" y="199"/>
                </a:cxn>
                <a:cxn ang="0">
                  <a:pos x="789" y="178"/>
                </a:cxn>
                <a:cxn ang="0">
                  <a:pos x="835" y="190"/>
                </a:cxn>
                <a:cxn ang="0">
                  <a:pos x="861" y="178"/>
                </a:cxn>
                <a:cxn ang="0">
                  <a:pos x="926" y="204"/>
                </a:cxn>
                <a:cxn ang="0">
                  <a:pos x="945" y="240"/>
                </a:cxn>
                <a:cxn ang="0">
                  <a:pos x="948" y="331"/>
                </a:cxn>
                <a:cxn ang="0">
                  <a:pos x="947" y="340"/>
                </a:cxn>
                <a:cxn ang="0">
                  <a:pos x="745" y="420"/>
                </a:cxn>
                <a:cxn ang="0">
                  <a:pos x="692" y="539"/>
                </a:cxn>
                <a:cxn ang="0">
                  <a:pos x="660" y="559"/>
                </a:cxn>
                <a:cxn ang="0">
                  <a:pos x="653" y="681"/>
                </a:cxn>
                <a:cxn ang="0">
                  <a:pos x="709" y="738"/>
                </a:cxn>
                <a:cxn ang="0">
                  <a:pos x="747" y="775"/>
                </a:cxn>
                <a:cxn ang="0">
                  <a:pos x="771" y="813"/>
                </a:cxn>
                <a:cxn ang="0">
                  <a:pos x="901" y="763"/>
                </a:cxn>
                <a:cxn ang="0">
                  <a:pos x="905" y="763"/>
                </a:cxn>
                <a:cxn ang="0">
                  <a:pos x="908" y="900"/>
                </a:cxn>
                <a:cxn ang="0">
                  <a:pos x="974" y="897"/>
                </a:cxn>
                <a:cxn ang="0">
                  <a:pos x="979" y="900"/>
                </a:cxn>
                <a:cxn ang="0">
                  <a:pos x="1051" y="1031"/>
                </a:cxn>
                <a:cxn ang="0">
                  <a:pos x="1031" y="1202"/>
                </a:cxn>
                <a:cxn ang="0">
                  <a:pos x="1006" y="1225"/>
                </a:cxn>
                <a:cxn ang="0">
                  <a:pos x="1021" y="1269"/>
                </a:cxn>
                <a:cxn ang="0">
                  <a:pos x="1001" y="1329"/>
                </a:cxn>
                <a:cxn ang="0">
                  <a:pos x="1030" y="1383"/>
                </a:cxn>
                <a:cxn ang="0">
                  <a:pos x="984" y="1472"/>
                </a:cxn>
                <a:cxn ang="0">
                  <a:pos x="962" y="1514"/>
                </a:cxn>
                <a:cxn ang="0">
                  <a:pos x="900" y="1533"/>
                </a:cxn>
              </a:cxnLst>
              <a:rect l="0" t="0" r="r" b="b"/>
              <a:pathLst>
                <a:path w="1053" h="1534">
                  <a:moveTo>
                    <a:pt x="899" y="1533"/>
                  </a:moveTo>
                  <a:cubicBezTo>
                    <a:pt x="898" y="1533"/>
                    <a:pt x="897" y="1532"/>
                    <a:pt x="896" y="1532"/>
                  </a:cubicBezTo>
                  <a:lnTo>
                    <a:pt x="748" y="1409"/>
                  </a:lnTo>
                  <a:lnTo>
                    <a:pt x="626" y="1363"/>
                  </a:lnTo>
                  <a:lnTo>
                    <a:pt x="511" y="1287"/>
                  </a:lnTo>
                  <a:lnTo>
                    <a:pt x="413" y="1193"/>
                  </a:lnTo>
                  <a:cubicBezTo>
                    <a:pt x="412" y="1192"/>
                    <a:pt x="411" y="1191"/>
                    <a:pt x="411" y="1190"/>
                  </a:cubicBezTo>
                  <a:lnTo>
                    <a:pt x="407" y="1105"/>
                  </a:lnTo>
                  <a:lnTo>
                    <a:pt x="302" y="951"/>
                  </a:lnTo>
                  <a:lnTo>
                    <a:pt x="200" y="688"/>
                  </a:lnTo>
                  <a:lnTo>
                    <a:pt x="154" y="647"/>
                  </a:lnTo>
                  <a:lnTo>
                    <a:pt x="111" y="561"/>
                  </a:lnTo>
                  <a:lnTo>
                    <a:pt x="15" y="487"/>
                  </a:lnTo>
                  <a:cubicBezTo>
                    <a:pt x="13" y="485"/>
                    <a:pt x="13" y="483"/>
                    <a:pt x="14" y="481"/>
                  </a:cubicBezTo>
                  <a:lnTo>
                    <a:pt x="29" y="454"/>
                  </a:lnTo>
                  <a:lnTo>
                    <a:pt x="14" y="435"/>
                  </a:lnTo>
                  <a:lnTo>
                    <a:pt x="0" y="357"/>
                  </a:lnTo>
                  <a:cubicBezTo>
                    <a:pt x="0" y="356"/>
                    <a:pt x="1" y="354"/>
                    <a:pt x="2" y="353"/>
                  </a:cubicBezTo>
                  <a:lnTo>
                    <a:pt x="74" y="281"/>
                  </a:lnTo>
                  <a:cubicBezTo>
                    <a:pt x="75" y="280"/>
                    <a:pt x="76" y="280"/>
                    <a:pt x="77" y="280"/>
                  </a:cubicBezTo>
                  <a:cubicBezTo>
                    <a:pt x="78" y="280"/>
                    <a:pt x="78" y="280"/>
                    <a:pt x="78" y="280"/>
                  </a:cubicBezTo>
                  <a:cubicBezTo>
                    <a:pt x="80" y="280"/>
                    <a:pt x="81" y="281"/>
                    <a:pt x="81" y="283"/>
                  </a:cubicBezTo>
                  <a:lnTo>
                    <a:pt x="94" y="312"/>
                  </a:lnTo>
                  <a:cubicBezTo>
                    <a:pt x="95" y="314"/>
                    <a:pt x="94" y="317"/>
                    <a:pt x="93" y="318"/>
                  </a:cubicBezTo>
                  <a:lnTo>
                    <a:pt x="66" y="337"/>
                  </a:lnTo>
                  <a:lnTo>
                    <a:pt x="72" y="368"/>
                  </a:lnTo>
                  <a:lnTo>
                    <a:pt x="102" y="360"/>
                  </a:lnTo>
                  <a:lnTo>
                    <a:pt x="142" y="369"/>
                  </a:lnTo>
                  <a:cubicBezTo>
                    <a:pt x="143" y="369"/>
                    <a:pt x="144" y="370"/>
                    <a:pt x="145" y="371"/>
                  </a:cubicBezTo>
                  <a:lnTo>
                    <a:pt x="161" y="406"/>
                  </a:lnTo>
                  <a:lnTo>
                    <a:pt x="187" y="402"/>
                  </a:lnTo>
                  <a:lnTo>
                    <a:pt x="212" y="383"/>
                  </a:lnTo>
                  <a:lnTo>
                    <a:pt x="217" y="322"/>
                  </a:lnTo>
                  <a:lnTo>
                    <a:pt x="238" y="286"/>
                  </a:lnTo>
                  <a:cubicBezTo>
                    <a:pt x="239" y="285"/>
                    <a:pt x="241" y="284"/>
                    <a:pt x="242" y="284"/>
                  </a:cubicBezTo>
                  <a:lnTo>
                    <a:pt x="260" y="284"/>
                  </a:lnTo>
                  <a:lnTo>
                    <a:pt x="268" y="258"/>
                  </a:lnTo>
                  <a:cubicBezTo>
                    <a:pt x="268" y="256"/>
                    <a:pt x="269" y="255"/>
                    <a:pt x="270" y="255"/>
                  </a:cubicBezTo>
                  <a:lnTo>
                    <a:pt x="389" y="204"/>
                  </a:lnTo>
                  <a:lnTo>
                    <a:pt x="464" y="133"/>
                  </a:lnTo>
                  <a:lnTo>
                    <a:pt x="497" y="75"/>
                  </a:lnTo>
                  <a:cubicBezTo>
                    <a:pt x="498" y="73"/>
                    <a:pt x="499" y="72"/>
                    <a:pt x="501" y="72"/>
                  </a:cubicBezTo>
                  <a:lnTo>
                    <a:pt x="505" y="72"/>
                  </a:lnTo>
                  <a:lnTo>
                    <a:pt x="475" y="20"/>
                  </a:lnTo>
                  <a:cubicBezTo>
                    <a:pt x="474" y="18"/>
                    <a:pt x="475" y="15"/>
                    <a:pt x="477" y="14"/>
                  </a:cubicBezTo>
                  <a:lnTo>
                    <a:pt x="498" y="1"/>
                  </a:lnTo>
                  <a:cubicBezTo>
                    <a:pt x="499" y="1"/>
                    <a:pt x="500" y="0"/>
                    <a:pt x="501" y="0"/>
                  </a:cubicBezTo>
                  <a:lnTo>
                    <a:pt x="544" y="9"/>
                  </a:lnTo>
                  <a:lnTo>
                    <a:pt x="606" y="78"/>
                  </a:lnTo>
                  <a:lnTo>
                    <a:pt x="638" y="90"/>
                  </a:lnTo>
                  <a:cubicBezTo>
                    <a:pt x="639" y="90"/>
                    <a:pt x="640" y="91"/>
                    <a:pt x="641" y="93"/>
                  </a:cubicBezTo>
                  <a:lnTo>
                    <a:pt x="653" y="136"/>
                  </a:lnTo>
                  <a:lnTo>
                    <a:pt x="679" y="140"/>
                  </a:lnTo>
                  <a:cubicBezTo>
                    <a:pt x="681" y="140"/>
                    <a:pt x="683" y="142"/>
                    <a:pt x="683" y="144"/>
                  </a:cubicBezTo>
                  <a:lnTo>
                    <a:pt x="695" y="195"/>
                  </a:lnTo>
                  <a:lnTo>
                    <a:pt x="751" y="199"/>
                  </a:lnTo>
                  <a:lnTo>
                    <a:pt x="787" y="179"/>
                  </a:lnTo>
                  <a:cubicBezTo>
                    <a:pt x="787" y="178"/>
                    <a:pt x="788" y="178"/>
                    <a:pt x="789" y="178"/>
                  </a:cubicBezTo>
                  <a:lnTo>
                    <a:pt x="790" y="178"/>
                  </a:lnTo>
                  <a:lnTo>
                    <a:pt x="835" y="190"/>
                  </a:lnTo>
                  <a:lnTo>
                    <a:pt x="859" y="179"/>
                  </a:lnTo>
                  <a:cubicBezTo>
                    <a:pt x="859" y="178"/>
                    <a:pt x="860" y="178"/>
                    <a:pt x="861" y="178"/>
                  </a:cubicBezTo>
                  <a:cubicBezTo>
                    <a:pt x="861" y="178"/>
                    <a:pt x="862" y="178"/>
                    <a:pt x="863" y="179"/>
                  </a:cubicBezTo>
                  <a:lnTo>
                    <a:pt x="926" y="204"/>
                  </a:lnTo>
                  <a:lnTo>
                    <a:pt x="946" y="235"/>
                  </a:lnTo>
                  <a:cubicBezTo>
                    <a:pt x="946" y="237"/>
                    <a:pt x="946" y="239"/>
                    <a:pt x="945" y="240"/>
                  </a:cubicBezTo>
                  <a:lnTo>
                    <a:pt x="902" y="308"/>
                  </a:lnTo>
                  <a:lnTo>
                    <a:pt x="948" y="331"/>
                  </a:lnTo>
                  <a:cubicBezTo>
                    <a:pt x="950" y="332"/>
                    <a:pt x="951" y="334"/>
                    <a:pt x="950" y="336"/>
                  </a:cubicBezTo>
                  <a:cubicBezTo>
                    <a:pt x="950" y="338"/>
                    <a:pt x="949" y="339"/>
                    <a:pt x="947" y="340"/>
                  </a:cubicBezTo>
                  <a:lnTo>
                    <a:pt x="811" y="378"/>
                  </a:lnTo>
                  <a:lnTo>
                    <a:pt x="745" y="420"/>
                  </a:lnTo>
                  <a:lnTo>
                    <a:pt x="695" y="486"/>
                  </a:lnTo>
                  <a:lnTo>
                    <a:pt x="692" y="539"/>
                  </a:lnTo>
                  <a:cubicBezTo>
                    <a:pt x="692" y="540"/>
                    <a:pt x="691" y="542"/>
                    <a:pt x="689" y="542"/>
                  </a:cubicBezTo>
                  <a:lnTo>
                    <a:pt x="660" y="559"/>
                  </a:lnTo>
                  <a:lnTo>
                    <a:pt x="633" y="623"/>
                  </a:lnTo>
                  <a:lnTo>
                    <a:pt x="653" y="681"/>
                  </a:lnTo>
                  <a:lnTo>
                    <a:pt x="707" y="734"/>
                  </a:lnTo>
                  <a:cubicBezTo>
                    <a:pt x="709" y="735"/>
                    <a:pt x="709" y="736"/>
                    <a:pt x="709" y="738"/>
                  </a:cubicBezTo>
                  <a:lnTo>
                    <a:pt x="705" y="771"/>
                  </a:lnTo>
                  <a:lnTo>
                    <a:pt x="747" y="775"/>
                  </a:lnTo>
                  <a:cubicBezTo>
                    <a:pt x="748" y="775"/>
                    <a:pt x="750" y="776"/>
                    <a:pt x="750" y="777"/>
                  </a:cubicBezTo>
                  <a:lnTo>
                    <a:pt x="771" y="813"/>
                  </a:lnTo>
                  <a:lnTo>
                    <a:pt x="810" y="817"/>
                  </a:lnTo>
                  <a:lnTo>
                    <a:pt x="901" y="763"/>
                  </a:lnTo>
                  <a:cubicBezTo>
                    <a:pt x="902" y="762"/>
                    <a:pt x="902" y="762"/>
                    <a:pt x="903" y="762"/>
                  </a:cubicBezTo>
                  <a:cubicBezTo>
                    <a:pt x="904" y="762"/>
                    <a:pt x="905" y="762"/>
                    <a:pt x="905" y="763"/>
                  </a:cubicBezTo>
                  <a:cubicBezTo>
                    <a:pt x="907" y="763"/>
                    <a:pt x="908" y="765"/>
                    <a:pt x="908" y="767"/>
                  </a:cubicBezTo>
                  <a:lnTo>
                    <a:pt x="908" y="900"/>
                  </a:lnTo>
                  <a:lnTo>
                    <a:pt x="917" y="910"/>
                  </a:lnTo>
                  <a:lnTo>
                    <a:pt x="974" y="897"/>
                  </a:lnTo>
                  <a:lnTo>
                    <a:pt x="975" y="897"/>
                  </a:lnTo>
                  <a:cubicBezTo>
                    <a:pt x="977" y="897"/>
                    <a:pt x="978" y="898"/>
                    <a:pt x="979" y="900"/>
                  </a:cubicBezTo>
                  <a:lnTo>
                    <a:pt x="1051" y="1027"/>
                  </a:lnTo>
                  <a:cubicBezTo>
                    <a:pt x="1052" y="1028"/>
                    <a:pt x="1052" y="1030"/>
                    <a:pt x="1051" y="1031"/>
                  </a:cubicBezTo>
                  <a:lnTo>
                    <a:pt x="1030" y="1069"/>
                  </a:lnTo>
                  <a:lnTo>
                    <a:pt x="1031" y="1202"/>
                  </a:lnTo>
                  <a:cubicBezTo>
                    <a:pt x="1031" y="1204"/>
                    <a:pt x="1030" y="1205"/>
                    <a:pt x="1029" y="1206"/>
                  </a:cubicBezTo>
                  <a:lnTo>
                    <a:pt x="1006" y="1225"/>
                  </a:lnTo>
                  <a:lnTo>
                    <a:pt x="1022" y="1264"/>
                  </a:lnTo>
                  <a:cubicBezTo>
                    <a:pt x="1023" y="1266"/>
                    <a:pt x="1022" y="1267"/>
                    <a:pt x="1021" y="1269"/>
                  </a:cubicBezTo>
                  <a:lnTo>
                    <a:pt x="1000" y="1298"/>
                  </a:lnTo>
                  <a:lnTo>
                    <a:pt x="1001" y="1329"/>
                  </a:lnTo>
                  <a:lnTo>
                    <a:pt x="1030" y="1378"/>
                  </a:lnTo>
                  <a:cubicBezTo>
                    <a:pt x="1031" y="1379"/>
                    <a:pt x="1031" y="1381"/>
                    <a:pt x="1030" y="1383"/>
                  </a:cubicBezTo>
                  <a:lnTo>
                    <a:pt x="980" y="1453"/>
                  </a:lnTo>
                  <a:lnTo>
                    <a:pt x="984" y="1472"/>
                  </a:lnTo>
                  <a:cubicBezTo>
                    <a:pt x="984" y="1473"/>
                    <a:pt x="984" y="1474"/>
                    <a:pt x="983" y="1476"/>
                  </a:cubicBezTo>
                  <a:lnTo>
                    <a:pt x="962" y="1514"/>
                  </a:lnTo>
                  <a:cubicBezTo>
                    <a:pt x="962" y="1515"/>
                    <a:pt x="961" y="1516"/>
                    <a:pt x="959" y="1516"/>
                  </a:cubicBezTo>
                  <a:lnTo>
                    <a:pt x="900" y="1533"/>
                  </a:lnTo>
                  <a:cubicBezTo>
                    <a:pt x="900" y="1533"/>
                    <a:pt x="900" y="1533"/>
                    <a:pt x="899" y="153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5" name="Freeform 120"/>
            <p:cNvSpPr>
              <a:spLocks noChangeArrowheads="1"/>
            </p:cNvSpPr>
            <p:nvPr/>
          </p:nvSpPr>
          <p:spPr bwMode="auto">
            <a:xfrm>
              <a:off x="3024188" y="3560763"/>
              <a:ext cx="128587" cy="125412"/>
            </a:xfrm>
            <a:custGeom>
              <a:avLst/>
              <a:gdLst/>
              <a:ahLst/>
              <a:cxnLst>
                <a:cxn ang="0">
                  <a:pos x="144" y="344"/>
                </a:cxn>
                <a:cxn ang="0">
                  <a:pos x="141" y="342"/>
                </a:cxn>
                <a:cxn ang="0">
                  <a:pos x="103" y="300"/>
                </a:cxn>
                <a:cxn ang="0">
                  <a:pos x="74" y="229"/>
                </a:cxn>
                <a:cxn ang="0">
                  <a:pos x="46" y="221"/>
                </a:cxn>
                <a:cxn ang="0">
                  <a:pos x="1" y="160"/>
                </a:cxn>
                <a:cxn ang="0">
                  <a:pos x="1" y="156"/>
                </a:cxn>
                <a:cxn ang="0">
                  <a:pos x="18" y="92"/>
                </a:cxn>
                <a:cxn ang="0">
                  <a:pos x="21" y="89"/>
                </a:cxn>
                <a:cxn ang="0">
                  <a:pos x="61" y="81"/>
                </a:cxn>
                <a:cxn ang="0">
                  <a:pos x="94" y="11"/>
                </a:cxn>
                <a:cxn ang="0">
                  <a:pos x="98" y="8"/>
                </a:cxn>
                <a:cxn ang="0">
                  <a:pos x="272" y="0"/>
                </a:cxn>
                <a:cxn ang="0">
                  <a:pos x="353" y="17"/>
                </a:cxn>
                <a:cxn ang="0">
                  <a:pos x="357" y="21"/>
                </a:cxn>
                <a:cxn ang="0">
                  <a:pos x="357" y="43"/>
                </a:cxn>
                <a:cxn ang="0">
                  <a:pos x="323" y="86"/>
                </a:cxn>
                <a:cxn ang="0">
                  <a:pos x="328" y="140"/>
                </a:cxn>
                <a:cxn ang="0">
                  <a:pos x="356" y="193"/>
                </a:cxn>
                <a:cxn ang="0">
                  <a:pos x="344" y="280"/>
                </a:cxn>
                <a:cxn ang="0">
                  <a:pos x="318" y="308"/>
                </a:cxn>
                <a:cxn ang="0">
                  <a:pos x="314" y="310"/>
                </a:cxn>
                <a:cxn ang="0">
                  <a:pos x="312" y="309"/>
                </a:cxn>
                <a:cxn ang="0">
                  <a:pos x="270" y="292"/>
                </a:cxn>
                <a:cxn ang="0">
                  <a:pos x="208" y="301"/>
                </a:cxn>
                <a:cxn ang="0">
                  <a:pos x="196" y="344"/>
                </a:cxn>
                <a:cxn ang="0">
                  <a:pos x="191" y="348"/>
                </a:cxn>
                <a:cxn ang="0">
                  <a:pos x="144" y="344"/>
                </a:cxn>
              </a:cxnLst>
              <a:rect l="0" t="0" r="r" b="b"/>
              <a:pathLst>
                <a:path w="358" h="349">
                  <a:moveTo>
                    <a:pt x="144" y="344"/>
                  </a:moveTo>
                  <a:cubicBezTo>
                    <a:pt x="143" y="343"/>
                    <a:pt x="142" y="343"/>
                    <a:pt x="141" y="342"/>
                  </a:cubicBezTo>
                  <a:lnTo>
                    <a:pt x="103" y="300"/>
                  </a:lnTo>
                  <a:lnTo>
                    <a:pt x="74" y="229"/>
                  </a:lnTo>
                  <a:lnTo>
                    <a:pt x="46" y="221"/>
                  </a:lnTo>
                  <a:lnTo>
                    <a:pt x="1" y="160"/>
                  </a:lnTo>
                  <a:cubicBezTo>
                    <a:pt x="0" y="158"/>
                    <a:pt x="0" y="157"/>
                    <a:pt x="1" y="156"/>
                  </a:cubicBezTo>
                  <a:lnTo>
                    <a:pt x="18" y="92"/>
                  </a:lnTo>
                  <a:cubicBezTo>
                    <a:pt x="18" y="91"/>
                    <a:pt x="19" y="89"/>
                    <a:pt x="21" y="89"/>
                  </a:cubicBezTo>
                  <a:lnTo>
                    <a:pt x="61" y="81"/>
                  </a:lnTo>
                  <a:lnTo>
                    <a:pt x="94" y="11"/>
                  </a:lnTo>
                  <a:cubicBezTo>
                    <a:pt x="95" y="9"/>
                    <a:pt x="96" y="8"/>
                    <a:pt x="98" y="8"/>
                  </a:cubicBezTo>
                  <a:lnTo>
                    <a:pt x="272" y="0"/>
                  </a:lnTo>
                  <a:lnTo>
                    <a:pt x="353" y="17"/>
                  </a:lnTo>
                  <a:cubicBezTo>
                    <a:pt x="356" y="17"/>
                    <a:pt x="357" y="19"/>
                    <a:pt x="357" y="21"/>
                  </a:cubicBezTo>
                  <a:lnTo>
                    <a:pt x="357" y="43"/>
                  </a:lnTo>
                  <a:lnTo>
                    <a:pt x="323" y="86"/>
                  </a:lnTo>
                  <a:lnTo>
                    <a:pt x="328" y="140"/>
                  </a:lnTo>
                  <a:lnTo>
                    <a:pt x="356" y="193"/>
                  </a:lnTo>
                  <a:lnTo>
                    <a:pt x="344" y="280"/>
                  </a:lnTo>
                  <a:lnTo>
                    <a:pt x="318" y="308"/>
                  </a:lnTo>
                  <a:cubicBezTo>
                    <a:pt x="317" y="309"/>
                    <a:pt x="315" y="310"/>
                    <a:pt x="314" y="310"/>
                  </a:cubicBezTo>
                  <a:cubicBezTo>
                    <a:pt x="314" y="310"/>
                    <a:pt x="313" y="310"/>
                    <a:pt x="312" y="309"/>
                  </a:cubicBezTo>
                  <a:lnTo>
                    <a:pt x="270" y="292"/>
                  </a:lnTo>
                  <a:lnTo>
                    <a:pt x="208" y="301"/>
                  </a:lnTo>
                  <a:lnTo>
                    <a:pt x="196" y="344"/>
                  </a:lnTo>
                  <a:cubicBezTo>
                    <a:pt x="195" y="346"/>
                    <a:pt x="194" y="348"/>
                    <a:pt x="191" y="348"/>
                  </a:cubicBezTo>
                  <a:lnTo>
                    <a:pt x="144" y="34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6" name="Freeform 121"/>
            <p:cNvSpPr>
              <a:spLocks noChangeArrowheads="1"/>
            </p:cNvSpPr>
            <p:nvPr/>
          </p:nvSpPr>
          <p:spPr bwMode="auto">
            <a:xfrm>
              <a:off x="3024188" y="3560763"/>
              <a:ext cx="128587" cy="125412"/>
            </a:xfrm>
            <a:custGeom>
              <a:avLst/>
              <a:gdLst/>
              <a:ahLst/>
              <a:cxnLst>
                <a:cxn ang="0">
                  <a:pos x="144" y="344"/>
                </a:cxn>
                <a:cxn ang="0">
                  <a:pos x="141" y="342"/>
                </a:cxn>
                <a:cxn ang="0">
                  <a:pos x="103" y="300"/>
                </a:cxn>
                <a:cxn ang="0">
                  <a:pos x="74" y="229"/>
                </a:cxn>
                <a:cxn ang="0">
                  <a:pos x="46" y="221"/>
                </a:cxn>
                <a:cxn ang="0">
                  <a:pos x="1" y="160"/>
                </a:cxn>
                <a:cxn ang="0">
                  <a:pos x="1" y="156"/>
                </a:cxn>
                <a:cxn ang="0">
                  <a:pos x="18" y="92"/>
                </a:cxn>
                <a:cxn ang="0">
                  <a:pos x="21" y="89"/>
                </a:cxn>
                <a:cxn ang="0">
                  <a:pos x="61" y="81"/>
                </a:cxn>
                <a:cxn ang="0">
                  <a:pos x="94" y="11"/>
                </a:cxn>
                <a:cxn ang="0">
                  <a:pos x="98" y="8"/>
                </a:cxn>
                <a:cxn ang="0">
                  <a:pos x="272" y="0"/>
                </a:cxn>
                <a:cxn ang="0">
                  <a:pos x="353" y="17"/>
                </a:cxn>
                <a:cxn ang="0">
                  <a:pos x="357" y="21"/>
                </a:cxn>
                <a:cxn ang="0">
                  <a:pos x="357" y="43"/>
                </a:cxn>
                <a:cxn ang="0">
                  <a:pos x="323" y="86"/>
                </a:cxn>
                <a:cxn ang="0">
                  <a:pos x="328" y="140"/>
                </a:cxn>
                <a:cxn ang="0">
                  <a:pos x="356" y="193"/>
                </a:cxn>
                <a:cxn ang="0">
                  <a:pos x="344" y="280"/>
                </a:cxn>
                <a:cxn ang="0">
                  <a:pos x="318" y="308"/>
                </a:cxn>
                <a:cxn ang="0">
                  <a:pos x="314" y="310"/>
                </a:cxn>
                <a:cxn ang="0">
                  <a:pos x="312" y="309"/>
                </a:cxn>
                <a:cxn ang="0">
                  <a:pos x="270" y="292"/>
                </a:cxn>
                <a:cxn ang="0">
                  <a:pos x="208" y="301"/>
                </a:cxn>
                <a:cxn ang="0">
                  <a:pos x="196" y="344"/>
                </a:cxn>
                <a:cxn ang="0">
                  <a:pos x="191" y="348"/>
                </a:cxn>
                <a:cxn ang="0">
                  <a:pos x="144" y="344"/>
                </a:cxn>
              </a:cxnLst>
              <a:rect l="0" t="0" r="r" b="b"/>
              <a:pathLst>
                <a:path w="358" h="349">
                  <a:moveTo>
                    <a:pt x="144" y="344"/>
                  </a:moveTo>
                  <a:cubicBezTo>
                    <a:pt x="143" y="343"/>
                    <a:pt x="142" y="343"/>
                    <a:pt x="141" y="342"/>
                  </a:cubicBezTo>
                  <a:lnTo>
                    <a:pt x="103" y="300"/>
                  </a:lnTo>
                  <a:lnTo>
                    <a:pt x="74" y="229"/>
                  </a:lnTo>
                  <a:lnTo>
                    <a:pt x="46" y="221"/>
                  </a:lnTo>
                  <a:lnTo>
                    <a:pt x="1" y="160"/>
                  </a:lnTo>
                  <a:cubicBezTo>
                    <a:pt x="0" y="158"/>
                    <a:pt x="0" y="157"/>
                    <a:pt x="1" y="156"/>
                  </a:cubicBezTo>
                  <a:lnTo>
                    <a:pt x="18" y="92"/>
                  </a:lnTo>
                  <a:cubicBezTo>
                    <a:pt x="18" y="91"/>
                    <a:pt x="19" y="89"/>
                    <a:pt x="21" y="89"/>
                  </a:cubicBezTo>
                  <a:lnTo>
                    <a:pt x="61" y="81"/>
                  </a:lnTo>
                  <a:lnTo>
                    <a:pt x="94" y="11"/>
                  </a:lnTo>
                  <a:cubicBezTo>
                    <a:pt x="95" y="9"/>
                    <a:pt x="96" y="8"/>
                    <a:pt x="98" y="8"/>
                  </a:cubicBezTo>
                  <a:lnTo>
                    <a:pt x="272" y="0"/>
                  </a:lnTo>
                  <a:lnTo>
                    <a:pt x="353" y="17"/>
                  </a:lnTo>
                  <a:cubicBezTo>
                    <a:pt x="356" y="17"/>
                    <a:pt x="357" y="19"/>
                    <a:pt x="357" y="21"/>
                  </a:cubicBezTo>
                  <a:lnTo>
                    <a:pt x="357" y="43"/>
                  </a:lnTo>
                  <a:lnTo>
                    <a:pt x="323" y="86"/>
                  </a:lnTo>
                  <a:lnTo>
                    <a:pt x="328" y="140"/>
                  </a:lnTo>
                  <a:lnTo>
                    <a:pt x="356" y="193"/>
                  </a:lnTo>
                  <a:lnTo>
                    <a:pt x="344" y="280"/>
                  </a:lnTo>
                  <a:lnTo>
                    <a:pt x="318" y="308"/>
                  </a:lnTo>
                  <a:cubicBezTo>
                    <a:pt x="317" y="309"/>
                    <a:pt x="315" y="310"/>
                    <a:pt x="314" y="310"/>
                  </a:cubicBezTo>
                  <a:cubicBezTo>
                    <a:pt x="314" y="310"/>
                    <a:pt x="313" y="310"/>
                    <a:pt x="312" y="309"/>
                  </a:cubicBezTo>
                  <a:lnTo>
                    <a:pt x="270" y="292"/>
                  </a:lnTo>
                  <a:lnTo>
                    <a:pt x="208" y="301"/>
                  </a:lnTo>
                  <a:lnTo>
                    <a:pt x="196" y="344"/>
                  </a:lnTo>
                  <a:cubicBezTo>
                    <a:pt x="195" y="346"/>
                    <a:pt x="194" y="348"/>
                    <a:pt x="191" y="348"/>
                  </a:cubicBezTo>
                  <a:lnTo>
                    <a:pt x="144" y="34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7" name="Freeform 122"/>
            <p:cNvSpPr>
              <a:spLocks noChangeArrowheads="1"/>
            </p:cNvSpPr>
            <p:nvPr/>
          </p:nvSpPr>
          <p:spPr bwMode="auto">
            <a:xfrm>
              <a:off x="2909888" y="3416300"/>
              <a:ext cx="33337" cy="25400"/>
            </a:xfrm>
            <a:custGeom>
              <a:avLst/>
              <a:gdLst/>
              <a:ahLst/>
              <a:cxnLst>
                <a:cxn ang="0">
                  <a:pos x="1" y="66"/>
                </a:cxn>
                <a:cxn ang="0">
                  <a:pos x="2" y="61"/>
                </a:cxn>
                <a:cxn ang="0">
                  <a:pos x="34" y="33"/>
                </a:cxn>
                <a:cxn ang="0">
                  <a:pos x="22" y="7"/>
                </a:cxn>
                <a:cxn ang="0">
                  <a:pos x="23" y="2"/>
                </a:cxn>
                <a:cxn ang="0">
                  <a:pos x="27" y="0"/>
                </a:cxn>
                <a:cxn ang="0">
                  <a:pos x="86" y="0"/>
                </a:cxn>
                <a:cxn ang="0">
                  <a:pos x="90" y="2"/>
                </a:cxn>
                <a:cxn ang="0">
                  <a:pos x="90" y="6"/>
                </a:cxn>
                <a:cxn ang="0">
                  <a:pos x="73" y="57"/>
                </a:cxn>
                <a:cxn ang="0">
                  <a:pos x="70" y="60"/>
                </a:cxn>
                <a:cxn ang="0">
                  <a:pos x="5" y="69"/>
                </a:cxn>
                <a:cxn ang="0">
                  <a:pos x="1" y="66"/>
                </a:cxn>
              </a:cxnLst>
              <a:rect l="0" t="0" r="r" b="b"/>
              <a:pathLst>
                <a:path w="92" h="70">
                  <a:moveTo>
                    <a:pt x="1" y="66"/>
                  </a:moveTo>
                  <a:cubicBezTo>
                    <a:pt x="0" y="64"/>
                    <a:pt x="1" y="62"/>
                    <a:pt x="2" y="61"/>
                  </a:cubicBezTo>
                  <a:lnTo>
                    <a:pt x="34" y="33"/>
                  </a:lnTo>
                  <a:lnTo>
                    <a:pt x="22" y="7"/>
                  </a:lnTo>
                  <a:cubicBezTo>
                    <a:pt x="22" y="5"/>
                    <a:pt x="22" y="4"/>
                    <a:pt x="23" y="2"/>
                  </a:cubicBezTo>
                  <a:cubicBezTo>
                    <a:pt x="23" y="1"/>
                    <a:pt x="25" y="0"/>
                    <a:pt x="27" y="0"/>
                  </a:cubicBezTo>
                  <a:lnTo>
                    <a:pt x="86" y="0"/>
                  </a:lnTo>
                  <a:cubicBezTo>
                    <a:pt x="87" y="0"/>
                    <a:pt x="89" y="1"/>
                    <a:pt x="90" y="2"/>
                  </a:cubicBezTo>
                  <a:cubicBezTo>
                    <a:pt x="91" y="3"/>
                    <a:pt x="91" y="5"/>
                    <a:pt x="90" y="6"/>
                  </a:cubicBezTo>
                  <a:lnTo>
                    <a:pt x="73" y="57"/>
                  </a:lnTo>
                  <a:cubicBezTo>
                    <a:pt x="73" y="59"/>
                    <a:pt x="71" y="60"/>
                    <a:pt x="70" y="60"/>
                  </a:cubicBezTo>
                  <a:lnTo>
                    <a:pt x="5" y="69"/>
                  </a:lnTo>
                  <a:cubicBezTo>
                    <a:pt x="4" y="69"/>
                    <a:pt x="2" y="68"/>
                    <a:pt x="1" y="6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8" name="Freeform 123"/>
            <p:cNvSpPr>
              <a:spLocks noChangeArrowheads="1"/>
            </p:cNvSpPr>
            <p:nvPr/>
          </p:nvSpPr>
          <p:spPr bwMode="auto">
            <a:xfrm>
              <a:off x="2909888" y="3416300"/>
              <a:ext cx="33337" cy="25400"/>
            </a:xfrm>
            <a:custGeom>
              <a:avLst/>
              <a:gdLst/>
              <a:ahLst/>
              <a:cxnLst>
                <a:cxn ang="0">
                  <a:pos x="5" y="69"/>
                </a:cxn>
                <a:cxn ang="0">
                  <a:pos x="1" y="66"/>
                </a:cxn>
                <a:cxn ang="0">
                  <a:pos x="2" y="61"/>
                </a:cxn>
                <a:cxn ang="0">
                  <a:pos x="34" y="33"/>
                </a:cxn>
                <a:cxn ang="0">
                  <a:pos x="22" y="7"/>
                </a:cxn>
                <a:cxn ang="0">
                  <a:pos x="23" y="2"/>
                </a:cxn>
                <a:cxn ang="0">
                  <a:pos x="27" y="0"/>
                </a:cxn>
                <a:cxn ang="0">
                  <a:pos x="86" y="0"/>
                </a:cxn>
                <a:cxn ang="0">
                  <a:pos x="90" y="2"/>
                </a:cxn>
                <a:cxn ang="0">
                  <a:pos x="90" y="6"/>
                </a:cxn>
                <a:cxn ang="0">
                  <a:pos x="73" y="57"/>
                </a:cxn>
                <a:cxn ang="0">
                  <a:pos x="70" y="60"/>
                </a:cxn>
                <a:cxn ang="0">
                  <a:pos x="5" y="69"/>
                </a:cxn>
              </a:cxnLst>
              <a:rect l="0" t="0" r="r" b="b"/>
              <a:pathLst>
                <a:path w="92" h="70">
                  <a:moveTo>
                    <a:pt x="5" y="69"/>
                  </a:moveTo>
                  <a:cubicBezTo>
                    <a:pt x="4" y="69"/>
                    <a:pt x="2" y="68"/>
                    <a:pt x="1" y="66"/>
                  </a:cubicBezTo>
                  <a:cubicBezTo>
                    <a:pt x="0" y="64"/>
                    <a:pt x="1" y="62"/>
                    <a:pt x="2" y="61"/>
                  </a:cubicBezTo>
                  <a:lnTo>
                    <a:pt x="34" y="33"/>
                  </a:lnTo>
                  <a:lnTo>
                    <a:pt x="22" y="7"/>
                  </a:lnTo>
                  <a:cubicBezTo>
                    <a:pt x="22" y="5"/>
                    <a:pt x="22" y="4"/>
                    <a:pt x="23" y="2"/>
                  </a:cubicBezTo>
                  <a:cubicBezTo>
                    <a:pt x="23" y="1"/>
                    <a:pt x="25" y="0"/>
                    <a:pt x="27" y="0"/>
                  </a:cubicBezTo>
                  <a:lnTo>
                    <a:pt x="86" y="0"/>
                  </a:lnTo>
                  <a:cubicBezTo>
                    <a:pt x="87" y="0"/>
                    <a:pt x="89" y="1"/>
                    <a:pt x="90" y="2"/>
                  </a:cubicBezTo>
                  <a:cubicBezTo>
                    <a:pt x="91" y="3"/>
                    <a:pt x="91" y="5"/>
                    <a:pt x="90" y="6"/>
                  </a:cubicBezTo>
                  <a:lnTo>
                    <a:pt x="73" y="57"/>
                  </a:lnTo>
                  <a:cubicBezTo>
                    <a:pt x="73" y="59"/>
                    <a:pt x="71" y="60"/>
                    <a:pt x="70" y="60"/>
                  </a:cubicBezTo>
                  <a:lnTo>
                    <a:pt x="5" y="6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29" name="Freeform 124"/>
            <p:cNvSpPr>
              <a:spLocks noChangeArrowheads="1"/>
            </p:cNvSpPr>
            <p:nvPr/>
          </p:nvSpPr>
          <p:spPr bwMode="auto">
            <a:xfrm>
              <a:off x="3014663" y="4681538"/>
              <a:ext cx="163512" cy="174625"/>
            </a:xfrm>
            <a:custGeom>
              <a:avLst/>
              <a:gdLst/>
              <a:ahLst/>
              <a:cxnLst>
                <a:cxn ang="0">
                  <a:pos x="190" y="474"/>
                </a:cxn>
                <a:cxn ang="0">
                  <a:pos x="104" y="436"/>
                </a:cxn>
                <a:cxn ang="0">
                  <a:pos x="47" y="432"/>
                </a:cxn>
                <a:cxn ang="0">
                  <a:pos x="43" y="431"/>
                </a:cxn>
                <a:cxn ang="0">
                  <a:pos x="1" y="389"/>
                </a:cxn>
                <a:cxn ang="0">
                  <a:pos x="0" y="384"/>
                </a:cxn>
                <a:cxn ang="0">
                  <a:pos x="25" y="274"/>
                </a:cxn>
                <a:cxn ang="0">
                  <a:pos x="46" y="42"/>
                </a:cxn>
                <a:cxn ang="0">
                  <a:pos x="69" y="10"/>
                </a:cxn>
                <a:cxn ang="0">
                  <a:pos x="72" y="8"/>
                </a:cxn>
                <a:cxn ang="0">
                  <a:pos x="140" y="0"/>
                </a:cxn>
                <a:cxn ang="0">
                  <a:pos x="143" y="1"/>
                </a:cxn>
                <a:cxn ang="0">
                  <a:pos x="198" y="47"/>
                </a:cxn>
                <a:cxn ang="0">
                  <a:pos x="207" y="82"/>
                </a:cxn>
                <a:cxn ang="0">
                  <a:pos x="240" y="68"/>
                </a:cxn>
                <a:cxn ang="0">
                  <a:pos x="242" y="67"/>
                </a:cxn>
                <a:cxn ang="0">
                  <a:pos x="245" y="69"/>
                </a:cxn>
                <a:cxn ang="0">
                  <a:pos x="283" y="111"/>
                </a:cxn>
                <a:cxn ang="0">
                  <a:pos x="393" y="178"/>
                </a:cxn>
                <a:cxn ang="0">
                  <a:pos x="411" y="223"/>
                </a:cxn>
                <a:cxn ang="0">
                  <a:pos x="452" y="255"/>
                </a:cxn>
                <a:cxn ang="0">
                  <a:pos x="453" y="261"/>
                </a:cxn>
                <a:cxn ang="0">
                  <a:pos x="420" y="302"/>
                </a:cxn>
                <a:cxn ang="0">
                  <a:pos x="428" y="359"/>
                </a:cxn>
                <a:cxn ang="0">
                  <a:pos x="428" y="362"/>
                </a:cxn>
                <a:cxn ang="0">
                  <a:pos x="369" y="451"/>
                </a:cxn>
                <a:cxn ang="0">
                  <a:pos x="303" y="483"/>
                </a:cxn>
                <a:cxn ang="0">
                  <a:pos x="301" y="483"/>
                </a:cxn>
                <a:cxn ang="0">
                  <a:pos x="190" y="474"/>
                </a:cxn>
              </a:cxnLst>
              <a:rect l="0" t="0" r="r" b="b"/>
              <a:pathLst>
                <a:path w="456" h="484">
                  <a:moveTo>
                    <a:pt x="190" y="474"/>
                  </a:moveTo>
                  <a:lnTo>
                    <a:pt x="104" y="436"/>
                  </a:lnTo>
                  <a:lnTo>
                    <a:pt x="47" y="432"/>
                  </a:lnTo>
                  <a:cubicBezTo>
                    <a:pt x="45" y="432"/>
                    <a:pt x="44" y="432"/>
                    <a:pt x="43" y="431"/>
                  </a:cubicBezTo>
                  <a:lnTo>
                    <a:pt x="1" y="389"/>
                  </a:lnTo>
                  <a:cubicBezTo>
                    <a:pt x="0" y="387"/>
                    <a:pt x="0" y="386"/>
                    <a:pt x="0" y="384"/>
                  </a:cubicBezTo>
                  <a:lnTo>
                    <a:pt x="25" y="274"/>
                  </a:lnTo>
                  <a:lnTo>
                    <a:pt x="46" y="42"/>
                  </a:lnTo>
                  <a:lnTo>
                    <a:pt x="69" y="10"/>
                  </a:lnTo>
                  <a:cubicBezTo>
                    <a:pt x="69" y="9"/>
                    <a:pt x="70" y="8"/>
                    <a:pt x="72" y="8"/>
                  </a:cubicBezTo>
                  <a:lnTo>
                    <a:pt x="140" y="0"/>
                  </a:lnTo>
                  <a:cubicBezTo>
                    <a:pt x="141" y="0"/>
                    <a:pt x="142" y="0"/>
                    <a:pt x="143" y="1"/>
                  </a:cubicBezTo>
                  <a:lnTo>
                    <a:pt x="198" y="47"/>
                  </a:lnTo>
                  <a:lnTo>
                    <a:pt x="207" y="82"/>
                  </a:lnTo>
                  <a:lnTo>
                    <a:pt x="240" y="68"/>
                  </a:lnTo>
                  <a:cubicBezTo>
                    <a:pt x="240" y="68"/>
                    <a:pt x="241" y="67"/>
                    <a:pt x="242" y="67"/>
                  </a:cubicBezTo>
                  <a:cubicBezTo>
                    <a:pt x="243" y="67"/>
                    <a:pt x="244" y="68"/>
                    <a:pt x="245" y="69"/>
                  </a:cubicBezTo>
                  <a:lnTo>
                    <a:pt x="283" y="111"/>
                  </a:lnTo>
                  <a:lnTo>
                    <a:pt x="393" y="178"/>
                  </a:lnTo>
                  <a:lnTo>
                    <a:pt x="411" y="223"/>
                  </a:lnTo>
                  <a:lnTo>
                    <a:pt x="452" y="255"/>
                  </a:lnTo>
                  <a:cubicBezTo>
                    <a:pt x="454" y="256"/>
                    <a:pt x="455" y="259"/>
                    <a:pt x="453" y="261"/>
                  </a:cubicBezTo>
                  <a:lnTo>
                    <a:pt x="420" y="302"/>
                  </a:lnTo>
                  <a:lnTo>
                    <a:pt x="428" y="359"/>
                  </a:lnTo>
                  <a:cubicBezTo>
                    <a:pt x="429" y="360"/>
                    <a:pt x="428" y="361"/>
                    <a:pt x="428" y="362"/>
                  </a:cubicBezTo>
                  <a:lnTo>
                    <a:pt x="369" y="451"/>
                  </a:lnTo>
                  <a:lnTo>
                    <a:pt x="303" y="483"/>
                  </a:lnTo>
                  <a:cubicBezTo>
                    <a:pt x="302" y="483"/>
                    <a:pt x="302" y="483"/>
                    <a:pt x="301" y="483"/>
                  </a:cubicBezTo>
                  <a:lnTo>
                    <a:pt x="190" y="47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0" name="Freeform 125"/>
            <p:cNvSpPr>
              <a:spLocks noChangeArrowheads="1"/>
            </p:cNvSpPr>
            <p:nvPr/>
          </p:nvSpPr>
          <p:spPr bwMode="auto">
            <a:xfrm>
              <a:off x="3014663" y="4681538"/>
              <a:ext cx="163512" cy="174625"/>
            </a:xfrm>
            <a:custGeom>
              <a:avLst/>
              <a:gdLst/>
              <a:ahLst/>
              <a:cxnLst>
                <a:cxn ang="0">
                  <a:pos x="190" y="474"/>
                </a:cxn>
                <a:cxn ang="0">
                  <a:pos x="104" y="436"/>
                </a:cxn>
                <a:cxn ang="0">
                  <a:pos x="47" y="432"/>
                </a:cxn>
                <a:cxn ang="0">
                  <a:pos x="43" y="431"/>
                </a:cxn>
                <a:cxn ang="0">
                  <a:pos x="1" y="389"/>
                </a:cxn>
                <a:cxn ang="0">
                  <a:pos x="0" y="384"/>
                </a:cxn>
                <a:cxn ang="0">
                  <a:pos x="25" y="274"/>
                </a:cxn>
                <a:cxn ang="0">
                  <a:pos x="46" y="42"/>
                </a:cxn>
                <a:cxn ang="0">
                  <a:pos x="69" y="10"/>
                </a:cxn>
                <a:cxn ang="0">
                  <a:pos x="72" y="8"/>
                </a:cxn>
                <a:cxn ang="0">
                  <a:pos x="140" y="0"/>
                </a:cxn>
                <a:cxn ang="0">
                  <a:pos x="143" y="1"/>
                </a:cxn>
                <a:cxn ang="0">
                  <a:pos x="198" y="47"/>
                </a:cxn>
                <a:cxn ang="0">
                  <a:pos x="207" y="82"/>
                </a:cxn>
                <a:cxn ang="0">
                  <a:pos x="240" y="68"/>
                </a:cxn>
                <a:cxn ang="0">
                  <a:pos x="242" y="67"/>
                </a:cxn>
                <a:cxn ang="0">
                  <a:pos x="245" y="69"/>
                </a:cxn>
                <a:cxn ang="0">
                  <a:pos x="283" y="111"/>
                </a:cxn>
                <a:cxn ang="0">
                  <a:pos x="393" y="178"/>
                </a:cxn>
                <a:cxn ang="0">
                  <a:pos x="411" y="223"/>
                </a:cxn>
                <a:cxn ang="0">
                  <a:pos x="452" y="255"/>
                </a:cxn>
                <a:cxn ang="0">
                  <a:pos x="453" y="261"/>
                </a:cxn>
                <a:cxn ang="0">
                  <a:pos x="420" y="302"/>
                </a:cxn>
                <a:cxn ang="0">
                  <a:pos x="428" y="359"/>
                </a:cxn>
                <a:cxn ang="0">
                  <a:pos x="428" y="362"/>
                </a:cxn>
                <a:cxn ang="0">
                  <a:pos x="369" y="451"/>
                </a:cxn>
                <a:cxn ang="0">
                  <a:pos x="303" y="483"/>
                </a:cxn>
                <a:cxn ang="0">
                  <a:pos x="301" y="483"/>
                </a:cxn>
                <a:cxn ang="0">
                  <a:pos x="190" y="474"/>
                </a:cxn>
              </a:cxnLst>
              <a:rect l="0" t="0" r="r" b="b"/>
              <a:pathLst>
                <a:path w="456" h="484">
                  <a:moveTo>
                    <a:pt x="190" y="474"/>
                  </a:moveTo>
                  <a:lnTo>
                    <a:pt x="104" y="436"/>
                  </a:lnTo>
                  <a:lnTo>
                    <a:pt x="47" y="432"/>
                  </a:lnTo>
                  <a:cubicBezTo>
                    <a:pt x="45" y="432"/>
                    <a:pt x="44" y="432"/>
                    <a:pt x="43" y="431"/>
                  </a:cubicBezTo>
                  <a:lnTo>
                    <a:pt x="1" y="389"/>
                  </a:lnTo>
                  <a:cubicBezTo>
                    <a:pt x="0" y="387"/>
                    <a:pt x="0" y="386"/>
                    <a:pt x="0" y="384"/>
                  </a:cubicBezTo>
                  <a:lnTo>
                    <a:pt x="25" y="274"/>
                  </a:lnTo>
                  <a:lnTo>
                    <a:pt x="46" y="42"/>
                  </a:lnTo>
                  <a:lnTo>
                    <a:pt x="69" y="10"/>
                  </a:lnTo>
                  <a:cubicBezTo>
                    <a:pt x="69" y="9"/>
                    <a:pt x="70" y="8"/>
                    <a:pt x="72" y="8"/>
                  </a:cubicBezTo>
                  <a:lnTo>
                    <a:pt x="140" y="0"/>
                  </a:lnTo>
                  <a:cubicBezTo>
                    <a:pt x="141" y="0"/>
                    <a:pt x="142" y="0"/>
                    <a:pt x="143" y="1"/>
                  </a:cubicBezTo>
                  <a:lnTo>
                    <a:pt x="198" y="47"/>
                  </a:lnTo>
                  <a:lnTo>
                    <a:pt x="207" y="82"/>
                  </a:lnTo>
                  <a:lnTo>
                    <a:pt x="240" y="68"/>
                  </a:lnTo>
                  <a:cubicBezTo>
                    <a:pt x="240" y="68"/>
                    <a:pt x="241" y="67"/>
                    <a:pt x="242" y="67"/>
                  </a:cubicBezTo>
                  <a:cubicBezTo>
                    <a:pt x="243" y="67"/>
                    <a:pt x="244" y="68"/>
                    <a:pt x="245" y="69"/>
                  </a:cubicBezTo>
                  <a:lnTo>
                    <a:pt x="283" y="111"/>
                  </a:lnTo>
                  <a:lnTo>
                    <a:pt x="393" y="178"/>
                  </a:lnTo>
                  <a:lnTo>
                    <a:pt x="411" y="223"/>
                  </a:lnTo>
                  <a:lnTo>
                    <a:pt x="452" y="255"/>
                  </a:lnTo>
                  <a:cubicBezTo>
                    <a:pt x="454" y="256"/>
                    <a:pt x="455" y="259"/>
                    <a:pt x="453" y="261"/>
                  </a:cubicBezTo>
                  <a:lnTo>
                    <a:pt x="420" y="302"/>
                  </a:lnTo>
                  <a:lnTo>
                    <a:pt x="428" y="359"/>
                  </a:lnTo>
                  <a:cubicBezTo>
                    <a:pt x="429" y="360"/>
                    <a:pt x="428" y="361"/>
                    <a:pt x="428" y="362"/>
                  </a:cubicBezTo>
                  <a:lnTo>
                    <a:pt x="369" y="451"/>
                  </a:lnTo>
                  <a:lnTo>
                    <a:pt x="303" y="483"/>
                  </a:lnTo>
                  <a:cubicBezTo>
                    <a:pt x="302" y="483"/>
                    <a:pt x="302" y="483"/>
                    <a:pt x="301" y="483"/>
                  </a:cubicBezTo>
                  <a:lnTo>
                    <a:pt x="190" y="47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1" name="Freeform 126"/>
            <p:cNvSpPr>
              <a:spLocks noChangeArrowheads="1"/>
            </p:cNvSpPr>
            <p:nvPr/>
          </p:nvSpPr>
          <p:spPr bwMode="auto">
            <a:xfrm>
              <a:off x="2565400" y="3370263"/>
              <a:ext cx="412750" cy="347662"/>
            </a:xfrm>
            <a:custGeom>
              <a:avLst/>
              <a:gdLst/>
              <a:ahLst/>
              <a:cxnLst>
                <a:cxn ang="0">
                  <a:pos x="586" y="963"/>
                </a:cxn>
                <a:cxn ang="0">
                  <a:pos x="505" y="836"/>
                </a:cxn>
                <a:cxn ang="0">
                  <a:pos x="467" y="793"/>
                </a:cxn>
                <a:cxn ang="0">
                  <a:pos x="471" y="693"/>
                </a:cxn>
                <a:cxn ang="0">
                  <a:pos x="490" y="518"/>
                </a:cxn>
                <a:cxn ang="0">
                  <a:pos x="336" y="524"/>
                </a:cxn>
                <a:cxn ang="0">
                  <a:pos x="236" y="436"/>
                </a:cxn>
                <a:cxn ang="0">
                  <a:pos x="122" y="437"/>
                </a:cxn>
                <a:cxn ang="0">
                  <a:pos x="85" y="407"/>
                </a:cxn>
                <a:cxn ang="0">
                  <a:pos x="44" y="268"/>
                </a:cxn>
                <a:cxn ang="0">
                  <a:pos x="1" y="265"/>
                </a:cxn>
                <a:cxn ang="0">
                  <a:pos x="64" y="113"/>
                </a:cxn>
                <a:cxn ang="0">
                  <a:pos x="173" y="30"/>
                </a:cxn>
                <a:cxn ang="0">
                  <a:pos x="179" y="33"/>
                </a:cxn>
                <a:cxn ang="0">
                  <a:pos x="138" y="58"/>
                </a:cxn>
                <a:cxn ang="0">
                  <a:pos x="157" y="134"/>
                </a:cxn>
                <a:cxn ang="0">
                  <a:pos x="128" y="221"/>
                </a:cxn>
                <a:cxn ang="0">
                  <a:pos x="195" y="243"/>
                </a:cxn>
                <a:cxn ang="0">
                  <a:pos x="162" y="164"/>
                </a:cxn>
                <a:cxn ang="0">
                  <a:pos x="163" y="124"/>
                </a:cxn>
                <a:cxn ang="0">
                  <a:pos x="300" y="65"/>
                </a:cxn>
                <a:cxn ang="0">
                  <a:pos x="262" y="52"/>
                </a:cxn>
                <a:cxn ang="0">
                  <a:pos x="259" y="44"/>
                </a:cxn>
                <a:cxn ang="0">
                  <a:pos x="293" y="0"/>
                </a:cxn>
                <a:cxn ang="0">
                  <a:pos x="297" y="3"/>
                </a:cxn>
                <a:cxn ang="0">
                  <a:pos x="425" y="85"/>
                </a:cxn>
                <a:cxn ang="0">
                  <a:pos x="457" y="148"/>
                </a:cxn>
                <a:cxn ang="0">
                  <a:pos x="614" y="137"/>
                </a:cxn>
                <a:cxn ang="0">
                  <a:pos x="695" y="174"/>
                </a:cxn>
                <a:cxn ang="0">
                  <a:pos x="766" y="145"/>
                </a:cxn>
                <a:cxn ang="0">
                  <a:pos x="766" y="136"/>
                </a:cxn>
                <a:cxn ang="0">
                  <a:pos x="954" y="131"/>
                </a:cxn>
                <a:cxn ang="0">
                  <a:pos x="955" y="140"/>
                </a:cxn>
                <a:cxn ang="0">
                  <a:pos x="909" y="170"/>
                </a:cxn>
                <a:cxn ang="0">
                  <a:pos x="979" y="207"/>
                </a:cxn>
                <a:cxn ang="0">
                  <a:pos x="1047" y="244"/>
                </a:cxn>
                <a:cxn ang="0">
                  <a:pos x="1063" y="304"/>
                </a:cxn>
                <a:cxn ang="0">
                  <a:pos x="1077" y="322"/>
                </a:cxn>
                <a:cxn ang="0">
                  <a:pos x="1106" y="305"/>
                </a:cxn>
                <a:cxn ang="0">
                  <a:pos x="1143" y="335"/>
                </a:cxn>
                <a:cxn ang="0">
                  <a:pos x="1136" y="354"/>
                </a:cxn>
                <a:cxn ang="0">
                  <a:pos x="1064" y="428"/>
                </a:cxn>
                <a:cxn ang="0">
                  <a:pos x="1090" y="435"/>
                </a:cxn>
                <a:cxn ang="0">
                  <a:pos x="1037" y="474"/>
                </a:cxn>
                <a:cxn ang="0">
                  <a:pos x="1072" y="595"/>
                </a:cxn>
                <a:cxn ang="0">
                  <a:pos x="1047" y="646"/>
                </a:cxn>
                <a:cxn ang="0">
                  <a:pos x="871" y="711"/>
                </a:cxn>
                <a:cxn ang="0">
                  <a:pos x="734" y="696"/>
                </a:cxn>
                <a:cxn ang="0">
                  <a:pos x="772" y="724"/>
                </a:cxn>
                <a:cxn ang="0">
                  <a:pos x="776" y="821"/>
                </a:cxn>
                <a:cxn ang="0">
                  <a:pos x="848" y="830"/>
                </a:cxn>
                <a:cxn ang="0">
                  <a:pos x="845" y="851"/>
                </a:cxn>
                <a:cxn ang="0">
                  <a:pos x="767" y="904"/>
                </a:cxn>
                <a:cxn ang="0">
                  <a:pos x="653" y="965"/>
                </a:cxn>
              </a:cxnLst>
              <a:rect l="0" t="0" r="r" b="b"/>
              <a:pathLst>
                <a:path w="1146" h="966">
                  <a:moveTo>
                    <a:pt x="590" y="965"/>
                  </a:moveTo>
                  <a:cubicBezTo>
                    <a:pt x="588" y="965"/>
                    <a:pt x="587" y="964"/>
                    <a:pt x="586" y="963"/>
                  </a:cubicBezTo>
                  <a:lnTo>
                    <a:pt x="544" y="921"/>
                  </a:lnTo>
                  <a:lnTo>
                    <a:pt x="505" y="836"/>
                  </a:lnTo>
                  <a:lnTo>
                    <a:pt x="468" y="799"/>
                  </a:lnTo>
                  <a:cubicBezTo>
                    <a:pt x="466" y="797"/>
                    <a:pt x="466" y="795"/>
                    <a:pt x="467" y="793"/>
                  </a:cubicBezTo>
                  <a:lnTo>
                    <a:pt x="507" y="749"/>
                  </a:lnTo>
                  <a:lnTo>
                    <a:pt x="471" y="693"/>
                  </a:lnTo>
                  <a:lnTo>
                    <a:pt x="458" y="645"/>
                  </a:lnTo>
                  <a:lnTo>
                    <a:pt x="490" y="518"/>
                  </a:lnTo>
                  <a:lnTo>
                    <a:pt x="340" y="526"/>
                  </a:lnTo>
                  <a:cubicBezTo>
                    <a:pt x="338" y="526"/>
                    <a:pt x="337" y="525"/>
                    <a:pt x="336" y="524"/>
                  </a:cubicBezTo>
                  <a:lnTo>
                    <a:pt x="277" y="452"/>
                  </a:lnTo>
                  <a:lnTo>
                    <a:pt x="236" y="436"/>
                  </a:lnTo>
                  <a:lnTo>
                    <a:pt x="171" y="449"/>
                  </a:lnTo>
                  <a:lnTo>
                    <a:pt x="122" y="437"/>
                  </a:lnTo>
                  <a:lnTo>
                    <a:pt x="87" y="411"/>
                  </a:lnTo>
                  <a:cubicBezTo>
                    <a:pt x="86" y="410"/>
                    <a:pt x="85" y="408"/>
                    <a:pt x="85" y="407"/>
                  </a:cubicBezTo>
                  <a:lnTo>
                    <a:pt x="81" y="344"/>
                  </a:lnTo>
                  <a:lnTo>
                    <a:pt x="44" y="268"/>
                  </a:lnTo>
                  <a:lnTo>
                    <a:pt x="5" y="268"/>
                  </a:lnTo>
                  <a:cubicBezTo>
                    <a:pt x="3" y="268"/>
                    <a:pt x="2" y="267"/>
                    <a:pt x="1" y="265"/>
                  </a:cubicBezTo>
                  <a:cubicBezTo>
                    <a:pt x="0" y="264"/>
                    <a:pt x="0" y="262"/>
                    <a:pt x="1" y="261"/>
                  </a:cubicBezTo>
                  <a:lnTo>
                    <a:pt x="64" y="113"/>
                  </a:lnTo>
                  <a:lnTo>
                    <a:pt x="124" y="48"/>
                  </a:lnTo>
                  <a:lnTo>
                    <a:pt x="173" y="30"/>
                  </a:lnTo>
                  <a:lnTo>
                    <a:pt x="174" y="30"/>
                  </a:lnTo>
                  <a:cubicBezTo>
                    <a:pt x="176" y="30"/>
                    <a:pt x="178" y="31"/>
                    <a:pt x="179" y="33"/>
                  </a:cubicBezTo>
                  <a:cubicBezTo>
                    <a:pt x="180" y="35"/>
                    <a:pt x="179" y="38"/>
                    <a:pt x="177" y="39"/>
                  </a:cubicBezTo>
                  <a:lnTo>
                    <a:pt x="138" y="58"/>
                  </a:lnTo>
                  <a:lnTo>
                    <a:pt x="158" y="130"/>
                  </a:lnTo>
                  <a:cubicBezTo>
                    <a:pt x="158" y="132"/>
                    <a:pt x="158" y="133"/>
                    <a:pt x="157" y="134"/>
                  </a:cubicBezTo>
                  <a:lnTo>
                    <a:pt x="128" y="193"/>
                  </a:lnTo>
                  <a:lnTo>
                    <a:pt x="128" y="221"/>
                  </a:lnTo>
                  <a:lnTo>
                    <a:pt x="155" y="269"/>
                  </a:lnTo>
                  <a:lnTo>
                    <a:pt x="195" y="243"/>
                  </a:lnTo>
                  <a:lnTo>
                    <a:pt x="191" y="213"/>
                  </a:lnTo>
                  <a:lnTo>
                    <a:pt x="162" y="164"/>
                  </a:lnTo>
                  <a:lnTo>
                    <a:pt x="161" y="127"/>
                  </a:lnTo>
                  <a:cubicBezTo>
                    <a:pt x="161" y="126"/>
                    <a:pt x="162" y="125"/>
                    <a:pt x="163" y="124"/>
                  </a:cubicBezTo>
                  <a:lnTo>
                    <a:pt x="214" y="86"/>
                  </a:lnTo>
                  <a:lnTo>
                    <a:pt x="300" y="65"/>
                  </a:lnTo>
                  <a:lnTo>
                    <a:pt x="298" y="60"/>
                  </a:lnTo>
                  <a:lnTo>
                    <a:pt x="262" y="52"/>
                  </a:lnTo>
                  <a:cubicBezTo>
                    <a:pt x="261" y="51"/>
                    <a:pt x="259" y="50"/>
                    <a:pt x="259" y="49"/>
                  </a:cubicBezTo>
                  <a:cubicBezTo>
                    <a:pt x="258" y="47"/>
                    <a:pt x="259" y="46"/>
                    <a:pt x="259" y="44"/>
                  </a:cubicBezTo>
                  <a:lnTo>
                    <a:pt x="289" y="2"/>
                  </a:lnTo>
                  <a:cubicBezTo>
                    <a:pt x="290" y="1"/>
                    <a:pt x="291" y="0"/>
                    <a:pt x="293" y="0"/>
                  </a:cubicBezTo>
                  <a:lnTo>
                    <a:pt x="293" y="0"/>
                  </a:lnTo>
                  <a:cubicBezTo>
                    <a:pt x="295" y="0"/>
                    <a:pt x="297" y="1"/>
                    <a:pt x="297" y="3"/>
                  </a:cubicBezTo>
                  <a:lnTo>
                    <a:pt x="326" y="64"/>
                  </a:lnTo>
                  <a:lnTo>
                    <a:pt x="425" y="85"/>
                  </a:lnTo>
                  <a:cubicBezTo>
                    <a:pt x="427" y="85"/>
                    <a:pt x="428" y="86"/>
                    <a:pt x="429" y="87"/>
                  </a:cubicBezTo>
                  <a:lnTo>
                    <a:pt x="457" y="148"/>
                  </a:lnTo>
                  <a:cubicBezTo>
                    <a:pt x="457" y="148"/>
                    <a:pt x="610" y="135"/>
                    <a:pt x="611" y="135"/>
                  </a:cubicBezTo>
                  <a:cubicBezTo>
                    <a:pt x="612" y="135"/>
                    <a:pt x="613" y="136"/>
                    <a:pt x="614" y="137"/>
                  </a:cubicBezTo>
                  <a:lnTo>
                    <a:pt x="655" y="174"/>
                  </a:lnTo>
                  <a:lnTo>
                    <a:pt x="695" y="174"/>
                  </a:lnTo>
                  <a:lnTo>
                    <a:pt x="788" y="152"/>
                  </a:lnTo>
                  <a:lnTo>
                    <a:pt x="766" y="145"/>
                  </a:lnTo>
                  <a:cubicBezTo>
                    <a:pt x="764" y="144"/>
                    <a:pt x="763" y="142"/>
                    <a:pt x="763" y="140"/>
                  </a:cubicBezTo>
                  <a:cubicBezTo>
                    <a:pt x="763" y="138"/>
                    <a:pt x="764" y="136"/>
                    <a:pt x="766" y="136"/>
                  </a:cubicBezTo>
                  <a:lnTo>
                    <a:pt x="779" y="131"/>
                  </a:lnTo>
                  <a:lnTo>
                    <a:pt x="954" y="131"/>
                  </a:lnTo>
                  <a:cubicBezTo>
                    <a:pt x="956" y="131"/>
                    <a:pt x="958" y="133"/>
                    <a:pt x="958" y="135"/>
                  </a:cubicBezTo>
                  <a:cubicBezTo>
                    <a:pt x="959" y="137"/>
                    <a:pt x="958" y="140"/>
                    <a:pt x="955" y="140"/>
                  </a:cubicBezTo>
                  <a:lnTo>
                    <a:pt x="891" y="162"/>
                  </a:lnTo>
                  <a:lnTo>
                    <a:pt x="909" y="170"/>
                  </a:lnTo>
                  <a:lnTo>
                    <a:pt x="931" y="207"/>
                  </a:lnTo>
                  <a:lnTo>
                    <a:pt x="979" y="207"/>
                  </a:lnTo>
                  <a:lnTo>
                    <a:pt x="1045" y="242"/>
                  </a:lnTo>
                  <a:cubicBezTo>
                    <a:pt x="1046" y="242"/>
                    <a:pt x="1047" y="243"/>
                    <a:pt x="1047" y="244"/>
                  </a:cubicBezTo>
                  <a:lnTo>
                    <a:pt x="1064" y="300"/>
                  </a:lnTo>
                  <a:cubicBezTo>
                    <a:pt x="1065" y="301"/>
                    <a:pt x="1064" y="303"/>
                    <a:pt x="1063" y="304"/>
                  </a:cubicBezTo>
                  <a:lnTo>
                    <a:pt x="1052" y="318"/>
                  </a:lnTo>
                  <a:lnTo>
                    <a:pt x="1077" y="322"/>
                  </a:lnTo>
                  <a:lnTo>
                    <a:pt x="1104" y="305"/>
                  </a:lnTo>
                  <a:cubicBezTo>
                    <a:pt x="1105" y="305"/>
                    <a:pt x="1106" y="305"/>
                    <a:pt x="1106" y="305"/>
                  </a:cubicBezTo>
                  <a:cubicBezTo>
                    <a:pt x="1107" y="305"/>
                    <a:pt x="1109" y="305"/>
                    <a:pt x="1109" y="306"/>
                  </a:cubicBezTo>
                  <a:lnTo>
                    <a:pt x="1143" y="335"/>
                  </a:lnTo>
                  <a:cubicBezTo>
                    <a:pt x="1145" y="337"/>
                    <a:pt x="1145" y="339"/>
                    <a:pt x="1144" y="342"/>
                  </a:cubicBezTo>
                  <a:lnTo>
                    <a:pt x="1136" y="354"/>
                  </a:lnTo>
                  <a:lnTo>
                    <a:pt x="1064" y="393"/>
                  </a:lnTo>
                  <a:lnTo>
                    <a:pt x="1064" y="428"/>
                  </a:lnTo>
                  <a:lnTo>
                    <a:pt x="1086" y="432"/>
                  </a:lnTo>
                  <a:cubicBezTo>
                    <a:pt x="1088" y="432"/>
                    <a:pt x="1089" y="433"/>
                    <a:pt x="1090" y="435"/>
                  </a:cubicBezTo>
                  <a:cubicBezTo>
                    <a:pt x="1090" y="437"/>
                    <a:pt x="1089" y="439"/>
                    <a:pt x="1088" y="440"/>
                  </a:cubicBezTo>
                  <a:lnTo>
                    <a:pt x="1037" y="474"/>
                  </a:lnTo>
                  <a:lnTo>
                    <a:pt x="1023" y="516"/>
                  </a:lnTo>
                  <a:lnTo>
                    <a:pt x="1072" y="595"/>
                  </a:lnTo>
                  <a:cubicBezTo>
                    <a:pt x="1073" y="596"/>
                    <a:pt x="1073" y="598"/>
                    <a:pt x="1072" y="599"/>
                  </a:cubicBezTo>
                  <a:lnTo>
                    <a:pt x="1047" y="646"/>
                  </a:lnTo>
                  <a:cubicBezTo>
                    <a:pt x="1046" y="647"/>
                    <a:pt x="1045" y="648"/>
                    <a:pt x="1044" y="648"/>
                  </a:cubicBezTo>
                  <a:lnTo>
                    <a:pt x="871" y="711"/>
                  </a:lnTo>
                  <a:lnTo>
                    <a:pt x="731" y="675"/>
                  </a:lnTo>
                  <a:lnTo>
                    <a:pt x="734" y="696"/>
                  </a:lnTo>
                  <a:lnTo>
                    <a:pt x="770" y="720"/>
                  </a:lnTo>
                  <a:cubicBezTo>
                    <a:pt x="771" y="721"/>
                    <a:pt x="772" y="723"/>
                    <a:pt x="772" y="724"/>
                  </a:cubicBezTo>
                  <a:lnTo>
                    <a:pt x="768" y="771"/>
                  </a:lnTo>
                  <a:lnTo>
                    <a:pt x="776" y="821"/>
                  </a:lnTo>
                  <a:lnTo>
                    <a:pt x="844" y="825"/>
                  </a:lnTo>
                  <a:cubicBezTo>
                    <a:pt x="847" y="825"/>
                    <a:pt x="848" y="827"/>
                    <a:pt x="848" y="830"/>
                  </a:cubicBezTo>
                  <a:lnTo>
                    <a:pt x="848" y="847"/>
                  </a:lnTo>
                  <a:cubicBezTo>
                    <a:pt x="848" y="849"/>
                    <a:pt x="847" y="850"/>
                    <a:pt x="845" y="851"/>
                  </a:cubicBezTo>
                  <a:lnTo>
                    <a:pt x="790" y="872"/>
                  </a:lnTo>
                  <a:lnTo>
                    <a:pt x="767" y="904"/>
                  </a:lnTo>
                  <a:lnTo>
                    <a:pt x="655" y="964"/>
                  </a:lnTo>
                  <a:cubicBezTo>
                    <a:pt x="655" y="964"/>
                    <a:pt x="654" y="965"/>
                    <a:pt x="653" y="965"/>
                  </a:cubicBezTo>
                  <a:lnTo>
                    <a:pt x="590" y="96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2" name="Freeform 127"/>
            <p:cNvSpPr>
              <a:spLocks noChangeArrowheads="1"/>
            </p:cNvSpPr>
            <p:nvPr/>
          </p:nvSpPr>
          <p:spPr bwMode="auto">
            <a:xfrm>
              <a:off x="2565400" y="3370263"/>
              <a:ext cx="412750" cy="347662"/>
            </a:xfrm>
            <a:custGeom>
              <a:avLst/>
              <a:gdLst/>
              <a:ahLst/>
              <a:cxnLst>
                <a:cxn ang="0">
                  <a:pos x="586" y="963"/>
                </a:cxn>
                <a:cxn ang="0">
                  <a:pos x="505" y="836"/>
                </a:cxn>
                <a:cxn ang="0">
                  <a:pos x="467" y="793"/>
                </a:cxn>
                <a:cxn ang="0">
                  <a:pos x="471" y="693"/>
                </a:cxn>
                <a:cxn ang="0">
                  <a:pos x="490" y="518"/>
                </a:cxn>
                <a:cxn ang="0">
                  <a:pos x="336" y="524"/>
                </a:cxn>
                <a:cxn ang="0">
                  <a:pos x="236" y="436"/>
                </a:cxn>
                <a:cxn ang="0">
                  <a:pos x="122" y="437"/>
                </a:cxn>
                <a:cxn ang="0">
                  <a:pos x="85" y="407"/>
                </a:cxn>
                <a:cxn ang="0">
                  <a:pos x="44" y="268"/>
                </a:cxn>
                <a:cxn ang="0">
                  <a:pos x="1" y="265"/>
                </a:cxn>
                <a:cxn ang="0">
                  <a:pos x="64" y="113"/>
                </a:cxn>
                <a:cxn ang="0">
                  <a:pos x="173" y="30"/>
                </a:cxn>
                <a:cxn ang="0">
                  <a:pos x="179" y="33"/>
                </a:cxn>
                <a:cxn ang="0">
                  <a:pos x="138" y="58"/>
                </a:cxn>
                <a:cxn ang="0">
                  <a:pos x="157" y="134"/>
                </a:cxn>
                <a:cxn ang="0">
                  <a:pos x="128" y="221"/>
                </a:cxn>
                <a:cxn ang="0">
                  <a:pos x="195" y="243"/>
                </a:cxn>
                <a:cxn ang="0">
                  <a:pos x="162" y="164"/>
                </a:cxn>
                <a:cxn ang="0">
                  <a:pos x="163" y="124"/>
                </a:cxn>
                <a:cxn ang="0">
                  <a:pos x="300" y="65"/>
                </a:cxn>
                <a:cxn ang="0">
                  <a:pos x="262" y="52"/>
                </a:cxn>
                <a:cxn ang="0">
                  <a:pos x="259" y="44"/>
                </a:cxn>
                <a:cxn ang="0">
                  <a:pos x="293" y="0"/>
                </a:cxn>
                <a:cxn ang="0">
                  <a:pos x="297" y="3"/>
                </a:cxn>
                <a:cxn ang="0">
                  <a:pos x="425" y="85"/>
                </a:cxn>
                <a:cxn ang="0">
                  <a:pos x="457" y="148"/>
                </a:cxn>
                <a:cxn ang="0">
                  <a:pos x="614" y="137"/>
                </a:cxn>
                <a:cxn ang="0">
                  <a:pos x="695" y="174"/>
                </a:cxn>
                <a:cxn ang="0">
                  <a:pos x="766" y="145"/>
                </a:cxn>
                <a:cxn ang="0">
                  <a:pos x="766" y="136"/>
                </a:cxn>
                <a:cxn ang="0">
                  <a:pos x="954" y="131"/>
                </a:cxn>
                <a:cxn ang="0">
                  <a:pos x="955" y="140"/>
                </a:cxn>
                <a:cxn ang="0">
                  <a:pos x="909" y="170"/>
                </a:cxn>
                <a:cxn ang="0">
                  <a:pos x="979" y="207"/>
                </a:cxn>
                <a:cxn ang="0">
                  <a:pos x="1047" y="244"/>
                </a:cxn>
                <a:cxn ang="0">
                  <a:pos x="1063" y="304"/>
                </a:cxn>
                <a:cxn ang="0">
                  <a:pos x="1077" y="322"/>
                </a:cxn>
                <a:cxn ang="0">
                  <a:pos x="1106" y="305"/>
                </a:cxn>
                <a:cxn ang="0">
                  <a:pos x="1143" y="335"/>
                </a:cxn>
                <a:cxn ang="0">
                  <a:pos x="1136" y="354"/>
                </a:cxn>
                <a:cxn ang="0">
                  <a:pos x="1064" y="428"/>
                </a:cxn>
                <a:cxn ang="0">
                  <a:pos x="1090" y="435"/>
                </a:cxn>
                <a:cxn ang="0">
                  <a:pos x="1037" y="474"/>
                </a:cxn>
                <a:cxn ang="0">
                  <a:pos x="1072" y="595"/>
                </a:cxn>
                <a:cxn ang="0">
                  <a:pos x="1047" y="646"/>
                </a:cxn>
                <a:cxn ang="0">
                  <a:pos x="871" y="711"/>
                </a:cxn>
                <a:cxn ang="0">
                  <a:pos x="734" y="696"/>
                </a:cxn>
                <a:cxn ang="0">
                  <a:pos x="772" y="724"/>
                </a:cxn>
                <a:cxn ang="0">
                  <a:pos x="776" y="821"/>
                </a:cxn>
                <a:cxn ang="0">
                  <a:pos x="848" y="830"/>
                </a:cxn>
                <a:cxn ang="0">
                  <a:pos x="845" y="851"/>
                </a:cxn>
                <a:cxn ang="0">
                  <a:pos x="767" y="904"/>
                </a:cxn>
                <a:cxn ang="0">
                  <a:pos x="653" y="965"/>
                </a:cxn>
              </a:cxnLst>
              <a:rect l="0" t="0" r="r" b="b"/>
              <a:pathLst>
                <a:path w="1146" h="966">
                  <a:moveTo>
                    <a:pt x="590" y="965"/>
                  </a:moveTo>
                  <a:cubicBezTo>
                    <a:pt x="588" y="965"/>
                    <a:pt x="587" y="964"/>
                    <a:pt x="586" y="963"/>
                  </a:cubicBezTo>
                  <a:lnTo>
                    <a:pt x="544" y="921"/>
                  </a:lnTo>
                  <a:lnTo>
                    <a:pt x="505" y="836"/>
                  </a:lnTo>
                  <a:lnTo>
                    <a:pt x="468" y="799"/>
                  </a:lnTo>
                  <a:cubicBezTo>
                    <a:pt x="466" y="797"/>
                    <a:pt x="466" y="795"/>
                    <a:pt x="467" y="793"/>
                  </a:cubicBezTo>
                  <a:lnTo>
                    <a:pt x="507" y="749"/>
                  </a:lnTo>
                  <a:lnTo>
                    <a:pt x="471" y="693"/>
                  </a:lnTo>
                  <a:lnTo>
                    <a:pt x="458" y="645"/>
                  </a:lnTo>
                  <a:lnTo>
                    <a:pt x="490" y="518"/>
                  </a:lnTo>
                  <a:lnTo>
                    <a:pt x="340" y="526"/>
                  </a:lnTo>
                  <a:cubicBezTo>
                    <a:pt x="338" y="526"/>
                    <a:pt x="337" y="525"/>
                    <a:pt x="336" y="524"/>
                  </a:cubicBezTo>
                  <a:lnTo>
                    <a:pt x="277" y="452"/>
                  </a:lnTo>
                  <a:lnTo>
                    <a:pt x="236" y="436"/>
                  </a:lnTo>
                  <a:lnTo>
                    <a:pt x="171" y="449"/>
                  </a:lnTo>
                  <a:lnTo>
                    <a:pt x="122" y="437"/>
                  </a:lnTo>
                  <a:lnTo>
                    <a:pt x="87" y="411"/>
                  </a:lnTo>
                  <a:cubicBezTo>
                    <a:pt x="86" y="410"/>
                    <a:pt x="85" y="408"/>
                    <a:pt x="85" y="407"/>
                  </a:cubicBezTo>
                  <a:lnTo>
                    <a:pt x="81" y="344"/>
                  </a:lnTo>
                  <a:lnTo>
                    <a:pt x="44" y="268"/>
                  </a:lnTo>
                  <a:lnTo>
                    <a:pt x="5" y="268"/>
                  </a:lnTo>
                  <a:cubicBezTo>
                    <a:pt x="3" y="268"/>
                    <a:pt x="2" y="267"/>
                    <a:pt x="1" y="265"/>
                  </a:cubicBezTo>
                  <a:cubicBezTo>
                    <a:pt x="0" y="264"/>
                    <a:pt x="0" y="262"/>
                    <a:pt x="1" y="261"/>
                  </a:cubicBezTo>
                  <a:lnTo>
                    <a:pt x="64" y="113"/>
                  </a:lnTo>
                  <a:lnTo>
                    <a:pt x="124" y="48"/>
                  </a:lnTo>
                  <a:lnTo>
                    <a:pt x="173" y="30"/>
                  </a:lnTo>
                  <a:lnTo>
                    <a:pt x="174" y="30"/>
                  </a:lnTo>
                  <a:cubicBezTo>
                    <a:pt x="176" y="30"/>
                    <a:pt x="178" y="31"/>
                    <a:pt x="179" y="33"/>
                  </a:cubicBezTo>
                  <a:cubicBezTo>
                    <a:pt x="180" y="35"/>
                    <a:pt x="179" y="38"/>
                    <a:pt x="177" y="39"/>
                  </a:cubicBezTo>
                  <a:lnTo>
                    <a:pt x="138" y="58"/>
                  </a:lnTo>
                  <a:lnTo>
                    <a:pt x="158" y="130"/>
                  </a:lnTo>
                  <a:cubicBezTo>
                    <a:pt x="158" y="132"/>
                    <a:pt x="158" y="133"/>
                    <a:pt x="157" y="134"/>
                  </a:cubicBezTo>
                  <a:lnTo>
                    <a:pt x="128" y="193"/>
                  </a:lnTo>
                  <a:lnTo>
                    <a:pt x="128" y="221"/>
                  </a:lnTo>
                  <a:lnTo>
                    <a:pt x="155" y="269"/>
                  </a:lnTo>
                  <a:lnTo>
                    <a:pt x="195" y="243"/>
                  </a:lnTo>
                  <a:lnTo>
                    <a:pt x="191" y="213"/>
                  </a:lnTo>
                  <a:lnTo>
                    <a:pt x="162" y="164"/>
                  </a:lnTo>
                  <a:lnTo>
                    <a:pt x="161" y="127"/>
                  </a:lnTo>
                  <a:cubicBezTo>
                    <a:pt x="161" y="126"/>
                    <a:pt x="162" y="125"/>
                    <a:pt x="163" y="124"/>
                  </a:cubicBezTo>
                  <a:lnTo>
                    <a:pt x="214" y="86"/>
                  </a:lnTo>
                  <a:lnTo>
                    <a:pt x="300" y="65"/>
                  </a:lnTo>
                  <a:lnTo>
                    <a:pt x="298" y="60"/>
                  </a:lnTo>
                  <a:lnTo>
                    <a:pt x="262" y="52"/>
                  </a:lnTo>
                  <a:cubicBezTo>
                    <a:pt x="261" y="51"/>
                    <a:pt x="259" y="50"/>
                    <a:pt x="259" y="49"/>
                  </a:cubicBezTo>
                  <a:cubicBezTo>
                    <a:pt x="258" y="47"/>
                    <a:pt x="259" y="46"/>
                    <a:pt x="259" y="44"/>
                  </a:cubicBezTo>
                  <a:lnTo>
                    <a:pt x="289" y="2"/>
                  </a:lnTo>
                  <a:cubicBezTo>
                    <a:pt x="290" y="1"/>
                    <a:pt x="291" y="0"/>
                    <a:pt x="293" y="0"/>
                  </a:cubicBezTo>
                  <a:lnTo>
                    <a:pt x="293" y="0"/>
                  </a:lnTo>
                  <a:cubicBezTo>
                    <a:pt x="295" y="0"/>
                    <a:pt x="297" y="1"/>
                    <a:pt x="297" y="3"/>
                  </a:cubicBezTo>
                  <a:lnTo>
                    <a:pt x="326" y="64"/>
                  </a:lnTo>
                  <a:lnTo>
                    <a:pt x="425" y="85"/>
                  </a:lnTo>
                  <a:cubicBezTo>
                    <a:pt x="427" y="85"/>
                    <a:pt x="428" y="86"/>
                    <a:pt x="429" y="87"/>
                  </a:cubicBezTo>
                  <a:lnTo>
                    <a:pt x="457" y="148"/>
                  </a:lnTo>
                  <a:cubicBezTo>
                    <a:pt x="457" y="148"/>
                    <a:pt x="610" y="135"/>
                    <a:pt x="611" y="135"/>
                  </a:cubicBezTo>
                  <a:cubicBezTo>
                    <a:pt x="612" y="135"/>
                    <a:pt x="613" y="136"/>
                    <a:pt x="614" y="137"/>
                  </a:cubicBezTo>
                  <a:lnTo>
                    <a:pt x="655" y="174"/>
                  </a:lnTo>
                  <a:lnTo>
                    <a:pt x="695" y="174"/>
                  </a:lnTo>
                  <a:lnTo>
                    <a:pt x="788" y="152"/>
                  </a:lnTo>
                  <a:lnTo>
                    <a:pt x="766" y="145"/>
                  </a:lnTo>
                  <a:cubicBezTo>
                    <a:pt x="764" y="144"/>
                    <a:pt x="763" y="142"/>
                    <a:pt x="763" y="140"/>
                  </a:cubicBezTo>
                  <a:cubicBezTo>
                    <a:pt x="763" y="138"/>
                    <a:pt x="764" y="136"/>
                    <a:pt x="766" y="136"/>
                  </a:cubicBezTo>
                  <a:lnTo>
                    <a:pt x="779" y="131"/>
                  </a:lnTo>
                  <a:lnTo>
                    <a:pt x="954" y="131"/>
                  </a:lnTo>
                  <a:cubicBezTo>
                    <a:pt x="956" y="131"/>
                    <a:pt x="958" y="133"/>
                    <a:pt x="958" y="135"/>
                  </a:cubicBezTo>
                  <a:cubicBezTo>
                    <a:pt x="959" y="137"/>
                    <a:pt x="958" y="140"/>
                    <a:pt x="955" y="140"/>
                  </a:cubicBezTo>
                  <a:lnTo>
                    <a:pt x="891" y="162"/>
                  </a:lnTo>
                  <a:lnTo>
                    <a:pt x="909" y="170"/>
                  </a:lnTo>
                  <a:lnTo>
                    <a:pt x="931" y="207"/>
                  </a:lnTo>
                  <a:lnTo>
                    <a:pt x="979" y="207"/>
                  </a:lnTo>
                  <a:lnTo>
                    <a:pt x="1045" y="242"/>
                  </a:lnTo>
                  <a:cubicBezTo>
                    <a:pt x="1046" y="242"/>
                    <a:pt x="1047" y="243"/>
                    <a:pt x="1047" y="244"/>
                  </a:cubicBezTo>
                  <a:lnTo>
                    <a:pt x="1064" y="300"/>
                  </a:lnTo>
                  <a:cubicBezTo>
                    <a:pt x="1065" y="301"/>
                    <a:pt x="1064" y="303"/>
                    <a:pt x="1063" y="304"/>
                  </a:cubicBezTo>
                  <a:lnTo>
                    <a:pt x="1052" y="318"/>
                  </a:lnTo>
                  <a:lnTo>
                    <a:pt x="1077" y="322"/>
                  </a:lnTo>
                  <a:lnTo>
                    <a:pt x="1104" y="305"/>
                  </a:lnTo>
                  <a:cubicBezTo>
                    <a:pt x="1105" y="305"/>
                    <a:pt x="1106" y="305"/>
                    <a:pt x="1106" y="305"/>
                  </a:cubicBezTo>
                  <a:cubicBezTo>
                    <a:pt x="1107" y="305"/>
                    <a:pt x="1109" y="305"/>
                    <a:pt x="1109" y="306"/>
                  </a:cubicBezTo>
                  <a:lnTo>
                    <a:pt x="1143" y="335"/>
                  </a:lnTo>
                  <a:cubicBezTo>
                    <a:pt x="1145" y="337"/>
                    <a:pt x="1145" y="339"/>
                    <a:pt x="1144" y="342"/>
                  </a:cubicBezTo>
                  <a:lnTo>
                    <a:pt x="1136" y="354"/>
                  </a:lnTo>
                  <a:lnTo>
                    <a:pt x="1064" y="393"/>
                  </a:lnTo>
                  <a:lnTo>
                    <a:pt x="1064" y="428"/>
                  </a:lnTo>
                  <a:lnTo>
                    <a:pt x="1086" y="432"/>
                  </a:lnTo>
                  <a:cubicBezTo>
                    <a:pt x="1088" y="432"/>
                    <a:pt x="1089" y="433"/>
                    <a:pt x="1090" y="435"/>
                  </a:cubicBezTo>
                  <a:cubicBezTo>
                    <a:pt x="1090" y="437"/>
                    <a:pt x="1089" y="439"/>
                    <a:pt x="1088" y="440"/>
                  </a:cubicBezTo>
                  <a:lnTo>
                    <a:pt x="1037" y="474"/>
                  </a:lnTo>
                  <a:lnTo>
                    <a:pt x="1023" y="516"/>
                  </a:lnTo>
                  <a:lnTo>
                    <a:pt x="1072" y="595"/>
                  </a:lnTo>
                  <a:cubicBezTo>
                    <a:pt x="1073" y="596"/>
                    <a:pt x="1073" y="598"/>
                    <a:pt x="1072" y="599"/>
                  </a:cubicBezTo>
                  <a:lnTo>
                    <a:pt x="1047" y="646"/>
                  </a:lnTo>
                  <a:cubicBezTo>
                    <a:pt x="1046" y="647"/>
                    <a:pt x="1045" y="648"/>
                    <a:pt x="1044" y="648"/>
                  </a:cubicBezTo>
                  <a:lnTo>
                    <a:pt x="871" y="711"/>
                  </a:lnTo>
                  <a:lnTo>
                    <a:pt x="731" y="675"/>
                  </a:lnTo>
                  <a:lnTo>
                    <a:pt x="734" y="696"/>
                  </a:lnTo>
                  <a:lnTo>
                    <a:pt x="770" y="720"/>
                  </a:lnTo>
                  <a:cubicBezTo>
                    <a:pt x="771" y="721"/>
                    <a:pt x="772" y="723"/>
                    <a:pt x="772" y="724"/>
                  </a:cubicBezTo>
                  <a:lnTo>
                    <a:pt x="768" y="771"/>
                  </a:lnTo>
                  <a:lnTo>
                    <a:pt x="776" y="821"/>
                  </a:lnTo>
                  <a:lnTo>
                    <a:pt x="844" y="825"/>
                  </a:lnTo>
                  <a:cubicBezTo>
                    <a:pt x="847" y="825"/>
                    <a:pt x="848" y="827"/>
                    <a:pt x="848" y="830"/>
                  </a:cubicBezTo>
                  <a:lnTo>
                    <a:pt x="848" y="847"/>
                  </a:lnTo>
                  <a:cubicBezTo>
                    <a:pt x="848" y="849"/>
                    <a:pt x="847" y="850"/>
                    <a:pt x="845" y="851"/>
                  </a:cubicBezTo>
                  <a:lnTo>
                    <a:pt x="790" y="872"/>
                  </a:lnTo>
                  <a:lnTo>
                    <a:pt x="767" y="904"/>
                  </a:lnTo>
                  <a:lnTo>
                    <a:pt x="655" y="964"/>
                  </a:lnTo>
                  <a:cubicBezTo>
                    <a:pt x="655" y="964"/>
                    <a:pt x="654" y="965"/>
                    <a:pt x="653" y="965"/>
                  </a:cubicBezTo>
                  <a:lnTo>
                    <a:pt x="590" y="96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3" name="Freeform 128"/>
            <p:cNvSpPr>
              <a:spLocks noChangeArrowheads="1"/>
            </p:cNvSpPr>
            <p:nvPr/>
          </p:nvSpPr>
          <p:spPr bwMode="auto">
            <a:xfrm>
              <a:off x="2836863" y="3402013"/>
              <a:ext cx="20637" cy="12700"/>
            </a:xfrm>
            <a:custGeom>
              <a:avLst/>
              <a:gdLst/>
              <a:ahLst/>
              <a:cxnLst>
                <a:cxn ang="0">
                  <a:pos x="33" y="34"/>
                </a:cxn>
                <a:cxn ang="0">
                  <a:pos x="3" y="22"/>
                </a:cxn>
                <a:cxn ang="0">
                  <a:pos x="0" y="17"/>
                </a:cxn>
                <a:cxn ang="0">
                  <a:pos x="3" y="13"/>
                </a:cxn>
                <a:cxn ang="0">
                  <a:pos x="37" y="0"/>
                </a:cxn>
                <a:cxn ang="0">
                  <a:pos x="39" y="0"/>
                </a:cxn>
                <a:cxn ang="0">
                  <a:pos x="43" y="2"/>
                </a:cxn>
                <a:cxn ang="0">
                  <a:pos x="56" y="19"/>
                </a:cxn>
                <a:cxn ang="0">
                  <a:pos x="56" y="23"/>
                </a:cxn>
                <a:cxn ang="0">
                  <a:pos x="54" y="26"/>
                </a:cxn>
                <a:cxn ang="0">
                  <a:pos x="37" y="34"/>
                </a:cxn>
                <a:cxn ang="0">
                  <a:pos x="35" y="35"/>
                </a:cxn>
                <a:cxn ang="0">
                  <a:pos x="33" y="34"/>
                </a:cxn>
              </a:cxnLst>
              <a:rect l="0" t="0" r="r" b="b"/>
              <a:pathLst>
                <a:path w="58" h="36">
                  <a:moveTo>
                    <a:pt x="33" y="34"/>
                  </a:moveTo>
                  <a:lnTo>
                    <a:pt x="3" y="22"/>
                  </a:lnTo>
                  <a:cubicBezTo>
                    <a:pt x="1" y="21"/>
                    <a:pt x="0" y="19"/>
                    <a:pt x="0" y="17"/>
                  </a:cubicBezTo>
                  <a:cubicBezTo>
                    <a:pt x="0" y="15"/>
                    <a:pt x="2" y="14"/>
                    <a:pt x="3" y="13"/>
                  </a:cubicBezTo>
                  <a:lnTo>
                    <a:pt x="37" y="0"/>
                  </a:lnTo>
                  <a:cubicBezTo>
                    <a:pt x="38" y="0"/>
                    <a:pt x="38" y="0"/>
                    <a:pt x="39" y="0"/>
                  </a:cubicBezTo>
                  <a:cubicBezTo>
                    <a:pt x="40" y="0"/>
                    <a:pt x="42" y="1"/>
                    <a:pt x="43" y="2"/>
                  </a:cubicBezTo>
                  <a:lnTo>
                    <a:pt x="56" y="19"/>
                  </a:lnTo>
                  <a:cubicBezTo>
                    <a:pt x="56" y="20"/>
                    <a:pt x="57" y="21"/>
                    <a:pt x="56" y="23"/>
                  </a:cubicBezTo>
                  <a:cubicBezTo>
                    <a:pt x="56" y="24"/>
                    <a:pt x="55" y="25"/>
                    <a:pt x="54" y="26"/>
                  </a:cubicBezTo>
                  <a:lnTo>
                    <a:pt x="37" y="34"/>
                  </a:lnTo>
                  <a:cubicBezTo>
                    <a:pt x="36" y="35"/>
                    <a:pt x="35" y="35"/>
                    <a:pt x="35" y="35"/>
                  </a:cubicBezTo>
                  <a:cubicBezTo>
                    <a:pt x="34" y="35"/>
                    <a:pt x="33" y="35"/>
                    <a:pt x="33" y="3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4" name="Freeform 129"/>
            <p:cNvSpPr>
              <a:spLocks noChangeArrowheads="1"/>
            </p:cNvSpPr>
            <p:nvPr/>
          </p:nvSpPr>
          <p:spPr bwMode="auto">
            <a:xfrm>
              <a:off x="2836863" y="3402013"/>
              <a:ext cx="20637" cy="12700"/>
            </a:xfrm>
            <a:custGeom>
              <a:avLst/>
              <a:gdLst/>
              <a:ahLst/>
              <a:cxnLst>
                <a:cxn ang="0">
                  <a:pos x="35" y="35"/>
                </a:cxn>
                <a:cxn ang="0">
                  <a:pos x="33" y="34"/>
                </a:cxn>
                <a:cxn ang="0">
                  <a:pos x="3" y="22"/>
                </a:cxn>
                <a:cxn ang="0">
                  <a:pos x="0" y="17"/>
                </a:cxn>
                <a:cxn ang="0">
                  <a:pos x="3" y="13"/>
                </a:cxn>
                <a:cxn ang="0">
                  <a:pos x="37" y="0"/>
                </a:cxn>
                <a:cxn ang="0">
                  <a:pos x="39" y="0"/>
                </a:cxn>
                <a:cxn ang="0">
                  <a:pos x="43" y="2"/>
                </a:cxn>
                <a:cxn ang="0">
                  <a:pos x="56" y="19"/>
                </a:cxn>
                <a:cxn ang="0">
                  <a:pos x="56" y="23"/>
                </a:cxn>
                <a:cxn ang="0">
                  <a:pos x="54" y="26"/>
                </a:cxn>
                <a:cxn ang="0">
                  <a:pos x="37" y="34"/>
                </a:cxn>
                <a:cxn ang="0">
                  <a:pos x="35" y="35"/>
                </a:cxn>
              </a:cxnLst>
              <a:rect l="0" t="0" r="r" b="b"/>
              <a:pathLst>
                <a:path w="58" h="36">
                  <a:moveTo>
                    <a:pt x="35" y="35"/>
                  </a:moveTo>
                  <a:cubicBezTo>
                    <a:pt x="34" y="35"/>
                    <a:pt x="33" y="35"/>
                    <a:pt x="33" y="34"/>
                  </a:cubicBezTo>
                  <a:lnTo>
                    <a:pt x="3" y="22"/>
                  </a:lnTo>
                  <a:cubicBezTo>
                    <a:pt x="1" y="21"/>
                    <a:pt x="0" y="19"/>
                    <a:pt x="0" y="17"/>
                  </a:cubicBezTo>
                  <a:cubicBezTo>
                    <a:pt x="0" y="15"/>
                    <a:pt x="2" y="14"/>
                    <a:pt x="3" y="13"/>
                  </a:cubicBezTo>
                  <a:lnTo>
                    <a:pt x="37" y="0"/>
                  </a:lnTo>
                  <a:cubicBezTo>
                    <a:pt x="38" y="0"/>
                    <a:pt x="38" y="0"/>
                    <a:pt x="39" y="0"/>
                  </a:cubicBezTo>
                  <a:cubicBezTo>
                    <a:pt x="40" y="0"/>
                    <a:pt x="42" y="1"/>
                    <a:pt x="43" y="2"/>
                  </a:cubicBezTo>
                  <a:lnTo>
                    <a:pt x="56" y="19"/>
                  </a:lnTo>
                  <a:cubicBezTo>
                    <a:pt x="56" y="20"/>
                    <a:pt x="57" y="21"/>
                    <a:pt x="56" y="23"/>
                  </a:cubicBezTo>
                  <a:cubicBezTo>
                    <a:pt x="56" y="24"/>
                    <a:pt x="55" y="25"/>
                    <a:pt x="54" y="26"/>
                  </a:cubicBezTo>
                  <a:lnTo>
                    <a:pt x="37" y="34"/>
                  </a:lnTo>
                  <a:cubicBezTo>
                    <a:pt x="36" y="35"/>
                    <a:pt x="35" y="35"/>
                    <a:pt x="35" y="3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5" name="Freeform 130"/>
            <p:cNvSpPr>
              <a:spLocks noChangeArrowheads="1"/>
            </p:cNvSpPr>
            <p:nvPr/>
          </p:nvSpPr>
          <p:spPr bwMode="auto">
            <a:xfrm>
              <a:off x="2397125" y="3363913"/>
              <a:ext cx="368300" cy="500062"/>
            </a:xfrm>
            <a:custGeom>
              <a:avLst/>
              <a:gdLst/>
              <a:ahLst/>
              <a:cxnLst>
                <a:cxn ang="0">
                  <a:pos x="702" y="1362"/>
                </a:cxn>
                <a:cxn ang="0">
                  <a:pos x="700" y="1355"/>
                </a:cxn>
                <a:cxn ang="0">
                  <a:pos x="729" y="1258"/>
                </a:cxn>
                <a:cxn ang="0">
                  <a:pos x="647" y="1248"/>
                </a:cxn>
                <a:cxn ang="0">
                  <a:pos x="643" y="1248"/>
                </a:cxn>
                <a:cxn ang="0">
                  <a:pos x="562" y="1256"/>
                </a:cxn>
                <a:cxn ang="0">
                  <a:pos x="496" y="1249"/>
                </a:cxn>
                <a:cxn ang="0">
                  <a:pos x="457" y="1193"/>
                </a:cxn>
                <a:cxn ang="0">
                  <a:pos x="441" y="1145"/>
                </a:cxn>
                <a:cxn ang="0">
                  <a:pos x="349" y="1065"/>
                </a:cxn>
                <a:cxn ang="0">
                  <a:pos x="246" y="1020"/>
                </a:cxn>
                <a:cxn ang="0">
                  <a:pos x="149" y="1028"/>
                </a:cxn>
                <a:cxn ang="0">
                  <a:pos x="111" y="984"/>
                </a:cxn>
                <a:cxn ang="0">
                  <a:pos x="9" y="932"/>
                </a:cxn>
                <a:cxn ang="0">
                  <a:pos x="2" y="906"/>
                </a:cxn>
                <a:cxn ang="0">
                  <a:pos x="34" y="834"/>
                </a:cxn>
                <a:cxn ang="0">
                  <a:pos x="111" y="809"/>
                </a:cxn>
                <a:cxn ang="0">
                  <a:pos x="164" y="728"/>
                </a:cxn>
                <a:cxn ang="0">
                  <a:pos x="127" y="720"/>
                </a:cxn>
                <a:cxn ang="0">
                  <a:pos x="90" y="434"/>
                </a:cxn>
                <a:cxn ang="0">
                  <a:pos x="107" y="400"/>
                </a:cxn>
                <a:cxn ang="0">
                  <a:pos x="112" y="398"/>
                </a:cxn>
                <a:cxn ang="0">
                  <a:pos x="147" y="376"/>
                </a:cxn>
                <a:cxn ang="0">
                  <a:pos x="127" y="338"/>
                </a:cxn>
                <a:cxn ang="0">
                  <a:pos x="135" y="317"/>
                </a:cxn>
                <a:cxn ang="0">
                  <a:pos x="140" y="319"/>
                </a:cxn>
                <a:cxn ang="0">
                  <a:pos x="178" y="322"/>
                </a:cxn>
                <a:cxn ang="0">
                  <a:pos x="275" y="248"/>
                </a:cxn>
                <a:cxn ang="0">
                  <a:pos x="281" y="166"/>
                </a:cxn>
                <a:cxn ang="0">
                  <a:pos x="373" y="123"/>
                </a:cxn>
                <a:cxn ang="0">
                  <a:pos x="382" y="134"/>
                </a:cxn>
                <a:cxn ang="0">
                  <a:pos x="407" y="97"/>
                </a:cxn>
                <a:cxn ang="0">
                  <a:pos x="562" y="55"/>
                </a:cxn>
                <a:cxn ang="0">
                  <a:pos x="617" y="1"/>
                </a:cxn>
                <a:cxn ang="0">
                  <a:pos x="621" y="1"/>
                </a:cxn>
                <a:cxn ang="0">
                  <a:pos x="661" y="28"/>
                </a:cxn>
                <a:cxn ang="0">
                  <a:pos x="646" y="56"/>
                </a:cxn>
                <a:cxn ang="0">
                  <a:pos x="542" y="135"/>
                </a:cxn>
                <a:cxn ang="0">
                  <a:pos x="517" y="275"/>
                </a:cxn>
                <a:cxn ang="0">
                  <a:pos x="560" y="358"/>
                </a:cxn>
                <a:cxn ang="0">
                  <a:pos x="596" y="445"/>
                </a:cxn>
                <a:cxn ang="0">
                  <a:pos x="707" y="444"/>
                </a:cxn>
                <a:cxn ang="0">
                  <a:pos x="812" y="533"/>
                </a:cxn>
                <a:cxn ang="0">
                  <a:pos x="970" y="526"/>
                </a:cxn>
                <a:cxn ang="0">
                  <a:pos x="937" y="662"/>
                </a:cxn>
                <a:cxn ang="0">
                  <a:pos x="987" y="764"/>
                </a:cxn>
                <a:cxn ang="0">
                  <a:pos x="947" y="813"/>
                </a:cxn>
                <a:cxn ang="0">
                  <a:pos x="1021" y="933"/>
                </a:cxn>
                <a:cxn ang="0">
                  <a:pos x="1003" y="951"/>
                </a:cxn>
                <a:cxn ang="0">
                  <a:pos x="999" y="952"/>
                </a:cxn>
                <a:cxn ang="0">
                  <a:pos x="964" y="882"/>
                </a:cxn>
                <a:cxn ang="0">
                  <a:pos x="924" y="898"/>
                </a:cxn>
                <a:cxn ang="0">
                  <a:pos x="905" y="884"/>
                </a:cxn>
                <a:cxn ang="0">
                  <a:pos x="894" y="902"/>
                </a:cxn>
                <a:cxn ang="0">
                  <a:pos x="776" y="947"/>
                </a:cxn>
                <a:cxn ang="0">
                  <a:pos x="814" y="954"/>
                </a:cxn>
                <a:cxn ang="0">
                  <a:pos x="831" y="996"/>
                </a:cxn>
                <a:cxn ang="0">
                  <a:pos x="755" y="1002"/>
                </a:cxn>
                <a:cxn ang="0">
                  <a:pos x="791" y="1083"/>
                </a:cxn>
                <a:cxn ang="0">
                  <a:pos x="759" y="1384"/>
                </a:cxn>
                <a:cxn ang="0">
                  <a:pos x="755" y="1388"/>
                </a:cxn>
              </a:cxnLst>
              <a:rect l="0" t="0" r="r" b="b"/>
              <a:pathLst>
                <a:path w="1023" h="1389">
                  <a:moveTo>
                    <a:pt x="753" y="1387"/>
                  </a:moveTo>
                  <a:lnTo>
                    <a:pt x="702" y="1362"/>
                  </a:lnTo>
                  <a:cubicBezTo>
                    <a:pt x="700" y="1361"/>
                    <a:pt x="700" y="1360"/>
                    <a:pt x="699" y="1359"/>
                  </a:cubicBezTo>
                  <a:cubicBezTo>
                    <a:pt x="699" y="1358"/>
                    <a:pt x="699" y="1356"/>
                    <a:pt x="700" y="1355"/>
                  </a:cubicBezTo>
                  <a:lnTo>
                    <a:pt x="745" y="1286"/>
                  </a:lnTo>
                  <a:lnTo>
                    <a:pt x="729" y="1258"/>
                  </a:lnTo>
                  <a:lnTo>
                    <a:pt x="670" y="1236"/>
                  </a:lnTo>
                  <a:lnTo>
                    <a:pt x="647" y="1248"/>
                  </a:lnTo>
                  <a:cubicBezTo>
                    <a:pt x="646" y="1248"/>
                    <a:pt x="645" y="1248"/>
                    <a:pt x="644" y="1248"/>
                  </a:cubicBezTo>
                  <a:cubicBezTo>
                    <a:pt x="644" y="1248"/>
                    <a:pt x="644" y="1248"/>
                    <a:pt x="643" y="1248"/>
                  </a:cubicBezTo>
                  <a:lnTo>
                    <a:pt x="598" y="1236"/>
                  </a:lnTo>
                  <a:lnTo>
                    <a:pt x="562" y="1256"/>
                  </a:lnTo>
                  <a:lnTo>
                    <a:pt x="500" y="1252"/>
                  </a:lnTo>
                  <a:cubicBezTo>
                    <a:pt x="498" y="1252"/>
                    <a:pt x="496" y="1251"/>
                    <a:pt x="496" y="1249"/>
                  </a:cubicBezTo>
                  <a:lnTo>
                    <a:pt x="484" y="1197"/>
                  </a:lnTo>
                  <a:lnTo>
                    <a:pt x="457" y="1193"/>
                  </a:lnTo>
                  <a:cubicBezTo>
                    <a:pt x="456" y="1193"/>
                    <a:pt x="454" y="1191"/>
                    <a:pt x="454" y="1190"/>
                  </a:cubicBezTo>
                  <a:lnTo>
                    <a:pt x="441" y="1145"/>
                  </a:lnTo>
                  <a:lnTo>
                    <a:pt x="410" y="1133"/>
                  </a:lnTo>
                  <a:lnTo>
                    <a:pt x="349" y="1065"/>
                  </a:lnTo>
                  <a:lnTo>
                    <a:pt x="309" y="1058"/>
                  </a:lnTo>
                  <a:lnTo>
                    <a:pt x="246" y="1020"/>
                  </a:lnTo>
                  <a:lnTo>
                    <a:pt x="236" y="1027"/>
                  </a:lnTo>
                  <a:lnTo>
                    <a:pt x="149" y="1028"/>
                  </a:lnTo>
                  <a:cubicBezTo>
                    <a:pt x="147" y="1028"/>
                    <a:pt x="146" y="1027"/>
                    <a:pt x="145" y="1026"/>
                  </a:cubicBezTo>
                  <a:lnTo>
                    <a:pt x="111" y="984"/>
                  </a:lnTo>
                  <a:lnTo>
                    <a:pt x="11" y="934"/>
                  </a:lnTo>
                  <a:cubicBezTo>
                    <a:pt x="10" y="934"/>
                    <a:pt x="9" y="933"/>
                    <a:pt x="9" y="932"/>
                  </a:cubicBezTo>
                  <a:lnTo>
                    <a:pt x="1" y="912"/>
                  </a:lnTo>
                  <a:cubicBezTo>
                    <a:pt x="0" y="910"/>
                    <a:pt x="1" y="907"/>
                    <a:pt x="2" y="906"/>
                  </a:cubicBezTo>
                  <a:lnTo>
                    <a:pt x="30" y="890"/>
                  </a:lnTo>
                  <a:lnTo>
                    <a:pt x="34" y="834"/>
                  </a:lnTo>
                  <a:cubicBezTo>
                    <a:pt x="34" y="832"/>
                    <a:pt x="35" y="830"/>
                    <a:pt x="37" y="829"/>
                  </a:cubicBezTo>
                  <a:lnTo>
                    <a:pt x="111" y="809"/>
                  </a:lnTo>
                  <a:lnTo>
                    <a:pt x="119" y="778"/>
                  </a:lnTo>
                  <a:lnTo>
                    <a:pt x="164" y="728"/>
                  </a:lnTo>
                  <a:lnTo>
                    <a:pt x="131" y="724"/>
                  </a:lnTo>
                  <a:cubicBezTo>
                    <a:pt x="129" y="724"/>
                    <a:pt x="127" y="722"/>
                    <a:pt x="127" y="720"/>
                  </a:cubicBezTo>
                  <a:lnTo>
                    <a:pt x="131" y="504"/>
                  </a:lnTo>
                  <a:lnTo>
                    <a:pt x="90" y="434"/>
                  </a:lnTo>
                  <a:cubicBezTo>
                    <a:pt x="89" y="433"/>
                    <a:pt x="89" y="431"/>
                    <a:pt x="90" y="430"/>
                  </a:cubicBezTo>
                  <a:lnTo>
                    <a:pt x="107" y="400"/>
                  </a:lnTo>
                  <a:cubicBezTo>
                    <a:pt x="107" y="399"/>
                    <a:pt x="109" y="398"/>
                    <a:pt x="111" y="398"/>
                  </a:cubicBezTo>
                  <a:lnTo>
                    <a:pt x="112" y="398"/>
                  </a:lnTo>
                  <a:lnTo>
                    <a:pt x="122" y="401"/>
                  </a:lnTo>
                  <a:lnTo>
                    <a:pt x="147" y="376"/>
                  </a:lnTo>
                  <a:lnTo>
                    <a:pt x="128" y="341"/>
                  </a:lnTo>
                  <a:cubicBezTo>
                    <a:pt x="127" y="340"/>
                    <a:pt x="127" y="339"/>
                    <a:pt x="127" y="338"/>
                  </a:cubicBezTo>
                  <a:lnTo>
                    <a:pt x="131" y="321"/>
                  </a:lnTo>
                  <a:cubicBezTo>
                    <a:pt x="132" y="319"/>
                    <a:pt x="133" y="318"/>
                    <a:pt x="135" y="317"/>
                  </a:cubicBezTo>
                  <a:lnTo>
                    <a:pt x="136" y="317"/>
                  </a:lnTo>
                  <a:cubicBezTo>
                    <a:pt x="137" y="317"/>
                    <a:pt x="139" y="318"/>
                    <a:pt x="140" y="319"/>
                  </a:cubicBezTo>
                  <a:lnTo>
                    <a:pt x="178" y="364"/>
                  </a:lnTo>
                  <a:lnTo>
                    <a:pt x="178" y="322"/>
                  </a:lnTo>
                  <a:cubicBezTo>
                    <a:pt x="178" y="320"/>
                    <a:pt x="179" y="319"/>
                    <a:pt x="180" y="318"/>
                  </a:cubicBezTo>
                  <a:lnTo>
                    <a:pt x="275" y="248"/>
                  </a:lnTo>
                  <a:lnTo>
                    <a:pt x="280" y="169"/>
                  </a:lnTo>
                  <a:cubicBezTo>
                    <a:pt x="280" y="168"/>
                    <a:pt x="280" y="167"/>
                    <a:pt x="281" y="166"/>
                  </a:cubicBezTo>
                  <a:lnTo>
                    <a:pt x="337" y="124"/>
                  </a:lnTo>
                  <a:lnTo>
                    <a:pt x="373" y="123"/>
                  </a:lnTo>
                  <a:cubicBezTo>
                    <a:pt x="375" y="123"/>
                    <a:pt x="377" y="124"/>
                    <a:pt x="378" y="125"/>
                  </a:cubicBezTo>
                  <a:lnTo>
                    <a:pt x="382" y="134"/>
                  </a:lnTo>
                  <a:lnTo>
                    <a:pt x="403" y="100"/>
                  </a:lnTo>
                  <a:cubicBezTo>
                    <a:pt x="404" y="98"/>
                    <a:pt x="405" y="98"/>
                    <a:pt x="407" y="97"/>
                  </a:cubicBezTo>
                  <a:lnTo>
                    <a:pt x="487" y="89"/>
                  </a:lnTo>
                  <a:lnTo>
                    <a:pt x="562" y="55"/>
                  </a:lnTo>
                  <a:lnTo>
                    <a:pt x="581" y="23"/>
                  </a:lnTo>
                  <a:lnTo>
                    <a:pt x="617" y="1"/>
                  </a:lnTo>
                  <a:cubicBezTo>
                    <a:pt x="617" y="0"/>
                    <a:pt x="618" y="0"/>
                    <a:pt x="619" y="0"/>
                  </a:cubicBezTo>
                  <a:cubicBezTo>
                    <a:pt x="620" y="0"/>
                    <a:pt x="621" y="0"/>
                    <a:pt x="621" y="1"/>
                  </a:cubicBezTo>
                  <a:lnTo>
                    <a:pt x="659" y="22"/>
                  </a:lnTo>
                  <a:cubicBezTo>
                    <a:pt x="662" y="23"/>
                    <a:pt x="662" y="26"/>
                    <a:pt x="661" y="28"/>
                  </a:cubicBezTo>
                  <a:lnTo>
                    <a:pt x="649" y="53"/>
                  </a:lnTo>
                  <a:cubicBezTo>
                    <a:pt x="648" y="54"/>
                    <a:pt x="647" y="55"/>
                    <a:pt x="646" y="56"/>
                  </a:cubicBezTo>
                  <a:lnTo>
                    <a:pt x="599" y="73"/>
                  </a:lnTo>
                  <a:lnTo>
                    <a:pt x="542" y="135"/>
                  </a:lnTo>
                  <a:lnTo>
                    <a:pt x="482" y="275"/>
                  </a:lnTo>
                  <a:lnTo>
                    <a:pt x="517" y="275"/>
                  </a:lnTo>
                  <a:cubicBezTo>
                    <a:pt x="519" y="275"/>
                    <a:pt x="521" y="276"/>
                    <a:pt x="522" y="278"/>
                  </a:cubicBezTo>
                  <a:lnTo>
                    <a:pt x="560" y="358"/>
                  </a:lnTo>
                  <a:lnTo>
                    <a:pt x="564" y="421"/>
                  </a:lnTo>
                  <a:lnTo>
                    <a:pt x="596" y="445"/>
                  </a:lnTo>
                  <a:lnTo>
                    <a:pt x="641" y="457"/>
                  </a:lnTo>
                  <a:lnTo>
                    <a:pt x="707" y="444"/>
                  </a:lnTo>
                  <a:lnTo>
                    <a:pt x="752" y="462"/>
                  </a:lnTo>
                  <a:lnTo>
                    <a:pt x="812" y="533"/>
                  </a:lnTo>
                  <a:lnTo>
                    <a:pt x="966" y="525"/>
                  </a:lnTo>
                  <a:cubicBezTo>
                    <a:pt x="968" y="525"/>
                    <a:pt x="969" y="525"/>
                    <a:pt x="970" y="526"/>
                  </a:cubicBezTo>
                  <a:cubicBezTo>
                    <a:pt x="971" y="528"/>
                    <a:pt x="971" y="529"/>
                    <a:pt x="971" y="531"/>
                  </a:cubicBezTo>
                  <a:lnTo>
                    <a:pt x="937" y="662"/>
                  </a:lnTo>
                  <a:lnTo>
                    <a:pt x="950" y="706"/>
                  </a:lnTo>
                  <a:lnTo>
                    <a:pt x="987" y="764"/>
                  </a:lnTo>
                  <a:cubicBezTo>
                    <a:pt x="988" y="766"/>
                    <a:pt x="988" y="768"/>
                    <a:pt x="987" y="769"/>
                  </a:cubicBezTo>
                  <a:lnTo>
                    <a:pt x="947" y="813"/>
                  </a:lnTo>
                  <a:lnTo>
                    <a:pt x="982" y="848"/>
                  </a:lnTo>
                  <a:lnTo>
                    <a:pt x="1021" y="933"/>
                  </a:lnTo>
                  <a:cubicBezTo>
                    <a:pt x="1022" y="935"/>
                    <a:pt x="1022" y="937"/>
                    <a:pt x="1020" y="938"/>
                  </a:cubicBezTo>
                  <a:lnTo>
                    <a:pt x="1003" y="951"/>
                  </a:lnTo>
                  <a:cubicBezTo>
                    <a:pt x="1002" y="952"/>
                    <a:pt x="1001" y="952"/>
                    <a:pt x="1000" y="952"/>
                  </a:cubicBezTo>
                  <a:cubicBezTo>
                    <a:pt x="1000" y="952"/>
                    <a:pt x="1000" y="952"/>
                    <a:pt x="999" y="952"/>
                  </a:cubicBezTo>
                  <a:cubicBezTo>
                    <a:pt x="998" y="951"/>
                    <a:pt x="997" y="951"/>
                    <a:pt x="996" y="949"/>
                  </a:cubicBezTo>
                  <a:lnTo>
                    <a:pt x="964" y="882"/>
                  </a:lnTo>
                  <a:lnTo>
                    <a:pt x="926" y="898"/>
                  </a:lnTo>
                  <a:cubicBezTo>
                    <a:pt x="925" y="898"/>
                    <a:pt x="925" y="898"/>
                    <a:pt x="924" y="898"/>
                  </a:cubicBezTo>
                  <a:cubicBezTo>
                    <a:pt x="923" y="898"/>
                    <a:pt x="922" y="898"/>
                    <a:pt x="921" y="897"/>
                  </a:cubicBezTo>
                  <a:lnTo>
                    <a:pt x="905" y="884"/>
                  </a:lnTo>
                  <a:lnTo>
                    <a:pt x="899" y="899"/>
                  </a:lnTo>
                  <a:cubicBezTo>
                    <a:pt x="898" y="901"/>
                    <a:pt x="896" y="902"/>
                    <a:pt x="894" y="902"/>
                  </a:cubicBezTo>
                  <a:lnTo>
                    <a:pt x="772" y="902"/>
                  </a:lnTo>
                  <a:lnTo>
                    <a:pt x="776" y="947"/>
                  </a:lnTo>
                  <a:lnTo>
                    <a:pt x="810" y="951"/>
                  </a:lnTo>
                  <a:cubicBezTo>
                    <a:pt x="812" y="951"/>
                    <a:pt x="813" y="952"/>
                    <a:pt x="814" y="954"/>
                  </a:cubicBezTo>
                  <a:lnTo>
                    <a:pt x="831" y="992"/>
                  </a:lnTo>
                  <a:cubicBezTo>
                    <a:pt x="831" y="993"/>
                    <a:pt x="831" y="995"/>
                    <a:pt x="831" y="996"/>
                  </a:cubicBezTo>
                  <a:cubicBezTo>
                    <a:pt x="830" y="998"/>
                    <a:pt x="828" y="998"/>
                    <a:pt x="827" y="998"/>
                  </a:cubicBezTo>
                  <a:lnTo>
                    <a:pt x="755" y="1002"/>
                  </a:lnTo>
                  <a:lnTo>
                    <a:pt x="755" y="1055"/>
                  </a:lnTo>
                  <a:lnTo>
                    <a:pt x="791" y="1083"/>
                  </a:lnTo>
                  <a:lnTo>
                    <a:pt x="810" y="1145"/>
                  </a:lnTo>
                  <a:lnTo>
                    <a:pt x="759" y="1384"/>
                  </a:lnTo>
                  <a:cubicBezTo>
                    <a:pt x="759" y="1385"/>
                    <a:pt x="758" y="1387"/>
                    <a:pt x="757" y="1387"/>
                  </a:cubicBezTo>
                  <a:cubicBezTo>
                    <a:pt x="756" y="1388"/>
                    <a:pt x="755" y="1388"/>
                    <a:pt x="755" y="1388"/>
                  </a:cubicBezTo>
                  <a:cubicBezTo>
                    <a:pt x="754" y="1388"/>
                    <a:pt x="753" y="1388"/>
                    <a:pt x="753" y="138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6" name="Freeform 131"/>
            <p:cNvSpPr>
              <a:spLocks noChangeArrowheads="1"/>
            </p:cNvSpPr>
            <p:nvPr/>
          </p:nvSpPr>
          <p:spPr bwMode="auto">
            <a:xfrm>
              <a:off x="2397125" y="3363913"/>
              <a:ext cx="368300" cy="500062"/>
            </a:xfrm>
            <a:custGeom>
              <a:avLst/>
              <a:gdLst/>
              <a:ahLst/>
              <a:cxnLst>
                <a:cxn ang="0">
                  <a:pos x="753" y="1387"/>
                </a:cxn>
                <a:cxn ang="0">
                  <a:pos x="699" y="1359"/>
                </a:cxn>
                <a:cxn ang="0">
                  <a:pos x="745" y="1286"/>
                </a:cxn>
                <a:cxn ang="0">
                  <a:pos x="670" y="1236"/>
                </a:cxn>
                <a:cxn ang="0">
                  <a:pos x="644" y="1248"/>
                </a:cxn>
                <a:cxn ang="0">
                  <a:pos x="598" y="1236"/>
                </a:cxn>
                <a:cxn ang="0">
                  <a:pos x="500" y="1252"/>
                </a:cxn>
                <a:cxn ang="0">
                  <a:pos x="484" y="1197"/>
                </a:cxn>
                <a:cxn ang="0">
                  <a:pos x="454" y="1190"/>
                </a:cxn>
                <a:cxn ang="0">
                  <a:pos x="410" y="1133"/>
                </a:cxn>
                <a:cxn ang="0">
                  <a:pos x="309" y="1058"/>
                </a:cxn>
                <a:cxn ang="0">
                  <a:pos x="236" y="1027"/>
                </a:cxn>
                <a:cxn ang="0">
                  <a:pos x="145" y="1026"/>
                </a:cxn>
                <a:cxn ang="0">
                  <a:pos x="11" y="934"/>
                </a:cxn>
                <a:cxn ang="0">
                  <a:pos x="1" y="912"/>
                </a:cxn>
                <a:cxn ang="0">
                  <a:pos x="30" y="890"/>
                </a:cxn>
                <a:cxn ang="0">
                  <a:pos x="37" y="829"/>
                </a:cxn>
                <a:cxn ang="0">
                  <a:pos x="119" y="778"/>
                </a:cxn>
                <a:cxn ang="0">
                  <a:pos x="131" y="724"/>
                </a:cxn>
                <a:cxn ang="0">
                  <a:pos x="131" y="504"/>
                </a:cxn>
                <a:cxn ang="0">
                  <a:pos x="90" y="430"/>
                </a:cxn>
                <a:cxn ang="0">
                  <a:pos x="111" y="398"/>
                </a:cxn>
                <a:cxn ang="0">
                  <a:pos x="122" y="401"/>
                </a:cxn>
                <a:cxn ang="0">
                  <a:pos x="128" y="341"/>
                </a:cxn>
                <a:cxn ang="0">
                  <a:pos x="131" y="321"/>
                </a:cxn>
                <a:cxn ang="0">
                  <a:pos x="136" y="317"/>
                </a:cxn>
                <a:cxn ang="0">
                  <a:pos x="178" y="364"/>
                </a:cxn>
                <a:cxn ang="0">
                  <a:pos x="180" y="318"/>
                </a:cxn>
                <a:cxn ang="0">
                  <a:pos x="280" y="169"/>
                </a:cxn>
                <a:cxn ang="0">
                  <a:pos x="337" y="124"/>
                </a:cxn>
                <a:cxn ang="0">
                  <a:pos x="378" y="125"/>
                </a:cxn>
                <a:cxn ang="0">
                  <a:pos x="403" y="100"/>
                </a:cxn>
                <a:cxn ang="0">
                  <a:pos x="487" y="89"/>
                </a:cxn>
                <a:cxn ang="0">
                  <a:pos x="581" y="23"/>
                </a:cxn>
                <a:cxn ang="0">
                  <a:pos x="619" y="0"/>
                </a:cxn>
                <a:cxn ang="0">
                  <a:pos x="659" y="22"/>
                </a:cxn>
                <a:cxn ang="0">
                  <a:pos x="649" y="53"/>
                </a:cxn>
                <a:cxn ang="0">
                  <a:pos x="599" y="73"/>
                </a:cxn>
                <a:cxn ang="0">
                  <a:pos x="482" y="275"/>
                </a:cxn>
                <a:cxn ang="0">
                  <a:pos x="522" y="278"/>
                </a:cxn>
                <a:cxn ang="0">
                  <a:pos x="564" y="421"/>
                </a:cxn>
                <a:cxn ang="0">
                  <a:pos x="641" y="457"/>
                </a:cxn>
                <a:cxn ang="0">
                  <a:pos x="752" y="462"/>
                </a:cxn>
                <a:cxn ang="0">
                  <a:pos x="966" y="525"/>
                </a:cxn>
                <a:cxn ang="0">
                  <a:pos x="971" y="531"/>
                </a:cxn>
                <a:cxn ang="0">
                  <a:pos x="950" y="706"/>
                </a:cxn>
                <a:cxn ang="0">
                  <a:pos x="987" y="769"/>
                </a:cxn>
                <a:cxn ang="0">
                  <a:pos x="982" y="848"/>
                </a:cxn>
                <a:cxn ang="0">
                  <a:pos x="1020" y="938"/>
                </a:cxn>
                <a:cxn ang="0">
                  <a:pos x="1000" y="952"/>
                </a:cxn>
                <a:cxn ang="0">
                  <a:pos x="996" y="949"/>
                </a:cxn>
                <a:cxn ang="0">
                  <a:pos x="926" y="898"/>
                </a:cxn>
                <a:cxn ang="0">
                  <a:pos x="921" y="897"/>
                </a:cxn>
                <a:cxn ang="0">
                  <a:pos x="899" y="899"/>
                </a:cxn>
                <a:cxn ang="0">
                  <a:pos x="772" y="902"/>
                </a:cxn>
                <a:cxn ang="0">
                  <a:pos x="810" y="951"/>
                </a:cxn>
                <a:cxn ang="0">
                  <a:pos x="831" y="992"/>
                </a:cxn>
                <a:cxn ang="0">
                  <a:pos x="827" y="998"/>
                </a:cxn>
                <a:cxn ang="0">
                  <a:pos x="755" y="1055"/>
                </a:cxn>
                <a:cxn ang="0">
                  <a:pos x="810" y="1145"/>
                </a:cxn>
                <a:cxn ang="0">
                  <a:pos x="757" y="1387"/>
                </a:cxn>
              </a:cxnLst>
              <a:rect l="0" t="0" r="r" b="b"/>
              <a:pathLst>
                <a:path w="1023" h="1389">
                  <a:moveTo>
                    <a:pt x="755" y="1388"/>
                  </a:moveTo>
                  <a:cubicBezTo>
                    <a:pt x="754" y="1388"/>
                    <a:pt x="753" y="1388"/>
                    <a:pt x="753" y="1387"/>
                  </a:cubicBezTo>
                  <a:lnTo>
                    <a:pt x="702" y="1362"/>
                  </a:lnTo>
                  <a:cubicBezTo>
                    <a:pt x="700" y="1361"/>
                    <a:pt x="700" y="1360"/>
                    <a:pt x="699" y="1359"/>
                  </a:cubicBezTo>
                  <a:cubicBezTo>
                    <a:pt x="699" y="1358"/>
                    <a:pt x="699" y="1356"/>
                    <a:pt x="700" y="1355"/>
                  </a:cubicBezTo>
                  <a:lnTo>
                    <a:pt x="745" y="1286"/>
                  </a:lnTo>
                  <a:lnTo>
                    <a:pt x="729" y="1258"/>
                  </a:lnTo>
                  <a:lnTo>
                    <a:pt x="670" y="1236"/>
                  </a:lnTo>
                  <a:lnTo>
                    <a:pt x="647" y="1248"/>
                  </a:lnTo>
                  <a:cubicBezTo>
                    <a:pt x="646" y="1248"/>
                    <a:pt x="645" y="1248"/>
                    <a:pt x="644" y="1248"/>
                  </a:cubicBezTo>
                  <a:cubicBezTo>
                    <a:pt x="644" y="1248"/>
                    <a:pt x="644" y="1248"/>
                    <a:pt x="643" y="1248"/>
                  </a:cubicBezTo>
                  <a:lnTo>
                    <a:pt x="598" y="1236"/>
                  </a:lnTo>
                  <a:lnTo>
                    <a:pt x="562" y="1256"/>
                  </a:lnTo>
                  <a:lnTo>
                    <a:pt x="500" y="1252"/>
                  </a:lnTo>
                  <a:cubicBezTo>
                    <a:pt x="498" y="1252"/>
                    <a:pt x="496" y="1251"/>
                    <a:pt x="496" y="1249"/>
                  </a:cubicBezTo>
                  <a:lnTo>
                    <a:pt x="484" y="1197"/>
                  </a:lnTo>
                  <a:lnTo>
                    <a:pt x="457" y="1193"/>
                  </a:lnTo>
                  <a:cubicBezTo>
                    <a:pt x="456" y="1193"/>
                    <a:pt x="454" y="1191"/>
                    <a:pt x="454" y="1190"/>
                  </a:cubicBezTo>
                  <a:lnTo>
                    <a:pt x="441" y="1145"/>
                  </a:lnTo>
                  <a:lnTo>
                    <a:pt x="410" y="1133"/>
                  </a:lnTo>
                  <a:lnTo>
                    <a:pt x="349" y="1065"/>
                  </a:lnTo>
                  <a:lnTo>
                    <a:pt x="309" y="1058"/>
                  </a:lnTo>
                  <a:lnTo>
                    <a:pt x="246" y="1020"/>
                  </a:lnTo>
                  <a:lnTo>
                    <a:pt x="236" y="1027"/>
                  </a:lnTo>
                  <a:lnTo>
                    <a:pt x="149" y="1028"/>
                  </a:lnTo>
                  <a:cubicBezTo>
                    <a:pt x="147" y="1028"/>
                    <a:pt x="146" y="1027"/>
                    <a:pt x="145" y="1026"/>
                  </a:cubicBezTo>
                  <a:lnTo>
                    <a:pt x="111" y="984"/>
                  </a:lnTo>
                  <a:lnTo>
                    <a:pt x="11" y="934"/>
                  </a:lnTo>
                  <a:cubicBezTo>
                    <a:pt x="10" y="934"/>
                    <a:pt x="9" y="933"/>
                    <a:pt x="9" y="932"/>
                  </a:cubicBezTo>
                  <a:lnTo>
                    <a:pt x="1" y="912"/>
                  </a:lnTo>
                  <a:cubicBezTo>
                    <a:pt x="0" y="910"/>
                    <a:pt x="1" y="907"/>
                    <a:pt x="2" y="906"/>
                  </a:cubicBezTo>
                  <a:lnTo>
                    <a:pt x="30" y="890"/>
                  </a:lnTo>
                  <a:lnTo>
                    <a:pt x="34" y="834"/>
                  </a:lnTo>
                  <a:cubicBezTo>
                    <a:pt x="34" y="832"/>
                    <a:pt x="35" y="830"/>
                    <a:pt x="37" y="829"/>
                  </a:cubicBezTo>
                  <a:lnTo>
                    <a:pt x="111" y="809"/>
                  </a:lnTo>
                  <a:lnTo>
                    <a:pt x="119" y="778"/>
                  </a:lnTo>
                  <a:lnTo>
                    <a:pt x="164" y="728"/>
                  </a:lnTo>
                  <a:lnTo>
                    <a:pt x="131" y="724"/>
                  </a:lnTo>
                  <a:cubicBezTo>
                    <a:pt x="129" y="724"/>
                    <a:pt x="127" y="722"/>
                    <a:pt x="127" y="720"/>
                  </a:cubicBezTo>
                  <a:lnTo>
                    <a:pt x="131" y="504"/>
                  </a:lnTo>
                  <a:lnTo>
                    <a:pt x="90" y="434"/>
                  </a:lnTo>
                  <a:cubicBezTo>
                    <a:pt x="89" y="433"/>
                    <a:pt x="89" y="431"/>
                    <a:pt x="90" y="430"/>
                  </a:cubicBezTo>
                  <a:lnTo>
                    <a:pt x="107" y="400"/>
                  </a:lnTo>
                  <a:cubicBezTo>
                    <a:pt x="107" y="399"/>
                    <a:pt x="109" y="398"/>
                    <a:pt x="111" y="398"/>
                  </a:cubicBezTo>
                  <a:lnTo>
                    <a:pt x="112" y="398"/>
                  </a:lnTo>
                  <a:lnTo>
                    <a:pt x="122" y="401"/>
                  </a:lnTo>
                  <a:lnTo>
                    <a:pt x="147" y="376"/>
                  </a:lnTo>
                  <a:lnTo>
                    <a:pt x="128" y="341"/>
                  </a:lnTo>
                  <a:cubicBezTo>
                    <a:pt x="127" y="340"/>
                    <a:pt x="127" y="339"/>
                    <a:pt x="127" y="338"/>
                  </a:cubicBezTo>
                  <a:lnTo>
                    <a:pt x="131" y="321"/>
                  </a:lnTo>
                  <a:cubicBezTo>
                    <a:pt x="132" y="319"/>
                    <a:pt x="133" y="318"/>
                    <a:pt x="135" y="317"/>
                  </a:cubicBezTo>
                  <a:lnTo>
                    <a:pt x="136" y="317"/>
                  </a:lnTo>
                  <a:cubicBezTo>
                    <a:pt x="137" y="317"/>
                    <a:pt x="139" y="318"/>
                    <a:pt x="140" y="319"/>
                  </a:cubicBezTo>
                  <a:lnTo>
                    <a:pt x="178" y="364"/>
                  </a:lnTo>
                  <a:lnTo>
                    <a:pt x="178" y="322"/>
                  </a:lnTo>
                  <a:cubicBezTo>
                    <a:pt x="178" y="320"/>
                    <a:pt x="179" y="319"/>
                    <a:pt x="180" y="318"/>
                  </a:cubicBezTo>
                  <a:lnTo>
                    <a:pt x="275" y="248"/>
                  </a:lnTo>
                  <a:lnTo>
                    <a:pt x="280" y="169"/>
                  </a:lnTo>
                  <a:cubicBezTo>
                    <a:pt x="280" y="168"/>
                    <a:pt x="280" y="167"/>
                    <a:pt x="281" y="166"/>
                  </a:cubicBezTo>
                  <a:lnTo>
                    <a:pt x="337" y="124"/>
                  </a:lnTo>
                  <a:lnTo>
                    <a:pt x="373" y="123"/>
                  </a:lnTo>
                  <a:cubicBezTo>
                    <a:pt x="375" y="123"/>
                    <a:pt x="377" y="124"/>
                    <a:pt x="378" y="125"/>
                  </a:cubicBezTo>
                  <a:lnTo>
                    <a:pt x="382" y="134"/>
                  </a:lnTo>
                  <a:lnTo>
                    <a:pt x="403" y="100"/>
                  </a:lnTo>
                  <a:cubicBezTo>
                    <a:pt x="404" y="98"/>
                    <a:pt x="405" y="98"/>
                    <a:pt x="407" y="97"/>
                  </a:cubicBezTo>
                  <a:lnTo>
                    <a:pt x="487" y="89"/>
                  </a:lnTo>
                  <a:lnTo>
                    <a:pt x="562" y="55"/>
                  </a:lnTo>
                  <a:lnTo>
                    <a:pt x="581" y="23"/>
                  </a:lnTo>
                  <a:lnTo>
                    <a:pt x="617" y="1"/>
                  </a:lnTo>
                  <a:cubicBezTo>
                    <a:pt x="617" y="0"/>
                    <a:pt x="618" y="0"/>
                    <a:pt x="619" y="0"/>
                  </a:cubicBezTo>
                  <a:cubicBezTo>
                    <a:pt x="620" y="0"/>
                    <a:pt x="621" y="0"/>
                    <a:pt x="621" y="1"/>
                  </a:cubicBezTo>
                  <a:lnTo>
                    <a:pt x="659" y="22"/>
                  </a:lnTo>
                  <a:cubicBezTo>
                    <a:pt x="662" y="23"/>
                    <a:pt x="662" y="26"/>
                    <a:pt x="661" y="28"/>
                  </a:cubicBezTo>
                  <a:lnTo>
                    <a:pt x="649" y="53"/>
                  </a:lnTo>
                  <a:cubicBezTo>
                    <a:pt x="648" y="54"/>
                    <a:pt x="647" y="55"/>
                    <a:pt x="646" y="56"/>
                  </a:cubicBezTo>
                  <a:lnTo>
                    <a:pt x="599" y="73"/>
                  </a:lnTo>
                  <a:lnTo>
                    <a:pt x="542" y="135"/>
                  </a:lnTo>
                  <a:lnTo>
                    <a:pt x="482" y="275"/>
                  </a:lnTo>
                  <a:lnTo>
                    <a:pt x="517" y="275"/>
                  </a:lnTo>
                  <a:cubicBezTo>
                    <a:pt x="519" y="275"/>
                    <a:pt x="521" y="276"/>
                    <a:pt x="522" y="278"/>
                  </a:cubicBezTo>
                  <a:lnTo>
                    <a:pt x="560" y="358"/>
                  </a:lnTo>
                  <a:lnTo>
                    <a:pt x="564" y="421"/>
                  </a:lnTo>
                  <a:lnTo>
                    <a:pt x="596" y="445"/>
                  </a:lnTo>
                  <a:lnTo>
                    <a:pt x="641" y="457"/>
                  </a:lnTo>
                  <a:lnTo>
                    <a:pt x="707" y="444"/>
                  </a:lnTo>
                  <a:lnTo>
                    <a:pt x="752" y="462"/>
                  </a:lnTo>
                  <a:lnTo>
                    <a:pt x="812" y="533"/>
                  </a:lnTo>
                  <a:lnTo>
                    <a:pt x="966" y="525"/>
                  </a:lnTo>
                  <a:cubicBezTo>
                    <a:pt x="968" y="525"/>
                    <a:pt x="969" y="525"/>
                    <a:pt x="970" y="526"/>
                  </a:cubicBezTo>
                  <a:cubicBezTo>
                    <a:pt x="971" y="528"/>
                    <a:pt x="971" y="529"/>
                    <a:pt x="971" y="531"/>
                  </a:cubicBezTo>
                  <a:lnTo>
                    <a:pt x="937" y="662"/>
                  </a:lnTo>
                  <a:lnTo>
                    <a:pt x="950" y="706"/>
                  </a:lnTo>
                  <a:lnTo>
                    <a:pt x="987" y="764"/>
                  </a:lnTo>
                  <a:cubicBezTo>
                    <a:pt x="988" y="766"/>
                    <a:pt x="988" y="768"/>
                    <a:pt x="987" y="769"/>
                  </a:cubicBezTo>
                  <a:lnTo>
                    <a:pt x="947" y="813"/>
                  </a:lnTo>
                  <a:lnTo>
                    <a:pt x="982" y="848"/>
                  </a:lnTo>
                  <a:lnTo>
                    <a:pt x="1021" y="933"/>
                  </a:lnTo>
                  <a:cubicBezTo>
                    <a:pt x="1022" y="935"/>
                    <a:pt x="1022" y="937"/>
                    <a:pt x="1020" y="938"/>
                  </a:cubicBezTo>
                  <a:lnTo>
                    <a:pt x="1003" y="951"/>
                  </a:lnTo>
                  <a:cubicBezTo>
                    <a:pt x="1002" y="952"/>
                    <a:pt x="1001" y="952"/>
                    <a:pt x="1000" y="952"/>
                  </a:cubicBezTo>
                  <a:cubicBezTo>
                    <a:pt x="1000" y="952"/>
                    <a:pt x="1000" y="952"/>
                    <a:pt x="999" y="952"/>
                  </a:cubicBezTo>
                  <a:cubicBezTo>
                    <a:pt x="998" y="951"/>
                    <a:pt x="997" y="951"/>
                    <a:pt x="996" y="949"/>
                  </a:cubicBezTo>
                  <a:lnTo>
                    <a:pt x="964" y="882"/>
                  </a:lnTo>
                  <a:lnTo>
                    <a:pt x="926" y="898"/>
                  </a:lnTo>
                  <a:cubicBezTo>
                    <a:pt x="925" y="898"/>
                    <a:pt x="925" y="898"/>
                    <a:pt x="924" y="898"/>
                  </a:cubicBezTo>
                  <a:cubicBezTo>
                    <a:pt x="923" y="898"/>
                    <a:pt x="922" y="898"/>
                    <a:pt x="921" y="897"/>
                  </a:cubicBezTo>
                  <a:lnTo>
                    <a:pt x="905" y="884"/>
                  </a:lnTo>
                  <a:lnTo>
                    <a:pt x="899" y="899"/>
                  </a:lnTo>
                  <a:cubicBezTo>
                    <a:pt x="898" y="901"/>
                    <a:pt x="896" y="902"/>
                    <a:pt x="894" y="902"/>
                  </a:cubicBezTo>
                  <a:lnTo>
                    <a:pt x="772" y="902"/>
                  </a:lnTo>
                  <a:lnTo>
                    <a:pt x="776" y="947"/>
                  </a:lnTo>
                  <a:lnTo>
                    <a:pt x="810" y="951"/>
                  </a:lnTo>
                  <a:cubicBezTo>
                    <a:pt x="812" y="951"/>
                    <a:pt x="813" y="952"/>
                    <a:pt x="814" y="954"/>
                  </a:cubicBezTo>
                  <a:lnTo>
                    <a:pt x="831" y="992"/>
                  </a:lnTo>
                  <a:cubicBezTo>
                    <a:pt x="831" y="993"/>
                    <a:pt x="831" y="995"/>
                    <a:pt x="831" y="996"/>
                  </a:cubicBezTo>
                  <a:cubicBezTo>
                    <a:pt x="830" y="998"/>
                    <a:pt x="828" y="998"/>
                    <a:pt x="827" y="998"/>
                  </a:cubicBezTo>
                  <a:lnTo>
                    <a:pt x="755" y="1002"/>
                  </a:lnTo>
                  <a:lnTo>
                    <a:pt x="755" y="1055"/>
                  </a:lnTo>
                  <a:lnTo>
                    <a:pt x="791" y="1083"/>
                  </a:lnTo>
                  <a:lnTo>
                    <a:pt x="810" y="1145"/>
                  </a:lnTo>
                  <a:lnTo>
                    <a:pt x="759" y="1384"/>
                  </a:lnTo>
                  <a:cubicBezTo>
                    <a:pt x="759" y="1385"/>
                    <a:pt x="758" y="1387"/>
                    <a:pt x="757" y="1387"/>
                  </a:cubicBezTo>
                  <a:cubicBezTo>
                    <a:pt x="756" y="1388"/>
                    <a:pt x="755" y="1388"/>
                    <a:pt x="755" y="138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7" name="Freeform 132"/>
            <p:cNvSpPr>
              <a:spLocks noChangeArrowheads="1"/>
            </p:cNvSpPr>
            <p:nvPr/>
          </p:nvSpPr>
          <p:spPr bwMode="auto">
            <a:xfrm>
              <a:off x="911225" y="1965325"/>
              <a:ext cx="155575" cy="122238"/>
            </a:xfrm>
            <a:custGeom>
              <a:avLst/>
              <a:gdLst/>
              <a:ahLst/>
              <a:cxnLst>
                <a:cxn ang="0">
                  <a:pos x="393" y="339"/>
                </a:cxn>
                <a:cxn ang="0">
                  <a:pos x="299" y="301"/>
                </a:cxn>
                <a:cxn ang="0">
                  <a:pos x="297" y="295"/>
                </a:cxn>
                <a:cxn ang="0">
                  <a:pos x="299" y="288"/>
                </a:cxn>
                <a:cxn ang="0">
                  <a:pos x="297" y="289"/>
                </a:cxn>
                <a:cxn ang="0">
                  <a:pos x="295" y="288"/>
                </a:cxn>
                <a:cxn ang="0">
                  <a:pos x="273" y="276"/>
                </a:cxn>
                <a:cxn ang="0">
                  <a:pos x="271" y="273"/>
                </a:cxn>
                <a:cxn ang="0">
                  <a:pos x="272" y="269"/>
                </a:cxn>
                <a:cxn ang="0">
                  <a:pos x="280" y="256"/>
                </a:cxn>
                <a:cxn ang="0">
                  <a:pos x="238" y="259"/>
                </a:cxn>
                <a:cxn ang="0">
                  <a:pos x="234" y="258"/>
                </a:cxn>
                <a:cxn ang="0">
                  <a:pos x="217" y="241"/>
                </a:cxn>
                <a:cxn ang="0">
                  <a:pos x="216" y="236"/>
                </a:cxn>
                <a:cxn ang="0">
                  <a:pos x="221" y="233"/>
                </a:cxn>
                <a:cxn ang="0">
                  <a:pos x="232" y="233"/>
                </a:cxn>
                <a:cxn ang="0">
                  <a:pos x="217" y="215"/>
                </a:cxn>
                <a:cxn ang="0">
                  <a:pos x="164" y="200"/>
                </a:cxn>
                <a:cxn ang="0">
                  <a:pos x="161" y="197"/>
                </a:cxn>
                <a:cxn ang="0">
                  <a:pos x="153" y="176"/>
                </a:cxn>
                <a:cxn ang="0">
                  <a:pos x="153" y="172"/>
                </a:cxn>
                <a:cxn ang="0">
                  <a:pos x="156" y="169"/>
                </a:cxn>
                <a:cxn ang="0">
                  <a:pos x="180" y="165"/>
                </a:cxn>
                <a:cxn ang="0">
                  <a:pos x="113" y="145"/>
                </a:cxn>
                <a:cxn ang="0">
                  <a:pos x="111" y="142"/>
                </a:cxn>
                <a:cxn ang="0">
                  <a:pos x="94" y="110"/>
                </a:cxn>
                <a:cxn ang="0">
                  <a:pos x="94" y="112"/>
                </a:cxn>
                <a:cxn ang="0">
                  <a:pos x="89" y="115"/>
                </a:cxn>
                <a:cxn ang="0">
                  <a:pos x="47" y="111"/>
                </a:cxn>
                <a:cxn ang="0">
                  <a:pos x="42" y="107"/>
                </a:cxn>
                <a:cxn ang="0">
                  <a:pos x="38" y="65"/>
                </a:cxn>
                <a:cxn ang="0">
                  <a:pos x="40" y="61"/>
                </a:cxn>
                <a:cxn ang="0">
                  <a:pos x="43" y="59"/>
                </a:cxn>
                <a:cxn ang="0">
                  <a:pos x="68" y="63"/>
                </a:cxn>
                <a:cxn ang="0">
                  <a:pos x="68" y="43"/>
                </a:cxn>
                <a:cxn ang="0">
                  <a:pos x="4" y="35"/>
                </a:cxn>
                <a:cxn ang="0">
                  <a:pos x="0" y="32"/>
                </a:cxn>
                <a:cxn ang="0">
                  <a:pos x="1" y="27"/>
                </a:cxn>
                <a:cxn ang="0">
                  <a:pos x="27" y="2"/>
                </a:cxn>
                <a:cxn ang="0">
                  <a:pos x="30" y="0"/>
                </a:cxn>
                <a:cxn ang="0">
                  <a:pos x="32" y="1"/>
                </a:cxn>
                <a:cxn ang="0">
                  <a:pos x="235" y="68"/>
                </a:cxn>
                <a:cxn ang="0">
                  <a:pos x="305" y="180"/>
                </a:cxn>
                <a:cxn ang="0">
                  <a:pos x="388" y="234"/>
                </a:cxn>
                <a:cxn ang="0">
                  <a:pos x="428" y="312"/>
                </a:cxn>
                <a:cxn ang="0">
                  <a:pos x="427" y="318"/>
                </a:cxn>
                <a:cxn ang="0">
                  <a:pos x="397" y="339"/>
                </a:cxn>
                <a:cxn ang="0">
                  <a:pos x="394" y="340"/>
                </a:cxn>
                <a:cxn ang="0">
                  <a:pos x="393" y="339"/>
                </a:cxn>
              </a:cxnLst>
              <a:rect l="0" t="0" r="r" b="b"/>
              <a:pathLst>
                <a:path w="430" h="341">
                  <a:moveTo>
                    <a:pt x="393" y="339"/>
                  </a:moveTo>
                  <a:lnTo>
                    <a:pt x="299" y="301"/>
                  </a:lnTo>
                  <a:cubicBezTo>
                    <a:pt x="297" y="300"/>
                    <a:pt x="296" y="298"/>
                    <a:pt x="297" y="295"/>
                  </a:cubicBezTo>
                  <a:lnTo>
                    <a:pt x="299" y="288"/>
                  </a:lnTo>
                  <a:cubicBezTo>
                    <a:pt x="298" y="289"/>
                    <a:pt x="298" y="289"/>
                    <a:pt x="297" y="289"/>
                  </a:cubicBezTo>
                  <a:cubicBezTo>
                    <a:pt x="296" y="289"/>
                    <a:pt x="295" y="289"/>
                    <a:pt x="295" y="288"/>
                  </a:cubicBezTo>
                  <a:lnTo>
                    <a:pt x="273" y="276"/>
                  </a:lnTo>
                  <a:cubicBezTo>
                    <a:pt x="272" y="275"/>
                    <a:pt x="271" y="274"/>
                    <a:pt x="271" y="273"/>
                  </a:cubicBezTo>
                  <a:cubicBezTo>
                    <a:pt x="271" y="271"/>
                    <a:pt x="271" y="270"/>
                    <a:pt x="272" y="269"/>
                  </a:cubicBezTo>
                  <a:lnTo>
                    <a:pt x="280" y="256"/>
                  </a:lnTo>
                  <a:lnTo>
                    <a:pt x="238" y="259"/>
                  </a:lnTo>
                  <a:cubicBezTo>
                    <a:pt x="236" y="259"/>
                    <a:pt x="235" y="259"/>
                    <a:pt x="234" y="258"/>
                  </a:cubicBezTo>
                  <a:lnTo>
                    <a:pt x="217" y="241"/>
                  </a:lnTo>
                  <a:cubicBezTo>
                    <a:pt x="216" y="240"/>
                    <a:pt x="216" y="237"/>
                    <a:pt x="216" y="236"/>
                  </a:cubicBezTo>
                  <a:cubicBezTo>
                    <a:pt x="217" y="234"/>
                    <a:pt x="219" y="233"/>
                    <a:pt x="221" y="233"/>
                  </a:cubicBezTo>
                  <a:lnTo>
                    <a:pt x="232" y="233"/>
                  </a:lnTo>
                  <a:lnTo>
                    <a:pt x="217" y="215"/>
                  </a:lnTo>
                  <a:lnTo>
                    <a:pt x="164" y="200"/>
                  </a:lnTo>
                  <a:cubicBezTo>
                    <a:pt x="163" y="199"/>
                    <a:pt x="162" y="198"/>
                    <a:pt x="161" y="197"/>
                  </a:cubicBezTo>
                  <a:lnTo>
                    <a:pt x="153" y="176"/>
                  </a:lnTo>
                  <a:cubicBezTo>
                    <a:pt x="152" y="174"/>
                    <a:pt x="152" y="173"/>
                    <a:pt x="153" y="172"/>
                  </a:cubicBezTo>
                  <a:cubicBezTo>
                    <a:pt x="154" y="171"/>
                    <a:pt x="155" y="170"/>
                    <a:pt x="156" y="169"/>
                  </a:cubicBezTo>
                  <a:lnTo>
                    <a:pt x="180" y="165"/>
                  </a:lnTo>
                  <a:lnTo>
                    <a:pt x="113" y="145"/>
                  </a:lnTo>
                  <a:cubicBezTo>
                    <a:pt x="112" y="144"/>
                    <a:pt x="111" y="144"/>
                    <a:pt x="111" y="142"/>
                  </a:cubicBezTo>
                  <a:lnTo>
                    <a:pt x="94" y="110"/>
                  </a:lnTo>
                  <a:lnTo>
                    <a:pt x="94" y="112"/>
                  </a:lnTo>
                  <a:cubicBezTo>
                    <a:pt x="93" y="114"/>
                    <a:pt x="91" y="115"/>
                    <a:pt x="89" y="115"/>
                  </a:cubicBezTo>
                  <a:lnTo>
                    <a:pt x="47" y="111"/>
                  </a:lnTo>
                  <a:cubicBezTo>
                    <a:pt x="44" y="111"/>
                    <a:pt x="42" y="109"/>
                    <a:pt x="42" y="107"/>
                  </a:cubicBezTo>
                  <a:lnTo>
                    <a:pt x="38" y="65"/>
                  </a:lnTo>
                  <a:cubicBezTo>
                    <a:pt x="38" y="63"/>
                    <a:pt x="38" y="62"/>
                    <a:pt x="40" y="61"/>
                  </a:cubicBezTo>
                  <a:cubicBezTo>
                    <a:pt x="40" y="60"/>
                    <a:pt x="42" y="59"/>
                    <a:pt x="43" y="59"/>
                  </a:cubicBezTo>
                  <a:lnTo>
                    <a:pt x="68" y="63"/>
                  </a:lnTo>
                  <a:lnTo>
                    <a:pt x="68" y="43"/>
                  </a:lnTo>
                  <a:lnTo>
                    <a:pt x="4" y="35"/>
                  </a:lnTo>
                  <a:cubicBezTo>
                    <a:pt x="2" y="35"/>
                    <a:pt x="1" y="33"/>
                    <a:pt x="0" y="32"/>
                  </a:cubicBezTo>
                  <a:cubicBezTo>
                    <a:pt x="0" y="30"/>
                    <a:pt x="0" y="28"/>
                    <a:pt x="1" y="27"/>
                  </a:cubicBezTo>
                  <a:lnTo>
                    <a:pt x="27" y="2"/>
                  </a:lnTo>
                  <a:cubicBezTo>
                    <a:pt x="28" y="1"/>
                    <a:pt x="29" y="0"/>
                    <a:pt x="30" y="0"/>
                  </a:cubicBezTo>
                  <a:cubicBezTo>
                    <a:pt x="31" y="0"/>
                    <a:pt x="31" y="0"/>
                    <a:pt x="32" y="1"/>
                  </a:cubicBezTo>
                  <a:lnTo>
                    <a:pt x="235" y="68"/>
                  </a:lnTo>
                  <a:lnTo>
                    <a:pt x="305" y="180"/>
                  </a:lnTo>
                  <a:lnTo>
                    <a:pt x="388" y="234"/>
                  </a:lnTo>
                  <a:lnTo>
                    <a:pt x="428" y="312"/>
                  </a:lnTo>
                  <a:cubicBezTo>
                    <a:pt x="429" y="314"/>
                    <a:pt x="429" y="316"/>
                    <a:pt x="427" y="318"/>
                  </a:cubicBezTo>
                  <a:lnTo>
                    <a:pt x="397" y="339"/>
                  </a:lnTo>
                  <a:cubicBezTo>
                    <a:pt x="396" y="339"/>
                    <a:pt x="395" y="340"/>
                    <a:pt x="394" y="340"/>
                  </a:cubicBezTo>
                  <a:lnTo>
                    <a:pt x="393" y="33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8" name="Freeform 133"/>
            <p:cNvSpPr>
              <a:spLocks noChangeArrowheads="1"/>
            </p:cNvSpPr>
            <p:nvPr/>
          </p:nvSpPr>
          <p:spPr bwMode="auto">
            <a:xfrm>
              <a:off x="911225" y="1965325"/>
              <a:ext cx="155575" cy="122238"/>
            </a:xfrm>
            <a:custGeom>
              <a:avLst/>
              <a:gdLst/>
              <a:ahLst/>
              <a:cxnLst>
                <a:cxn ang="0">
                  <a:pos x="394" y="340"/>
                </a:cxn>
                <a:cxn ang="0">
                  <a:pos x="393" y="339"/>
                </a:cxn>
                <a:cxn ang="0">
                  <a:pos x="299" y="301"/>
                </a:cxn>
                <a:cxn ang="0">
                  <a:pos x="297" y="295"/>
                </a:cxn>
                <a:cxn ang="0">
                  <a:pos x="299" y="288"/>
                </a:cxn>
                <a:cxn ang="0">
                  <a:pos x="297" y="289"/>
                </a:cxn>
                <a:cxn ang="0">
                  <a:pos x="295" y="288"/>
                </a:cxn>
                <a:cxn ang="0">
                  <a:pos x="273" y="276"/>
                </a:cxn>
                <a:cxn ang="0">
                  <a:pos x="271" y="273"/>
                </a:cxn>
                <a:cxn ang="0">
                  <a:pos x="272" y="269"/>
                </a:cxn>
                <a:cxn ang="0">
                  <a:pos x="280" y="256"/>
                </a:cxn>
                <a:cxn ang="0">
                  <a:pos x="238" y="259"/>
                </a:cxn>
                <a:cxn ang="0">
                  <a:pos x="234" y="258"/>
                </a:cxn>
                <a:cxn ang="0">
                  <a:pos x="217" y="241"/>
                </a:cxn>
                <a:cxn ang="0">
                  <a:pos x="216" y="236"/>
                </a:cxn>
                <a:cxn ang="0">
                  <a:pos x="221" y="233"/>
                </a:cxn>
                <a:cxn ang="0">
                  <a:pos x="232" y="233"/>
                </a:cxn>
                <a:cxn ang="0">
                  <a:pos x="217" y="215"/>
                </a:cxn>
                <a:cxn ang="0">
                  <a:pos x="164" y="200"/>
                </a:cxn>
                <a:cxn ang="0">
                  <a:pos x="161" y="197"/>
                </a:cxn>
                <a:cxn ang="0">
                  <a:pos x="153" y="176"/>
                </a:cxn>
                <a:cxn ang="0">
                  <a:pos x="153" y="172"/>
                </a:cxn>
                <a:cxn ang="0">
                  <a:pos x="156" y="169"/>
                </a:cxn>
                <a:cxn ang="0">
                  <a:pos x="180" y="165"/>
                </a:cxn>
                <a:cxn ang="0">
                  <a:pos x="113" y="145"/>
                </a:cxn>
                <a:cxn ang="0">
                  <a:pos x="111" y="142"/>
                </a:cxn>
                <a:cxn ang="0">
                  <a:pos x="94" y="110"/>
                </a:cxn>
                <a:cxn ang="0">
                  <a:pos x="94" y="112"/>
                </a:cxn>
                <a:cxn ang="0">
                  <a:pos x="89" y="115"/>
                </a:cxn>
                <a:cxn ang="0">
                  <a:pos x="47" y="111"/>
                </a:cxn>
                <a:cxn ang="0">
                  <a:pos x="42" y="107"/>
                </a:cxn>
                <a:cxn ang="0">
                  <a:pos x="38" y="65"/>
                </a:cxn>
                <a:cxn ang="0">
                  <a:pos x="40" y="61"/>
                </a:cxn>
                <a:cxn ang="0">
                  <a:pos x="43" y="59"/>
                </a:cxn>
                <a:cxn ang="0">
                  <a:pos x="68" y="63"/>
                </a:cxn>
                <a:cxn ang="0">
                  <a:pos x="68" y="43"/>
                </a:cxn>
                <a:cxn ang="0">
                  <a:pos x="4" y="35"/>
                </a:cxn>
                <a:cxn ang="0">
                  <a:pos x="0" y="32"/>
                </a:cxn>
                <a:cxn ang="0">
                  <a:pos x="1" y="27"/>
                </a:cxn>
                <a:cxn ang="0">
                  <a:pos x="27" y="2"/>
                </a:cxn>
                <a:cxn ang="0">
                  <a:pos x="30" y="0"/>
                </a:cxn>
                <a:cxn ang="0">
                  <a:pos x="32" y="1"/>
                </a:cxn>
                <a:cxn ang="0">
                  <a:pos x="235" y="68"/>
                </a:cxn>
                <a:cxn ang="0">
                  <a:pos x="305" y="180"/>
                </a:cxn>
                <a:cxn ang="0">
                  <a:pos x="388" y="234"/>
                </a:cxn>
                <a:cxn ang="0">
                  <a:pos x="428" y="312"/>
                </a:cxn>
                <a:cxn ang="0">
                  <a:pos x="427" y="318"/>
                </a:cxn>
                <a:cxn ang="0">
                  <a:pos x="397" y="339"/>
                </a:cxn>
                <a:cxn ang="0">
                  <a:pos x="394" y="340"/>
                </a:cxn>
              </a:cxnLst>
              <a:rect l="0" t="0" r="r" b="b"/>
              <a:pathLst>
                <a:path w="430" h="341">
                  <a:moveTo>
                    <a:pt x="394" y="340"/>
                  </a:moveTo>
                  <a:lnTo>
                    <a:pt x="393" y="339"/>
                  </a:lnTo>
                  <a:lnTo>
                    <a:pt x="299" y="301"/>
                  </a:lnTo>
                  <a:cubicBezTo>
                    <a:pt x="297" y="300"/>
                    <a:pt x="296" y="298"/>
                    <a:pt x="297" y="295"/>
                  </a:cubicBezTo>
                  <a:lnTo>
                    <a:pt x="299" y="288"/>
                  </a:lnTo>
                  <a:cubicBezTo>
                    <a:pt x="298" y="289"/>
                    <a:pt x="298" y="289"/>
                    <a:pt x="297" y="289"/>
                  </a:cubicBezTo>
                  <a:cubicBezTo>
                    <a:pt x="296" y="289"/>
                    <a:pt x="295" y="289"/>
                    <a:pt x="295" y="288"/>
                  </a:cubicBezTo>
                  <a:lnTo>
                    <a:pt x="273" y="276"/>
                  </a:lnTo>
                  <a:cubicBezTo>
                    <a:pt x="272" y="275"/>
                    <a:pt x="271" y="274"/>
                    <a:pt x="271" y="273"/>
                  </a:cubicBezTo>
                  <a:cubicBezTo>
                    <a:pt x="271" y="271"/>
                    <a:pt x="271" y="270"/>
                    <a:pt x="272" y="269"/>
                  </a:cubicBezTo>
                  <a:lnTo>
                    <a:pt x="280" y="256"/>
                  </a:lnTo>
                  <a:lnTo>
                    <a:pt x="238" y="259"/>
                  </a:lnTo>
                  <a:cubicBezTo>
                    <a:pt x="236" y="259"/>
                    <a:pt x="235" y="259"/>
                    <a:pt x="234" y="258"/>
                  </a:cubicBezTo>
                  <a:lnTo>
                    <a:pt x="217" y="241"/>
                  </a:lnTo>
                  <a:cubicBezTo>
                    <a:pt x="216" y="240"/>
                    <a:pt x="216" y="237"/>
                    <a:pt x="216" y="236"/>
                  </a:cubicBezTo>
                  <a:cubicBezTo>
                    <a:pt x="217" y="234"/>
                    <a:pt x="219" y="233"/>
                    <a:pt x="221" y="233"/>
                  </a:cubicBezTo>
                  <a:lnTo>
                    <a:pt x="232" y="233"/>
                  </a:lnTo>
                  <a:lnTo>
                    <a:pt x="217" y="215"/>
                  </a:lnTo>
                  <a:lnTo>
                    <a:pt x="164" y="200"/>
                  </a:lnTo>
                  <a:cubicBezTo>
                    <a:pt x="163" y="199"/>
                    <a:pt x="162" y="198"/>
                    <a:pt x="161" y="197"/>
                  </a:cubicBezTo>
                  <a:lnTo>
                    <a:pt x="153" y="176"/>
                  </a:lnTo>
                  <a:cubicBezTo>
                    <a:pt x="152" y="174"/>
                    <a:pt x="152" y="173"/>
                    <a:pt x="153" y="172"/>
                  </a:cubicBezTo>
                  <a:cubicBezTo>
                    <a:pt x="154" y="171"/>
                    <a:pt x="155" y="170"/>
                    <a:pt x="156" y="169"/>
                  </a:cubicBezTo>
                  <a:lnTo>
                    <a:pt x="180" y="165"/>
                  </a:lnTo>
                  <a:lnTo>
                    <a:pt x="113" y="145"/>
                  </a:lnTo>
                  <a:cubicBezTo>
                    <a:pt x="112" y="144"/>
                    <a:pt x="111" y="144"/>
                    <a:pt x="111" y="142"/>
                  </a:cubicBezTo>
                  <a:lnTo>
                    <a:pt x="94" y="110"/>
                  </a:lnTo>
                  <a:lnTo>
                    <a:pt x="94" y="112"/>
                  </a:lnTo>
                  <a:cubicBezTo>
                    <a:pt x="93" y="114"/>
                    <a:pt x="91" y="115"/>
                    <a:pt x="89" y="115"/>
                  </a:cubicBezTo>
                  <a:lnTo>
                    <a:pt x="47" y="111"/>
                  </a:lnTo>
                  <a:cubicBezTo>
                    <a:pt x="44" y="111"/>
                    <a:pt x="42" y="109"/>
                    <a:pt x="42" y="107"/>
                  </a:cubicBezTo>
                  <a:lnTo>
                    <a:pt x="38" y="65"/>
                  </a:lnTo>
                  <a:cubicBezTo>
                    <a:pt x="38" y="63"/>
                    <a:pt x="38" y="62"/>
                    <a:pt x="40" y="61"/>
                  </a:cubicBezTo>
                  <a:cubicBezTo>
                    <a:pt x="40" y="60"/>
                    <a:pt x="42" y="59"/>
                    <a:pt x="43" y="59"/>
                  </a:cubicBezTo>
                  <a:lnTo>
                    <a:pt x="68" y="63"/>
                  </a:lnTo>
                  <a:lnTo>
                    <a:pt x="68" y="43"/>
                  </a:lnTo>
                  <a:lnTo>
                    <a:pt x="4" y="35"/>
                  </a:lnTo>
                  <a:cubicBezTo>
                    <a:pt x="2" y="35"/>
                    <a:pt x="1" y="33"/>
                    <a:pt x="0" y="32"/>
                  </a:cubicBezTo>
                  <a:cubicBezTo>
                    <a:pt x="0" y="30"/>
                    <a:pt x="0" y="28"/>
                    <a:pt x="1" y="27"/>
                  </a:cubicBezTo>
                  <a:lnTo>
                    <a:pt x="27" y="2"/>
                  </a:lnTo>
                  <a:cubicBezTo>
                    <a:pt x="28" y="1"/>
                    <a:pt x="29" y="0"/>
                    <a:pt x="30" y="0"/>
                  </a:cubicBezTo>
                  <a:cubicBezTo>
                    <a:pt x="31" y="0"/>
                    <a:pt x="31" y="0"/>
                    <a:pt x="32" y="1"/>
                  </a:cubicBezTo>
                  <a:lnTo>
                    <a:pt x="235" y="68"/>
                  </a:lnTo>
                  <a:lnTo>
                    <a:pt x="305" y="180"/>
                  </a:lnTo>
                  <a:lnTo>
                    <a:pt x="388" y="234"/>
                  </a:lnTo>
                  <a:lnTo>
                    <a:pt x="428" y="312"/>
                  </a:lnTo>
                  <a:cubicBezTo>
                    <a:pt x="429" y="314"/>
                    <a:pt x="429" y="316"/>
                    <a:pt x="427" y="318"/>
                  </a:cubicBezTo>
                  <a:lnTo>
                    <a:pt x="397" y="339"/>
                  </a:lnTo>
                  <a:cubicBezTo>
                    <a:pt x="396" y="339"/>
                    <a:pt x="395" y="340"/>
                    <a:pt x="394" y="34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39" name="Freeform 134"/>
            <p:cNvSpPr>
              <a:spLocks noChangeArrowheads="1"/>
            </p:cNvSpPr>
            <p:nvPr/>
          </p:nvSpPr>
          <p:spPr bwMode="auto">
            <a:xfrm>
              <a:off x="852488" y="1819275"/>
              <a:ext cx="28575" cy="34925"/>
            </a:xfrm>
            <a:custGeom>
              <a:avLst/>
              <a:gdLst/>
              <a:ahLst/>
              <a:cxnLst>
                <a:cxn ang="0">
                  <a:pos x="64" y="98"/>
                </a:cxn>
                <a:cxn ang="0">
                  <a:pos x="60" y="96"/>
                </a:cxn>
                <a:cxn ang="0">
                  <a:pos x="1" y="7"/>
                </a:cxn>
                <a:cxn ang="0">
                  <a:pos x="1" y="1"/>
                </a:cxn>
                <a:cxn ang="0">
                  <a:pos x="5" y="0"/>
                </a:cxn>
                <a:cxn ang="0">
                  <a:pos x="7" y="1"/>
                </a:cxn>
                <a:cxn ang="0">
                  <a:pos x="45" y="26"/>
                </a:cxn>
                <a:cxn ang="0">
                  <a:pos x="76" y="61"/>
                </a:cxn>
                <a:cxn ang="0">
                  <a:pos x="77" y="65"/>
                </a:cxn>
                <a:cxn ang="0">
                  <a:pos x="68" y="95"/>
                </a:cxn>
                <a:cxn ang="0">
                  <a:pos x="65" y="98"/>
                </a:cxn>
                <a:cxn ang="0">
                  <a:pos x="64" y="98"/>
                </a:cxn>
              </a:cxnLst>
              <a:rect l="0" t="0" r="r" b="b"/>
              <a:pathLst>
                <a:path w="78" h="99">
                  <a:moveTo>
                    <a:pt x="64" y="98"/>
                  </a:moveTo>
                  <a:cubicBezTo>
                    <a:pt x="62" y="98"/>
                    <a:pt x="61" y="98"/>
                    <a:pt x="60" y="96"/>
                  </a:cubicBezTo>
                  <a:lnTo>
                    <a:pt x="1" y="7"/>
                  </a:lnTo>
                  <a:cubicBezTo>
                    <a:pt x="0" y="5"/>
                    <a:pt x="0" y="3"/>
                    <a:pt x="1" y="1"/>
                  </a:cubicBezTo>
                  <a:cubicBezTo>
                    <a:pt x="2" y="1"/>
                    <a:pt x="3" y="0"/>
                    <a:pt x="5" y="0"/>
                  </a:cubicBezTo>
                  <a:cubicBezTo>
                    <a:pt x="5" y="0"/>
                    <a:pt x="6" y="0"/>
                    <a:pt x="7" y="1"/>
                  </a:cubicBezTo>
                  <a:lnTo>
                    <a:pt x="45" y="26"/>
                  </a:lnTo>
                  <a:lnTo>
                    <a:pt x="76" y="61"/>
                  </a:lnTo>
                  <a:cubicBezTo>
                    <a:pt x="77" y="62"/>
                    <a:pt x="77" y="64"/>
                    <a:pt x="77" y="65"/>
                  </a:cubicBezTo>
                  <a:lnTo>
                    <a:pt x="68" y="95"/>
                  </a:lnTo>
                  <a:cubicBezTo>
                    <a:pt x="68" y="97"/>
                    <a:pt x="66" y="98"/>
                    <a:pt x="65" y="98"/>
                  </a:cubicBezTo>
                  <a:cubicBezTo>
                    <a:pt x="64" y="98"/>
                    <a:pt x="64" y="98"/>
                    <a:pt x="64" y="9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0" name="Freeform 135"/>
            <p:cNvSpPr>
              <a:spLocks noChangeArrowheads="1"/>
            </p:cNvSpPr>
            <p:nvPr/>
          </p:nvSpPr>
          <p:spPr bwMode="auto">
            <a:xfrm>
              <a:off x="852488" y="1819275"/>
              <a:ext cx="28575" cy="34925"/>
            </a:xfrm>
            <a:custGeom>
              <a:avLst/>
              <a:gdLst/>
              <a:ahLst/>
              <a:cxnLst>
                <a:cxn ang="0">
                  <a:pos x="64" y="98"/>
                </a:cxn>
                <a:cxn ang="0">
                  <a:pos x="60" y="96"/>
                </a:cxn>
                <a:cxn ang="0">
                  <a:pos x="1" y="7"/>
                </a:cxn>
                <a:cxn ang="0">
                  <a:pos x="1" y="1"/>
                </a:cxn>
                <a:cxn ang="0">
                  <a:pos x="5" y="0"/>
                </a:cxn>
                <a:cxn ang="0">
                  <a:pos x="7" y="1"/>
                </a:cxn>
                <a:cxn ang="0">
                  <a:pos x="45" y="26"/>
                </a:cxn>
                <a:cxn ang="0">
                  <a:pos x="76" y="61"/>
                </a:cxn>
                <a:cxn ang="0">
                  <a:pos x="77" y="65"/>
                </a:cxn>
                <a:cxn ang="0">
                  <a:pos x="68" y="95"/>
                </a:cxn>
                <a:cxn ang="0">
                  <a:pos x="65" y="98"/>
                </a:cxn>
                <a:cxn ang="0">
                  <a:pos x="64" y="98"/>
                </a:cxn>
              </a:cxnLst>
              <a:rect l="0" t="0" r="r" b="b"/>
              <a:pathLst>
                <a:path w="78" h="99">
                  <a:moveTo>
                    <a:pt x="64" y="98"/>
                  </a:moveTo>
                  <a:cubicBezTo>
                    <a:pt x="62" y="98"/>
                    <a:pt x="61" y="98"/>
                    <a:pt x="60" y="96"/>
                  </a:cubicBezTo>
                  <a:lnTo>
                    <a:pt x="1" y="7"/>
                  </a:lnTo>
                  <a:cubicBezTo>
                    <a:pt x="0" y="5"/>
                    <a:pt x="0" y="3"/>
                    <a:pt x="1" y="1"/>
                  </a:cubicBezTo>
                  <a:cubicBezTo>
                    <a:pt x="2" y="1"/>
                    <a:pt x="3" y="0"/>
                    <a:pt x="5" y="0"/>
                  </a:cubicBezTo>
                  <a:cubicBezTo>
                    <a:pt x="5" y="0"/>
                    <a:pt x="6" y="0"/>
                    <a:pt x="7" y="1"/>
                  </a:cubicBezTo>
                  <a:lnTo>
                    <a:pt x="45" y="26"/>
                  </a:lnTo>
                  <a:lnTo>
                    <a:pt x="76" y="61"/>
                  </a:lnTo>
                  <a:cubicBezTo>
                    <a:pt x="77" y="62"/>
                    <a:pt x="77" y="64"/>
                    <a:pt x="77" y="65"/>
                  </a:cubicBezTo>
                  <a:lnTo>
                    <a:pt x="68" y="95"/>
                  </a:lnTo>
                  <a:cubicBezTo>
                    <a:pt x="68" y="97"/>
                    <a:pt x="66" y="98"/>
                    <a:pt x="65" y="98"/>
                  </a:cubicBezTo>
                  <a:cubicBezTo>
                    <a:pt x="64" y="98"/>
                    <a:pt x="64" y="98"/>
                    <a:pt x="64" y="9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1" name="Freeform 136"/>
            <p:cNvSpPr>
              <a:spLocks noChangeArrowheads="1"/>
            </p:cNvSpPr>
            <p:nvPr/>
          </p:nvSpPr>
          <p:spPr bwMode="auto">
            <a:xfrm>
              <a:off x="847725" y="1827213"/>
              <a:ext cx="23813" cy="28575"/>
            </a:xfrm>
            <a:custGeom>
              <a:avLst/>
              <a:gdLst/>
              <a:ahLst/>
              <a:cxnLst>
                <a:cxn ang="0">
                  <a:pos x="56" y="76"/>
                </a:cxn>
                <a:cxn ang="0">
                  <a:pos x="1" y="8"/>
                </a:cxn>
                <a:cxn ang="0">
                  <a:pos x="1" y="2"/>
                </a:cxn>
                <a:cxn ang="0">
                  <a:pos x="5" y="0"/>
                </a:cxn>
                <a:cxn ang="0">
                  <a:pos x="7" y="1"/>
                </a:cxn>
                <a:cxn ang="0">
                  <a:pos x="49" y="22"/>
                </a:cxn>
                <a:cxn ang="0">
                  <a:pos x="52" y="25"/>
                </a:cxn>
                <a:cxn ang="0">
                  <a:pos x="64" y="71"/>
                </a:cxn>
                <a:cxn ang="0">
                  <a:pos x="62" y="77"/>
                </a:cxn>
                <a:cxn ang="0">
                  <a:pos x="60" y="77"/>
                </a:cxn>
                <a:cxn ang="0">
                  <a:pos x="56" y="76"/>
                </a:cxn>
              </a:cxnLst>
              <a:rect l="0" t="0" r="r" b="b"/>
              <a:pathLst>
                <a:path w="66" h="78">
                  <a:moveTo>
                    <a:pt x="56" y="76"/>
                  </a:moveTo>
                  <a:lnTo>
                    <a:pt x="1" y="8"/>
                  </a:lnTo>
                  <a:cubicBezTo>
                    <a:pt x="0" y="6"/>
                    <a:pt x="0" y="4"/>
                    <a:pt x="1" y="2"/>
                  </a:cubicBezTo>
                  <a:cubicBezTo>
                    <a:pt x="2" y="1"/>
                    <a:pt x="3" y="0"/>
                    <a:pt x="5" y="0"/>
                  </a:cubicBezTo>
                  <a:cubicBezTo>
                    <a:pt x="5" y="0"/>
                    <a:pt x="6" y="1"/>
                    <a:pt x="7" y="1"/>
                  </a:cubicBezTo>
                  <a:lnTo>
                    <a:pt x="49" y="22"/>
                  </a:lnTo>
                  <a:cubicBezTo>
                    <a:pt x="50" y="23"/>
                    <a:pt x="51" y="24"/>
                    <a:pt x="52" y="25"/>
                  </a:cubicBezTo>
                  <a:lnTo>
                    <a:pt x="64" y="71"/>
                  </a:lnTo>
                  <a:cubicBezTo>
                    <a:pt x="65" y="74"/>
                    <a:pt x="64" y="76"/>
                    <a:pt x="62" y="77"/>
                  </a:cubicBezTo>
                  <a:cubicBezTo>
                    <a:pt x="61" y="77"/>
                    <a:pt x="60" y="77"/>
                    <a:pt x="60" y="77"/>
                  </a:cubicBezTo>
                  <a:cubicBezTo>
                    <a:pt x="58" y="77"/>
                    <a:pt x="57" y="77"/>
                    <a:pt x="56" y="7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2" name="Freeform 137"/>
            <p:cNvSpPr>
              <a:spLocks noChangeArrowheads="1"/>
            </p:cNvSpPr>
            <p:nvPr/>
          </p:nvSpPr>
          <p:spPr bwMode="auto">
            <a:xfrm>
              <a:off x="847725" y="1827213"/>
              <a:ext cx="23813" cy="28575"/>
            </a:xfrm>
            <a:custGeom>
              <a:avLst/>
              <a:gdLst/>
              <a:ahLst/>
              <a:cxnLst>
                <a:cxn ang="0">
                  <a:pos x="60" y="77"/>
                </a:cxn>
                <a:cxn ang="0">
                  <a:pos x="56" y="76"/>
                </a:cxn>
                <a:cxn ang="0">
                  <a:pos x="1" y="8"/>
                </a:cxn>
                <a:cxn ang="0">
                  <a:pos x="1" y="2"/>
                </a:cxn>
                <a:cxn ang="0">
                  <a:pos x="5" y="0"/>
                </a:cxn>
                <a:cxn ang="0">
                  <a:pos x="7" y="1"/>
                </a:cxn>
                <a:cxn ang="0">
                  <a:pos x="49" y="22"/>
                </a:cxn>
                <a:cxn ang="0">
                  <a:pos x="52" y="25"/>
                </a:cxn>
                <a:cxn ang="0">
                  <a:pos x="64" y="71"/>
                </a:cxn>
                <a:cxn ang="0">
                  <a:pos x="62" y="77"/>
                </a:cxn>
                <a:cxn ang="0">
                  <a:pos x="60" y="77"/>
                </a:cxn>
              </a:cxnLst>
              <a:rect l="0" t="0" r="r" b="b"/>
              <a:pathLst>
                <a:path w="66" h="78">
                  <a:moveTo>
                    <a:pt x="60" y="77"/>
                  </a:moveTo>
                  <a:cubicBezTo>
                    <a:pt x="58" y="77"/>
                    <a:pt x="57" y="77"/>
                    <a:pt x="56" y="76"/>
                  </a:cubicBezTo>
                  <a:lnTo>
                    <a:pt x="1" y="8"/>
                  </a:lnTo>
                  <a:cubicBezTo>
                    <a:pt x="0" y="6"/>
                    <a:pt x="0" y="4"/>
                    <a:pt x="1" y="2"/>
                  </a:cubicBezTo>
                  <a:cubicBezTo>
                    <a:pt x="2" y="1"/>
                    <a:pt x="3" y="0"/>
                    <a:pt x="5" y="0"/>
                  </a:cubicBezTo>
                  <a:cubicBezTo>
                    <a:pt x="5" y="0"/>
                    <a:pt x="6" y="1"/>
                    <a:pt x="7" y="1"/>
                  </a:cubicBezTo>
                  <a:lnTo>
                    <a:pt x="49" y="22"/>
                  </a:lnTo>
                  <a:cubicBezTo>
                    <a:pt x="50" y="23"/>
                    <a:pt x="51" y="24"/>
                    <a:pt x="52" y="25"/>
                  </a:cubicBezTo>
                  <a:lnTo>
                    <a:pt x="64" y="71"/>
                  </a:lnTo>
                  <a:cubicBezTo>
                    <a:pt x="65" y="74"/>
                    <a:pt x="64" y="76"/>
                    <a:pt x="62" y="77"/>
                  </a:cubicBezTo>
                  <a:cubicBezTo>
                    <a:pt x="61" y="77"/>
                    <a:pt x="60" y="77"/>
                    <a:pt x="60" y="7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3" name="Freeform 138"/>
            <p:cNvSpPr>
              <a:spLocks noChangeArrowheads="1"/>
            </p:cNvSpPr>
            <p:nvPr/>
          </p:nvSpPr>
          <p:spPr bwMode="auto">
            <a:xfrm>
              <a:off x="842963" y="1806575"/>
              <a:ext cx="14287" cy="12700"/>
            </a:xfrm>
            <a:custGeom>
              <a:avLst/>
              <a:gdLst/>
              <a:ahLst/>
              <a:cxnLst>
                <a:cxn ang="0">
                  <a:pos x="4" y="26"/>
                </a:cxn>
                <a:cxn ang="0">
                  <a:pos x="0" y="23"/>
                </a:cxn>
                <a:cxn ang="0">
                  <a:pos x="2" y="18"/>
                </a:cxn>
                <a:cxn ang="0">
                  <a:pos x="18" y="2"/>
                </a:cxn>
                <a:cxn ang="0">
                  <a:pos x="22" y="0"/>
                </a:cxn>
                <a:cxn ang="0">
                  <a:pos x="23" y="0"/>
                </a:cxn>
                <a:cxn ang="0">
                  <a:pos x="26" y="3"/>
                </a:cxn>
                <a:cxn ang="0">
                  <a:pos x="39" y="28"/>
                </a:cxn>
                <a:cxn ang="0">
                  <a:pos x="38" y="33"/>
                </a:cxn>
                <a:cxn ang="0">
                  <a:pos x="35" y="35"/>
                </a:cxn>
                <a:cxn ang="0">
                  <a:pos x="33" y="35"/>
                </a:cxn>
                <a:cxn ang="0">
                  <a:pos x="4" y="26"/>
                </a:cxn>
              </a:cxnLst>
              <a:rect l="0" t="0" r="r" b="b"/>
              <a:pathLst>
                <a:path w="41" h="36">
                  <a:moveTo>
                    <a:pt x="4" y="26"/>
                  </a:moveTo>
                  <a:cubicBezTo>
                    <a:pt x="2" y="26"/>
                    <a:pt x="1" y="25"/>
                    <a:pt x="0" y="23"/>
                  </a:cubicBezTo>
                  <a:cubicBezTo>
                    <a:pt x="0" y="21"/>
                    <a:pt x="1" y="20"/>
                    <a:pt x="2" y="18"/>
                  </a:cubicBezTo>
                  <a:lnTo>
                    <a:pt x="18" y="2"/>
                  </a:lnTo>
                  <a:cubicBezTo>
                    <a:pt x="20" y="1"/>
                    <a:pt x="21" y="0"/>
                    <a:pt x="22" y="0"/>
                  </a:cubicBezTo>
                  <a:lnTo>
                    <a:pt x="23" y="0"/>
                  </a:lnTo>
                  <a:cubicBezTo>
                    <a:pt x="24" y="0"/>
                    <a:pt x="25" y="1"/>
                    <a:pt x="26" y="3"/>
                  </a:cubicBezTo>
                  <a:lnTo>
                    <a:pt x="39" y="28"/>
                  </a:lnTo>
                  <a:cubicBezTo>
                    <a:pt x="40" y="30"/>
                    <a:pt x="39" y="32"/>
                    <a:pt x="38" y="33"/>
                  </a:cubicBezTo>
                  <a:cubicBezTo>
                    <a:pt x="37" y="34"/>
                    <a:pt x="36" y="35"/>
                    <a:pt x="35" y="35"/>
                  </a:cubicBezTo>
                  <a:cubicBezTo>
                    <a:pt x="35" y="35"/>
                    <a:pt x="34" y="35"/>
                    <a:pt x="33" y="35"/>
                  </a:cubicBezTo>
                  <a:lnTo>
                    <a:pt x="4"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4" name="Freeform 139"/>
            <p:cNvSpPr>
              <a:spLocks noChangeArrowheads="1"/>
            </p:cNvSpPr>
            <p:nvPr/>
          </p:nvSpPr>
          <p:spPr bwMode="auto">
            <a:xfrm>
              <a:off x="842963" y="1806575"/>
              <a:ext cx="14287" cy="12700"/>
            </a:xfrm>
            <a:custGeom>
              <a:avLst/>
              <a:gdLst/>
              <a:ahLst/>
              <a:cxnLst>
                <a:cxn ang="0">
                  <a:pos x="33" y="35"/>
                </a:cxn>
                <a:cxn ang="0">
                  <a:pos x="4" y="26"/>
                </a:cxn>
                <a:cxn ang="0">
                  <a:pos x="0" y="23"/>
                </a:cxn>
                <a:cxn ang="0">
                  <a:pos x="2" y="18"/>
                </a:cxn>
                <a:cxn ang="0">
                  <a:pos x="18" y="2"/>
                </a:cxn>
                <a:cxn ang="0">
                  <a:pos x="22" y="0"/>
                </a:cxn>
                <a:cxn ang="0">
                  <a:pos x="23" y="0"/>
                </a:cxn>
                <a:cxn ang="0">
                  <a:pos x="26" y="3"/>
                </a:cxn>
                <a:cxn ang="0">
                  <a:pos x="39" y="28"/>
                </a:cxn>
                <a:cxn ang="0">
                  <a:pos x="38" y="33"/>
                </a:cxn>
                <a:cxn ang="0">
                  <a:pos x="35" y="35"/>
                </a:cxn>
                <a:cxn ang="0">
                  <a:pos x="33" y="35"/>
                </a:cxn>
              </a:cxnLst>
              <a:rect l="0" t="0" r="r" b="b"/>
              <a:pathLst>
                <a:path w="41" h="36">
                  <a:moveTo>
                    <a:pt x="33" y="35"/>
                  </a:moveTo>
                  <a:lnTo>
                    <a:pt x="4" y="26"/>
                  </a:lnTo>
                  <a:cubicBezTo>
                    <a:pt x="2" y="26"/>
                    <a:pt x="1" y="25"/>
                    <a:pt x="0" y="23"/>
                  </a:cubicBezTo>
                  <a:cubicBezTo>
                    <a:pt x="0" y="21"/>
                    <a:pt x="1" y="20"/>
                    <a:pt x="2" y="18"/>
                  </a:cubicBezTo>
                  <a:lnTo>
                    <a:pt x="18" y="2"/>
                  </a:lnTo>
                  <a:cubicBezTo>
                    <a:pt x="20" y="1"/>
                    <a:pt x="21" y="0"/>
                    <a:pt x="22" y="0"/>
                  </a:cubicBezTo>
                  <a:lnTo>
                    <a:pt x="23" y="0"/>
                  </a:lnTo>
                  <a:cubicBezTo>
                    <a:pt x="24" y="0"/>
                    <a:pt x="25" y="1"/>
                    <a:pt x="26" y="3"/>
                  </a:cubicBezTo>
                  <a:lnTo>
                    <a:pt x="39" y="28"/>
                  </a:lnTo>
                  <a:cubicBezTo>
                    <a:pt x="40" y="30"/>
                    <a:pt x="39" y="32"/>
                    <a:pt x="38" y="33"/>
                  </a:cubicBezTo>
                  <a:cubicBezTo>
                    <a:pt x="37" y="34"/>
                    <a:pt x="36" y="35"/>
                    <a:pt x="35" y="35"/>
                  </a:cubicBezTo>
                  <a:cubicBezTo>
                    <a:pt x="35" y="35"/>
                    <a:pt x="34" y="35"/>
                    <a:pt x="33" y="3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5" name="Freeform 140"/>
            <p:cNvSpPr>
              <a:spLocks noChangeArrowheads="1"/>
            </p:cNvSpPr>
            <p:nvPr/>
          </p:nvSpPr>
          <p:spPr bwMode="auto">
            <a:xfrm>
              <a:off x="788988" y="1849438"/>
              <a:ext cx="38100" cy="58737"/>
            </a:xfrm>
            <a:custGeom>
              <a:avLst/>
              <a:gdLst/>
              <a:ahLst/>
              <a:cxnLst>
                <a:cxn ang="0">
                  <a:pos x="95" y="160"/>
                </a:cxn>
                <a:cxn ang="0">
                  <a:pos x="22" y="84"/>
                </a:cxn>
                <a:cxn ang="0">
                  <a:pos x="21" y="81"/>
                </a:cxn>
                <a:cxn ang="0">
                  <a:pos x="21" y="60"/>
                </a:cxn>
                <a:cxn ang="0">
                  <a:pos x="21" y="60"/>
                </a:cxn>
                <a:cxn ang="0">
                  <a:pos x="17" y="55"/>
                </a:cxn>
                <a:cxn ang="0">
                  <a:pos x="17" y="34"/>
                </a:cxn>
                <a:cxn ang="0">
                  <a:pos x="5" y="34"/>
                </a:cxn>
                <a:cxn ang="0">
                  <a:pos x="0" y="31"/>
                </a:cxn>
                <a:cxn ang="0">
                  <a:pos x="2" y="25"/>
                </a:cxn>
                <a:cxn ang="0">
                  <a:pos x="49" y="0"/>
                </a:cxn>
                <a:cxn ang="0">
                  <a:pos x="51" y="0"/>
                </a:cxn>
                <a:cxn ang="0">
                  <a:pos x="55" y="2"/>
                </a:cxn>
                <a:cxn ang="0">
                  <a:pos x="68" y="23"/>
                </a:cxn>
                <a:cxn ang="0">
                  <a:pos x="68" y="27"/>
                </a:cxn>
                <a:cxn ang="0">
                  <a:pos x="65" y="30"/>
                </a:cxn>
                <a:cxn ang="0">
                  <a:pos x="57" y="32"/>
                </a:cxn>
                <a:cxn ang="0">
                  <a:pos x="71" y="43"/>
                </a:cxn>
                <a:cxn ang="0">
                  <a:pos x="73" y="48"/>
                </a:cxn>
                <a:cxn ang="0">
                  <a:pos x="69" y="51"/>
                </a:cxn>
                <a:cxn ang="0">
                  <a:pos x="52" y="55"/>
                </a:cxn>
                <a:cxn ang="0">
                  <a:pos x="52" y="81"/>
                </a:cxn>
                <a:cxn ang="0">
                  <a:pos x="102" y="154"/>
                </a:cxn>
                <a:cxn ang="0">
                  <a:pos x="101" y="160"/>
                </a:cxn>
                <a:cxn ang="0">
                  <a:pos x="98" y="161"/>
                </a:cxn>
                <a:cxn ang="0">
                  <a:pos x="95" y="160"/>
                </a:cxn>
              </a:cxnLst>
              <a:rect l="0" t="0" r="r" b="b"/>
              <a:pathLst>
                <a:path w="104" h="162">
                  <a:moveTo>
                    <a:pt x="95" y="160"/>
                  </a:moveTo>
                  <a:lnTo>
                    <a:pt x="22" y="84"/>
                  </a:lnTo>
                  <a:cubicBezTo>
                    <a:pt x="22" y="83"/>
                    <a:pt x="21" y="82"/>
                    <a:pt x="21" y="81"/>
                  </a:cubicBezTo>
                  <a:lnTo>
                    <a:pt x="21" y="60"/>
                  </a:lnTo>
                  <a:lnTo>
                    <a:pt x="21" y="60"/>
                  </a:lnTo>
                  <a:cubicBezTo>
                    <a:pt x="19" y="59"/>
                    <a:pt x="17" y="57"/>
                    <a:pt x="17" y="55"/>
                  </a:cubicBezTo>
                  <a:lnTo>
                    <a:pt x="17" y="34"/>
                  </a:lnTo>
                  <a:lnTo>
                    <a:pt x="5" y="34"/>
                  </a:lnTo>
                  <a:cubicBezTo>
                    <a:pt x="3" y="34"/>
                    <a:pt x="1" y="33"/>
                    <a:pt x="0" y="31"/>
                  </a:cubicBezTo>
                  <a:cubicBezTo>
                    <a:pt x="0" y="29"/>
                    <a:pt x="1" y="27"/>
                    <a:pt x="2" y="25"/>
                  </a:cubicBezTo>
                  <a:lnTo>
                    <a:pt x="49" y="0"/>
                  </a:lnTo>
                  <a:cubicBezTo>
                    <a:pt x="50" y="0"/>
                    <a:pt x="51" y="0"/>
                    <a:pt x="51" y="0"/>
                  </a:cubicBezTo>
                  <a:cubicBezTo>
                    <a:pt x="53" y="0"/>
                    <a:pt x="54" y="0"/>
                    <a:pt x="55" y="2"/>
                  </a:cubicBezTo>
                  <a:lnTo>
                    <a:pt x="68" y="23"/>
                  </a:lnTo>
                  <a:cubicBezTo>
                    <a:pt x="69" y="24"/>
                    <a:pt x="69" y="26"/>
                    <a:pt x="68" y="27"/>
                  </a:cubicBezTo>
                  <a:cubicBezTo>
                    <a:pt x="68" y="29"/>
                    <a:pt x="67" y="30"/>
                    <a:pt x="65" y="30"/>
                  </a:cubicBezTo>
                  <a:lnTo>
                    <a:pt x="57" y="32"/>
                  </a:lnTo>
                  <a:lnTo>
                    <a:pt x="71" y="43"/>
                  </a:lnTo>
                  <a:cubicBezTo>
                    <a:pt x="73" y="44"/>
                    <a:pt x="73" y="46"/>
                    <a:pt x="73" y="48"/>
                  </a:cubicBezTo>
                  <a:cubicBezTo>
                    <a:pt x="72" y="50"/>
                    <a:pt x="71" y="51"/>
                    <a:pt x="69" y="51"/>
                  </a:cubicBezTo>
                  <a:lnTo>
                    <a:pt x="52" y="55"/>
                  </a:lnTo>
                  <a:lnTo>
                    <a:pt x="52" y="81"/>
                  </a:lnTo>
                  <a:lnTo>
                    <a:pt x="102" y="154"/>
                  </a:lnTo>
                  <a:cubicBezTo>
                    <a:pt x="103" y="156"/>
                    <a:pt x="103" y="159"/>
                    <a:pt x="101" y="160"/>
                  </a:cubicBezTo>
                  <a:cubicBezTo>
                    <a:pt x="100" y="161"/>
                    <a:pt x="99" y="161"/>
                    <a:pt x="98" y="161"/>
                  </a:cubicBezTo>
                  <a:cubicBezTo>
                    <a:pt x="97" y="161"/>
                    <a:pt x="95" y="161"/>
                    <a:pt x="95" y="16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6" name="Freeform 141"/>
            <p:cNvSpPr>
              <a:spLocks noChangeArrowheads="1"/>
            </p:cNvSpPr>
            <p:nvPr/>
          </p:nvSpPr>
          <p:spPr bwMode="auto">
            <a:xfrm>
              <a:off x="788988" y="1849438"/>
              <a:ext cx="38100" cy="58737"/>
            </a:xfrm>
            <a:custGeom>
              <a:avLst/>
              <a:gdLst/>
              <a:ahLst/>
              <a:cxnLst>
                <a:cxn ang="0">
                  <a:pos x="98" y="161"/>
                </a:cxn>
                <a:cxn ang="0">
                  <a:pos x="95" y="160"/>
                </a:cxn>
                <a:cxn ang="0">
                  <a:pos x="22" y="84"/>
                </a:cxn>
                <a:cxn ang="0">
                  <a:pos x="21" y="81"/>
                </a:cxn>
                <a:cxn ang="0">
                  <a:pos x="21" y="60"/>
                </a:cxn>
                <a:cxn ang="0">
                  <a:pos x="21" y="60"/>
                </a:cxn>
                <a:cxn ang="0">
                  <a:pos x="17" y="55"/>
                </a:cxn>
                <a:cxn ang="0">
                  <a:pos x="17" y="34"/>
                </a:cxn>
                <a:cxn ang="0">
                  <a:pos x="5" y="34"/>
                </a:cxn>
                <a:cxn ang="0">
                  <a:pos x="0" y="31"/>
                </a:cxn>
                <a:cxn ang="0">
                  <a:pos x="2" y="25"/>
                </a:cxn>
                <a:cxn ang="0">
                  <a:pos x="49" y="0"/>
                </a:cxn>
                <a:cxn ang="0">
                  <a:pos x="51" y="0"/>
                </a:cxn>
                <a:cxn ang="0">
                  <a:pos x="55" y="2"/>
                </a:cxn>
                <a:cxn ang="0">
                  <a:pos x="68" y="23"/>
                </a:cxn>
                <a:cxn ang="0">
                  <a:pos x="68" y="27"/>
                </a:cxn>
                <a:cxn ang="0">
                  <a:pos x="65" y="30"/>
                </a:cxn>
                <a:cxn ang="0">
                  <a:pos x="57" y="32"/>
                </a:cxn>
                <a:cxn ang="0">
                  <a:pos x="71" y="43"/>
                </a:cxn>
                <a:cxn ang="0">
                  <a:pos x="73" y="48"/>
                </a:cxn>
                <a:cxn ang="0">
                  <a:pos x="69" y="51"/>
                </a:cxn>
                <a:cxn ang="0">
                  <a:pos x="52" y="55"/>
                </a:cxn>
                <a:cxn ang="0">
                  <a:pos x="52" y="81"/>
                </a:cxn>
                <a:cxn ang="0">
                  <a:pos x="102" y="154"/>
                </a:cxn>
                <a:cxn ang="0">
                  <a:pos x="101" y="160"/>
                </a:cxn>
                <a:cxn ang="0">
                  <a:pos x="98" y="161"/>
                </a:cxn>
              </a:cxnLst>
              <a:rect l="0" t="0" r="r" b="b"/>
              <a:pathLst>
                <a:path w="104" h="162">
                  <a:moveTo>
                    <a:pt x="98" y="161"/>
                  </a:moveTo>
                  <a:cubicBezTo>
                    <a:pt x="97" y="161"/>
                    <a:pt x="95" y="161"/>
                    <a:pt x="95" y="160"/>
                  </a:cubicBezTo>
                  <a:lnTo>
                    <a:pt x="22" y="84"/>
                  </a:lnTo>
                  <a:cubicBezTo>
                    <a:pt x="22" y="83"/>
                    <a:pt x="21" y="82"/>
                    <a:pt x="21" y="81"/>
                  </a:cubicBezTo>
                  <a:lnTo>
                    <a:pt x="21" y="60"/>
                  </a:lnTo>
                  <a:lnTo>
                    <a:pt x="21" y="60"/>
                  </a:lnTo>
                  <a:cubicBezTo>
                    <a:pt x="19" y="59"/>
                    <a:pt x="17" y="57"/>
                    <a:pt x="17" y="55"/>
                  </a:cubicBezTo>
                  <a:lnTo>
                    <a:pt x="17" y="34"/>
                  </a:lnTo>
                  <a:lnTo>
                    <a:pt x="5" y="34"/>
                  </a:lnTo>
                  <a:cubicBezTo>
                    <a:pt x="3" y="34"/>
                    <a:pt x="1" y="33"/>
                    <a:pt x="0" y="31"/>
                  </a:cubicBezTo>
                  <a:cubicBezTo>
                    <a:pt x="0" y="29"/>
                    <a:pt x="1" y="27"/>
                    <a:pt x="2" y="25"/>
                  </a:cubicBezTo>
                  <a:lnTo>
                    <a:pt x="49" y="0"/>
                  </a:lnTo>
                  <a:cubicBezTo>
                    <a:pt x="50" y="0"/>
                    <a:pt x="51" y="0"/>
                    <a:pt x="51" y="0"/>
                  </a:cubicBezTo>
                  <a:cubicBezTo>
                    <a:pt x="53" y="0"/>
                    <a:pt x="54" y="0"/>
                    <a:pt x="55" y="2"/>
                  </a:cubicBezTo>
                  <a:lnTo>
                    <a:pt x="68" y="23"/>
                  </a:lnTo>
                  <a:cubicBezTo>
                    <a:pt x="69" y="24"/>
                    <a:pt x="69" y="26"/>
                    <a:pt x="68" y="27"/>
                  </a:cubicBezTo>
                  <a:cubicBezTo>
                    <a:pt x="68" y="29"/>
                    <a:pt x="67" y="30"/>
                    <a:pt x="65" y="30"/>
                  </a:cubicBezTo>
                  <a:lnTo>
                    <a:pt x="57" y="32"/>
                  </a:lnTo>
                  <a:lnTo>
                    <a:pt x="71" y="43"/>
                  </a:lnTo>
                  <a:cubicBezTo>
                    <a:pt x="73" y="44"/>
                    <a:pt x="73" y="46"/>
                    <a:pt x="73" y="48"/>
                  </a:cubicBezTo>
                  <a:cubicBezTo>
                    <a:pt x="72" y="50"/>
                    <a:pt x="71" y="51"/>
                    <a:pt x="69" y="51"/>
                  </a:cubicBezTo>
                  <a:lnTo>
                    <a:pt x="52" y="55"/>
                  </a:lnTo>
                  <a:lnTo>
                    <a:pt x="52" y="81"/>
                  </a:lnTo>
                  <a:lnTo>
                    <a:pt x="102" y="154"/>
                  </a:lnTo>
                  <a:cubicBezTo>
                    <a:pt x="103" y="156"/>
                    <a:pt x="103" y="159"/>
                    <a:pt x="101" y="160"/>
                  </a:cubicBezTo>
                  <a:cubicBezTo>
                    <a:pt x="100" y="161"/>
                    <a:pt x="99" y="161"/>
                    <a:pt x="98" y="16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7" name="Freeform 142"/>
            <p:cNvSpPr>
              <a:spLocks noChangeArrowheads="1"/>
            </p:cNvSpPr>
            <p:nvPr/>
          </p:nvSpPr>
          <p:spPr bwMode="auto">
            <a:xfrm>
              <a:off x="777875" y="1803400"/>
              <a:ext cx="34925" cy="55563"/>
            </a:xfrm>
            <a:custGeom>
              <a:avLst/>
              <a:gdLst/>
              <a:ahLst/>
              <a:cxnLst>
                <a:cxn ang="0">
                  <a:pos x="0" y="0"/>
                </a:cxn>
                <a:cxn ang="0">
                  <a:pos x="18" y="0"/>
                </a:cxn>
                <a:cxn ang="0">
                  <a:pos x="21" y="1"/>
                </a:cxn>
                <a:cxn ang="0">
                  <a:pos x="22" y="5"/>
                </a:cxn>
                <a:cxn ang="0">
                  <a:pos x="20" y="18"/>
                </a:cxn>
                <a:cxn ang="0">
                  <a:pos x="36" y="5"/>
                </a:cxn>
                <a:cxn ang="0">
                  <a:pos x="39" y="4"/>
                </a:cxn>
                <a:cxn ang="0">
                  <a:pos x="40" y="4"/>
                </a:cxn>
                <a:cxn ang="0">
                  <a:pos x="43" y="7"/>
                </a:cxn>
                <a:cxn ang="0">
                  <a:pos x="53" y="41"/>
                </a:cxn>
                <a:cxn ang="0">
                  <a:pos x="64" y="19"/>
                </a:cxn>
                <a:cxn ang="0">
                  <a:pos x="82" y="1"/>
                </a:cxn>
                <a:cxn ang="0">
                  <a:pos x="86" y="0"/>
                </a:cxn>
                <a:cxn ang="0">
                  <a:pos x="87" y="0"/>
                </a:cxn>
                <a:cxn ang="0">
                  <a:pos x="90" y="3"/>
                </a:cxn>
                <a:cxn ang="0">
                  <a:pos x="98" y="24"/>
                </a:cxn>
                <a:cxn ang="0">
                  <a:pos x="82" y="115"/>
                </a:cxn>
                <a:cxn ang="0">
                  <a:pos x="80" y="118"/>
                </a:cxn>
                <a:cxn ang="0">
                  <a:pos x="38" y="152"/>
                </a:cxn>
                <a:cxn ang="0">
                  <a:pos x="35" y="153"/>
                </a:cxn>
                <a:cxn ang="0">
                  <a:pos x="33" y="153"/>
                </a:cxn>
                <a:cxn ang="0">
                  <a:pos x="30" y="149"/>
                </a:cxn>
                <a:cxn ang="0">
                  <a:pos x="22" y="116"/>
                </a:cxn>
                <a:cxn ang="0">
                  <a:pos x="22" y="112"/>
                </a:cxn>
                <a:cxn ang="0">
                  <a:pos x="28" y="100"/>
                </a:cxn>
                <a:cxn ang="0">
                  <a:pos x="0" y="87"/>
                </a:cxn>
                <a:cxn ang="0">
                  <a:pos x="0" y="0"/>
                </a:cxn>
              </a:cxnLst>
              <a:rect l="0" t="0" r="r" b="b"/>
              <a:pathLst>
                <a:path w="99" h="154">
                  <a:moveTo>
                    <a:pt x="0" y="0"/>
                  </a:moveTo>
                  <a:lnTo>
                    <a:pt x="18" y="0"/>
                  </a:lnTo>
                  <a:cubicBezTo>
                    <a:pt x="19" y="0"/>
                    <a:pt x="20" y="0"/>
                    <a:pt x="21" y="1"/>
                  </a:cubicBezTo>
                  <a:cubicBezTo>
                    <a:pt x="22" y="2"/>
                    <a:pt x="23" y="4"/>
                    <a:pt x="22" y="5"/>
                  </a:cubicBezTo>
                  <a:lnTo>
                    <a:pt x="20" y="18"/>
                  </a:lnTo>
                  <a:lnTo>
                    <a:pt x="36" y="5"/>
                  </a:lnTo>
                  <a:cubicBezTo>
                    <a:pt x="37" y="4"/>
                    <a:pt x="38" y="4"/>
                    <a:pt x="39" y="4"/>
                  </a:cubicBezTo>
                  <a:lnTo>
                    <a:pt x="40" y="4"/>
                  </a:lnTo>
                  <a:cubicBezTo>
                    <a:pt x="42" y="5"/>
                    <a:pt x="43" y="6"/>
                    <a:pt x="43" y="7"/>
                  </a:cubicBezTo>
                  <a:lnTo>
                    <a:pt x="53" y="41"/>
                  </a:lnTo>
                  <a:lnTo>
                    <a:pt x="64" y="19"/>
                  </a:lnTo>
                  <a:lnTo>
                    <a:pt x="82" y="1"/>
                  </a:lnTo>
                  <a:cubicBezTo>
                    <a:pt x="83" y="0"/>
                    <a:pt x="84" y="0"/>
                    <a:pt x="86" y="0"/>
                  </a:cubicBezTo>
                  <a:cubicBezTo>
                    <a:pt x="86" y="0"/>
                    <a:pt x="86" y="0"/>
                    <a:pt x="87" y="0"/>
                  </a:cubicBezTo>
                  <a:cubicBezTo>
                    <a:pt x="88" y="0"/>
                    <a:pt x="89" y="1"/>
                    <a:pt x="90" y="3"/>
                  </a:cubicBezTo>
                  <a:lnTo>
                    <a:pt x="98" y="24"/>
                  </a:lnTo>
                  <a:lnTo>
                    <a:pt x="82" y="115"/>
                  </a:lnTo>
                  <a:cubicBezTo>
                    <a:pt x="81" y="116"/>
                    <a:pt x="81" y="117"/>
                    <a:pt x="80" y="118"/>
                  </a:cubicBezTo>
                  <a:lnTo>
                    <a:pt x="38" y="152"/>
                  </a:lnTo>
                  <a:cubicBezTo>
                    <a:pt x="37" y="153"/>
                    <a:pt x="36" y="153"/>
                    <a:pt x="35" y="153"/>
                  </a:cubicBezTo>
                  <a:lnTo>
                    <a:pt x="33" y="153"/>
                  </a:lnTo>
                  <a:cubicBezTo>
                    <a:pt x="32" y="152"/>
                    <a:pt x="31" y="151"/>
                    <a:pt x="30" y="149"/>
                  </a:cubicBezTo>
                  <a:lnTo>
                    <a:pt x="22" y="116"/>
                  </a:lnTo>
                  <a:cubicBezTo>
                    <a:pt x="21" y="114"/>
                    <a:pt x="22" y="113"/>
                    <a:pt x="22" y="112"/>
                  </a:cubicBezTo>
                  <a:lnTo>
                    <a:pt x="28" y="100"/>
                  </a:lnTo>
                  <a:lnTo>
                    <a:pt x="0" y="87"/>
                  </a:lnTo>
                  <a:lnTo>
                    <a:pt x="0"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8" name="Freeform 143"/>
            <p:cNvSpPr>
              <a:spLocks noChangeArrowheads="1"/>
            </p:cNvSpPr>
            <p:nvPr/>
          </p:nvSpPr>
          <p:spPr bwMode="auto">
            <a:xfrm>
              <a:off x="777875" y="1803400"/>
              <a:ext cx="34925" cy="55563"/>
            </a:xfrm>
            <a:custGeom>
              <a:avLst/>
              <a:gdLst/>
              <a:ahLst/>
              <a:cxnLst>
                <a:cxn ang="0">
                  <a:pos x="0" y="0"/>
                </a:cxn>
                <a:cxn ang="0">
                  <a:pos x="18" y="0"/>
                </a:cxn>
                <a:cxn ang="0">
                  <a:pos x="21" y="1"/>
                </a:cxn>
                <a:cxn ang="0">
                  <a:pos x="22" y="5"/>
                </a:cxn>
                <a:cxn ang="0">
                  <a:pos x="20" y="18"/>
                </a:cxn>
                <a:cxn ang="0">
                  <a:pos x="36" y="5"/>
                </a:cxn>
                <a:cxn ang="0">
                  <a:pos x="39" y="4"/>
                </a:cxn>
                <a:cxn ang="0">
                  <a:pos x="40" y="4"/>
                </a:cxn>
                <a:cxn ang="0">
                  <a:pos x="43" y="7"/>
                </a:cxn>
                <a:cxn ang="0">
                  <a:pos x="53" y="41"/>
                </a:cxn>
                <a:cxn ang="0">
                  <a:pos x="64" y="19"/>
                </a:cxn>
                <a:cxn ang="0">
                  <a:pos x="82" y="1"/>
                </a:cxn>
                <a:cxn ang="0">
                  <a:pos x="86" y="0"/>
                </a:cxn>
                <a:cxn ang="0">
                  <a:pos x="87" y="0"/>
                </a:cxn>
                <a:cxn ang="0">
                  <a:pos x="90" y="3"/>
                </a:cxn>
                <a:cxn ang="0">
                  <a:pos x="98" y="24"/>
                </a:cxn>
                <a:cxn ang="0">
                  <a:pos x="82" y="115"/>
                </a:cxn>
                <a:cxn ang="0">
                  <a:pos x="80" y="118"/>
                </a:cxn>
                <a:cxn ang="0">
                  <a:pos x="38" y="152"/>
                </a:cxn>
                <a:cxn ang="0">
                  <a:pos x="35" y="153"/>
                </a:cxn>
                <a:cxn ang="0">
                  <a:pos x="33" y="153"/>
                </a:cxn>
                <a:cxn ang="0">
                  <a:pos x="30" y="149"/>
                </a:cxn>
                <a:cxn ang="0">
                  <a:pos x="22" y="116"/>
                </a:cxn>
                <a:cxn ang="0">
                  <a:pos x="22" y="112"/>
                </a:cxn>
                <a:cxn ang="0">
                  <a:pos x="28" y="100"/>
                </a:cxn>
                <a:cxn ang="0">
                  <a:pos x="0" y="87"/>
                </a:cxn>
                <a:cxn ang="0">
                  <a:pos x="0" y="0"/>
                </a:cxn>
              </a:cxnLst>
              <a:rect l="0" t="0" r="r" b="b"/>
              <a:pathLst>
                <a:path w="99" h="154">
                  <a:moveTo>
                    <a:pt x="0" y="0"/>
                  </a:moveTo>
                  <a:lnTo>
                    <a:pt x="18" y="0"/>
                  </a:lnTo>
                  <a:cubicBezTo>
                    <a:pt x="19" y="0"/>
                    <a:pt x="20" y="0"/>
                    <a:pt x="21" y="1"/>
                  </a:cubicBezTo>
                  <a:cubicBezTo>
                    <a:pt x="22" y="2"/>
                    <a:pt x="23" y="4"/>
                    <a:pt x="22" y="5"/>
                  </a:cubicBezTo>
                  <a:lnTo>
                    <a:pt x="20" y="18"/>
                  </a:lnTo>
                  <a:lnTo>
                    <a:pt x="36" y="5"/>
                  </a:lnTo>
                  <a:cubicBezTo>
                    <a:pt x="37" y="4"/>
                    <a:pt x="38" y="4"/>
                    <a:pt x="39" y="4"/>
                  </a:cubicBezTo>
                  <a:lnTo>
                    <a:pt x="40" y="4"/>
                  </a:lnTo>
                  <a:cubicBezTo>
                    <a:pt x="42" y="5"/>
                    <a:pt x="43" y="6"/>
                    <a:pt x="43" y="7"/>
                  </a:cubicBezTo>
                  <a:lnTo>
                    <a:pt x="53" y="41"/>
                  </a:lnTo>
                  <a:lnTo>
                    <a:pt x="64" y="19"/>
                  </a:lnTo>
                  <a:lnTo>
                    <a:pt x="82" y="1"/>
                  </a:lnTo>
                  <a:cubicBezTo>
                    <a:pt x="83" y="0"/>
                    <a:pt x="84" y="0"/>
                    <a:pt x="86" y="0"/>
                  </a:cubicBezTo>
                  <a:cubicBezTo>
                    <a:pt x="86" y="0"/>
                    <a:pt x="86" y="0"/>
                    <a:pt x="87" y="0"/>
                  </a:cubicBezTo>
                  <a:cubicBezTo>
                    <a:pt x="88" y="0"/>
                    <a:pt x="89" y="1"/>
                    <a:pt x="90" y="3"/>
                  </a:cubicBezTo>
                  <a:lnTo>
                    <a:pt x="98" y="24"/>
                  </a:lnTo>
                  <a:lnTo>
                    <a:pt x="82" y="115"/>
                  </a:lnTo>
                  <a:cubicBezTo>
                    <a:pt x="81" y="116"/>
                    <a:pt x="81" y="117"/>
                    <a:pt x="80" y="118"/>
                  </a:cubicBezTo>
                  <a:lnTo>
                    <a:pt x="38" y="152"/>
                  </a:lnTo>
                  <a:cubicBezTo>
                    <a:pt x="37" y="153"/>
                    <a:pt x="36" y="153"/>
                    <a:pt x="35" y="153"/>
                  </a:cubicBezTo>
                  <a:lnTo>
                    <a:pt x="33" y="153"/>
                  </a:lnTo>
                  <a:cubicBezTo>
                    <a:pt x="32" y="152"/>
                    <a:pt x="31" y="151"/>
                    <a:pt x="30" y="149"/>
                  </a:cubicBezTo>
                  <a:lnTo>
                    <a:pt x="22" y="116"/>
                  </a:lnTo>
                  <a:cubicBezTo>
                    <a:pt x="21" y="114"/>
                    <a:pt x="22" y="113"/>
                    <a:pt x="22" y="112"/>
                  </a:cubicBezTo>
                  <a:lnTo>
                    <a:pt x="28" y="100"/>
                  </a:lnTo>
                  <a:lnTo>
                    <a:pt x="0" y="87"/>
                  </a:lnTo>
                  <a:lnTo>
                    <a:pt x="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49" name="Freeform 144"/>
            <p:cNvSpPr>
              <a:spLocks noChangeArrowheads="1"/>
            </p:cNvSpPr>
            <p:nvPr/>
          </p:nvSpPr>
          <p:spPr bwMode="auto">
            <a:xfrm>
              <a:off x="2717800" y="1444625"/>
              <a:ext cx="17463" cy="20638"/>
            </a:xfrm>
            <a:custGeom>
              <a:avLst/>
              <a:gdLst/>
              <a:ahLst/>
              <a:cxnLst>
                <a:cxn ang="0">
                  <a:pos x="2" y="56"/>
                </a:cxn>
                <a:cxn ang="0">
                  <a:pos x="0" y="51"/>
                </a:cxn>
                <a:cxn ang="0">
                  <a:pos x="4" y="21"/>
                </a:cxn>
                <a:cxn ang="0">
                  <a:pos x="7" y="18"/>
                </a:cxn>
                <a:cxn ang="0">
                  <a:pos x="41" y="1"/>
                </a:cxn>
                <a:cxn ang="0">
                  <a:pos x="43" y="0"/>
                </a:cxn>
                <a:cxn ang="0">
                  <a:pos x="45" y="1"/>
                </a:cxn>
                <a:cxn ang="0">
                  <a:pos x="47" y="5"/>
                </a:cxn>
                <a:cxn ang="0">
                  <a:pos x="47" y="26"/>
                </a:cxn>
                <a:cxn ang="0">
                  <a:pos x="45" y="30"/>
                </a:cxn>
                <a:cxn ang="0">
                  <a:pos x="7" y="56"/>
                </a:cxn>
                <a:cxn ang="0">
                  <a:pos x="5" y="56"/>
                </a:cxn>
                <a:cxn ang="0">
                  <a:pos x="2" y="56"/>
                </a:cxn>
              </a:cxnLst>
              <a:rect l="0" t="0" r="r" b="b"/>
              <a:pathLst>
                <a:path w="48" h="57">
                  <a:moveTo>
                    <a:pt x="2" y="56"/>
                  </a:moveTo>
                  <a:cubicBezTo>
                    <a:pt x="1" y="55"/>
                    <a:pt x="0" y="53"/>
                    <a:pt x="0" y="51"/>
                  </a:cubicBezTo>
                  <a:lnTo>
                    <a:pt x="4" y="21"/>
                  </a:lnTo>
                  <a:cubicBezTo>
                    <a:pt x="4" y="20"/>
                    <a:pt x="5" y="19"/>
                    <a:pt x="7" y="18"/>
                  </a:cubicBezTo>
                  <a:lnTo>
                    <a:pt x="41" y="1"/>
                  </a:lnTo>
                  <a:cubicBezTo>
                    <a:pt x="41" y="1"/>
                    <a:pt x="42" y="0"/>
                    <a:pt x="43" y="0"/>
                  </a:cubicBezTo>
                  <a:cubicBezTo>
                    <a:pt x="43" y="0"/>
                    <a:pt x="44" y="1"/>
                    <a:pt x="45" y="1"/>
                  </a:cubicBezTo>
                  <a:cubicBezTo>
                    <a:pt x="46" y="2"/>
                    <a:pt x="47" y="4"/>
                    <a:pt x="47" y="5"/>
                  </a:cubicBezTo>
                  <a:lnTo>
                    <a:pt x="47" y="26"/>
                  </a:lnTo>
                  <a:cubicBezTo>
                    <a:pt x="47" y="28"/>
                    <a:pt x="47" y="29"/>
                    <a:pt x="45" y="30"/>
                  </a:cubicBezTo>
                  <a:lnTo>
                    <a:pt x="7" y="56"/>
                  </a:lnTo>
                  <a:cubicBezTo>
                    <a:pt x="7" y="56"/>
                    <a:pt x="6" y="56"/>
                    <a:pt x="5" y="56"/>
                  </a:cubicBezTo>
                  <a:cubicBezTo>
                    <a:pt x="4" y="56"/>
                    <a:pt x="3" y="56"/>
                    <a:pt x="2" y="5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0" name="Freeform 145"/>
            <p:cNvSpPr>
              <a:spLocks noChangeArrowheads="1"/>
            </p:cNvSpPr>
            <p:nvPr/>
          </p:nvSpPr>
          <p:spPr bwMode="auto">
            <a:xfrm>
              <a:off x="2717800" y="1444625"/>
              <a:ext cx="17463" cy="20638"/>
            </a:xfrm>
            <a:custGeom>
              <a:avLst/>
              <a:gdLst/>
              <a:ahLst/>
              <a:cxnLst>
                <a:cxn ang="0">
                  <a:pos x="5" y="56"/>
                </a:cxn>
                <a:cxn ang="0">
                  <a:pos x="2" y="56"/>
                </a:cxn>
                <a:cxn ang="0">
                  <a:pos x="0" y="51"/>
                </a:cxn>
                <a:cxn ang="0">
                  <a:pos x="4" y="21"/>
                </a:cxn>
                <a:cxn ang="0">
                  <a:pos x="7" y="18"/>
                </a:cxn>
                <a:cxn ang="0">
                  <a:pos x="41" y="1"/>
                </a:cxn>
                <a:cxn ang="0">
                  <a:pos x="43" y="0"/>
                </a:cxn>
                <a:cxn ang="0">
                  <a:pos x="45" y="1"/>
                </a:cxn>
                <a:cxn ang="0">
                  <a:pos x="47" y="5"/>
                </a:cxn>
                <a:cxn ang="0">
                  <a:pos x="47" y="26"/>
                </a:cxn>
                <a:cxn ang="0">
                  <a:pos x="45" y="30"/>
                </a:cxn>
                <a:cxn ang="0">
                  <a:pos x="7" y="56"/>
                </a:cxn>
                <a:cxn ang="0">
                  <a:pos x="5" y="56"/>
                </a:cxn>
              </a:cxnLst>
              <a:rect l="0" t="0" r="r" b="b"/>
              <a:pathLst>
                <a:path w="48" h="57">
                  <a:moveTo>
                    <a:pt x="5" y="56"/>
                  </a:moveTo>
                  <a:cubicBezTo>
                    <a:pt x="4" y="56"/>
                    <a:pt x="3" y="56"/>
                    <a:pt x="2" y="56"/>
                  </a:cubicBezTo>
                  <a:cubicBezTo>
                    <a:pt x="1" y="55"/>
                    <a:pt x="0" y="53"/>
                    <a:pt x="0" y="51"/>
                  </a:cubicBezTo>
                  <a:lnTo>
                    <a:pt x="4" y="21"/>
                  </a:lnTo>
                  <a:cubicBezTo>
                    <a:pt x="4" y="20"/>
                    <a:pt x="5" y="19"/>
                    <a:pt x="7" y="18"/>
                  </a:cubicBezTo>
                  <a:lnTo>
                    <a:pt x="41" y="1"/>
                  </a:lnTo>
                  <a:cubicBezTo>
                    <a:pt x="41" y="1"/>
                    <a:pt x="42" y="0"/>
                    <a:pt x="43" y="0"/>
                  </a:cubicBezTo>
                  <a:cubicBezTo>
                    <a:pt x="43" y="0"/>
                    <a:pt x="44" y="1"/>
                    <a:pt x="45" y="1"/>
                  </a:cubicBezTo>
                  <a:cubicBezTo>
                    <a:pt x="46" y="2"/>
                    <a:pt x="47" y="4"/>
                    <a:pt x="47" y="5"/>
                  </a:cubicBezTo>
                  <a:lnTo>
                    <a:pt x="47" y="26"/>
                  </a:lnTo>
                  <a:cubicBezTo>
                    <a:pt x="47" y="28"/>
                    <a:pt x="47" y="29"/>
                    <a:pt x="45" y="30"/>
                  </a:cubicBezTo>
                  <a:lnTo>
                    <a:pt x="7" y="56"/>
                  </a:lnTo>
                  <a:cubicBezTo>
                    <a:pt x="7" y="56"/>
                    <a:pt x="6" y="56"/>
                    <a:pt x="5" y="5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1" name="Freeform 146"/>
            <p:cNvSpPr>
              <a:spLocks noChangeArrowheads="1"/>
            </p:cNvSpPr>
            <p:nvPr/>
          </p:nvSpPr>
          <p:spPr bwMode="auto">
            <a:xfrm>
              <a:off x="2270125" y="2187575"/>
              <a:ext cx="44450" cy="22225"/>
            </a:xfrm>
            <a:custGeom>
              <a:avLst/>
              <a:gdLst/>
              <a:ahLst/>
              <a:cxnLst>
                <a:cxn ang="0">
                  <a:pos x="105" y="60"/>
                </a:cxn>
                <a:cxn ang="0">
                  <a:pos x="3" y="17"/>
                </a:cxn>
                <a:cxn ang="0">
                  <a:pos x="1" y="12"/>
                </a:cxn>
                <a:cxn ang="0">
                  <a:pos x="5" y="8"/>
                </a:cxn>
                <a:cxn ang="0">
                  <a:pos x="94" y="8"/>
                </a:cxn>
                <a:cxn ang="0">
                  <a:pos x="109" y="0"/>
                </a:cxn>
                <a:cxn ang="0">
                  <a:pos x="111" y="0"/>
                </a:cxn>
                <a:cxn ang="0">
                  <a:pos x="113" y="0"/>
                </a:cxn>
                <a:cxn ang="0">
                  <a:pos x="116" y="3"/>
                </a:cxn>
                <a:cxn ang="0">
                  <a:pos x="124" y="42"/>
                </a:cxn>
                <a:cxn ang="0">
                  <a:pos x="123" y="46"/>
                </a:cxn>
                <a:cxn ang="0">
                  <a:pos x="110" y="59"/>
                </a:cxn>
                <a:cxn ang="0">
                  <a:pos x="107" y="60"/>
                </a:cxn>
                <a:cxn ang="0">
                  <a:pos x="105" y="60"/>
                </a:cxn>
              </a:cxnLst>
              <a:rect l="0" t="0" r="r" b="b"/>
              <a:pathLst>
                <a:path w="125" h="61">
                  <a:moveTo>
                    <a:pt x="105" y="60"/>
                  </a:moveTo>
                  <a:lnTo>
                    <a:pt x="3" y="17"/>
                  </a:lnTo>
                  <a:cubicBezTo>
                    <a:pt x="1" y="16"/>
                    <a:pt x="0" y="14"/>
                    <a:pt x="1" y="12"/>
                  </a:cubicBezTo>
                  <a:cubicBezTo>
                    <a:pt x="1" y="10"/>
                    <a:pt x="3" y="8"/>
                    <a:pt x="5" y="8"/>
                  </a:cubicBezTo>
                  <a:lnTo>
                    <a:pt x="94" y="8"/>
                  </a:lnTo>
                  <a:lnTo>
                    <a:pt x="109" y="0"/>
                  </a:lnTo>
                  <a:cubicBezTo>
                    <a:pt x="110" y="0"/>
                    <a:pt x="110" y="0"/>
                    <a:pt x="111" y="0"/>
                  </a:cubicBezTo>
                  <a:cubicBezTo>
                    <a:pt x="112" y="0"/>
                    <a:pt x="112" y="0"/>
                    <a:pt x="113" y="0"/>
                  </a:cubicBezTo>
                  <a:cubicBezTo>
                    <a:pt x="114" y="1"/>
                    <a:pt x="115" y="2"/>
                    <a:pt x="116" y="3"/>
                  </a:cubicBezTo>
                  <a:lnTo>
                    <a:pt x="124" y="42"/>
                  </a:lnTo>
                  <a:cubicBezTo>
                    <a:pt x="124" y="43"/>
                    <a:pt x="124" y="45"/>
                    <a:pt x="123" y="46"/>
                  </a:cubicBezTo>
                  <a:lnTo>
                    <a:pt x="110" y="59"/>
                  </a:lnTo>
                  <a:cubicBezTo>
                    <a:pt x="109" y="59"/>
                    <a:pt x="108" y="60"/>
                    <a:pt x="107" y="60"/>
                  </a:cubicBezTo>
                  <a:cubicBezTo>
                    <a:pt x="106" y="60"/>
                    <a:pt x="106" y="60"/>
                    <a:pt x="105" y="6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2" name="Freeform 147"/>
            <p:cNvSpPr>
              <a:spLocks noChangeArrowheads="1"/>
            </p:cNvSpPr>
            <p:nvPr/>
          </p:nvSpPr>
          <p:spPr bwMode="auto">
            <a:xfrm>
              <a:off x="2270125" y="2187575"/>
              <a:ext cx="44450" cy="22225"/>
            </a:xfrm>
            <a:custGeom>
              <a:avLst/>
              <a:gdLst/>
              <a:ahLst/>
              <a:cxnLst>
                <a:cxn ang="0">
                  <a:pos x="107" y="60"/>
                </a:cxn>
                <a:cxn ang="0">
                  <a:pos x="105" y="60"/>
                </a:cxn>
                <a:cxn ang="0">
                  <a:pos x="3" y="17"/>
                </a:cxn>
                <a:cxn ang="0">
                  <a:pos x="1" y="12"/>
                </a:cxn>
                <a:cxn ang="0">
                  <a:pos x="5" y="8"/>
                </a:cxn>
                <a:cxn ang="0">
                  <a:pos x="94" y="8"/>
                </a:cxn>
                <a:cxn ang="0">
                  <a:pos x="109" y="0"/>
                </a:cxn>
                <a:cxn ang="0">
                  <a:pos x="111" y="0"/>
                </a:cxn>
                <a:cxn ang="0">
                  <a:pos x="113" y="0"/>
                </a:cxn>
                <a:cxn ang="0">
                  <a:pos x="116" y="3"/>
                </a:cxn>
                <a:cxn ang="0">
                  <a:pos x="124" y="42"/>
                </a:cxn>
                <a:cxn ang="0">
                  <a:pos x="123" y="46"/>
                </a:cxn>
                <a:cxn ang="0">
                  <a:pos x="110" y="59"/>
                </a:cxn>
                <a:cxn ang="0">
                  <a:pos x="107" y="60"/>
                </a:cxn>
              </a:cxnLst>
              <a:rect l="0" t="0" r="r" b="b"/>
              <a:pathLst>
                <a:path w="125" h="61">
                  <a:moveTo>
                    <a:pt x="107" y="60"/>
                  </a:moveTo>
                  <a:cubicBezTo>
                    <a:pt x="106" y="60"/>
                    <a:pt x="106" y="60"/>
                    <a:pt x="105" y="60"/>
                  </a:cubicBezTo>
                  <a:lnTo>
                    <a:pt x="3" y="17"/>
                  </a:lnTo>
                  <a:cubicBezTo>
                    <a:pt x="1" y="16"/>
                    <a:pt x="0" y="14"/>
                    <a:pt x="1" y="12"/>
                  </a:cubicBezTo>
                  <a:cubicBezTo>
                    <a:pt x="1" y="10"/>
                    <a:pt x="3" y="8"/>
                    <a:pt x="5" y="8"/>
                  </a:cubicBezTo>
                  <a:lnTo>
                    <a:pt x="94" y="8"/>
                  </a:lnTo>
                  <a:lnTo>
                    <a:pt x="109" y="0"/>
                  </a:lnTo>
                  <a:cubicBezTo>
                    <a:pt x="110" y="0"/>
                    <a:pt x="110" y="0"/>
                    <a:pt x="111" y="0"/>
                  </a:cubicBezTo>
                  <a:cubicBezTo>
                    <a:pt x="112" y="0"/>
                    <a:pt x="112" y="0"/>
                    <a:pt x="113" y="0"/>
                  </a:cubicBezTo>
                  <a:cubicBezTo>
                    <a:pt x="114" y="1"/>
                    <a:pt x="115" y="2"/>
                    <a:pt x="116" y="3"/>
                  </a:cubicBezTo>
                  <a:lnTo>
                    <a:pt x="124" y="42"/>
                  </a:lnTo>
                  <a:cubicBezTo>
                    <a:pt x="124" y="43"/>
                    <a:pt x="124" y="45"/>
                    <a:pt x="123" y="46"/>
                  </a:cubicBezTo>
                  <a:lnTo>
                    <a:pt x="110" y="59"/>
                  </a:lnTo>
                  <a:cubicBezTo>
                    <a:pt x="109" y="59"/>
                    <a:pt x="108" y="60"/>
                    <a:pt x="107" y="6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3" name="Freeform 148"/>
            <p:cNvSpPr>
              <a:spLocks noChangeArrowheads="1"/>
            </p:cNvSpPr>
            <p:nvPr/>
          </p:nvSpPr>
          <p:spPr bwMode="auto">
            <a:xfrm>
              <a:off x="2301875" y="1857375"/>
              <a:ext cx="46038" cy="25400"/>
            </a:xfrm>
            <a:custGeom>
              <a:avLst/>
              <a:gdLst/>
              <a:ahLst/>
              <a:cxnLst>
                <a:cxn ang="0">
                  <a:pos x="3" y="26"/>
                </a:cxn>
                <a:cxn ang="0">
                  <a:pos x="1" y="23"/>
                </a:cxn>
                <a:cxn ang="0">
                  <a:pos x="1" y="19"/>
                </a:cxn>
                <a:cxn ang="0">
                  <a:pos x="9" y="2"/>
                </a:cxn>
                <a:cxn ang="0">
                  <a:pos x="14" y="0"/>
                </a:cxn>
                <a:cxn ang="0">
                  <a:pos x="90" y="0"/>
                </a:cxn>
                <a:cxn ang="0">
                  <a:pos x="94" y="2"/>
                </a:cxn>
                <a:cxn ang="0">
                  <a:pos x="124" y="62"/>
                </a:cxn>
                <a:cxn ang="0">
                  <a:pos x="123" y="67"/>
                </a:cxn>
                <a:cxn ang="0">
                  <a:pos x="119" y="68"/>
                </a:cxn>
                <a:cxn ang="0">
                  <a:pos x="118" y="68"/>
                </a:cxn>
                <a:cxn ang="0">
                  <a:pos x="3" y="26"/>
                </a:cxn>
              </a:cxnLst>
              <a:rect l="0" t="0" r="r" b="b"/>
              <a:pathLst>
                <a:path w="126" h="69">
                  <a:moveTo>
                    <a:pt x="3" y="26"/>
                  </a:moveTo>
                  <a:cubicBezTo>
                    <a:pt x="2" y="25"/>
                    <a:pt x="1" y="24"/>
                    <a:pt x="1" y="23"/>
                  </a:cubicBezTo>
                  <a:cubicBezTo>
                    <a:pt x="0" y="22"/>
                    <a:pt x="0" y="20"/>
                    <a:pt x="1" y="19"/>
                  </a:cubicBezTo>
                  <a:lnTo>
                    <a:pt x="9" y="2"/>
                  </a:lnTo>
                  <a:cubicBezTo>
                    <a:pt x="10" y="1"/>
                    <a:pt x="12" y="0"/>
                    <a:pt x="14" y="0"/>
                  </a:cubicBezTo>
                  <a:lnTo>
                    <a:pt x="90" y="0"/>
                  </a:lnTo>
                  <a:cubicBezTo>
                    <a:pt x="92" y="0"/>
                    <a:pt x="93" y="1"/>
                    <a:pt x="94" y="2"/>
                  </a:cubicBezTo>
                  <a:lnTo>
                    <a:pt x="124" y="62"/>
                  </a:lnTo>
                  <a:cubicBezTo>
                    <a:pt x="125" y="63"/>
                    <a:pt x="124" y="65"/>
                    <a:pt x="123" y="67"/>
                  </a:cubicBezTo>
                  <a:cubicBezTo>
                    <a:pt x="122" y="68"/>
                    <a:pt x="121" y="68"/>
                    <a:pt x="119" y="68"/>
                  </a:cubicBezTo>
                  <a:lnTo>
                    <a:pt x="118" y="68"/>
                  </a:lnTo>
                  <a:lnTo>
                    <a:pt x="3"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4" name="Freeform 149"/>
            <p:cNvSpPr>
              <a:spLocks noChangeArrowheads="1"/>
            </p:cNvSpPr>
            <p:nvPr/>
          </p:nvSpPr>
          <p:spPr bwMode="auto">
            <a:xfrm>
              <a:off x="2301875" y="1857375"/>
              <a:ext cx="46038" cy="25400"/>
            </a:xfrm>
            <a:custGeom>
              <a:avLst/>
              <a:gdLst/>
              <a:ahLst/>
              <a:cxnLst>
                <a:cxn ang="0">
                  <a:pos x="118" y="68"/>
                </a:cxn>
                <a:cxn ang="0">
                  <a:pos x="3" y="26"/>
                </a:cxn>
                <a:cxn ang="0">
                  <a:pos x="1" y="23"/>
                </a:cxn>
                <a:cxn ang="0">
                  <a:pos x="1" y="19"/>
                </a:cxn>
                <a:cxn ang="0">
                  <a:pos x="9" y="2"/>
                </a:cxn>
                <a:cxn ang="0">
                  <a:pos x="14" y="0"/>
                </a:cxn>
                <a:cxn ang="0">
                  <a:pos x="90" y="0"/>
                </a:cxn>
                <a:cxn ang="0">
                  <a:pos x="94" y="2"/>
                </a:cxn>
                <a:cxn ang="0">
                  <a:pos x="124" y="62"/>
                </a:cxn>
                <a:cxn ang="0">
                  <a:pos x="123" y="67"/>
                </a:cxn>
                <a:cxn ang="0">
                  <a:pos x="119" y="68"/>
                </a:cxn>
                <a:cxn ang="0">
                  <a:pos x="118" y="68"/>
                </a:cxn>
              </a:cxnLst>
              <a:rect l="0" t="0" r="r" b="b"/>
              <a:pathLst>
                <a:path w="126" h="69">
                  <a:moveTo>
                    <a:pt x="118" y="68"/>
                  </a:moveTo>
                  <a:lnTo>
                    <a:pt x="3" y="26"/>
                  </a:lnTo>
                  <a:cubicBezTo>
                    <a:pt x="2" y="25"/>
                    <a:pt x="1" y="24"/>
                    <a:pt x="1" y="23"/>
                  </a:cubicBezTo>
                  <a:cubicBezTo>
                    <a:pt x="0" y="22"/>
                    <a:pt x="0" y="20"/>
                    <a:pt x="1" y="19"/>
                  </a:cubicBezTo>
                  <a:lnTo>
                    <a:pt x="9" y="2"/>
                  </a:lnTo>
                  <a:cubicBezTo>
                    <a:pt x="10" y="1"/>
                    <a:pt x="12" y="0"/>
                    <a:pt x="14" y="0"/>
                  </a:cubicBezTo>
                  <a:lnTo>
                    <a:pt x="90" y="0"/>
                  </a:lnTo>
                  <a:cubicBezTo>
                    <a:pt x="92" y="0"/>
                    <a:pt x="93" y="1"/>
                    <a:pt x="94" y="2"/>
                  </a:cubicBezTo>
                  <a:lnTo>
                    <a:pt x="124" y="62"/>
                  </a:lnTo>
                  <a:cubicBezTo>
                    <a:pt x="125" y="63"/>
                    <a:pt x="124" y="65"/>
                    <a:pt x="123" y="67"/>
                  </a:cubicBezTo>
                  <a:cubicBezTo>
                    <a:pt x="122" y="68"/>
                    <a:pt x="121" y="68"/>
                    <a:pt x="119" y="68"/>
                  </a:cubicBezTo>
                  <a:lnTo>
                    <a:pt x="118" y="6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5" name="Freeform 150"/>
            <p:cNvSpPr>
              <a:spLocks noChangeArrowheads="1"/>
            </p:cNvSpPr>
            <p:nvPr/>
          </p:nvSpPr>
          <p:spPr bwMode="auto">
            <a:xfrm>
              <a:off x="2924175" y="2141538"/>
              <a:ext cx="53975" cy="63500"/>
            </a:xfrm>
            <a:custGeom>
              <a:avLst/>
              <a:gdLst/>
              <a:ahLst/>
              <a:cxnLst>
                <a:cxn ang="0">
                  <a:pos x="18" y="173"/>
                </a:cxn>
                <a:cxn ang="0">
                  <a:pos x="1" y="151"/>
                </a:cxn>
                <a:cxn ang="0">
                  <a:pos x="0" y="147"/>
                </a:cxn>
                <a:cxn ang="0">
                  <a:pos x="13" y="105"/>
                </a:cxn>
                <a:cxn ang="0">
                  <a:pos x="77" y="2"/>
                </a:cxn>
                <a:cxn ang="0">
                  <a:pos x="80" y="0"/>
                </a:cxn>
                <a:cxn ang="0">
                  <a:pos x="80" y="0"/>
                </a:cxn>
                <a:cxn ang="0">
                  <a:pos x="84" y="1"/>
                </a:cxn>
                <a:cxn ang="0">
                  <a:pos x="105" y="18"/>
                </a:cxn>
                <a:cxn ang="0">
                  <a:pos x="106" y="23"/>
                </a:cxn>
                <a:cxn ang="0">
                  <a:pos x="79" y="110"/>
                </a:cxn>
                <a:cxn ang="0">
                  <a:pos x="108" y="110"/>
                </a:cxn>
                <a:cxn ang="0">
                  <a:pos x="123" y="87"/>
                </a:cxn>
                <a:cxn ang="0">
                  <a:pos x="127" y="85"/>
                </a:cxn>
                <a:cxn ang="0">
                  <a:pos x="128" y="85"/>
                </a:cxn>
                <a:cxn ang="0">
                  <a:pos x="132" y="87"/>
                </a:cxn>
                <a:cxn ang="0">
                  <a:pos x="149" y="125"/>
                </a:cxn>
                <a:cxn ang="0">
                  <a:pos x="147" y="131"/>
                </a:cxn>
                <a:cxn ang="0">
                  <a:pos x="88" y="169"/>
                </a:cxn>
                <a:cxn ang="0">
                  <a:pos x="21" y="174"/>
                </a:cxn>
                <a:cxn ang="0">
                  <a:pos x="18" y="173"/>
                </a:cxn>
              </a:cxnLst>
              <a:rect l="0" t="0" r="r" b="b"/>
              <a:pathLst>
                <a:path w="151" h="175">
                  <a:moveTo>
                    <a:pt x="18" y="173"/>
                  </a:moveTo>
                  <a:lnTo>
                    <a:pt x="1" y="151"/>
                  </a:lnTo>
                  <a:cubicBezTo>
                    <a:pt x="0" y="150"/>
                    <a:pt x="0" y="149"/>
                    <a:pt x="0" y="147"/>
                  </a:cubicBezTo>
                  <a:lnTo>
                    <a:pt x="13" y="105"/>
                  </a:lnTo>
                  <a:lnTo>
                    <a:pt x="77" y="2"/>
                  </a:lnTo>
                  <a:cubicBezTo>
                    <a:pt x="77" y="1"/>
                    <a:pt x="79" y="0"/>
                    <a:pt x="80" y="0"/>
                  </a:cubicBezTo>
                  <a:lnTo>
                    <a:pt x="80" y="0"/>
                  </a:lnTo>
                  <a:cubicBezTo>
                    <a:pt x="82" y="0"/>
                    <a:pt x="83" y="0"/>
                    <a:pt x="84" y="1"/>
                  </a:cubicBezTo>
                  <a:lnTo>
                    <a:pt x="105" y="18"/>
                  </a:lnTo>
                  <a:cubicBezTo>
                    <a:pt x="106" y="19"/>
                    <a:pt x="107" y="21"/>
                    <a:pt x="106" y="23"/>
                  </a:cubicBezTo>
                  <a:lnTo>
                    <a:pt x="79" y="110"/>
                  </a:lnTo>
                  <a:lnTo>
                    <a:pt x="108" y="110"/>
                  </a:lnTo>
                  <a:lnTo>
                    <a:pt x="123" y="87"/>
                  </a:lnTo>
                  <a:cubicBezTo>
                    <a:pt x="124" y="85"/>
                    <a:pt x="126" y="85"/>
                    <a:pt x="127" y="85"/>
                  </a:cubicBezTo>
                  <a:lnTo>
                    <a:pt x="128" y="85"/>
                  </a:lnTo>
                  <a:cubicBezTo>
                    <a:pt x="130" y="85"/>
                    <a:pt x="131" y="86"/>
                    <a:pt x="132" y="87"/>
                  </a:cubicBezTo>
                  <a:lnTo>
                    <a:pt x="149" y="125"/>
                  </a:lnTo>
                  <a:cubicBezTo>
                    <a:pt x="150" y="127"/>
                    <a:pt x="149" y="130"/>
                    <a:pt x="147" y="131"/>
                  </a:cubicBezTo>
                  <a:lnTo>
                    <a:pt x="88" y="169"/>
                  </a:lnTo>
                  <a:lnTo>
                    <a:pt x="21" y="174"/>
                  </a:lnTo>
                  <a:cubicBezTo>
                    <a:pt x="20" y="174"/>
                    <a:pt x="19" y="174"/>
                    <a:pt x="18" y="17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6" name="Freeform 151"/>
            <p:cNvSpPr>
              <a:spLocks noChangeArrowheads="1"/>
            </p:cNvSpPr>
            <p:nvPr/>
          </p:nvSpPr>
          <p:spPr bwMode="auto">
            <a:xfrm>
              <a:off x="2924175" y="2141538"/>
              <a:ext cx="53975" cy="63500"/>
            </a:xfrm>
            <a:custGeom>
              <a:avLst/>
              <a:gdLst/>
              <a:ahLst/>
              <a:cxnLst>
                <a:cxn ang="0">
                  <a:pos x="21" y="174"/>
                </a:cxn>
                <a:cxn ang="0">
                  <a:pos x="18" y="173"/>
                </a:cxn>
                <a:cxn ang="0">
                  <a:pos x="1" y="151"/>
                </a:cxn>
                <a:cxn ang="0">
                  <a:pos x="0" y="147"/>
                </a:cxn>
                <a:cxn ang="0">
                  <a:pos x="13" y="105"/>
                </a:cxn>
                <a:cxn ang="0">
                  <a:pos x="77" y="2"/>
                </a:cxn>
                <a:cxn ang="0">
                  <a:pos x="80" y="0"/>
                </a:cxn>
                <a:cxn ang="0">
                  <a:pos x="80" y="0"/>
                </a:cxn>
                <a:cxn ang="0">
                  <a:pos x="84" y="1"/>
                </a:cxn>
                <a:cxn ang="0">
                  <a:pos x="105" y="18"/>
                </a:cxn>
                <a:cxn ang="0">
                  <a:pos x="106" y="23"/>
                </a:cxn>
                <a:cxn ang="0">
                  <a:pos x="79" y="110"/>
                </a:cxn>
                <a:cxn ang="0">
                  <a:pos x="108" y="110"/>
                </a:cxn>
                <a:cxn ang="0">
                  <a:pos x="123" y="87"/>
                </a:cxn>
                <a:cxn ang="0">
                  <a:pos x="127" y="85"/>
                </a:cxn>
                <a:cxn ang="0">
                  <a:pos x="128" y="85"/>
                </a:cxn>
                <a:cxn ang="0">
                  <a:pos x="132" y="87"/>
                </a:cxn>
                <a:cxn ang="0">
                  <a:pos x="149" y="125"/>
                </a:cxn>
                <a:cxn ang="0">
                  <a:pos x="147" y="131"/>
                </a:cxn>
                <a:cxn ang="0">
                  <a:pos x="88" y="169"/>
                </a:cxn>
                <a:cxn ang="0">
                  <a:pos x="21" y="174"/>
                </a:cxn>
              </a:cxnLst>
              <a:rect l="0" t="0" r="r" b="b"/>
              <a:pathLst>
                <a:path w="151" h="175">
                  <a:moveTo>
                    <a:pt x="21" y="174"/>
                  </a:moveTo>
                  <a:cubicBezTo>
                    <a:pt x="20" y="174"/>
                    <a:pt x="19" y="174"/>
                    <a:pt x="18" y="173"/>
                  </a:cubicBezTo>
                  <a:lnTo>
                    <a:pt x="1" y="151"/>
                  </a:lnTo>
                  <a:cubicBezTo>
                    <a:pt x="0" y="150"/>
                    <a:pt x="0" y="149"/>
                    <a:pt x="0" y="147"/>
                  </a:cubicBezTo>
                  <a:lnTo>
                    <a:pt x="13" y="105"/>
                  </a:lnTo>
                  <a:lnTo>
                    <a:pt x="77" y="2"/>
                  </a:lnTo>
                  <a:cubicBezTo>
                    <a:pt x="77" y="1"/>
                    <a:pt x="79" y="0"/>
                    <a:pt x="80" y="0"/>
                  </a:cubicBezTo>
                  <a:lnTo>
                    <a:pt x="80" y="0"/>
                  </a:lnTo>
                  <a:cubicBezTo>
                    <a:pt x="82" y="0"/>
                    <a:pt x="83" y="0"/>
                    <a:pt x="84" y="1"/>
                  </a:cubicBezTo>
                  <a:lnTo>
                    <a:pt x="105" y="18"/>
                  </a:lnTo>
                  <a:cubicBezTo>
                    <a:pt x="106" y="19"/>
                    <a:pt x="107" y="21"/>
                    <a:pt x="106" y="23"/>
                  </a:cubicBezTo>
                  <a:lnTo>
                    <a:pt x="79" y="110"/>
                  </a:lnTo>
                  <a:lnTo>
                    <a:pt x="108" y="110"/>
                  </a:lnTo>
                  <a:lnTo>
                    <a:pt x="123" y="87"/>
                  </a:lnTo>
                  <a:cubicBezTo>
                    <a:pt x="124" y="85"/>
                    <a:pt x="126" y="85"/>
                    <a:pt x="127" y="85"/>
                  </a:cubicBezTo>
                  <a:lnTo>
                    <a:pt x="128" y="85"/>
                  </a:lnTo>
                  <a:cubicBezTo>
                    <a:pt x="130" y="85"/>
                    <a:pt x="131" y="86"/>
                    <a:pt x="132" y="87"/>
                  </a:cubicBezTo>
                  <a:lnTo>
                    <a:pt x="149" y="125"/>
                  </a:lnTo>
                  <a:cubicBezTo>
                    <a:pt x="150" y="127"/>
                    <a:pt x="149" y="130"/>
                    <a:pt x="147" y="131"/>
                  </a:cubicBezTo>
                  <a:lnTo>
                    <a:pt x="88" y="169"/>
                  </a:lnTo>
                  <a:lnTo>
                    <a:pt x="21" y="17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7" name="Freeform 152"/>
            <p:cNvSpPr>
              <a:spLocks noChangeArrowheads="1"/>
            </p:cNvSpPr>
            <p:nvPr/>
          </p:nvSpPr>
          <p:spPr bwMode="auto">
            <a:xfrm>
              <a:off x="2833688" y="2009775"/>
              <a:ext cx="85725" cy="41275"/>
            </a:xfrm>
            <a:custGeom>
              <a:avLst/>
              <a:gdLst/>
              <a:ahLst/>
              <a:cxnLst>
                <a:cxn ang="0">
                  <a:pos x="88" y="81"/>
                </a:cxn>
                <a:cxn ang="0">
                  <a:pos x="85" y="79"/>
                </a:cxn>
                <a:cxn ang="0">
                  <a:pos x="72" y="53"/>
                </a:cxn>
                <a:cxn ang="0">
                  <a:pos x="3" y="21"/>
                </a:cxn>
                <a:cxn ang="0">
                  <a:pos x="0" y="17"/>
                </a:cxn>
                <a:cxn ang="0">
                  <a:pos x="3" y="13"/>
                </a:cxn>
                <a:cxn ang="0">
                  <a:pos x="41" y="0"/>
                </a:cxn>
                <a:cxn ang="0">
                  <a:pos x="163" y="42"/>
                </a:cxn>
                <a:cxn ang="0">
                  <a:pos x="218" y="68"/>
                </a:cxn>
                <a:cxn ang="0">
                  <a:pos x="237" y="104"/>
                </a:cxn>
                <a:cxn ang="0">
                  <a:pos x="237" y="108"/>
                </a:cxn>
                <a:cxn ang="0">
                  <a:pos x="234" y="111"/>
                </a:cxn>
                <a:cxn ang="0">
                  <a:pos x="187" y="115"/>
                </a:cxn>
                <a:cxn ang="0">
                  <a:pos x="185" y="115"/>
                </a:cxn>
                <a:cxn ang="0">
                  <a:pos x="88" y="81"/>
                </a:cxn>
              </a:cxnLst>
              <a:rect l="0" t="0" r="r" b="b"/>
              <a:pathLst>
                <a:path w="239" h="116">
                  <a:moveTo>
                    <a:pt x="88" y="81"/>
                  </a:moveTo>
                  <a:cubicBezTo>
                    <a:pt x="87" y="81"/>
                    <a:pt x="86" y="80"/>
                    <a:pt x="85" y="79"/>
                  </a:cubicBezTo>
                  <a:lnTo>
                    <a:pt x="72" y="53"/>
                  </a:lnTo>
                  <a:lnTo>
                    <a:pt x="3" y="21"/>
                  </a:lnTo>
                  <a:cubicBezTo>
                    <a:pt x="1" y="21"/>
                    <a:pt x="0" y="19"/>
                    <a:pt x="0" y="17"/>
                  </a:cubicBezTo>
                  <a:cubicBezTo>
                    <a:pt x="0" y="15"/>
                    <a:pt x="1" y="13"/>
                    <a:pt x="3" y="13"/>
                  </a:cubicBezTo>
                  <a:lnTo>
                    <a:pt x="41" y="0"/>
                  </a:lnTo>
                  <a:lnTo>
                    <a:pt x="163" y="42"/>
                  </a:lnTo>
                  <a:lnTo>
                    <a:pt x="218" y="68"/>
                  </a:lnTo>
                  <a:lnTo>
                    <a:pt x="237" y="104"/>
                  </a:lnTo>
                  <a:cubicBezTo>
                    <a:pt x="238" y="105"/>
                    <a:pt x="238" y="107"/>
                    <a:pt x="237" y="108"/>
                  </a:cubicBezTo>
                  <a:cubicBezTo>
                    <a:pt x="237" y="110"/>
                    <a:pt x="235" y="111"/>
                    <a:pt x="234" y="111"/>
                  </a:cubicBezTo>
                  <a:lnTo>
                    <a:pt x="187" y="115"/>
                  </a:lnTo>
                  <a:cubicBezTo>
                    <a:pt x="187" y="115"/>
                    <a:pt x="186" y="115"/>
                    <a:pt x="185" y="115"/>
                  </a:cubicBezTo>
                  <a:lnTo>
                    <a:pt x="88" y="8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8" name="Freeform 153"/>
            <p:cNvSpPr>
              <a:spLocks noChangeArrowheads="1"/>
            </p:cNvSpPr>
            <p:nvPr/>
          </p:nvSpPr>
          <p:spPr bwMode="auto">
            <a:xfrm>
              <a:off x="2833688" y="2009775"/>
              <a:ext cx="85725" cy="41275"/>
            </a:xfrm>
            <a:custGeom>
              <a:avLst/>
              <a:gdLst/>
              <a:ahLst/>
              <a:cxnLst>
                <a:cxn ang="0">
                  <a:pos x="185" y="115"/>
                </a:cxn>
                <a:cxn ang="0">
                  <a:pos x="88" y="81"/>
                </a:cxn>
                <a:cxn ang="0">
                  <a:pos x="85" y="79"/>
                </a:cxn>
                <a:cxn ang="0">
                  <a:pos x="72" y="53"/>
                </a:cxn>
                <a:cxn ang="0">
                  <a:pos x="3" y="21"/>
                </a:cxn>
                <a:cxn ang="0">
                  <a:pos x="0" y="17"/>
                </a:cxn>
                <a:cxn ang="0">
                  <a:pos x="3" y="13"/>
                </a:cxn>
                <a:cxn ang="0">
                  <a:pos x="41" y="0"/>
                </a:cxn>
                <a:cxn ang="0">
                  <a:pos x="163" y="42"/>
                </a:cxn>
                <a:cxn ang="0">
                  <a:pos x="218" y="68"/>
                </a:cxn>
                <a:cxn ang="0">
                  <a:pos x="237" y="104"/>
                </a:cxn>
                <a:cxn ang="0">
                  <a:pos x="237" y="108"/>
                </a:cxn>
                <a:cxn ang="0">
                  <a:pos x="234" y="111"/>
                </a:cxn>
                <a:cxn ang="0">
                  <a:pos x="187" y="115"/>
                </a:cxn>
                <a:cxn ang="0">
                  <a:pos x="185" y="115"/>
                </a:cxn>
              </a:cxnLst>
              <a:rect l="0" t="0" r="r" b="b"/>
              <a:pathLst>
                <a:path w="239" h="116">
                  <a:moveTo>
                    <a:pt x="185" y="115"/>
                  </a:moveTo>
                  <a:lnTo>
                    <a:pt x="88" y="81"/>
                  </a:lnTo>
                  <a:cubicBezTo>
                    <a:pt x="87" y="81"/>
                    <a:pt x="86" y="80"/>
                    <a:pt x="85" y="79"/>
                  </a:cubicBezTo>
                  <a:lnTo>
                    <a:pt x="72" y="53"/>
                  </a:lnTo>
                  <a:lnTo>
                    <a:pt x="3" y="21"/>
                  </a:lnTo>
                  <a:cubicBezTo>
                    <a:pt x="1" y="21"/>
                    <a:pt x="0" y="19"/>
                    <a:pt x="0" y="17"/>
                  </a:cubicBezTo>
                  <a:cubicBezTo>
                    <a:pt x="0" y="15"/>
                    <a:pt x="1" y="13"/>
                    <a:pt x="3" y="13"/>
                  </a:cubicBezTo>
                  <a:lnTo>
                    <a:pt x="41" y="0"/>
                  </a:lnTo>
                  <a:lnTo>
                    <a:pt x="163" y="42"/>
                  </a:lnTo>
                  <a:lnTo>
                    <a:pt x="218" y="68"/>
                  </a:lnTo>
                  <a:lnTo>
                    <a:pt x="237" y="104"/>
                  </a:lnTo>
                  <a:cubicBezTo>
                    <a:pt x="238" y="105"/>
                    <a:pt x="238" y="107"/>
                    <a:pt x="237" y="108"/>
                  </a:cubicBezTo>
                  <a:cubicBezTo>
                    <a:pt x="237" y="110"/>
                    <a:pt x="235" y="111"/>
                    <a:pt x="234" y="111"/>
                  </a:cubicBezTo>
                  <a:lnTo>
                    <a:pt x="187" y="115"/>
                  </a:lnTo>
                  <a:cubicBezTo>
                    <a:pt x="187" y="115"/>
                    <a:pt x="186" y="115"/>
                    <a:pt x="185" y="11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9" name="Freeform 154"/>
            <p:cNvSpPr>
              <a:spLocks noChangeArrowheads="1"/>
            </p:cNvSpPr>
            <p:nvPr/>
          </p:nvSpPr>
          <p:spPr bwMode="auto">
            <a:xfrm>
              <a:off x="2838450" y="2141538"/>
              <a:ext cx="73025" cy="47625"/>
            </a:xfrm>
            <a:custGeom>
              <a:avLst/>
              <a:gdLst/>
              <a:ahLst/>
              <a:cxnLst>
                <a:cxn ang="0">
                  <a:pos x="149" y="132"/>
                </a:cxn>
                <a:cxn ang="0">
                  <a:pos x="146" y="131"/>
                </a:cxn>
                <a:cxn ang="0">
                  <a:pos x="110" y="94"/>
                </a:cxn>
                <a:cxn ang="0">
                  <a:pos x="74" y="102"/>
                </a:cxn>
                <a:cxn ang="0">
                  <a:pos x="73" y="102"/>
                </a:cxn>
                <a:cxn ang="0">
                  <a:pos x="70" y="101"/>
                </a:cxn>
                <a:cxn ang="0">
                  <a:pos x="2" y="46"/>
                </a:cxn>
                <a:cxn ang="0">
                  <a:pos x="1" y="40"/>
                </a:cxn>
                <a:cxn ang="0">
                  <a:pos x="27" y="2"/>
                </a:cxn>
                <a:cxn ang="0">
                  <a:pos x="31" y="0"/>
                </a:cxn>
                <a:cxn ang="0">
                  <a:pos x="32" y="0"/>
                </a:cxn>
                <a:cxn ang="0">
                  <a:pos x="35" y="5"/>
                </a:cxn>
                <a:cxn ang="0">
                  <a:pos x="31" y="29"/>
                </a:cxn>
                <a:cxn ang="0">
                  <a:pos x="54" y="59"/>
                </a:cxn>
                <a:cxn ang="0">
                  <a:pos x="196" y="72"/>
                </a:cxn>
                <a:cxn ang="0">
                  <a:pos x="200" y="75"/>
                </a:cxn>
                <a:cxn ang="0">
                  <a:pos x="199" y="80"/>
                </a:cxn>
                <a:cxn ang="0">
                  <a:pos x="153" y="130"/>
                </a:cxn>
                <a:cxn ang="0">
                  <a:pos x="149" y="132"/>
                </a:cxn>
              </a:cxnLst>
              <a:rect l="0" t="0" r="r" b="b"/>
              <a:pathLst>
                <a:path w="202" h="133">
                  <a:moveTo>
                    <a:pt x="149" y="132"/>
                  </a:moveTo>
                  <a:cubicBezTo>
                    <a:pt x="148" y="132"/>
                    <a:pt x="147" y="132"/>
                    <a:pt x="146" y="131"/>
                  </a:cubicBezTo>
                  <a:lnTo>
                    <a:pt x="110" y="94"/>
                  </a:lnTo>
                  <a:lnTo>
                    <a:pt x="74" y="102"/>
                  </a:lnTo>
                  <a:lnTo>
                    <a:pt x="73" y="102"/>
                  </a:lnTo>
                  <a:cubicBezTo>
                    <a:pt x="72" y="102"/>
                    <a:pt x="71" y="102"/>
                    <a:pt x="70" y="101"/>
                  </a:cubicBezTo>
                  <a:lnTo>
                    <a:pt x="2" y="46"/>
                  </a:lnTo>
                  <a:cubicBezTo>
                    <a:pt x="0" y="45"/>
                    <a:pt x="0" y="42"/>
                    <a:pt x="1" y="40"/>
                  </a:cubicBezTo>
                  <a:lnTo>
                    <a:pt x="27" y="2"/>
                  </a:lnTo>
                  <a:cubicBezTo>
                    <a:pt x="28" y="1"/>
                    <a:pt x="29" y="0"/>
                    <a:pt x="31" y="0"/>
                  </a:cubicBezTo>
                  <a:lnTo>
                    <a:pt x="32" y="0"/>
                  </a:lnTo>
                  <a:cubicBezTo>
                    <a:pt x="34" y="1"/>
                    <a:pt x="36" y="3"/>
                    <a:pt x="35" y="5"/>
                  </a:cubicBezTo>
                  <a:lnTo>
                    <a:pt x="31" y="29"/>
                  </a:lnTo>
                  <a:lnTo>
                    <a:pt x="54" y="59"/>
                  </a:lnTo>
                  <a:lnTo>
                    <a:pt x="196" y="72"/>
                  </a:lnTo>
                  <a:cubicBezTo>
                    <a:pt x="198" y="72"/>
                    <a:pt x="200" y="73"/>
                    <a:pt x="200" y="75"/>
                  </a:cubicBezTo>
                  <a:cubicBezTo>
                    <a:pt x="201" y="77"/>
                    <a:pt x="200" y="78"/>
                    <a:pt x="199" y="80"/>
                  </a:cubicBezTo>
                  <a:lnTo>
                    <a:pt x="153" y="130"/>
                  </a:lnTo>
                  <a:cubicBezTo>
                    <a:pt x="152" y="131"/>
                    <a:pt x="151" y="132"/>
                    <a:pt x="149" y="13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0" name="Freeform 155"/>
            <p:cNvSpPr>
              <a:spLocks noChangeArrowheads="1"/>
            </p:cNvSpPr>
            <p:nvPr/>
          </p:nvSpPr>
          <p:spPr bwMode="auto">
            <a:xfrm>
              <a:off x="2838450" y="2141538"/>
              <a:ext cx="73025" cy="47625"/>
            </a:xfrm>
            <a:custGeom>
              <a:avLst/>
              <a:gdLst/>
              <a:ahLst/>
              <a:cxnLst>
                <a:cxn ang="0">
                  <a:pos x="149" y="132"/>
                </a:cxn>
                <a:cxn ang="0">
                  <a:pos x="146" y="131"/>
                </a:cxn>
                <a:cxn ang="0">
                  <a:pos x="110" y="94"/>
                </a:cxn>
                <a:cxn ang="0">
                  <a:pos x="74" y="102"/>
                </a:cxn>
                <a:cxn ang="0">
                  <a:pos x="73" y="102"/>
                </a:cxn>
                <a:cxn ang="0">
                  <a:pos x="70" y="101"/>
                </a:cxn>
                <a:cxn ang="0">
                  <a:pos x="2" y="46"/>
                </a:cxn>
                <a:cxn ang="0">
                  <a:pos x="1" y="40"/>
                </a:cxn>
                <a:cxn ang="0">
                  <a:pos x="27" y="2"/>
                </a:cxn>
                <a:cxn ang="0">
                  <a:pos x="31" y="0"/>
                </a:cxn>
                <a:cxn ang="0">
                  <a:pos x="32" y="0"/>
                </a:cxn>
                <a:cxn ang="0">
                  <a:pos x="35" y="5"/>
                </a:cxn>
                <a:cxn ang="0">
                  <a:pos x="31" y="29"/>
                </a:cxn>
                <a:cxn ang="0">
                  <a:pos x="54" y="59"/>
                </a:cxn>
                <a:cxn ang="0">
                  <a:pos x="196" y="72"/>
                </a:cxn>
                <a:cxn ang="0">
                  <a:pos x="200" y="75"/>
                </a:cxn>
                <a:cxn ang="0">
                  <a:pos x="199" y="80"/>
                </a:cxn>
                <a:cxn ang="0">
                  <a:pos x="153" y="130"/>
                </a:cxn>
                <a:cxn ang="0">
                  <a:pos x="149" y="132"/>
                </a:cxn>
              </a:cxnLst>
              <a:rect l="0" t="0" r="r" b="b"/>
              <a:pathLst>
                <a:path w="202" h="133">
                  <a:moveTo>
                    <a:pt x="149" y="132"/>
                  </a:moveTo>
                  <a:cubicBezTo>
                    <a:pt x="148" y="132"/>
                    <a:pt x="147" y="132"/>
                    <a:pt x="146" y="131"/>
                  </a:cubicBezTo>
                  <a:lnTo>
                    <a:pt x="110" y="94"/>
                  </a:lnTo>
                  <a:lnTo>
                    <a:pt x="74" y="102"/>
                  </a:lnTo>
                  <a:lnTo>
                    <a:pt x="73" y="102"/>
                  </a:lnTo>
                  <a:cubicBezTo>
                    <a:pt x="72" y="102"/>
                    <a:pt x="71" y="102"/>
                    <a:pt x="70" y="101"/>
                  </a:cubicBezTo>
                  <a:lnTo>
                    <a:pt x="2" y="46"/>
                  </a:lnTo>
                  <a:cubicBezTo>
                    <a:pt x="0" y="45"/>
                    <a:pt x="0" y="42"/>
                    <a:pt x="1" y="40"/>
                  </a:cubicBezTo>
                  <a:lnTo>
                    <a:pt x="27" y="2"/>
                  </a:lnTo>
                  <a:cubicBezTo>
                    <a:pt x="28" y="1"/>
                    <a:pt x="29" y="0"/>
                    <a:pt x="31" y="0"/>
                  </a:cubicBezTo>
                  <a:lnTo>
                    <a:pt x="32" y="0"/>
                  </a:lnTo>
                  <a:cubicBezTo>
                    <a:pt x="34" y="1"/>
                    <a:pt x="36" y="3"/>
                    <a:pt x="35" y="5"/>
                  </a:cubicBezTo>
                  <a:lnTo>
                    <a:pt x="31" y="29"/>
                  </a:lnTo>
                  <a:lnTo>
                    <a:pt x="54" y="59"/>
                  </a:lnTo>
                  <a:lnTo>
                    <a:pt x="196" y="72"/>
                  </a:lnTo>
                  <a:cubicBezTo>
                    <a:pt x="198" y="72"/>
                    <a:pt x="200" y="73"/>
                    <a:pt x="200" y="75"/>
                  </a:cubicBezTo>
                  <a:cubicBezTo>
                    <a:pt x="201" y="77"/>
                    <a:pt x="200" y="78"/>
                    <a:pt x="199" y="80"/>
                  </a:cubicBezTo>
                  <a:lnTo>
                    <a:pt x="153" y="130"/>
                  </a:lnTo>
                  <a:cubicBezTo>
                    <a:pt x="152" y="131"/>
                    <a:pt x="151" y="132"/>
                    <a:pt x="149" y="13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1" name="Freeform 156"/>
            <p:cNvSpPr>
              <a:spLocks noChangeArrowheads="1"/>
            </p:cNvSpPr>
            <p:nvPr/>
          </p:nvSpPr>
          <p:spPr bwMode="auto">
            <a:xfrm>
              <a:off x="3448050" y="1484313"/>
              <a:ext cx="14288" cy="11112"/>
            </a:xfrm>
            <a:custGeom>
              <a:avLst/>
              <a:gdLst/>
              <a:ahLst/>
              <a:cxnLst>
                <a:cxn ang="0">
                  <a:pos x="2" y="30"/>
                </a:cxn>
                <a:cxn ang="0">
                  <a:pos x="0" y="25"/>
                </a:cxn>
                <a:cxn ang="0">
                  <a:pos x="4" y="4"/>
                </a:cxn>
                <a:cxn ang="0">
                  <a:pos x="7" y="1"/>
                </a:cxn>
                <a:cxn ang="0">
                  <a:pos x="9" y="0"/>
                </a:cxn>
                <a:cxn ang="0">
                  <a:pos x="10" y="0"/>
                </a:cxn>
                <a:cxn ang="0">
                  <a:pos x="36" y="9"/>
                </a:cxn>
                <a:cxn ang="0">
                  <a:pos x="39" y="13"/>
                </a:cxn>
                <a:cxn ang="0">
                  <a:pos x="36" y="18"/>
                </a:cxn>
                <a:cxn ang="0">
                  <a:pos x="7" y="30"/>
                </a:cxn>
                <a:cxn ang="0">
                  <a:pos x="5" y="31"/>
                </a:cxn>
                <a:cxn ang="0">
                  <a:pos x="2" y="30"/>
                </a:cxn>
              </a:cxnLst>
              <a:rect l="0" t="0" r="r" b="b"/>
              <a:pathLst>
                <a:path w="40" h="32">
                  <a:moveTo>
                    <a:pt x="2" y="30"/>
                  </a:moveTo>
                  <a:cubicBezTo>
                    <a:pt x="0" y="29"/>
                    <a:pt x="0" y="27"/>
                    <a:pt x="0" y="25"/>
                  </a:cubicBezTo>
                  <a:lnTo>
                    <a:pt x="4" y="4"/>
                  </a:lnTo>
                  <a:cubicBezTo>
                    <a:pt x="5" y="3"/>
                    <a:pt x="5" y="2"/>
                    <a:pt x="7" y="1"/>
                  </a:cubicBezTo>
                  <a:cubicBezTo>
                    <a:pt x="7" y="0"/>
                    <a:pt x="8" y="0"/>
                    <a:pt x="9" y="0"/>
                  </a:cubicBezTo>
                  <a:lnTo>
                    <a:pt x="10" y="0"/>
                  </a:lnTo>
                  <a:lnTo>
                    <a:pt x="36" y="9"/>
                  </a:lnTo>
                  <a:cubicBezTo>
                    <a:pt x="38" y="10"/>
                    <a:pt x="39" y="11"/>
                    <a:pt x="39" y="13"/>
                  </a:cubicBezTo>
                  <a:cubicBezTo>
                    <a:pt x="39" y="15"/>
                    <a:pt x="38" y="17"/>
                    <a:pt x="36" y="18"/>
                  </a:cubicBezTo>
                  <a:lnTo>
                    <a:pt x="7" y="30"/>
                  </a:lnTo>
                  <a:cubicBezTo>
                    <a:pt x="6" y="31"/>
                    <a:pt x="5" y="31"/>
                    <a:pt x="5" y="31"/>
                  </a:cubicBezTo>
                  <a:cubicBezTo>
                    <a:pt x="4" y="31"/>
                    <a:pt x="3" y="30"/>
                    <a:pt x="2" y="3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2" name="Freeform 157"/>
            <p:cNvSpPr>
              <a:spLocks noChangeArrowheads="1"/>
            </p:cNvSpPr>
            <p:nvPr/>
          </p:nvSpPr>
          <p:spPr bwMode="auto">
            <a:xfrm>
              <a:off x="3448050" y="1484313"/>
              <a:ext cx="14288" cy="11112"/>
            </a:xfrm>
            <a:custGeom>
              <a:avLst/>
              <a:gdLst/>
              <a:ahLst/>
              <a:cxnLst>
                <a:cxn ang="0">
                  <a:pos x="5" y="31"/>
                </a:cxn>
                <a:cxn ang="0">
                  <a:pos x="2" y="30"/>
                </a:cxn>
                <a:cxn ang="0">
                  <a:pos x="0" y="25"/>
                </a:cxn>
                <a:cxn ang="0">
                  <a:pos x="4" y="4"/>
                </a:cxn>
                <a:cxn ang="0">
                  <a:pos x="7" y="1"/>
                </a:cxn>
                <a:cxn ang="0">
                  <a:pos x="9" y="0"/>
                </a:cxn>
                <a:cxn ang="0">
                  <a:pos x="10" y="0"/>
                </a:cxn>
                <a:cxn ang="0">
                  <a:pos x="36" y="9"/>
                </a:cxn>
                <a:cxn ang="0">
                  <a:pos x="39" y="13"/>
                </a:cxn>
                <a:cxn ang="0">
                  <a:pos x="36" y="18"/>
                </a:cxn>
                <a:cxn ang="0">
                  <a:pos x="7" y="30"/>
                </a:cxn>
                <a:cxn ang="0">
                  <a:pos x="5" y="31"/>
                </a:cxn>
              </a:cxnLst>
              <a:rect l="0" t="0" r="r" b="b"/>
              <a:pathLst>
                <a:path w="40" h="32">
                  <a:moveTo>
                    <a:pt x="5" y="31"/>
                  </a:moveTo>
                  <a:cubicBezTo>
                    <a:pt x="4" y="31"/>
                    <a:pt x="3" y="30"/>
                    <a:pt x="2" y="30"/>
                  </a:cubicBezTo>
                  <a:cubicBezTo>
                    <a:pt x="0" y="29"/>
                    <a:pt x="0" y="27"/>
                    <a:pt x="0" y="25"/>
                  </a:cubicBezTo>
                  <a:lnTo>
                    <a:pt x="4" y="4"/>
                  </a:lnTo>
                  <a:cubicBezTo>
                    <a:pt x="5" y="3"/>
                    <a:pt x="5" y="2"/>
                    <a:pt x="7" y="1"/>
                  </a:cubicBezTo>
                  <a:cubicBezTo>
                    <a:pt x="7" y="0"/>
                    <a:pt x="8" y="0"/>
                    <a:pt x="9" y="0"/>
                  </a:cubicBezTo>
                  <a:lnTo>
                    <a:pt x="10" y="0"/>
                  </a:lnTo>
                  <a:lnTo>
                    <a:pt x="36" y="9"/>
                  </a:lnTo>
                  <a:cubicBezTo>
                    <a:pt x="38" y="10"/>
                    <a:pt x="39" y="11"/>
                    <a:pt x="39" y="13"/>
                  </a:cubicBezTo>
                  <a:cubicBezTo>
                    <a:pt x="39" y="15"/>
                    <a:pt x="38" y="17"/>
                    <a:pt x="36" y="18"/>
                  </a:cubicBezTo>
                  <a:lnTo>
                    <a:pt x="7" y="30"/>
                  </a:lnTo>
                  <a:cubicBezTo>
                    <a:pt x="6" y="31"/>
                    <a:pt x="5" y="31"/>
                    <a:pt x="5" y="3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3" name="Freeform 158"/>
            <p:cNvSpPr>
              <a:spLocks noChangeArrowheads="1"/>
            </p:cNvSpPr>
            <p:nvPr/>
          </p:nvSpPr>
          <p:spPr bwMode="auto">
            <a:xfrm>
              <a:off x="3983038" y="2541588"/>
              <a:ext cx="614362" cy="620712"/>
            </a:xfrm>
            <a:custGeom>
              <a:avLst/>
              <a:gdLst/>
              <a:ahLst/>
              <a:cxnLst>
                <a:cxn ang="0">
                  <a:pos x="976" y="1713"/>
                </a:cxn>
                <a:cxn ang="0">
                  <a:pos x="978" y="1645"/>
                </a:cxn>
                <a:cxn ang="0">
                  <a:pos x="848" y="1572"/>
                </a:cxn>
                <a:cxn ang="0">
                  <a:pos x="809" y="1553"/>
                </a:cxn>
                <a:cxn ang="0">
                  <a:pos x="307" y="1189"/>
                </a:cxn>
                <a:cxn ang="0">
                  <a:pos x="0" y="973"/>
                </a:cxn>
                <a:cxn ang="0">
                  <a:pos x="1" y="822"/>
                </a:cxn>
                <a:cxn ang="0">
                  <a:pos x="129" y="740"/>
                </a:cxn>
                <a:cxn ang="0">
                  <a:pos x="174" y="725"/>
                </a:cxn>
                <a:cxn ang="0">
                  <a:pos x="249" y="715"/>
                </a:cxn>
                <a:cxn ang="0">
                  <a:pos x="408" y="616"/>
                </a:cxn>
                <a:cxn ang="0">
                  <a:pos x="398" y="550"/>
                </a:cxn>
                <a:cxn ang="0">
                  <a:pos x="466" y="529"/>
                </a:cxn>
                <a:cxn ang="0">
                  <a:pos x="478" y="503"/>
                </a:cxn>
                <a:cxn ang="0">
                  <a:pos x="614" y="484"/>
                </a:cxn>
                <a:cxn ang="0">
                  <a:pos x="625" y="466"/>
                </a:cxn>
                <a:cxn ang="0">
                  <a:pos x="572" y="244"/>
                </a:cxn>
                <a:cxn ang="0">
                  <a:pos x="529" y="210"/>
                </a:cxn>
                <a:cxn ang="0">
                  <a:pos x="555" y="207"/>
                </a:cxn>
                <a:cxn ang="0">
                  <a:pos x="653" y="141"/>
                </a:cxn>
                <a:cxn ang="0">
                  <a:pos x="746" y="103"/>
                </a:cxn>
                <a:cxn ang="0">
                  <a:pos x="1050" y="21"/>
                </a:cxn>
                <a:cxn ang="0">
                  <a:pos x="1165" y="41"/>
                </a:cxn>
                <a:cxn ang="0">
                  <a:pos x="1250" y="0"/>
                </a:cxn>
                <a:cxn ang="0">
                  <a:pos x="1300" y="20"/>
                </a:cxn>
                <a:cxn ang="0">
                  <a:pos x="1326" y="0"/>
                </a:cxn>
                <a:cxn ang="0">
                  <a:pos x="1379" y="25"/>
                </a:cxn>
                <a:cxn ang="0">
                  <a:pos x="1449" y="19"/>
                </a:cxn>
                <a:cxn ang="0">
                  <a:pos x="1414" y="62"/>
                </a:cxn>
                <a:cxn ang="0">
                  <a:pos x="1428" y="73"/>
                </a:cxn>
                <a:cxn ang="0">
                  <a:pos x="1428" y="202"/>
                </a:cxn>
                <a:cxn ang="0">
                  <a:pos x="1340" y="327"/>
                </a:cxn>
                <a:cxn ang="0">
                  <a:pos x="1391" y="410"/>
                </a:cxn>
                <a:cxn ang="0">
                  <a:pos x="1406" y="471"/>
                </a:cxn>
                <a:cxn ang="0">
                  <a:pos x="1475" y="511"/>
                </a:cxn>
                <a:cxn ang="0">
                  <a:pos x="1508" y="688"/>
                </a:cxn>
                <a:cxn ang="0">
                  <a:pos x="1520" y="776"/>
                </a:cxn>
                <a:cxn ang="0">
                  <a:pos x="1525" y="1045"/>
                </a:cxn>
                <a:cxn ang="0">
                  <a:pos x="1497" y="1075"/>
                </a:cxn>
                <a:cxn ang="0">
                  <a:pos x="1555" y="1201"/>
                </a:cxn>
                <a:cxn ang="0">
                  <a:pos x="1662" y="1239"/>
                </a:cxn>
                <a:cxn ang="0">
                  <a:pos x="1703" y="1318"/>
                </a:cxn>
                <a:cxn ang="0">
                  <a:pos x="1379" y="1536"/>
                </a:cxn>
                <a:cxn ang="0">
                  <a:pos x="1064" y="1706"/>
                </a:cxn>
                <a:cxn ang="0">
                  <a:pos x="995" y="1722"/>
                </a:cxn>
              </a:cxnLst>
              <a:rect l="0" t="0" r="r" b="b"/>
              <a:pathLst>
                <a:path w="1705" h="1723">
                  <a:moveTo>
                    <a:pt x="993" y="1722"/>
                  </a:moveTo>
                  <a:lnTo>
                    <a:pt x="976" y="1713"/>
                  </a:lnTo>
                  <a:cubicBezTo>
                    <a:pt x="975" y="1713"/>
                    <a:pt x="974" y="1711"/>
                    <a:pt x="974" y="1709"/>
                  </a:cubicBezTo>
                  <a:lnTo>
                    <a:pt x="978" y="1645"/>
                  </a:lnTo>
                  <a:lnTo>
                    <a:pt x="871" y="1604"/>
                  </a:lnTo>
                  <a:lnTo>
                    <a:pt x="848" y="1572"/>
                  </a:lnTo>
                  <a:lnTo>
                    <a:pt x="811" y="1557"/>
                  </a:lnTo>
                  <a:cubicBezTo>
                    <a:pt x="810" y="1556"/>
                    <a:pt x="809" y="1555"/>
                    <a:pt x="809" y="1553"/>
                  </a:cubicBezTo>
                  <a:lnTo>
                    <a:pt x="805" y="1526"/>
                  </a:lnTo>
                  <a:lnTo>
                    <a:pt x="307" y="1189"/>
                  </a:lnTo>
                  <a:lnTo>
                    <a:pt x="1" y="977"/>
                  </a:lnTo>
                  <a:cubicBezTo>
                    <a:pt x="0" y="976"/>
                    <a:pt x="0" y="975"/>
                    <a:pt x="0" y="973"/>
                  </a:cubicBezTo>
                  <a:lnTo>
                    <a:pt x="0" y="825"/>
                  </a:lnTo>
                  <a:cubicBezTo>
                    <a:pt x="0" y="824"/>
                    <a:pt x="0" y="823"/>
                    <a:pt x="1" y="822"/>
                  </a:cubicBezTo>
                  <a:lnTo>
                    <a:pt x="35" y="788"/>
                  </a:lnTo>
                  <a:lnTo>
                    <a:pt x="129" y="740"/>
                  </a:lnTo>
                  <a:lnTo>
                    <a:pt x="163" y="744"/>
                  </a:lnTo>
                  <a:lnTo>
                    <a:pt x="174" y="725"/>
                  </a:lnTo>
                  <a:cubicBezTo>
                    <a:pt x="174" y="724"/>
                    <a:pt x="176" y="723"/>
                    <a:pt x="177" y="723"/>
                  </a:cubicBezTo>
                  <a:lnTo>
                    <a:pt x="249" y="715"/>
                  </a:lnTo>
                  <a:lnTo>
                    <a:pt x="315" y="657"/>
                  </a:lnTo>
                  <a:lnTo>
                    <a:pt x="408" y="616"/>
                  </a:lnTo>
                  <a:lnTo>
                    <a:pt x="398" y="599"/>
                  </a:lnTo>
                  <a:lnTo>
                    <a:pt x="398" y="550"/>
                  </a:lnTo>
                  <a:cubicBezTo>
                    <a:pt x="398" y="548"/>
                    <a:pt x="399" y="546"/>
                    <a:pt x="401" y="546"/>
                  </a:cubicBezTo>
                  <a:lnTo>
                    <a:pt x="466" y="529"/>
                  </a:lnTo>
                  <a:lnTo>
                    <a:pt x="474" y="506"/>
                  </a:lnTo>
                  <a:cubicBezTo>
                    <a:pt x="475" y="505"/>
                    <a:pt x="476" y="503"/>
                    <a:pt x="478" y="503"/>
                  </a:cubicBezTo>
                  <a:lnTo>
                    <a:pt x="617" y="495"/>
                  </a:lnTo>
                  <a:lnTo>
                    <a:pt x="614" y="484"/>
                  </a:lnTo>
                  <a:cubicBezTo>
                    <a:pt x="614" y="482"/>
                    <a:pt x="614" y="481"/>
                    <a:pt x="615" y="480"/>
                  </a:cubicBezTo>
                  <a:lnTo>
                    <a:pt x="625" y="466"/>
                  </a:lnTo>
                  <a:lnTo>
                    <a:pt x="585" y="418"/>
                  </a:lnTo>
                  <a:lnTo>
                    <a:pt x="572" y="244"/>
                  </a:lnTo>
                  <a:lnTo>
                    <a:pt x="531" y="216"/>
                  </a:lnTo>
                  <a:cubicBezTo>
                    <a:pt x="529" y="214"/>
                    <a:pt x="529" y="212"/>
                    <a:pt x="529" y="210"/>
                  </a:cubicBezTo>
                  <a:cubicBezTo>
                    <a:pt x="530" y="208"/>
                    <a:pt x="532" y="207"/>
                    <a:pt x="534" y="207"/>
                  </a:cubicBezTo>
                  <a:lnTo>
                    <a:pt x="555" y="207"/>
                  </a:lnTo>
                  <a:lnTo>
                    <a:pt x="613" y="186"/>
                  </a:lnTo>
                  <a:lnTo>
                    <a:pt x="653" y="141"/>
                  </a:lnTo>
                  <a:lnTo>
                    <a:pt x="726" y="127"/>
                  </a:lnTo>
                  <a:lnTo>
                    <a:pt x="746" y="103"/>
                  </a:lnTo>
                  <a:lnTo>
                    <a:pt x="828" y="64"/>
                  </a:lnTo>
                  <a:lnTo>
                    <a:pt x="1050" y="21"/>
                  </a:lnTo>
                  <a:lnTo>
                    <a:pt x="1135" y="25"/>
                  </a:lnTo>
                  <a:lnTo>
                    <a:pt x="1165" y="41"/>
                  </a:lnTo>
                  <a:lnTo>
                    <a:pt x="1247" y="0"/>
                  </a:lnTo>
                  <a:cubicBezTo>
                    <a:pt x="1248" y="0"/>
                    <a:pt x="1249" y="0"/>
                    <a:pt x="1250" y="0"/>
                  </a:cubicBezTo>
                  <a:lnTo>
                    <a:pt x="1251" y="0"/>
                  </a:lnTo>
                  <a:lnTo>
                    <a:pt x="1300" y="20"/>
                  </a:lnTo>
                  <a:lnTo>
                    <a:pt x="1323" y="1"/>
                  </a:lnTo>
                  <a:cubicBezTo>
                    <a:pt x="1324" y="0"/>
                    <a:pt x="1325" y="0"/>
                    <a:pt x="1326" y="0"/>
                  </a:cubicBezTo>
                  <a:cubicBezTo>
                    <a:pt x="1327" y="0"/>
                    <a:pt x="1327" y="0"/>
                    <a:pt x="1328" y="0"/>
                  </a:cubicBezTo>
                  <a:lnTo>
                    <a:pt x="1379" y="25"/>
                  </a:lnTo>
                  <a:lnTo>
                    <a:pt x="1444" y="17"/>
                  </a:lnTo>
                  <a:cubicBezTo>
                    <a:pt x="1446" y="17"/>
                    <a:pt x="1448" y="18"/>
                    <a:pt x="1449" y="19"/>
                  </a:cubicBezTo>
                  <a:cubicBezTo>
                    <a:pt x="1449" y="21"/>
                    <a:pt x="1449" y="23"/>
                    <a:pt x="1448" y="24"/>
                  </a:cubicBezTo>
                  <a:lnTo>
                    <a:pt x="1414" y="62"/>
                  </a:lnTo>
                  <a:lnTo>
                    <a:pt x="1425" y="68"/>
                  </a:lnTo>
                  <a:cubicBezTo>
                    <a:pt x="1427" y="69"/>
                    <a:pt x="1428" y="71"/>
                    <a:pt x="1428" y="73"/>
                  </a:cubicBezTo>
                  <a:lnTo>
                    <a:pt x="1415" y="136"/>
                  </a:lnTo>
                  <a:lnTo>
                    <a:pt x="1428" y="202"/>
                  </a:lnTo>
                  <a:lnTo>
                    <a:pt x="1411" y="264"/>
                  </a:lnTo>
                  <a:lnTo>
                    <a:pt x="1340" y="327"/>
                  </a:lnTo>
                  <a:lnTo>
                    <a:pt x="1355" y="394"/>
                  </a:lnTo>
                  <a:lnTo>
                    <a:pt x="1391" y="410"/>
                  </a:lnTo>
                  <a:cubicBezTo>
                    <a:pt x="1393" y="411"/>
                    <a:pt x="1394" y="412"/>
                    <a:pt x="1394" y="414"/>
                  </a:cubicBezTo>
                  <a:lnTo>
                    <a:pt x="1406" y="471"/>
                  </a:lnTo>
                  <a:lnTo>
                    <a:pt x="1472" y="508"/>
                  </a:lnTo>
                  <a:cubicBezTo>
                    <a:pt x="1473" y="509"/>
                    <a:pt x="1474" y="510"/>
                    <a:pt x="1475" y="511"/>
                  </a:cubicBezTo>
                  <a:lnTo>
                    <a:pt x="1508" y="685"/>
                  </a:lnTo>
                  <a:cubicBezTo>
                    <a:pt x="1509" y="686"/>
                    <a:pt x="1508" y="687"/>
                    <a:pt x="1508" y="688"/>
                  </a:cubicBezTo>
                  <a:lnTo>
                    <a:pt x="1484" y="724"/>
                  </a:lnTo>
                  <a:lnTo>
                    <a:pt x="1520" y="776"/>
                  </a:lnTo>
                  <a:lnTo>
                    <a:pt x="1534" y="922"/>
                  </a:lnTo>
                  <a:lnTo>
                    <a:pt x="1525" y="1045"/>
                  </a:lnTo>
                  <a:cubicBezTo>
                    <a:pt x="1525" y="1047"/>
                    <a:pt x="1525" y="1048"/>
                    <a:pt x="1524" y="1048"/>
                  </a:cubicBezTo>
                  <a:lnTo>
                    <a:pt x="1497" y="1075"/>
                  </a:lnTo>
                  <a:lnTo>
                    <a:pt x="1542" y="1148"/>
                  </a:lnTo>
                  <a:lnTo>
                    <a:pt x="1555" y="1201"/>
                  </a:lnTo>
                  <a:lnTo>
                    <a:pt x="1575" y="1215"/>
                  </a:lnTo>
                  <a:lnTo>
                    <a:pt x="1662" y="1239"/>
                  </a:lnTo>
                  <a:cubicBezTo>
                    <a:pt x="1663" y="1240"/>
                    <a:pt x="1664" y="1241"/>
                    <a:pt x="1665" y="1242"/>
                  </a:cubicBezTo>
                  <a:lnTo>
                    <a:pt x="1703" y="1318"/>
                  </a:lnTo>
                  <a:cubicBezTo>
                    <a:pt x="1704" y="1320"/>
                    <a:pt x="1703" y="1323"/>
                    <a:pt x="1701" y="1324"/>
                  </a:cubicBezTo>
                  <a:lnTo>
                    <a:pt x="1379" y="1536"/>
                  </a:lnTo>
                  <a:lnTo>
                    <a:pt x="1193" y="1675"/>
                  </a:lnTo>
                  <a:lnTo>
                    <a:pt x="1064" y="1706"/>
                  </a:lnTo>
                  <a:lnTo>
                    <a:pt x="997" y="1722"/>
                  </a:lnTo>
                  <a:cubicBezTo>
                    <a:pt x="996" y="1722"/>
                    <a:pt x="996" y="1722"/>
                    <a:pt x="995" y="1722"/>
                  </a:cubicBezTo>
                  <a:cubicBezTo>
                    <a:pt x="995" y="1722"/>
                    <a:pt x="994" y="1722"/>
                    <a:pt x="993" y="172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4" name="Freeform 159"/>
            <p:cNvSpPr>
              <a:spLocks noChangeArrowheads="1"/>
            </p:cNvSpPr>
            <p:nvPr/>
          </p:nvSpPr>
          <p:spPr bwMode="auto">
            <a:xfrm>
              <a:off x="3983038" y="2541588"/>
              <a:ext cx="614362" cy="620712"/>
            </a:xfrm>
            <a:custGeom>
              <a:avLst/>
              <a:gdLst/>
              <a:ahLst/>
              <a:cxnLst>
                <a:cxn ang="0">
                  <a:pos x="993" y="1722"/>
                </a:cxn>
                <a:cxn ang="0">
                  <a:pos x="974" y="1709"/>
                </a:cxn>
                <a:cxn ang="0">
                  <a:pos x="871" y="1604"/>
                </a:cxn>
                <a:cxn ang="0">
                  <a:pos x="811" y="1557"/>
                </a:cxn>
                <a:cxn ang="0">
                  <a:pos x="805" y="1526"/>
                </a:cxn>
                <a:cxn ang="0">
                  <a:pos x="1" y="977"/>
                </a:cxn>
                <a:cxn ang="0">
                  <a:pos x="0" y="825"/>
                </a:cxn>
                <a:cxn ang="0">
                  <a:pos x="35" y="788"/>
                </a:cxn>
                <a:cxn ang="0">
                  <a:pos x="163" y="744"/>
                </a:cxn>
                <a:cxn ang="0">
                  <a:pos x="177" y="723"/>
                </a:cxn>
                <a:cxn ang="0">
                  <a:pos x="315" y="657"/>
                </a:cxn>
                <a:cxn ang="0">
                  <a:pos x="398" y="599"/>
                </a:cxn>
                <a:cxn ang="0">
                  <a:pos x="401" y="546"/>
                </a:cxn>
                <a:cxn ang="0">
                  <a:pos x="474" y="506"/>
                </a:cxn>
                <a:cxn ang="0">
                  <a:pos x="617" y="495"/>
                </a:cxn>
                <a:cxn ang="0">
                  <a:pos x="615" y="480"/>
                </a:cxn>
                <a:cxn ang="0">
                  <a:pos x="585" y="418"/>
                </a:cxn>
                <a:cxn ang="0">
                  <a:pos x="531" y="216"/>
                </a:cxn>
                <a:cxn ang="0">
                  <a:pos x="534" y="207"/>
                </a:cxn>
                <a:cxn ang="0">
                  <a:pos x="613" y="186"/>
                </a:cxn>
                <a:cxn ang="0">
                  <a:pos x="726" y="127"/>
                </a:cxn>
                <a:cxn ang="0">
                  <a:pos x="828" y="64"/>
                </a:cxn>
                <a:cxn ang="0">
                  <a:pos x="1135" y="25"/>
                </a:cxn>
                <a:cxn ang="0">
                  <a:pos x="1247" y="0"/>
                </a:cxn>
                <a:cxn ang="0">
                  <a:pos x="1251" y="0"/>
                </a:cxn>
                <a:cxn ang="0">
                  <a:pos x="1323" y="1"/>
                </a:cxn>
                <a:cxn ang="0">
                  <a:pos x="1328" y="0"/>
                </a:cxn>
                <a:cxn ang="0">
                  <a:pos x="1444" y="17"/>
                </a:cxn>
                <a:cxn ang="0">
                  <a:pos x="1448" y="24"/>
                </a:cxn>
                <a:cxn ang="0">
                  <a:pos x="1425" y="68"/>
                </a:cxn>
                <a:cxn ang="0">
                  <a:pos x="1415" y="136"/>
                </a:cxn>
                <a:cxn ang="0">
                  <a:pos x="1411" y="264"/>
                </a:cxn>
                <a:cxn ang="0">
                  <a:pos x="1355" y="394"/>
                </a:cxn>
                <a:cxn ang="0">
                  <a:pos x="1394" y="414"/>
                </a:cxn>
                <a:cxn ang="0">
                  <a:pos x="1472" y="508"/>
                </a:cxn>
                <a:cxn ang="0">
                  <a:pos x="1508" y="685"/>
                </a:cxn>
                <a:cxn ang="0">
                  <a:pos x="1484" y="724"/>
                </a:cxn>
                <a:cxn ang="0">
                  <a:pos x="1534" y="922"/>
                </a:cxn>
                <a:cxn ang="0">
                  <a:pos x="1524" y="1048"/>
                </a:cxn>
                <a:cxn ang="0">
                  <a:pos x="1542" y="1148"/>
                </a:cxn>
                <a:cxn ang="0">
                  <a:pos x="1575" y="1215"/>
                </a:cxn>
                <a:cxn ang="0">
                  <a:pos x="1665" y="1242"/>
                </a:cxn>
                <a:cxn ang="0">
                  <a:pos x="1701" y="1324"/>
                </a:cxn>
                <a:cxn ang="0">
                  <a:pos x="1193" y="1675"/>
                </a:cxn>
                <a:cxn ang="0">
                  <a:pos x="997" y="1722"/>
                </a:cxn>
              </a:cxnLst>
              <a:rect l="0" t="0" r="r" b="b"/>
              <a:pathLst>
                <a:path w="1705" h="1723">
                  <a:moveTo>
                    <a:pt x="995" y="1722"/>
                  </a:moveTo>
                  <a:cubicBezTo>
                    <a:pt x="995" y="1722"/>
                    <a:pt x="994" y="1722"/>
                    <a:pt x="993" y="1722"/>
                  </a:cubicBezTo>
                  <a:lnTo>
                    <a:pt x="976" y="1713"/>
                  </a:lnTo>
                  <a:cubicBezTo>
                    <a:pt x="975" y="1713"/>
                    <a:pt x="974" y="1711"/>
                    <a:pt x="974" y="1709"/>
                  </a:cubicBezTo>
                  <a:lnTo>
                    <a:pt x="978" y="1645"/>
                  </a:lnTo>
                  <a:lnTo>
                    <a:pt x="871" y="1604"/>
                  </a:lnTo>
                  <a:lnTo>
                    <a:pt x="848" y="1572"/>
                  </a:lnTo>
                  <a:lnTo>
                    <a:pt x="811" y="1557"/>
                  </a:lnTo>
                  <a:cubicBezTo>
                    <a:pt x="810" y="1556"/>
                    <a:pt x="809" y="1555"/>
                    <a:pt x="809" y="1553"/>
                  </a:cubicBezTo>
                  <a:lnTo>
                    <a:pt x="805" y="1526"/>
                  </a:lnTo>
                  <a:lnTo>
                    <a:pt x="307" y="1189"/>
                  </a:lnTo>
                  <a:lnTo>
                    <a:pt x="1" y="977"/>
                  </a:lnTo>
                  <a:cubicBezTo>
                    <a:pt x="0" y="976"/>
                    <a:pt x="0" y="975"/>
                    <a:pt x="0" y="973"/>
                  </a:cubicBezTo>
                  <a:lnTo>
                    <a:pt x="0" y="825"/>
                  </a:lnTo>
                  <a:cubicBezTo>
                    <a:pt x="0" y="824"/>
                    <a:pt x="0" y="823"/>
                    <a:pt x="1" y="822"/>
                  </a:cubicBezTo>
                  <a:lnTo>
                    <a:pt x="35" y="788"/>
                  </a:lnTo>
                  <a:lnTo>
                    <a:pt x="129" y="740"/>
                  </a:lnTo>
                  <a:lnTo>
                    <a:pt x="163" y="744"/>
                  </a:lnTo>
                  <a:lnTo>
                    <a:pt x="174" y="725"/>
                  </a:lnTo>
                  <a:cubicBezTo>
                    <a:pt x="174" y="724"/>
                    <a:pt x="176" y="723"/>
                    <a:pt x="177" y="723"/>
                  </a:cubicBezTo>
                  <a:lnTo>
                    <a:pt x="249" y="715"/>
                  </a:lnTo>
                  <a:lnTo>
                    <a:pt x="315" y="657"/>
                  </a:lnTo>
                  <a:lnTo>
                    <a:pt x="408" y="616"/>
                  </a:lnTo>
                  <a:lnTo>
                    <a:pt x="398" y="599"/>
                  </a:lnTo>
                  <a:lnTo>
                    <a:pt x="398" y="550"/>
                  </a:lnTo>
                  <a:cubicBezTo>
                    <a:pt x="398" y="548"/>
                    <a:pt x="399" y="546"/>
                    <a:pt x="401" y="546"/>
                  </a:cubicBezTo>
                  <a:lnTo>
                    <a:pt x="466" y="529"/>
                  </a:lnTo>
                  <a:lnTo>
                    <a:pt x="474" y="506"/>
                  </a:lnTo>
                  <a:cubicBezTo>
                    <a:pt x="475" y="505"/>
                    <a:pt x="476" y="503"/>
                    <a:pt x="478" y="503"/>
                  </a:cubicBezTo>
                  <a:lnTo>
                    <a:pt x="617" y="495"/>
                  </a:lnTo>
                  <a:lnTo>
                    <a:pt x="614" y="484"/>
                  </a:lnTo>
                  <a:cubicBezTo>
                    <a:pt x="614" y="482"/>
                    <a:pt x="614" y="481"/>
                    <a:pt x="615" y="480"/>
                  </a:cubicBezTo>
                  <a:lnTo>
                    <a:pt x="625" y="466"/>
                  </a:lnTo>
                  <a:lnTo>
                    <a:pt x="585" y="418"/>
                  </a:lnTo>
                  <a:lnTo>
                    <a:pt x="572" y="244"/>
                  </a:lnTo>
                  <a:lnTo>
                    <a:pt x="531" y="216"/>
                  </a:lnTo>
                  <a:cubicBezTo>
                    <a:pt x="529" y="214"/>
                    <a:pt x="529" y="212"/>
                    <a:pt x="529" y="210"/>
                  </a:cubicBezTo>
                  <a:cubicBezTo>
                    <a:pt x="530" y="208"/>
                    <a:pt x="532" y="207"/>
                    <a:pt x="534" y="207"/>
                  </a:cubicBezTo>
                  <a:lnTo>
                    <a:pt x="555" y="207"/>
                  </a:lnTo>
                  <a:lnTo>
                    <a:pt x="613" y="186"/>
                  </a:lnTo>
                  <a:lnTo>
                    <a:pt x="653" y="141"/>
                  </a:lnTo>
                  <a:lnTo>
                    <a:pt x="726" y="127"/>
                  </a:lnTo>
                  <a:lnTo>
                    <a:pt x="746" y="103"/>
                  </a:lnTo>
                  <a:lnTo>
                    <a:pt x="828" y="64"/>
                  </a:lnTo>
                  <a:lnTo>
                    <a:pt x="1050" y="21"/>
                  </a:lnTo>
                  <a:lnTo>
                    <a:pt x="1135" y="25"/>
                  </a:lnTo>
                  <a:lnTo>
                    <a:pt x="1165" y="41"/>
                  </a:lnTo>
                  <a:lnTo>
                    <a:pt x="1247" y="0"/>
                  </a:lnTo>
                  <a:cubicBezTo>
                    <a:pt x="1248" y="0"/>
                    <a:pt x="1249" y="0"/>
                    <a:pt x="1250" y="0"/>
                  </a:cubicBezTo>
                  <a:lnTo>
                    <a:pt x="1251" y="0"/>
                  </a:lnTo>
                  <a:lnTo>
                    <a:pt x="1300" y="20"/>
                  </a:lnTo>
                  <a:lnTo>
                    <a:pt x="1323" y="1"/>
                  </a:lnTo>
                  <a:cubicBezTo>
                    <a:pt x="1324" y="0"/>
                    <a:pt x="1325" y="0"/>
                    <a:pt x="1326" y="0"/>
                  </a:cubicBezTo>
                  <a:cubicBezTo>
                    <a:pt x="1327" y="0"/>
                    <a:pt x="1327" y="0"/>
                    <a:pt x="1328" y="0"/>
                  </a:cubicBezTo>
                  <a:lnTo>
                    <a:pt x="1379" y="25"/>
                  </a:lnTo>
                  <a:lnTo>
                    <a:pt x="1444" y="17"/>
                  </a:lnTo>
                  <a:cubicBezTo>
                    <a:pt x="1446" y="17"/>
                    <a:pt x="1448" y="18"/>
                    <a:pt x="1449" y="19"/>
                  </a:cubicBezTo>
                  <a:cubicBezTo>
                    <a:pt x="1449" y="21"/>
                    <a:pt x="1449" y="23"/>
                    <a:pt x="1448" y="24"/>
                  </a:cubicBezTo>
                  <a:lnTo>
                    <a:pt x="1414" y="62"/>
                  </a:lnTo>
                  <a:lnTo>
                    <a:pt x="1425" y="68"/>
                  </a:lnTo>
                  <a:cubicBezTo>
                    <a:pt x="1427" y="69"/>
                    <a:pt x="1428" y="71"/>
                    <a:pt x="1428" y="73"/>
                  </a:cubicBezTo>
                  <a:lnTo>
                    <a:pt x="1415" y="136"/>
                  </a:lnTo>
                  <a:lnTo>
                    <a:pt x="1428" y="202"/>
                  </a:lnTo>
                  <a:lnTo>
                    <a:pt x="1411" y="264"/>
                  </a:lnTo>
                  <a:lnTo>
                    <a:pt x="1340" y="327"/>
                  </a:lnTo>
                  <a:lnTo>
                    <a:pt x="1355" y="394"/>
                  </a:lnTo>
                  <a:lnTo>
                    <a:pt x="1391" y="410"/>
                  </a:lnTo>
                  <a:cubicBezTo>
                    <a:pt x="1393" y="411"/>
                    <a:pt x="1394" y="412"/>
                    <a:pt x="1394" y="414"/>
                  </a:cubicBezTo>
                  <a:lnTo>
                    <a:pt x="1406" y="471"/>
                  </a:lnTo>
                  <a:lnTo>
                    <a:pt x="1472" y="508"/>
                  </a:lnTo>
                  <a:cubicBezTo>
                    <a:pt x="1473" y="509"/>
                    <a:pt x="1474" y="510"/>
                    <a:pt x="1475" y="511"/>
                  </a:cubicBezTo>
                  <a:lnTo>
                    <a:pt x="1508" y="685"/>
                  </a:lnTo>
                  <a:cubicBezTo>
                    <a:pt x="1509" y="686"/>
                    <a:pt x="1508" y="687"/>
                    <a:pt x="1508" y="688"/>
                  </a:cubicBezTo>
                  <a:lnTo>
                    <a:pt x="1484" y="724"/>
                  </a:lnTo>
                  <a:lnTo>
                    <a:pt x="1520" y="776"/>
                  </a:lnTo>
                  <a:lnTo>
                    <a:pt x="1534" y="922"/>
                  </a:lnTo>
                  <a:lnTo>
                    <a:pt x="1525" y="1045"/>
                  </a:lnTo>
                  <a:cubicBezTo>
                    <a:pt x="1525" y="1047"/>
                    <a:pt x="1525" y="1048"/>
                    <a:pt x="1524" y="1048"/>
                  </a:cubicBezTo>
                  <a:lnTo>
                    <a:pt x="1497" y="1075"/>
                  </a:lnTo>
                  <a:lnTo>
                    <a:pt x="1542" y="1148"/>
                  </a:lnTo>
                  <a:lnTo>
                    <a:pt x="1555" y="1201"/>
                  </a:lnTo>
                  <a:lnTo>
                    <a:pt x="1575" y="1215"/>
                  </a:lnTo>
                  <a:lnTo>
                    <a:pt x="1662" y="1239"/>
                  </a:lnTo>
                  <a:cubicBezTo>
                    <a:pt x="1663" y="1240"/>
                    <a:pt x="1664" y="1241"/>
                    <a:pt x="1665" y="1242"/>
                  </a:cubicBezTo>
                  <a:lnTo>
                    <a:pt x="1703" y="1318"/>
                  </a:lnTo>
                  <a:cubicBezTo>
                    <a:pt x="1704" y="1320"/>
                    <a:pt x="1703" y="1323"/>
                    <a:pt x="1701" y="1324"/>
                  </a:cubicBezTo>
                  <a:lnTo>
                    <a:pt x="1379" y="1536"/>
                  </a:lnTo>
                  <a:lnTo>
                    <a:pt x="1193" y="1675"/>
                  </a:lnTo>
                  <a:lnTo>
                    <a:pt x="1064" y="1706"/>
                  </a:lnTo>
                  <a:lnTo>
                    <a:pt x="997" y="1722"/>
                  </a:lnTo>
                  <a:cubicBezTo>
                    <a:pt x="996" y="1722"/>
                    <a:pt x="996" y="1722"/>
                    <a:pt x="995" y="172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5" name="Freeform 160"/>
            <p:cNvSpPr>
              <a:spLocks noChangeArrowheads="1"/>
            </p:cNvSpPr>
            <p:nvPr/>
          </p:nvSpPr>
          <p:spPr bwMode="auto">
            <a:xfrm>
              <a:off x="4587875" y="3911600"/>
              <a:ext cx="382588" cy="376238"/>
            </a:xfrm>
            <a:custGeom>
              <a:avLst/>
              <a:gdLst/>
              <a:ahLst/>
              <a:cxnLst>
                <a:cxn ang="0">
                  <a:pos x="628" y="1025"/>
                </a:cxn>
                <a:cxn ang="0">
                  <a:pos x="191" y="987"/>
                </a:cxn>
                <a:cxn ang="0">
                  <a:pos x="94" y="945"/>
                </a:cxn>
                <a:cxn ang="0">
                  <a:pos x="52" y="970"/>
                </a:cxn>
                <a:cxn ang="0">
                  <a:pos x="42" y="963"/>
                </a:cxn>
                <a:cxn ang="0">
                  <a:pos x="5" y="987"/>
                </a:cxn>
                <a:cxn ang="0">
                  <a:pos x="0" y="982"/>
                </a:cxn>
                <a:cxn ang="0">
                  <a:pos x="64" y="676"/>
                </a:cxn>
                <a:cxn ang="0">
                  <a:pos x="166" y="540"/>
                </a:cxn>
                <a:cxn ang="0">
                  <a:pos x="174" y="402"/>
                </a:cxn>
                <a:cxn ang="0">
                  <a:pos x="123" y="289"/>
                </a:cxn>
                <a:cxn ang="0">
                  <a:pos x="141" y="256"/>
                </a:cxn>
                <a:cxn ang="0">
                  <a:pos x="60" y="45"/>
                </a:cxn>
                <a:cxn ang="0">
                  <a:pos x="62" y="38"/>
                </a:cxn>
                <a:cxn ang="0">
                  <a:pos x="390" y="0"/>
                </a:cxn>
                <a:cxn ang="0">
                  <a:pos x="454" y="130"/>
                </a:cxn>
                <a:cxn ang="0">
                  <a:pos x="641" y="178"/>
                </a:cxn>
                <a:cxn ang="0">
                  <a:pos x="669" y="102"/>
                </a:cxn>
                <a:cxn ang="0">
                  <a:pos x="774" y="90"/>
                </a:cxn>
                <a:cxn ang="0">
                  <a:pos x="772" y="123"/>
                </a:cxn>
                <a:cxn ang="0">
                  <a:pos x="847" y="126"/>
                </a:cxn>
                <a:cxn ang="0">
                  <a:pos x="860" y="309"/>
                </a:cxn>
                <a:cxn ang="0">
                  <a:pos x="898" y="405"/>
                </a:cxn>
                <a:cxn ang="0">
                  <a:pos x="892" y="459"/>
                </a:cxn>
                <a:cxn ang="0">
                  <a:pos x="914" y="431"/>
                </a:cxn>
                <a:cxn ang="0">
                  <a:pos x="1045" y="424"/>
                </a:cxn>
                <a:cxn ang="0">
                  <a:pos x="1038" y="590"/>
                </a:cxn>
                <a:cxn ang="0">
                  <a:pos x="1059" y="607"/>
                </a:cxn>
                <a:cxn ang="0">
                  <a:pos x="877" y="610"/>
                </a:cxn>
                <a:cxn ang="0">
                  <a:pos x="977" y="1000"/>
                </a:cxn>
                <a:cxn ang="0">
                  <a:pos x="975" y="1008"/>
                </a:cxn>
                <a:cxn ang="0">
                  <a:pos x="826" y="1046"/>
                </a:cxn>
              </a:cxnLst>
              <a:rect l="0" t="0" r="r" b="b"/>
              <a:pathLst>
                <a:path w="1061" h="1047">
                  <a:moveTo>
                    <a:pt x="711" y="1025"/>
                  </a:moveTo>
                  <a:lnTo>
                    <a:pt x="628" y="1025"/>
                  </a:lnTo>
                  <a:lnTo>
                    <a:pt x="557" y="982"/>
                  </a:lnTo>
                  <a:lnTo>
                    <a:pt x="191" y="987"/>
                  </a:lnTo>
                  <a:lnTo>
                    <a:pt x="129" y="944"/>
                  </a:lnTo>
                  <a:lnTo>
                    <a:pt x="94" y="945"/>
                  </a:lnTo>
                  <a:lnTo>
                    <a:pt x="54" y="969"/>
                  </a:lnTo>
                  <a:cubicBezTo>
                    <a:pt x="53" y="970"/>
                    <a:pt x="52" y="970"/>
                    <a:pt x="52" y="970"/>
                  </a:cubicBezTo>
                  <a:cubicBezTo>
                    <a:pt x="50" y="970"/>
                    <a:pt x="49" y="969"/>
                    <a:pt x="48" y="968"/>
                  </a:cubicBezTo>
                  <a:lnTo>
                    <a:pt x="42" y="963"/>
                  </a:lnTo>
                  <a:lnTo>
                    <a:pt x="8" y="986"/>
                  </a:lnTo>
                  <a:cubicBezTo>
                    <a:pt x="7" y="986"/>
                    <a:pt x="6" y="987"/>
                    <a:pt x="5" y="987"/>
                  </a:cubicBezTo>
                  <a:cubicBezTo>
                    <a:pt x="4" y="987"/>
                    <a:pt x="3" y="986"/>
                    <a:pt x="3" y="986"/>
                  </a:cubicBezTo>
                  <a:cubicBezTo>
                    <a:pt x="1" y="985"/>
                    <a:pt x="0" y="984"/>
                    <a:pt x="0" y="982"/>
                  </a:cubicBezTo>
                  <a:lnTo>
                    <a:pt x="4" y="859"/>
                  </a:lnTo>
                  <a:lnTo>
                    <a:pt x="64" y="676"/>
                  </a:lnTo>
                  <a:lnTo>
                    <a:pt x="107" y="595"/>
                  </a:lnTo>
                  <a:lnTo>
                    <a:pt x="166" y="540"/>
                  </a:lnTo>
                  <a:lnTo>
                    <a:pt x="174" y="444"/>
                  </a:lnTo>
                  <a:lnTo>
                    <a:pt x="174" y="402"/>
                  </a:lnTo>
                  <a:lnTo>
                    <a:pt x="141" y="363"/>
                  </a:lnTo>
                  <a:lnTo>
                    <a:pt x="123" y="289"/>
                  </a:lnTo>
                  <a:cubicBezTo>
                    <a:pt x="123" y="288"/>
                    <a:pt x="123" y="287"/>
                    <a:pt x="124" y="286"/>
                  </a:cubicBezTo>
                  <a:lnTo>
                    <a:pt x="141" y="256"/>
                  </a:lnTo>
                  <a:lnTo>
                    <a:pt x="132" y="213"/>
                  </a:lnTo>
                  <a:lnTo>
                    <a:pt x="60" y="45"/>
                  </a:lnTo>
                  <a:cubicBezTo>
                    <a:pt x="59" y="43"/>
                    <a:pt x="59" y="42"/>
                    <a:pt x="60" y="41"/>
                  </a:cubicBezTo>
                  <a:cubicBezTo>
                    <a:pt x="60" y="40"/>
                    <a:pt x="61" y="39"/>
                    <a:pt x="62" y="38"/>
                  </a:cubicBezTo>
                  <a:lnTo>
                    <a:pt x="143" y="5"/>
                  </a:lnTo>
                  <a:lnTo>
                    <a:pt x="390" y="0"/>
                  </a:lnTo>
                  <a:lnTo>
                    <a:pt x="427" y="26"/>
                  </a:lnTo>
                  <a:lnTo>
                    <a:pt x="454" y="130"/>
                  </a:lnTo>
                  <a:lnTo>
                    <a:pt x="519" y="194"/>
                  </a:lnTo>
                  <a:lnTo>
                    <a:pt x="641" y="178"/>
                  </a:lnTo>
                  <a:lnTo>
                    <a:pt x="665" y="105"/>
                  </a:lnTo>
                  <a:cubicBezTo>
                    <a:pt x="666" y="103"/>
                    <a:pt x="668" y="102"/>
                    <a:pt x="669" y="102"/>
                  </a:cubicBezTo>
                  <a:lnTo>
                    <a:pt x="771" y="89"/>
                  </a:lnTo>
                  <a:cubicBezTo>
                    <a:pt x="772" y="89"/>
                    <a:pt x="773" y="89"/>
                    <a:pt x="774" y="90"/>
                  </a:cubicBezTo>
                  <a:cubicBezTo>
                    <a:pt x="775" y="91"/>
                    <a:pt x="776" y="93"/>
                    <a:pt x="775" y="94"/>
                  </a:cubicBezTo>
                  <a:lnTo>
                    <a:pt x="772" y="123"/>
                  </a:lnTo>
                  <a:lnTo>
                    <a:pt x="843" y="123"/>
                  </a:lnTo>
                  <a:cubicBezTo>
                    <a:pt x="845" y="123"/>
                    <a:pt x="846" y="124"/>
                    <a:pt x="847" y="126"/>
                  </a:cubicBezTo>
                  <a:lnTo>
                    <a:pt x="855" y="147"/>
                  </a:lnTo>
                  <a:lnTo>
                    <a:pt x="860" y="309"/>
                  </a:lnTo>
                  <a:lnTo>
                    <a:pt x="898" y="401"/>
                  </a:lnTo>
                  <a:cubicBezTo>
                    <a:pt x="898" y="402"/>
                    <a:pt x="898" y="403"/>
                    <a:pt x="898" y="405"/>
                  </a:cubicBezTo>
                  <a:lnTo>
                    <a:pt x="874" y="447"/>
                  </a:lnTo>
                  <a:lnTo>
                    <a:pt x="892" y="459"/>
                  </a:lnTo>
                  <a:lnTo>
                    <a:pt x="911" y="434"/>
                  </a:lnTo>
                  <a:cubicBezTo>
                    <a:pt x="912" y="432"/>
                    <a:pt x="913" y="432"/>
                    <a:pt x="914" y="431"/>
                  </a:cubicBezTo>
                  <a:lnTo>
                    <a:pt x="1042" y="423"/>
                  </a:lnTo>
                  <a:cubicBezTo>
                    <a:pt x="1043" y="423"/>
                    <a:pt x="1044" y="424"/>
                    <a:pt x="1045" y="424"/>
                  </a:cubicBezTo>
                  <a:cubicBezTo>
                    <a:pt x="1046" y="425"/>
                    <a:pt x="1046" y="427"/>
                    <a:pt x="1046" y="428"/>
                  </a:cubicBezTo>
                  <a:lnTo>
                    <a:pt x="1038" y="590"/>
                  </a:lnTo>
                  <a:lnTo>
                    <a:pt x="1057" y="601"/>
                  </a:lnTo>
                  <a:cubicBezTo>
                    <a:pt x="1059" y="602"/>
                    <a:pt x="1060" y="605"/>
                    <a:pt x="1059" y="607"/>
                  </a:cubicBezTo>
                  <a:cubicBezTo>
                    <a:pt x="1058" y="609"/>
                    <a:pt x="1057" y="610"/>
                    <a:pt x="1054" y="610"/>
                  </a:cubicBezTo>
                  <a:lnTo>
                    <a:pt x="877" y="610"/>
                  </a:lnTo>
                  <a:lnTo>
                    <a:pt x="877" y="912"/>
                  </a:lnTo>
                  <a:lnTo>
                    <a:pt x="977" y="1000"/>
                  </a:lnTo>
                  <a:cubicBezTo>
                    <a:pt x="978" y="1001"/>
                    <a:pt x="979" y="1002"/>
                    <a:pt x="978" y="1004"/>
                  </a:cubicBezTo>
                  <a:cubicBezTo>
                    <a:pt x="978" y="1006"/>
                    <a:pt x="977" y="1007"/>
                    <a:pt x="975" y="1008"/>
                  </a:cubicBezTo>
                  <a:lnTo>
                    <a:pt x="827" y="1046"/>
                  </a:lnTo>
                  <a:lnTo>
                    <a:pt x="826" y="1046"/>
                  </a:lnTo>
                  <a:lnTo>
                    <a:pt x="711" y="102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6" name="Freeform 161"/>
            <p:cNvSpPr>
              <a:spLocks noChangeArrowheads="1"/>
            </p:cNvSpPr>
            <p:nvPr/>
          </p:nvSpPr>
          <p:spPr bwMode="auto">
            <a:xfrm>
              <a:off x="4587875" y="3911600"/>
              <a:ext cx="382588" cy="376238"/>
            </a:xfrm>
            <a:custGeom>
              <a:avLst/>
              <a:gdLst/>
              <a:ahLst/>
              <a:cxnLst>
                <a:cxn ang="0">
                  <a:pos x="628" y="1025"/>
                </a:cxn>
                <a:cxn ang="0">
                  <a:pos x="191" y="987"/>
                </a:cxn>
                <a:cxn ang="0">
                  <a:pos x="94" y="945"/>
                </a:cxn>
                <a:cxn ang="0">
                  <a:pos x="52" y="970"/>
                </a:cxn>
                <a:cxn ang="0">
                  <a:pos x="42" y="963"/>
                </a:cxn>
                <a:cxn ang="0">
                  <a:pos x="5" y="987"/>
                </a:cxn>
                <a:cxn ang="0">
                  <a:pos x="0" y="982"/>
                </a:cxn>
                <a:cxn ang="0">
                  <a:pos x="64" y="676"/>
                </a:cxn>
                <a:cxn ang="0">
                  <a:pos x="166" y="540"/>
                </a:cxn>
                <a:cxn ang="0">
                  <a:pos x="174" y="402"/>
                </a:cxn>
                <a:cxn ang="0">
                  <a:pos x="123" y="289"/>
                </a:cxn>
                <a:cxn ang="0">
                  <a:pos x="141" y="256"/>
                </a:cxn>
                <a:cxn ang="0">
                  <a:pos x="60" y="45"/>
                </a:cxn>
                <a:cxn ang="0">
                  <a:pos x="62" y="38"/>
                </a:cxn>
                <a:cxn ang="0">
                  <a:pos x="390" y="0"/>
                </a:cxn>
                <a:cxn ang="0">
                  <a:pos x="454" y="130"/>
                </a:cxn>
                <a:cxn ang="0">
                  <a:pos x="641" y="178"/>
                </a:cxn>
                <a:cxn ang="0">
                  <a:pos x="669" y="102"/>
                </a:cxn>
                <a:cxn ang="0">
                  <a:pos x="774" y="90"/>
                </a:cxn>
                <a:cxn ang="0">
                  <a:pos x="772" y="123"/>
                </a:cxn>
                <a:cxn ang="0">
                  <a:pos x="847" y="126"/>
                </a:cxn>
                <a:cxn ang="0">
                  <a:pos x="860" y="309"/>
                </a:cxn>
                <a:cxn ang="0">
                  <a:pos x="898" y="405"/>
                </a:cxn>
                <a:cxn ang="0">
                  <a:pos x="892" y="459"/>
                </a:cxn>
                <a:cxn ang="0">
                  <a:pos x="914" y="431"/>
                </a:cxn>
                <a:cxn ang="0">
                  <a:pos x="1045" y="424"/>
                </a:cxn>
                <a:cxn ang="0">
                  <a:pos x="1038" y="590"/>
                </a:cxn>
                <a:cxn ang="0">
                  <a:pos x="1059" y="607"/>
                </a:cxn>
                <a:cxn ang="0">
                  <a:pos x="877" y="610"/>
                </a:cxn>
                <a:cxn ang="0">
                  <a:pos x="977" y="1000"/>
                </a:cxn>
                <a:cxn ang="0">
                  <a:pos x="975" y="1008"/>
                </a:cxn>
                <a:cxn ang="0">
                  <a:pos x="826" y="1046"/>
                </a:cxn>
              </a:cxnLst>
              <a:rect l="0" t="0" r="r" b="b"/>
              <a:pathLst>
                <a:path w="1061" h="1047">
                  <a:moveTo>
                    <a:pt x="711" y="1025"/>
                  </a:moveTo>
                  <a:lnTo>
                    <a:pt x="628" y="1025"/>
                  </a:lnTo>
                  <a:lnTo>
                    <a:pt x="557" y="982"/>
                  </a:lnTo>
                  <a:lnTo>
                    <a:pt x="191" y="987"/>
                  </a:lnTo>
                  <a:lnTo>
                    <a:pt x="129" y="944"/>
                  </a:lnTo>
                  <a:lnTo>
                    <a:pt x="94" y="945"/>
                  </a:lnTo>
                  <a:lnTo>
                    <a:pt x="54" y="969"/>
                  </a:lnTo>
                  <a:cubicBezTo>
                    <a:pt x="53" y="970"/>
                    <a:pt x="52" y="970"/>
                    <a:pt x="52" y="970"/>
                  </a:cubicBezTo>
                  <a:cubicBezTo>
                    <a:pt x="50" y="970"/>
                    <a:pt x="49" y="969"/>
                    <a:pt x="48" y="968"/>
                  </a:cubicBezTo>
                  <a:lnTo>
                    <a:pt x="42" y="963"/>
                  </a:lnTo>
                  <a:lnTo>
                    <a:pt x="8" y="986"/>
                  </a:lnTo>
                  <a:cubicBezTo>
                    <a:pt x="7" y="986"/>
                    <a:pt x="6" y="987"/>
                    <a:pt x="5" y="987"/>
                  </a:cubicBezTo>
                  <a:cubicBezTo>
                    <a:pt x="4" y="987"/>
                    <a:pt x="3" y="986"/>
                    <a:pt x="3" y="986"/>
                  </a:cubicBezTo>
                  <a:cubicBezTo>
                    <a:pt x="1" y="985"/>
                    <a:pt x="0" y="984"/>
                    <a:pt x="0" y="982"/>
                  </a:cubicBezTo>
                  <a:lnTo>
                    <a:pt x="4" y="859"/>
                  </a:lnTo>
                  <a:lnTo>
                    <a:pt x="64" y="676"/>
                  </a:lnTo>
                  <a:lnTo>
                    <a:pt x="107" y="595"/>
                  </a:lnTo>
                  <a:lnTo>
                    <a:pt x="166" y="540"/>
                  </a:lnTo>
                  <a:lnTo>
                    <a:pt x="174" y="444"/>
                  </a:lnTo>
                  <a:lnTo>
                    <a:pt x="174" y="402"/>
                  </a:lnTo>
                  <a:lnTo>
                    <a:pt x="141" y="363"/>
                  </a:lnTo>
                  <a:lnTo>
                    <a:pt x="123" y="289"/>
                  </a:lnTo>
                  <a:cubicBezTo>
                    <a:pt x="123" y="288"/>
                    <a:pt x="123" y="287"/>
                    <a:pt x="124" y="286"/>
                  </a:cubicBezTo>
                  <a:lnTo>
                    <a:pt x="141" y="256"/>
                  </a:lnTo>
                  <a:lnTo>
                    <a:pt x="132" y="213"/>
                  </a:lnTo>
                  <a:lnTo>
                    <a:pt x="60" y="45"/>
                  </a:lnTo>
                  <a:cubicBezTo>
                    <a:pt x="59" y="43"/>
                    <a:pt x="59" y="42"/>
                    <a:pt x="60" y="41"/>
                  </a:cubicBezTo>
                  <a:cubicBezTo>
                    <a:pt x="60" y="40"/>
                    <a:pt x="61" y="39"/>
                    <a:pt x="62" y="38"/>
                  </a:cubicBezTo>
                  <a:lnTo>
                    <a:pt x="143" y="5"/>
                  </a:lnTo>
                  <a:lnTo>
                    <a:pt x="390" y="0"/>
                  </a:lnTo>
                  <a:lnTo>
                    <a:pt x="427" y="26"/>
                  </a:lnTo>
                  <a:lnTo>
                    <a:pt x="454" y="130"/>
                  </a:lnTo>
                  <a:lnTo>
                    <a:pt x="519" y="194"/>
                  </a:lnTo>
                  <a:lnTo>
                    <a:pt x="641" y="178"/>
                  </a:lnTo>
                  <a:lnTo>
                    <a:pt x="665" y="105"/>
                  </a:lnTo>
                  <a:cubicBezTo>
                    <a:pt x="666" y="103"/>
                    <a:pt x="668" y="102"/>
                    <a:pt x="669" y="102"/>
                  </a:cubicBezTo>
                  <a:lnTo>
                    <a:pt x="771" y="89"/>
                  </a:lnTo>
                  <a:cubicBezTo>
                    <a:pt x="772" y="89"/>
                    <a:pt x="773" y="89"/>
                    <a:pt x="774" y="90"/>
                  </a:cubicBezTo>
                  <a:cubicBezTo>
                    <a:pt x="775" y="91"/>
                    <a:pt x="776" y="93"/>
                    <a:pt x="775" y="94"/>
                  </a:cubicBezTo>
                  <a:lnTo>
                    <a:pt x="772" y="123"/>
                  </a:lnTo>
                  <a:lnTo>
                    <a:pt x="843" y="123"/>
                  </a:lnTo>
                  <a:cubicBezTo>
                    <a:pt x="845" y="123"/>
                    <a:pt x="846" y="124"/>
                    <a:pt x="847" y="126"/>
                  </a:cubicBezTo>
                  <a:lnTo>
                    <a:pt x="855" y="147"/>
                  </a:lnTo>
                  <a:lnTo>
                    <a:pt x="860" y="309"/>
                  </a:lnTo>
                  <a:lnTo>
                    <a:pt x="898" y="401"/>
                  </a:lnTo>
                  <a:cubicBezTo>
                    <a:pt x="898" y="402"/>
                    <a:pt x="898" y="403"/>
                    <a:pt x="898" y="405"/>
                  </a:cubicBezTo>
                  <a:lnTo>
                    <a:pt x="874" y="447"/>
                  </a:lnTo>
                  <a:lnTo>
                    <a:pt x="892" y="459"/>
                  </a:lnTo>
                  <a:lnTo>
                    <a:pt x="911" y="434"/>
                  </a:lnTo>
                  <a:cubicBezTo>
                    <a:pt x="912" y="432"/>
                    <a:pt x="913" y="432"/>
                    <a:pt x="914" y="431"/>
                  </a:cubicBezTo>
                  <a:lnTo>
                    <a:pt x="1042" y="423"/>
                  </a:lnTo>
                  <a:cubicBezTo>
                    <a:pt x="1043" y="423"/>
                    <a:pt x="1044" y="424"/>
                    <a:pt x="1045" y="424"/>
                  </a:cubicBezTo>
                  <a:cubicBezTo>
                    <a:pt x="1046" y="425"/>
                    <a:pt x="1046" y="427"/>
                    <a:pt x="1046" y="428"/>
                  </a:cubicBezTo>
                  <a:lnTo>
                    <a:pt x="1038" y="590"/>
                  </a:lnTo>
                  <a:lnTo>
                    <a:pt x="1057" y="601"/>
                  </a:lnTo>
                  <a:cubicBezTo>
                    <a:pt x="1059" y="602"/>
                    <a:pt x="1060" y="605"/>
                    <a:pt x="1059" y="607"/>
                  </a:cubicBezTo>
                  <a:cubicBezTo>
                    <a:pt x="1058" y="609"/>
                    <a:pt x="1057" y="610"/>
                    <a:pt x="1054" y="610"/>
                  </a:cubicBezTo>
                  <a:lnTo>
                    <a:pt x="877" y="610"/>
                  </a:lnTo>
                  <a:lnTo>
                    <a:pt x="877" y="912"/>
                  </a:lnTo>
                  <a:lnTo>
                    <a:pt x="977" y="1000"/>
                  </a:lnTo>
                  <a:cubicBezTo>
                    <a:pt x="978" y="1001"/>
                    <a:pt x="979" y="1002"/>
                    <a:pt x="978" y="1004"/>
                  </a:cubicBezTo>
                  <a:cubicBezTo>
                    <a:pt x="978" y="1006"/>
                    <a:pt x="977" y="1007"/>
                    <a:pt x="975" y="1008"/>
                  </a:cubicBezTo>
                  <a:lnTo>
                    <a:pt x="827" y="1046"/>
                  </a:lnTo>
                  <a:lnTo>
                    <a:pt x="826" y="1046"/>
                  </a:lnTo>
                  <a:lnTo>
                    <a:pt x="711" y="102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7" name="Freeform 162"/>
            <p:cNvSpPr>
              <a:spLocks noChangeArrowheads="1"/>
            </p:cNvSpPr>
            <p:nvPr/>
          </p:nvSpPr>
          <p:spPr bwMode="auto">
            <a:xfrm>
              <a:off x="4600575" y="3868738"/>
              <a:ext cx="33338" cy="47625"/>
            </a:xfrm>
            <a:custGeom>
              <a:avLst/>
              <a:gdLst/>
              <a:ahLst/>
              <a:cxnLst>
                <a:cxn ang="0">
                  <a:pos x="26" y="129"/>
                </a:cxn>
                <a:cxn ang="0">
                  <a:pos x="0" y="61"/>
                </a:cxn>
                <a:cxn ang="0">
                  <a:pos x="1" y="56"/>
                </a:cxn>
                <a:cxn ang="0">
                  <a:pos x="57" y="1"/>
                </a:cxn>
                <a:cxn ang="0">
                  <a:pos x="60" y="0"/>
                </a:cxn>
                <a:cxn ang="0">
                  <a:pos x="63" y="1"/>
                </a:cxn>
                <a:cxn ang="0">
                  <a:pos x="88" y="22"/>
                </a:cxn>
                <a:cxn ang="0">
                  <a:pos x="90" y="25"/>
                </a:cxn>
                <a:cxn ang="0">
                  <a:pos x="88" y="29"/>
                </a:cxn>
                <a:cxn ang="0">
                  <a:pos x="56" y="57"/>
                </a:cxn>
                <a:cxn ang="0">
                  <a:pos x="48" y="123"/>
                </a:cxn>
                <a:cxn ang="0">
                  <a:pos x="44" y="127"/>
                </a:cxn>
                <a:cxn ang="0">
                  <a:pos x="32" y="131"/>
                </a:cxn>
                <a:cxn ang="0">
                  <a:pos x="30" y="132"/>
                </a:cxn>
                <a:cxn ang="0">
                  <a:pos x="26" y="129"/>
                </a:cxn>
              </a:cxnLst>
              <a:rect l="0" t="0" r="r" b="b"/>
              <a:pathLst>
                <a:path w="91" h="133">
                  <a:moveTo>
                    <a:pt x="26" y="129"/>
                  </a:moveTo>
                  <a:lnTo>
                    <a:pt x="0" y="61"/>
                  </a:lnTo>
                  <a:cubicBezTo>
                    <a:pt x="0" y="59"/>
                    <a:pt x="0" y="57"/>
                    <a:pt x="1" y="56"/>
                  </a:cubicBezTo>
                  <a:lnTo>
                    <a:pt x="57" y="1"/>
                  </a:lnTo>
                  <a:cubicBezTo>
                    <a:pt x="57" y="0"/>
                    <a:pt x="59" y="0"/>
                    <a:pt x="60" y="0"/>
                  </a:cubicBezTo>
                  <a:cubicBezTo>
                    <a:pt x="61" y="0"/>
                    <a:pt x="62" y="0"/>
                    <a:pt x="63" y="1"/>
                  </a:cubicBezTo>
                  <a:lnTo>
                    <a:pt x="88" y="22"/>
                  </a:lnTo>
                  <a:cubicBezTo>
                    <a:pt x="89" y="23"/>
                    <a:pt x="90" y="24"/>
                    <a:pt x="90" y="25"/>
                  </a:cubicBezTo>
                  <a:cubicBezTo>
                    <a:pt x="90" y="27"/>
                    <a:pt x="89" y="28"/>
                    <a:pt x="88" y="29"/>
                  </a:cubicBezTo>
                  <a:lnTo>
                    <a:pt x="56" y="57"/>
                  </a:lnTo>
                  <a:lnTo>
                    <a:pt x="48" y="123"/>
                  </a:lnTo>
                  <a:cubicBezTo>
                    <a:pt x="47" y="125"/>
                    <a:pt x="46" y="127"/>
                    <a:pt x="44" y="127"/>
                  </a:cubicBezTo>
                  <a:lnTo>
                    <a:pt x="32" y="131"/>
                  </a:lnTo>
                  <a:cubicBezTo>
                    <a:pt x="31" y="132"/>
                    <a:pt x="31" y="132"/>
                    <a:pt x="30" y="132"/>
                  </a:cubicBezTo>
                  <a:cubicBezTo>
                    <a:pt x="28" y="132"/>
                    <a:pt x="27" y="130"/>
                    <a:pt x="26" y="12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8" name="Freeform 163"/>
            <p:cNvSpPr>
              <a:spLocks noChangeArrowheads="1"/>
            </p:cNvSpPr>
            <p:nvPr/>
          </p:nvSpPr>
          <p:spPr bwMode="auto">
            <a:xfrm>
              <a:off x="4600575" y="3868738"/>
              <a:ext cx="33338" cy="47625"/>
            </a:xfrm>
            <a:custGeom>
              <a:avLst/>
              <a:gdLst/>
              <a:ahLst/>
              <a:cxnLst>
                <a:cxn ang="0">
                  <a:pos x="30" y="132"/>
                </a:cxn>
                <a:cxn ang="0">
                  <a:pos x="26" y="129"/>
                </a:cxn>
                <a:cxn ang="0">
                  <a:pos x="0" y="61"/>
                </a:cxn>
                <a:cxn ang="0">
                  <a:pos x="1" y="56"/>
                </a:cxn>
                <a:cxn ang="0">
                  <a:pos x="57" y="1"/>
                </a:cxn>
                <a:cxn ang="0">
                  <a:pos x="60" y="0"/>
                </a:cxn>
                <a:cxn ang="0">
                  <a:pos x="63" y="1"/>
                </a:cxn>
                <a:cxn ang="0">
                  <a:pos x="88" y="22"/>
                </a:cxn>
                <a:cxn ang="0">
                  <a:pos x="90" y="25"/>
                </a:cxn>
                <a:cxn ang="0">
                  <a:pos x="88" y="29"/>
                </a:cxn>
                <a:cxn ang="0">
                  <a:pos x="56" y="57"/>
                </a:cxn>
                <a:cxn ang="0">
                  <a:pos x="48" y="123"/>
                </a:cxn>
                <a:cxn ang="0">
                  <a:pos x="44" y="127"/>
                </a:cxn>
                <a:cxn ang="0">
                  <a:pos x="32" y="131"/>
                </a:cxn>
                <a:cxn ang="0">
                  <a:pos x="30" y="132"/>
                </a:cxn>
              </a:cxnLst>
              <a:rect l="0" t="0" r="r" b="b"/>
              <a:pathLst>
                <a:path w="91" h="133">
                  <a:moveTo>
                    <a:pt x="30" y="132"/>
                  </a:moveTo>
                  <a:cubicBezTo>
                    <a:pt x="28" y="132"/>
                    <a:pt x="27" y="130"/>
                    <a:pt x="26" y="129"/>
                  </a:cubicBezTo>
                  <a:lnTo>
                    <a:pt x="0" y="61"/>
                  </a:lnTo>
                  <a:cubicBezTo>
                    <a:pt x="0" y="59"/>
                    <a:pt x="0" y="57"/>
                    <a:pt x="1" y="56"/>
                  </a:cubicBezTo>
                  <a:lnTo>
                    <a:pt x="57" y="1"/>
                  </a:lnTo>
                  <a:cubicBezTo>
                    <a:pt x="57" y="0"/>
                    <a:pt x="59" y="0"/>
                    <a:pt x="60" y="0"/>
                  </a:cubicBezTo>
                  <a:cubicBezTo>
                    <a:pt x="61" y="0"/>
                    <a:pt x="62" y="0"/>
                    <a:pt x="63" y="1"/>
                  </a:cubicBezTo>
                  <a:lnTo>
                    <a:pt x="88" y="22"/>
                  </a:lnTo>
                  <a:cubicBezTo>
                    <a:pt x="89" y="23"/>
                    <a:pt x="90" y="24"/>
                    <a:pt x="90" y="25"/>
                  </a:cubicBezTo>
                  <a:cubicBezTo>
                    <a:pt x="90" y="27"/>
                    <a:pt x="89" y="28"/>
                    <a:pt x="88" y="29"/>
                  </a:cubicBezTo>
                  <a:lnTo>
                    <a:pt x="56" y="57"/>
                  </a:lnTo>
                  <a:lnTo>
                    <a:pt x="48" y="123"/>
                  </a:lnTo>
                  <a:cubicBezTo>
                    <a:pt x="47" y="125"/>
                    <a:pt x="46" y="127"/>
                    <a:pt x="44" y="127"/>
                  </a:cubicBezTo>
                  <a:lnTo>
                    <a:pt x="32" y="131"/>
                  </a:lnTo>
                  <a:cubicBezTo>
                    <a:pt x="31" y="132"/>
                    <a:pt x="31" y="132"/>
                    <a:pt x="30" y="13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9" name="Freeform 164"/>
            <p:cNvSpPr>
              <a:spLocks noChangeArrowheads="1"/>
            </p:cNvSpPr>
            <p:nvPr/>
          </p:nvSpPr>
          <p:spPr bwMode="auto">
            <a:xfrm>
              <a:off x="4837113" y="4276725"/>
              <a:ext cx="287337" cy="296863"/>
            </a:xfrm>
            <a:custGeom>
              <a:avLst/>
              <a:gdLst/>
              <a:ahLst/>
              <a:cxnLst>
                <a:cxn ang="0">
                  <a:pos x="71" y="814"/>
                </a:cxn>
                <a:cxn ang="0">
                  <a:pos x="66" y="809"/>
                </a:cxn>
                <a:cxn ang="0">
                  <a:pos x="71" y="709"/>
                </a:cxn>
                <a:cxn ang="0">
                  <a:pos x="1" y="626"/>
                </a:cxn>
                <a:cxn ang="0">
                  <a:pos x="0" y="623"/>
                </a:cxn>
                <a:cxn ang="0">
                  <a:pos x="0" y="373"/>
                </a:cxn>
                <a:cxn ang="0">
                  <a:pos x="4" y="368"/>
                </a:cxn>
                <a:cxn ang="0">
                  <a:pos x="83" y="368"/>
                </a:cxn>
                <a:cxn ang="0">
                  <a:pos x="83" y="64"/>
                </a:cxn>
                <a:cxn ang="0">
                  <a:pos x="87" y="60"/>
                </a:cxn>
                <a:cxn ang="0">
                  <a:pos x="248" y="26"/>
                </a:cxn>
                <a:cxn ang="0">
                  <a:pos x="292" y="30"/>
                </a:cxn>
                <a:cxn ang="0">
                  <a:pos x="296" y="33"/>
                </a:cxn>
                <a:cxn ang="0">
                  <a:pos x="310" y="69"/>
                </a:cxn>
                <a:cxn ang="0">
                  <a:pos x="356" y="27"/>
                </a:cxn>
                <a:cxn ang="0">
                  <a:pos x="412" y="1"/>
                </a:cxn>
                <a:cxn ang="0">
                  <a:pos x="444" y="0"/>
                </a:cxn>
                <a:cxn ang="0">
                  <a:pos x="448" y="3"/>
                </a:cxn>
                <a:cxn ang="0">
                  <a:pos x="520" y="138"/>
                </a:cxn>
                <a:cxn ang="0">
                  <a:pos x="663" y="251"/>
                </a:cxn>
                <a:cxn ang="0">
                  <a:pos x="665" y="254"/>
                </a:cxn>
                <a:cxn ang="0">
                  <a:pos x="677" y="328"/>
                </a:cxn>
                <a:cxn ang="0">
                  <a:pos x="793" y="382"/>
                </a:cxn>
                <a:cxn ang="0">
                  <a:pos x="796" y="385"/>
                </a:cxn>
                <a:cxn ang="0">
                  <a:pos x="794" y="390"/>
                </a:cxn>
                <a:cxn ang="0">
                  <a:pos x="641" y="491"/>
                </a:cxn>
                <a:cxn ang="0">
                  <a:pos x="503" y="634"/>
                </a:cxn>
                <a:cxn ang="0">
                  <a:pos x="478" y="700"/>
                </a:cxn>
                <a:cxn ang="0">
                  <a:pos x="475" y="703"/>
                </a:cxn>
                <a:cxn ang="0">
                  <a:pos x="407" y="716"/>
                </a:cxn>
                <a:cxn ang="0">
                  <a:pos x="328" y="686"/>
                </a:cxn>
                <a:cxn ang="0">
                  <a:pos x="290" y="691"/>
                </a:cxn>
                <a:cxn ang="0">
                  <a:pos x="198" y="803"/>
                </a:cxn>
                <a:cxn ang="0">
                  <a:pos x="140" y="822"/>
                </a:cxn>
                <a:cxn ang="0">
                  <a:pos x="139" y="822"/>
                </a:cxn>
                <a:cxn ang="0">
                  <a:pos x="71" y="814"/>
                </a:cxn>
              </a:cxnLst>
              <a:rect l="0" t="0" r="r" b="b"/>
              <a:pathLst>
                <a:path w="797" h="823">
                  <a:moveTo>
                    <a:pt x="71" y="814"/>
                  </a:moveTo>
                  <a:cubicBezTo>
                    <a:pt x="68" y="813"/>
                    <a:pt x="66" y="811"/>
                    <a:pt x="66" y="809"/>
                  </a:cubicBezTo>
                  <a:lnTo>
                    <a:pt x="71" y="709"/>
                  </a:lnTo>
                  <a:lnTo>
                    <a:pt x="1" y="626"/>
                  </a:lnTo>
                  <a:cubicBezTo>
                    <a:pt x="0" y="625"/>
                    <a:pt x="0" y="624"/>
                    <a:pt x="0" y="623"/>
                  </a:cubicBezTo>
                  <a:lnTo>
                    <a:pt x="0" y="373"/>
                  </a:lnTo>
                  <a:cubicBezTo>
                    <a:pt x="0" y="371"/>
                    <a:pt x="2" y="368"/>
                    <a:pt x="4" y="368"/>
                  </a:cubicBezTo>
                  <a:lnTo>
                    <a:pt x="83" y="368"/>
                  </a:lnTo>
                  <a:lnTo>
                    <a:pt x="83" y="64"/>
                  </a:lnTo>
                  <a:cubicBezTo>
                    <a:pt x="83" y="62"/>
                    <a:pt x="85" y="60"/>
                    <a:pt x="87" y="60"/>
                  </a:cubicBezTo>
                  <a:lnTo>
                    <a:pt x="248" y="26"/>
                  </a:lnTo>
                  <a:lnTo>
                    <a:pt x="292" y="30"/>
                  </a:lnTo>
                  <a:cubicBezTo>
                    <a:pt x="294" y="30"/>
                    <a:pt x="295" y="31"/>
                    <a:pt x="296" y="33"/>
                  </a:cubicBezTo>
                  <a:lnTo>
                    <a:pt x="310" y="69"/>
                  </a:lnTo>
                  <a:lnTo>
                    <a:pt x="356" y="27"/>
                  </a:lnTo>
                  <a:lnTo>
                    <a:pt x="412" y="1"/>
                  </a:lnTo>
                  <a:lnTo>
                    <a:pt x="444" y="0"/>
                  </a:lnTo>
                  <a:cubicBezTo>
                    <a:pt x="446" y="0"/>
                    <a:pt x="447" y="1"/>
                    <a:pt x="448" y="3"/>
                  </a:cubicBezTo>
                  <a:lnTo>
                    <a:pt x="520" y="138"/>
                  </a:lnTo>
                  <a:lnTo>
                    <a:pt x="663" y="251"/>
                  </a:lnTo>
                  <a:cubicBezTo>
                    <a:pt x="664" y="252"/>
                    <a:pt x="664" y="253"/>
                    <a:pt x="665" y="254"/>
                  </a:cubicBezTo>
                  <a:lnTo>
                    <a:pt x="677" y="328"/>
                  </a:lnTo>
                  <a:lnTo>
                    <a:pt x="793" y="382"/>
                  </a:lnTo>
                  <a:cubicBezTo>
                    <a:pt x="795" y="382"/>
                    <a:pt x="796" y="384"/>
                    <a:pt x="796" y="385"/>
                  </a:cubicBezTo>
                  <a:cubicBezTo>
                    <a:pt x="796" y="387"/>
                    <a:pt x="795" y="389"/>
                    <a:pt x="794" y="390"/>
                  </a:cubicBezTo>
                  <a:lnTo>
                    <a:pt x="641" y="491"/>
                  </a:lnTo>
                  <a:lnTo>
                    <a:pt x="503" y="634"/>
                  </a:lnTo>
                  <a:lnTo>
                    <a:pt x="478" y="700"/>
                  </a:lnTo>
                  <a:cubicBezTo>
                    <a:pt x="478" y="702"/>
                    <a:pt x="476" y="703"/>
                    <a:pt x="475" y="703"/>
                  </a:cubicBezTo>
                  <a:lnTo>
                    <a:pt x="407" y="716"/>
                  </a:lnTo>
                  <a:lnTo>
                    <a:pt x="328" y="686"/>
                  </a:lnTo>
                  <a:lnTo>
                    <a:pt x="290" y="691"/>
                  </a:lnTo>
                  <a:lnTo>
                    <a:pt x="198" y="803"/>
                  </a:lnTo>
                  <a:lnTo>
                    <a:pt x="140" y="822"/>
                  </a:lnTo>
                  <a:lnTo>
                    <a:pt x="139" y="822"/>
                  </a:lnTo>
                  <a:lnTo>
                    <a:pt x="71" y="81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0" name="Freeform 165"/>
            <p:cNvSpPr>
              <a:spLocks noChangeArrowheads="1"/>
            </p:cNvSpPr>
            <p:nvPr/>
          </p:nvSpPr>
          <p:spPr bwMode="auto">
            <a:xfrm>
              <a:off x="4837113" y="4276725"/>
              <a:ext cx="287337" cy="296863"/>
            </a:xfrm>
            <a:custGeom>
              <a:avLst/>
              <a:gdLst/>
              <a:ahLst/>
              <a:cxnLst>
                <a:cxn ang="0">
                  <a:pos x="71" y="814"/>
                </a:cxn>
                <a:cxn ang="0">
                  <a:pos x="66" y="809"/>
                </a:cxn>
                <a:cxn ang="0">
                  <a:pos x="71" y="709"/>
                </a:cxn>
                <a:cxn ang="0">
                  <a:pos x="1" y="626"/>
                </a:cxn>
                <a:cxn ang="0">
                  <a:pos x="0" y="623"/>
                </a:cxn>
                <a:cxn ang="0">
                  <a:pos x="0" y="373"/>
                </a:cxn>
                <a:cxn ang="0">
                  <a:pos x="4" y="368"/>
                </a:cxn>
                <a:cxn ang="0">
                  <a:pos x="83" y="368"/>
                </a:cxn>
                <a:cxn ang="0">
                  <a:pos x="83" y="64"/>
                </a:cxn>
                <a:cxn ang="0">
                  <a:pos x="87" y="60"/>
                </a:cxn>
                <a:cxn ang="0">
                  <a:pos x="248" y="26"/>
                </a:cxn>
                <a:cxn ang="0">
                  <a:pos x="292" y="30"/>
                </a:cxn>
                <a:cxn ang="0">
                  <a:pos x="296" y="33"/>
                </a:cxn>
                <a:cxn ang="0">
                  <a:pos x="310" y="69"/>
                </a:cxn>
                <a:cxn ang="0">
                  <a:pos x="356" y="27"/>
                </a:cxn>
                <a:cxn ang="0">
                  <a:pos x="412" y="1"/>
                </a:cxn>
                <a:cxn ang="0">
                  <a:pos x="444" y="0"/>
                </a:cxn>
                <a:cxn ang="0">
                  <a:pos x="448" y="3"/>
                </a:cxn>
                <a:cxn ang="0">
                  <a:pos x="520" y="138"/>
                </a:cxn>
                <a:cxn ang="0">
                  <a:pos x="663" y="251"/>
                </a:cxn>
                <a:cxn ang="0">
                  <a:pos x="665" y="254"/>
                </a:cxn>
                <a:cxn ang="0">
                  <a:pos x="677" y="328"/>
                </a:cxn>
                <a:cxn ang="0">
                  <a:pos x="793" y="382"/>
                </a:cxn>
                <a:cxn ang="0">
                  <a:pos x="796" y="385"/>
                </a:cxn>
                <a:cxn ang="0">
                  <a:pos x="794" y="390"/>
                </a:cxn>
                <a:cxn ang="0">
                  <a:pos x="641" y="491"/>
                </a:cxn>
                <a:cxn ang="0">
                  <a:pos x="503" y="634"/>
                </a:cxn>
                <a:cxn ang="0">
                  <a:pos x="478" y="700"/>
                </a:cxn>
                <a:cxn ang="0">
                  <a:pos x="475" y="703"/>
                </a:cxn>
                <a:cxn ang="0">
                  <a:pos x="407" y="716"/>
                </a:cxn>
                <a:cxn ang="0">
                  <a:pos x="328" y="686"/>
                </a:cxn>
                <a:cxn ang="0">
                  <a:pos x="290" y="691"/>
                </a:cxn>
                <a:cxn ang="0">
                  <a:pos x="198" y="803"/>
                </a:cxn>
                <a:cxn ang="0">
                  <a:pos x="140" y="822"/>
                </a:cxn>
                <a:cxn ang="0">
                  <a:pos x="139" y="822"/>
                </a:cxn>
                <a:cxn ang="0">
                  <a:pos x="71" y="814"/>
                </a:cxn>
              </a:cxnLst>
              <a:rect l="0" t="0" r="r" b="b"/>
              <a:pathLst>
                <a:path w="797" h="823">
                  <a:moveTo>
                    <a:pt x="71" y="814"/>
                  </a:moveTo>
                  <a:cubicBezTo>
                    <a:pt x="68" y="813"/>
                    <a:pt x="66" y="811"/>
                    <a:pt x="66" y="809"/>
                  </a:cubicBezTo>
                  <a:lnTo>
                    <a:pt x="71" y="709"/>
                  </a:lnTo>
                  <a:lnTo>
                    <a:pt x="1" y="626"/>
                  </a:lnTo>
                  <a:cubicBezTo>
                    <a:pt x="0" y="625"/>
                    <a:pt x="0" y="624"/>
                    <a:pt x="0" y="623"/>
                  </a:cubicBezTo>
                  <a:lnTo>
                    <a:pt x="0" y="373"/>
                  </a:lnTo>
                  <a:cubicBezTo>
                    <a:pt x="0" y="371"/>
                    <a:pt x="2" y="368"/>
                    <a:pt x="4" y="368"/>
                  </a:cubicBezTo>
                  <a:lnTo>
                    <a:pt x="83" y="368"/>
                  </a:lnTo>
                  <a:lnTo>
                    <a:pt x="83" y="64"/>
                  </a:lnTo>
                  <a:cubicBezTo>
                    <a:pt x="83" y="62"/>
                    <a:pt x="85" y="60"/>
                    <a:pt x="87" y="60"/>
                  </a:cubicBezTo>
                  <a:lnTo>
                    <a:pt x="248" y="26"/>
                  </a:lnTo>
                  <a:lnTo>
                    <a:pt x="292" y="30"/>
                  </a:lnTo>
                  <a:cubicBezTo>
                    <a:pt x="294" y="30"/>
                    <a:pt x="295" y="31"/>
                    <a:pt x="296" y="33"/>
                  </a:cubicBezTo>
                  <a:lnTo>
                    <a:pt x="310" y="69"/>
                  </a:lnTo>
                  <a:lnTo>
                    <a:pt x="356" y="27"/>
                  </a:lnTo>
                  <a:lnTo>
                    <a:pt x="412" y="1"/>
                  </a:lnTo>
                  <a:lnTo>
                    <a:pt x="444" y="0"/>
                  </a:lnTo>
                  <a:cubicBezTo>
                    <a:pt x="446" y="0"/>
                    <a:pt x="447" y="1"/>
                    <a:pt x="448" y="3"/>
                  </a:cubicBezTo>
                  <a:lnTo>
                    <a:pt x="520" y="138"/>
                  </a:lnTo>
                  <a:lnTo>
                    <a:pt x="663" y="251"/>
                  </a:lnTo>
                  <a:cubicBezTo>
                    <a:pt x="664" y="252"/>
                    <a:pt x="664" y="253"/>
                    <a:pt x="665" y="254"/>
                  </a:cubicBezTo>
                  <a:lnTo>
                    <a:pt x="677" y="328"/>
                  </a:lnTo>
                  <a:lnTo>
                    <a:pt x="793" y="382"/>
                  </a:lnTo>
                  <a:cubicBezTo>
                    <a:pt x="795" y="382"/>
                    <a:pt x="796" y="384"/>
                    <a:pt x="796" y="385"/>
                  </a:cubicBezTo>
                  <a:cubicBezTo>
                    <a:pt x="796" y="387"/>
                    <a:pt x="795" y="389"/>
                    <a:pt x="794" y="390"/>
                  </a:cubicBezTo>
                  <a:lnTo>
                    <a:pt x="641" y="491"/>
                  </a:lnTo>
                  <a:lnTo>
                    <a:pt x="503" y="634"/>
                  </a:lnTo>
                  <a:lnTo>
                    <a:pt x="478" y="700"/>
                  </a:lnTo>
                  <a:cubicBezTo>
                    <a:pt x="478" y="702"/>
                    <a:pt x="476" y="703"/>
                    <a:pt x="475" y="703"/>
                  </a:cubicBezTo>
                  <a:lnTo>
                    <a:pt x="407" y="716"/>
                  </a:lnTo>
                  <a:lnTo>
                    <a:pt x="328" y="686"/>
                  </a:lnTo>
                  <a:lnTo>
                    <a:pt x="290" y="691"/>
                  </a:lnTo>
                  <a:lnTo>
                    <a:pt x="198" y="803"/>
                  </a:lnTo>
                  <a:lnTo>
                    <a:pt x="140" y="822"/>
                  </a:lnTo>
                  <a:lnTo>
                    <a:pt x="139" y="822"/>
                  </a:lnTo>
                  <a:lnTo>
                    <a:pt x="71" y="81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1" name="Freeform 166"/>
            <p:cNvSpPr>
              <a:spLocks noChangeArrowheads="1"/>
            </p:cNvSpPr>
            <p:nvPr/>
          </p:nvSpPr>
          <p:spPr bwMode="auto">
            <a:xfrm>
              <a:off x="4491038" y="3351213"/>
              <a:ext cx="233362" cy="342900"/>
            </a:xfrm>
            <a:custGeom>
              <a:avLst/>
              <a:gdLst/>
              <a:ahLst/>
              <a:cxnLst>
                <a:cxn ang="0">
                  <a:pos x="628" y="951"/>
                </a:cxn>
                <a:cxn ang="0">
                  <a:pos x="599" y="918"/>
                </a:cxn>
                <a:cxn ang="0">
                  <a:pos x="521" y="906"/>
                </a:cxn>
                <a:cxn ang="0">
                  <a:pos x="412" y="906"/>
                </a:cxn>
                <a:cxn ang="0">
                  <a:pos x="242" y="898"/>
                </a:cxn>
                <a:cxn ang="0">
                  <a:pos x="107" y="906"/>
                </a:cxn>
                <a:cxn ang="0">
                  <a:pos x="103" y="905"/>
                </a:cxn>
                <a:cxn ang="0">
                  <a:pos x="102" y="900"/>
                </a:cxn>
                <a:cxn ang="0">
                  <a:pos x="127" y="810"/>
                </a:cxn>
                <a:cxn ang="0">
                  <a:pos x="95" y="778"/>
                </a:cxn>
                <a:cxn ang="0">
                  <a:pos x="94" y="774"/>
                </a:cxn>
                <a:cxn ang="0">
                  <a:pos x="100" y="749"/>
                </a:cxn>
                <a:cxn ang="0">
                  <a:pos x="51" y="746"/>
                </a:cxn>
                <a:cxn ang="0">
                  <a:pos x="47" y="742"/>
                </a:cxn>
                <a:cxn ang="0">
                  <a:pos x="35" y="708"/>
                </a:cxn>
                <a:cxn ang="0">
                  <a:pos x="13" y="708"/>
                </a:cxn>
                <a:cxn ang="0">
                  <a:pos x="10" y="706"/>
                </a:cxn>
                <a:cxn ang="0">
                  <a:pos x="1" y="693"/>
                </a:cxn>
                <a:cxn ang="0">
                  <a:pos x="1" y="689"/>
                </a:cxn>
                <a:cxn ang="0">
                  <a:pos x="34" y="591"/>
                </a:cxn>
                <a:cxn ang="0">
                  <a:pos x="94" y="505"/>
                </a:cxn>
                <a:cxn ang="0">
                  <a:pos x="98" y="504"/>
                </a:cxn>
                <a:cxn ang="0">
                  <a:pos x="183" y="499"/>
                </a:cxn>
                <a:cxn ang="0">
                  <a:pos x="186" y="500"/>
                </a:cxn>
                <a:cxn ang="0">
                  <a:pos x="226" y="537"/>
                </a:cxn>
                <a:cxn ang="0">
                  <a:pos x="256" y="530"/>
                </a:cxn>
                <a:cxn ang="0">
                  <a:pos x="323" y="375"/>
                </a:cxn>
                <a:cxn ang="0">
                  <a:pos x="366" y="335"/>
                </a:cxn>
                <a:cxn ang="0">
                  <a:pos x="424" y="164"/>
                </a:cxn>
                <a:cxn ang="0">
                  <a:pos x="500" y="100"/>
                </a:cxn>
                <a:cxn ang="0">
                  <a:pos x="500" y="62"/>
                </a:cxn>
                <a:cxn ang="0">
                  <a:pos x="476" y="38"/>
                </a:cxn>
                <a:cxn ang="0">
                  <a:pos x="475" y="34"/>
                </a:cxn>
                <a:cxn ang="0">
                  <a:pos x="477" y="31"/>
                </a:cxn>
                <a:cxn ang="0">
                  <a:pos x="519" y="1"/>
                </a:cxn>
                <a:cxn ang="0">
                  <a:pos x="522" y="0"/>
                </a:cxn>
                <a:cxn ang="0">
                  <a:pos x="523" y="0"/>
                </a:cxn>
                <a:cxn ang="0">
                  <a:pos x="526" y="3"/>
                </a:cxn>
                <a:cxn ang="0">
                  <a:pos x="552" y="80"/>
                </a:cxn>
                <a:cxn ang="0">
                  <a:pos x="543" y="162"/>
                </a:cxn>
                <a:cxn ang="0">
                  <a:pos x="585" y="244"/>
                </a:cxn>
                <a:cxn ang="0">
                  <a:pos x="585" y="248"/>
                </a:cxn>
                <a:cxn ang="0">
                  <a:pos x="581" y="251"/>
                </a:cxn>
                <a:cxn ang="0">
                  <a:pos x="491" y="255"/>
                </a:cxn>
                <a:cxn ang="0">
                  <a:pos x="480" y="280"/>
                </a:cxn>
                <a:cxn ang="0">
                  <a:pos x="500" y="320"/>
                </a:cxn>
                <a:cxn ang="0">
                  <a:pos x="558" y="352"/>
                </a:cxn>
                <a:cxn ang="0">
                  <a:pos x="560" y="355"/>
                </a:cxn>
                <a:cxn ang="0">
                  <a:pos x="590" y="460"/>
                </a:cxn>
                <a:cxn ang="0">
                  <a:pos x="590" y="464"/>
                </a:cxn>
                <a:cxn ang="0">
                  <a:pos x="517" y="591"/>
                </a:cxn>
                <a:cxn ang="0">
                  <a:pos x="522" y="677"/>
                </a:cxn>
                <a:cxn ang="0">
                  <a:pos x="590" y="794"/>
                </a:cxn>
                <a:cxn ang="0">
                  <a:pos x="648" y="839"/>
                </a:cxn>
                <a:cxn ang="0">
                  <a:pos x="649" y="843"/>
                </a:cxn>
                <a:cxn ang="0">
                  <a:pos x="637" y="949"/>
                </a:cxn>
                <a:cxn ang="0">
                  <a:pos x="633" y="953"/>
                </a:cxn>
                <a:cxn ang="0">
                  <a:pos x="632" y="953"/>
                </a:cxn>
                <a:cxn ang="0">
                  <a:pos x="628" y="951"/>
                </a:cxn>
              </a:cxnLst>
              <a:rect l="0" t="0" r="r" b="b"/>
              <a:pathLst>
                <a:path w="650" h="954">
                  <a:moveTo>
                    <a:pt x="628" y="951"/>
                  </a:moveTo>
                  <a:lnTo>
                    <a:pt x="599" y="918"/>
                  </a:lnTo>
                  <a:lnTo>
                    <a:pt x="521" y="906"/>
                  </a:lnTo>
                  <a:lnTo>
                    <a:pt x="412" y="906"/>
                  </a:lnTo>
                  <a:lnTo>
                    <a:pt x="242" y="898"/>
                  </a:lnTo>
                  <a:lnTo>
                    <a:pt x="107" y="906"/>
                  </a:lnTo>
                  <a:cubicBezTo>
                    <a:pt x="105" y="906"/>
                    <a:pt x="104" y="906"/>
                    <a:pt x="103" y="905"/>
                  </a:cubicBezTo>
                  <a:cubicBezTo>
                    <a:pt x="102" y="904"/>
                    <a:pt x="102" y="902"/>
                    <a:pt x="102" y="900"/>
                  </a:cubicBezTo>
                  <a:lnTo>
                    <a:pt x="127" y="810"/>
                  </a:lnTo>
                  <a:lnTo>
                    <a:pt x="95" y="778"/>
                  </a:lnTo>
                  <a:cubicBezTo>
                    <a:pt x="94" y="777"/>
                    <a:pt x="93" y="775"/>
                    <a:pt x="94" y="774"/>
                  </a:cubicBezTo>
                  <a:lnTo>
                    <a:pt x="100" y="749"/>
                  </a:lnTo>
                  <a:lnTo>
                    <a:pt x="51" y="746"/>
                  </a:lnTo>
                  <a:cubicBezTo>
                    <a:pt x="49" y="746"/>
                    <a:pt x="48" y="744"/>
                    <a:pt x="47" y="742"/>
                  </a:cubicBezTo>
                  <a:lnTo>
                    <a:pt x="35" y="708"/>
                  </a:lnTo>
                  <a:lnTo>
                    <a:pt x="13" y="708"/>
                  </a:lnTo>
                  <a:cubicBezTo>
                    <a:pt x="12" y="708"/>
                    <a:pt x="10" y="707"/>
                    <a:pt x="10" y="706"/>
                  </a:cubicBezTo>
                  <a:lnTo>
                    <a:pt x="1" y="693"/>
                  </a:lnTo>
                  <a:cubicBezTo>
                    <a:pt x="0" y="692"/>
                    <a:pt x="0" y="690"/>
                    <a:pt x="1" y="689"/>
                  </a:cubicBezTo>
                  <a:lnTo>
                    <a:pt x="34" y="591"/>
                  </a:lnTo>
                  <a:lnTo>
                    <a:pt x="94" y="505"/>
                  </a:lnTo>
                  <a:cubicBezTo>
                    <a:pt x="95" y="504"/>
                    <a:pt x="96" y="504"/>
                    <a:pt x="98" y="504"/>
                  </a:cubicBezTo>
                  <a:lnTo>
                    <a:pt x="183" y="499"/>
                  </a:lnTo>
                  <a:cubicBezTo>
                    <a:pt x="184" y="499"/>
                    <a:pt x="185" y="500"/>
                    <a:pt x="186" y="500"/>
                  </a:cubicBezTo>
                  <a:lnTo>
                    <a:pt x="226" y="537"/>
                  </a:lnTo>
                  <a:lnTo>
                    <a:pt x="256" y="530"/>
                  </a:lnTo>
                  <a:lnTo>
                    <a:pt x="323" y="375"/>
                  </a:lnTo>
                  <a:lnTo>
                    <a:pt x="366" y="335"/>
                  </a:lnTo>
                  <a:lnTo>
                    <a:pt x="424" y="164"/>
                  </a:lnTo>
                  <a:lnTo>
                    <a:pt x="500" y="100"/>
                  </a:lnTo>
                  <a:lnTo>
                    <a:pt x="500" y="62"/>
                  </a:lnTo>
                  <a:lnTo>
                    <a:pt x="476" y="38"/>
                  </a:lnTo>
                  <a:cubicBezTo>
                    <a:pt x="475" y="37"/>
                    <a:pt x="475" y="35"/>
                    <a:pt x="475" y="34"/>
                  </a:cubicBezTo>
                  <a:cubicBezTo>
                    <a:pt x="475" y="33"/>
                    <a:pt x="476" y="31"/>
                    <a:pt x="477" y="31"/>
                  </a:cubicBezTo>
                  <a:lnTo>
                    <a:pt x="519" y="1"/>
                  </a:lnTo>
                  <a:cubicBezTo>
                    <a:pt x="520" y="0"/>
                    <a:pt x="521" y="0"/>
                    <a:pt x="522" y="0"/>
                  </a:cubicBezTo>
                  <a:lnTo>
                    <a:pt x="523" y="0"/>
                  </a:lnTo>
                  <a:cubicBezTo>
                    <a:pt x="525" y="1"/>
                    <a:pt x="526" y="2"/>
                    <a:pt x="526" y="3"/>
                  </a:cubicBezTo>
                  <a:lnTo>
                    <a:pt x="552" y="80"/>
                  </a:lnTo>
                  <a:lnTo>
                    <a:pt x="543" y="162"/>
                  </a:lnTo>
                  <a:lnTo>
                    <a:pt x="585" y="244"/>
                  </a:lnTo>
                  <a:cubicBezTo>
                    <a:pt x="586" y="245"/>
                    <a:pt x="586" y="247"/>
                    <a:pt x="585" y="248"/>
                  </a:cubicBezTo>
                  <a:cubicBezTo>
                    <a:pt x="584" y="250"/>
                    <a:pt x="583" y="251"/>
                    <a:pt x="581" y="251"/>
                  </a:cubicBezTo>
                  <a:lnTo>
                    <a:pt x="491" y="255"/>
                  </a:lnTo>
                  <a:lnTo>
                    <a:pt x="480" y="280"/>
                  </a:lnTo>
                  <a:lnTo>
                    <a:pt x="500" y="320"/>
                  </a:lnTo>
                  <a:lnTo>
                    <a:pt x="558" y="352"/>
                  </a:lnTo>
                  <a:cubicBezTo>
                    <a:pt x="559" y="352"/>
                    <a:pt x="560" y="353"/>
                    <a:pt x="560" y="355"/>
                  </a:cubicBezTo>
                  <a:lnTo>
                    <a:pt x="590" y="460"/>
                  </a:lnTo>
                  <a:cubicBezTo>
                    <a:pt x="590" y="462"/>
                    <a:pt x="590" y="463"/>
                    <a:pt x="590" y="464"/>
                  </a:cubicBezTo>
                  <a:lnTo>
                    <a:pt x="517" y="591"/>
                  </a:lnTo>
                  <a:lnTo>
                    <a:pt x="522" y="677"/>
                  </a:lnTo>
                  <a:lnTo>
                    <a:pt x="590" y="794"/>
                  </a:lnTo>
                  <a:lnTo>
                    <a:pt x="648" y="839"/>
                  </a:lnTo>
                  <a:cubicBezTo>
                    <a:pt x="649" y="840"/>
                    <a:pt x="649" y="841"/>
                    <a:pt x="649" y="843"/>
                  </a:cubicBezTo>
                  <a:lnTo>
                    <a:pt x="637" y="949"/>
                  </a:lnTo>
                  <a:cubicBezTo>
                    <a:pt x="636" y="951"/>
                    <a:pt x="635" y="952"/>
                    <a:pt x="633" y="953"/>
                  </a:cubicBezTo>
                  <a:lnTo>
                    <a:pt x="632" y="953"/>
                  </a:lnTo>
                  <a:cubicBezTo>
                    <a:pt x="631" y="953"/>
                    <a:pt x="629" y="952"/>
                    <a:pt x="628" y="95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2" name="Freeform 167"/>
            <p:cNvSpPr>
              <a:spLocks noChangeArrowheads="1"/>
            </p:cNvSpPr>
            <p:nvPr/>
          </p:nvSpPr>
          <p:spPr bwMode="auto">
            <a:xfrm>
              <a:off x="4491038" y="3351213"/>
              <a:ext cx="233362" cy="342900"/>
            </a:xfrm>
            <a:custGeom>
              <a:avLst/>
              <a:gdLst/>
              <a:ahLst/>
              <a:cxnLst>
                <a:cxn ang="0">
                  <a:pos x="632" y="953"/>
                </a:cxn>
                <a:cxn ang="0">
                  <a:pos x="628" y="951"/>
                </a:cxn>
                <a:cxn ang="0">
                  <a:pos x="599" y="918"/>
                </a:cxn>
                <a:cxn ang="0">
                  <a:pos x="521" y="906"/>
                </a:cxn>
                <a:cxn ang="0">
                  <a:pos x="412" y="906"/>
                </a:cxn>
                <a:cxn ang="0">
                  <a:pos x="242" y="898"/>
                </a:cxn>
                <a:cxn ang="0">
                  <a:pos x="107" y="906"/>
                </a:cxn>
                <a:cxn ang="0">
                  <a:pos x="103" y="905"/>
                </a:cxn>
                <a:cxn ang="0">
                  <a:pos x="102" y="900"/>
                </a:cxn>
                <a:cxn ang="0">
                  <a:pos x="127" y="810"/>
                </a:cxn>
                <a:cxn ang="0">
                  <a:pos x="95" y="778"/>
                </a:cxn>
                <a:cxn ang="0">
                  <a:pos x="94" y="774"/>
                </a:cxn>
                <a:cxn ang="0">
                  <a:pos x="100" y="749"/>
                </a:cxn>
                <a:cxn ang="0">
                  <a:pos x="51" y="746"/>
                </a:cxn>
                <a:cxn ang="0">
                  <a:pos x="47" y="742"/>
                </a:cxn>
                <a:cxn ang="0">
                  <a:pos x="35" y="708"/>
                </a:cxn>
                <a:cxn ang="0">
                  <a:pos x="13" y="708"/>
                </a:cxn>
                <a:cxn ang="0">
                  <a:pos x="10" y="706"/>
                </a:cxn>
                <a:cxn ang="0">
                  <a:pos x="1" y="693"/>
                </a:cxn>
                <a:cxn ang="0">
                  <a:pos x="1" y="689"/>
                </a:cxn>
                <a:cxn ang="0">
                  <a:pos x="34" y="591"/>
                </a:cxn>
                <a:cxn ang="0">
                  <a:pos x="94" y="505"/>
                </a:cxn>
                <a:cxn ang="0">
                  <a:pos x="98" y="504"/>
                </a:cxn>
                <a:cxn ang="0">
                  <a:pos x="183" y="499"/>
                </a:cxn>
                <a:cxn ang="0">
                  <a:pos x="186" y="500"/>
                </a:cxn>
                <a:cxn ang="0">
                  <a:pos x="226" y="537"/>
                </a:cxn>
                <a:cxn ang="0">
                  <a:pos x="256" y="530"/>
                </a:cxn>
                <a:cxn ang="0">
                  <a:pos x="323" y="375"/>
                </a:cxn>
                <a:cxn ang="0">
                  <a:pos x="366" y="335"/>
                </a:cxn>
                <a:cxn ang="0">
                  <a:pos x="424" y="164"/>
                </a:cxn>
                <a:cxn ang="0">
                  <a:pos x="500" y="100"/>
                </a:cxn>
                <a:cxn ang="0">
                  <a:pos x="500" y="62"/>
                </a:cxn>
                <a:cxn ang="0">
                  <a:pos x="476" y="38"/>
                </a:cxn>
                <a:cxn ang="0">
                  <a:pos x="475" y="34"/>
                </a:cxn>
                <a:cxn ang="0">
                  <a:pos x="477" y="31"/>
                </a:cxn>
                <a:cxn ang="0">
                  <a:pos x="519" y="1"/>
                </a:cxn>
                <a:cxn ang="0">
                  <a:pos x="522" y="0"/>
                </a:cxn>
                <a:cxn ang="0">
                  <a:pos x="523" y="0"/>
                </a:cxn>
                <a:cxn ang="0">
                  <a:pos x="526" y="3"/>
                </a:cxn>
                <a:cxn ang="0">
                  <a:pos x="552" y="80"/>
                </a:cxn>
                <a:cxn ang="0">
                  <a:pos x="543" y="162"/>
                </a:cxn>
                <a:cxn ang="0">
                  <a:pos x="585" y="244"/>
                </a:cxn>
                <a:cxn ang="0">
                  <a:pos x="585" y="248"/>
                </a:cxn>
                <a:cxn ang="0">
                  <a:pos x="581" y="251"/>
                </a:cxn>
                <a:cxn ang="0">
                  <a:pos x="491" y="255"/>
                </a:cxn>
                <a:cxn ang="0">
                  <a:pos x="480" y="280"/>
                </a:cxn>
                <a:cxn ang="0">
                  <a:pos x="500" y="320"/>
                </a:cxn>
                <a:cxn ang="0">
                  <a:pos x="558" y="352"/>
                </a:cxn>
                <a:cxn ang="0">
                  <a:pos x="560" y="355"/>
                </a:cxn>
                <a:cxn ang="0">
                  <a:pos x="590" y="460"/>
                </a:cxn>
                <a:cxn ang="0">
                  <a:pos x="590" y="464"/>
                </a:cxn>
                <a:cxn ang="0">
                  <a:pos x="517" y="591"/>
                </a:cxn>
                <a:cxn ang="0">
                  <a:pos x="522" y="677"/>
                </a:cxn>
                <a:cxn ang="0">
                  <a:pos x="590" y="794"/>
                </a:cxn>
                <a:cxn ang="0">
                  <a:pos x="648" y="839"/>
                </a:cxn>
                <a:cxn ang="0">
                  <a:pos x="649" y="843"/>
                </a:cxn>
                <a:cxn ang="0">
                  <a:pos x="637" y="949"/>
                </a:cxn>
                <a:cxn ang="0">
                  <a:pos x="633" y="953"/>
                </a:cxn>
                <a:cxn ang="0">
                  <a:pos x="632" y="953"/>
                </a:cxn>
              </a:cxnLst>
              <a:rect l="0" t="0" r="r" b="b"/>
              <a:pathLst>
                <a:path w="650" h="954">
                  <a:moveTo>
                    <a:pt x="632" y="953"/>
                  </a:moveTo>
                  <a:cubicBezTo>
                    <a:pt x="631" y="953"/>
                    <a:pt x="629" y="952"/>
                    <a:pt x="628" y="951"/>
                  </a:cubicBezTo>
                  <a:lnTo>
                    <a:pt x="599" y="918"/>
                  </a:lnTo>
                  <a:lnTo>
                    <a:pt x="521" y="906"/>
                  </a:lnTo>
                  <a:lnTo>
                    <a:pt x="412" y="906"/>
                  </a:lnTo>
                  <a:lnTo>
                    <a:pt x="242" y="898"/>
                  </a:lnTo>
                  <a:lnTo>
                    <a:pt x="107" y="906"/>
                  </a:lnTo>
                  <a:cubicBezTo>
                    <a:pt x="105" y="906"/>
                    <a:pt x="104" y="906"/>
                    <a:pt x="103" y="905"/>
                  </a:cubicBezTo>
                  <a:cubicBezTo>
                    <a:pt x="102" y="904"/>
                    <a:pt x="102" y="902"/>
                    <a:pt x="102" y="900"/>
                  </a:cubicBezTo>
                  <a:lnTo>
                    <a:pt x="127" y="810"/>
                  </a:lnTo>
                  <a:lnTo>
                    <a:pt x="95" y="778"/>
                  </a:lnTo>
                  <a:cubicBezTo>
                    <a:pt x="94" y="777"/>
                    <a:pt x="93" y="775"/>
                    <a:pt x="94" y="774"/>
                  </a:cubicBezTo>
                  <a:lnTo>
                    <a:pt x="100" y="749"/>
                  </a:lnTo>
                  <a:lnTo>
                    <a:pt x="51" y="746"/>
                  </a:lnTo>
                  <a:cubicBezTo>
                    <a:pt x="49" y="746"/>
                    <a:pt x="48" y="744"/>
                    <a:pt x="47" y="742"/>
                  </a:cubicBezTo>
                  <a:lnTo>
                    <a:pt x="35" y="708"/>
                  </a:lnTo>
                  <a:lnTo>
                    <a:pt x="13" y="708"/>
                  </a:lnTo>
                  <a:cubicBezTo>
                    <a:pt x="12" y="708"/>
                    <a:pt x="10" y="707"/>
                    <a:pt x="10" y="706"/>
                  </a:cubicBezTo>
                  <a:lnTo>
                    <a:pt x="1" y="693"/>
                  </a:lnTo>
                  <a:cubicBezTo>
                    <a:pt x="0" y="692"/>
                    <a:pt x="0" y="690"/>
                    <a:pt x="1" y="689"/>
                  </a:cubicBezTo>
                  <a:lnTo>
                    <a:pt x="34" y="591"/>
                  </a:lnTo>
                  <a:lnTo>
                    <a:pt x="94" y="505"/>
                  </a:lnTo>
                  <a:cubicBezTo>
                    <a:pt x="95" y="504"/>
                    <a:pt x="96" y="504"/>
                    <a:pt x="98" y="504"/>
                  </a:cubicBezTo>
                  <a:lnTo>
                    <a:pt x="183" y="499"/>
                  </a:lnTo>
                  <a:cubicBezTo>
                    <a:pt x="184" y="499"/>
                    <a:pt x="185" y="500"/>
                    <a:pt x="186" y="500"/>
                  </a:cubicBezTo>
                  <a:lnTo>
                    <a:pt x="226" y="537"/>
                  </a:lnTo>
                  <a:lnTo>
                    <a:pt x="256" y="530"/>
                  </a:lnTo>
                  <a:lnTo>
                    <a:pt x="323" y="375"/>
                  </a:lnTo>
                  <a:lnTo>
                    <a:pt x="366" y="335"/>
                  </a:lnTo>
                  <a:lnTo>
                    <a:pt x="424" y="164"/>
                  </a:lnTo>
                  <a:lnTo>
                    <a:pt x="500" y="100"/>
                  </a:lnTo>
                  <a:lnTo>
                    <a:pt x="500" y="62"/>
                  </a:lnTo>
                  <a:lnTo>
                    <a:pt x="476" y="38"/>
                  </a:lnTo>
                  <a:cubicBezTo>
                    <a:pt x="475" y="37"/>
                    <a:pt x="475" y="35"/>
                    <a:pt x="475" y="34"/>
                  </a:cubicBezTo>
                  <a:cubicBezTo>
                    <a:pt x="475" y="33"/>
                    <a:pt x="476" y="31"/>
                    <a:pt x="477" y="31"/>
                  </a:cubicBezTo>
                  <a:lnTo>
                    <a:pt x="519" y="1"/>
                  </a:lnTo>
                  <a:cubicBezTo>
                    <a:pt x="520" y="0"/>
                    <a:pt x="521" y="0"/>
                    <a:pt x="522" y="0"/>
                  </a:cubicBezTo>
                  <a:lnTo>
                    <a:pt x="523" y="0"/>
                  </a:lnTo>
                  <a:cubicBezTo>
                    <a:pt x="525" y="1"/>
                    <a:pt x="526" y="2"/>
                    <a:pt x="526" y="3"/>
                  </a:cubicBezTo>
                  <a:lnTo>
                    <a:pt x="552" y="80"/>
                  </a:lnTo>
                  <a:lnTo>
                    <a:pt x="543" y="162"/>
                  </a:lnTo>
                  <a:lnTo>
                    <a:pt x="585" y="244"/>
                  </a:lnTo>
                  <a:cubicBezTo>
                    <a:pt x="586" y="245"/>
                    <a:pt x="586" y="247"/>
                    <a:pt x="585" y="248"/>
                  </a:cubicBezTo>
                  <a:cubicBezTo>
                    <a:pt x="584" y="250"/>
                    <a:pt x="583" y="251"/>
                    <a:pt x="581" y="251"/>
                  </a:cubicBezTo>
                  <a:lnTo>
                    <a:pt x="491" y="255"/>
                  </a:lnTo>
                  <a:lnTo>
                    <a:pt x="480" y="280"/>
                  </a:lnTo>
                  <a:lnTo>
                    <a:pt x="500" y="320"/>
                  </a:lnTo>
                  <a:lnTo>
                    <a:pt x="558" y="352"/>
                  </a:lnTo>
                  <a:cubicBezTo>
                    <a:pt x="559" y="352"/>
                    <a:pt x="560" y="353"/>
                    <a:pt x="560" y="355"/>
                  </a:cubicBezTo>
                  <a:lnTo>
                    <a:pt x="590" y="460"/>
                  </a:lnTo>
                  <a:cubicBezTo>
                    <a:pt x="590" y="462"/>
                    <a:pt x="590" y="463"/>
                    <a:pt x="590" y="464"/>
                  </a:cubicBezTo>
                  <a:lnTo>
                    <a:pt x="517" y="591"/>
                  </a:lnTo>
                  <a:lnTo>
                    <a:pt x="522" y="677"/>
                  </a:lnTo>
                  <a:lnTo>
                    <a:pt x="590" y="794"/>
                  </a:lnTo>
                  <a:lnTo>
                    <a:pt x="648" y="839"/>
                  </a:lnTo>
                  <a:cubicBezTo>
                    <a:pt x="649" y="840"/>
                    <a:pt x="649" y="841"/>
                    <a:pt x="649" y="843"/>
                  </a:cubicBezTo>
                  <a:lnTo>
                    <a:pt x="637" y="949"/>
                  </a:lnTo>
                  <a:cubicBezTo>
                    <a:pt x="636" y="951"/>
                    <a:pt x="635" y="952"/>
                    <a:pt x="633" y="953"/>
                  </a:cubicBezTo>
                  <a:lnTo>
                    <a:pt x="632" y="95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3" name="Freeform 168"/>
            <p:cNvSpPr>
              <a:spLocks noChangeArrowheads="1"/>
            </p:cNvSpPr>
            <p:nvPr/>
          </p:nvSpPr>
          <p:spPr bwMode="auto">
            <a:xfrm>
              <a:off x="4675188" y="3406775"/>
              <a:ext cx="396875" cy="249238"/>
            </a:xfrm>
            <a:custGeom>
              <a:avLst/>
              <a:gdLst/>
              <a:ahLst/>
              <a:cxnLst>
                <a:cxn ang="0">
                  <a:pos x="73" y="643"/>
                </a:cxn>
                <a:cxn ang="0">
                  <a:pos x="0" y="432"/>
                </a:cxn>
                <a:cxn ang="0">
                  <a:pos x="76" y="300"/>
                </a:cxn>
                <a:cxn ang="0">
                  <a:pos x="175" y="263"/>
                </a:cxn>
                <a:cxn ang="0">
                  <a:pos x="181" y="263"/>
                </a:cxn>
                <a:cxn ang="0">
                  <a:pos x="274" y="254"/>
                </a:cxn>
                <a:cxn ang="0">
                  <a:pos x="385" y="206"/>
                </a:cxn>
                <a:cxn ang="0">
                  <a:pos x="385" y="173"/>
                </a:cxn>
                <a:cxn ang="0">
                  <a:pos x="606" y="64"/>
                </a:cxn>
                <a:cxn ang="0">
                  <a:pos x="625" y="8"/>
                </a:cxn>
                <a:cxn ang="0">
                  <a:pos x="693" y="1"/>
                </a:cxn>
                <a:cxn ang="0">
                  <a:pos x="762" y="81"/>
                </a:cxn>
                <a:cxn ang="0">
                  <a:pos x="810" y="199"/>
                </a:cxn>
                <a:cxn ang="0">
                  <a:pos x="820" y="221"/>
                </a:cxn>
                <a:cxn ang="0">
                  <a:pos x="902" y="249"/>
                </a:cxn>
                <a:cxn ang="0">
                  <a:pos x="993" y="347"/>
                </a:cxn>
                <a:cxn ang="0">
                  <a:pos x="1078" y="449"/>
                </a:cxn>
                <a:cxn ang="0">
                  <a:pos x="1100" y="498"/>
                </a:cxn>
                <a:cxn ang="0">
                  <a:pos x="1055" y="496"/>
                </a:cxn>
                <a:cxn ang="0">
                  <a:pos x="1037" y="508"/>
                </a:cxn>
                <a:cxn ang="0">
                  <a:pos x="1024" y="501"/>
                </a:cxn>
                <a:cxn ang="0">
                  <a:pos x="1012" y="508"/>
                </a:cxn>
                <a:cxn ang="0">
                  <a:pos x="989" y="487"/>
                </a:cxn>
                <a:cxn ang="0">
                  <a:pos x="902" y="505"/>
                </a:cxn>
                <a:cxn ang="0">
                  <a:pos x="869" y="521"/>
                </a:cxn>
                <a:cxn ang="0">
                  <a:pos x="864" y="520"/>
                </a:cxn>
                <a:cxn ang="0">
                  <a:pos x="750" y="538"/>
                </a:cxn>
                <a:cxn ang="0">
                  <a:pos x="672" y="566"/>
                </a:cxn>
                <a:cxn ang="0">
                  <a:pos x="596" y="568"/>
                </a:cxn>
                <a:cxn ang="0">
                  <a:pos x="517" y="550"/>
                </a:cxn>
                <a:cxn ang="0">
                  <a:pos x="512" y="549"/>
                </a:cxn>
                <a:cxn ang="0">
                  <a:pos x="421" y="496"/>
                </a:cxn>
                <a:cxn ang="0">
                  <a:pos x="373" y="610"/>
                </a:cxn>
                <a:cxn ang="0">
                  <a:pos x="354" y="622"/>
                </a:cxn>
                <a:cxn ang="0">
                  <a:pos x="292" y="644"/>
                </a:cxn>
                <a:cxn ang="0">
                  <a:pos x="240" y="622"/>
                </a:cxn>
                <a:cxn ang="0">
                  <a:pos x="139" y="689"/>
                </a:cxn>
                <a:cxn ang="0">
                  <a:pos x="133" y="689"/>
                </a:cxn>
              </a:cxnLst>
              <a:rect l="0" t="0" r="r" b="b"/>
              <a:pathLst>
                <a:path w="1102" h="691">
                  <a:moveTo>
                    <a:pt x="133" y="689"/>
                  </a:moveTo>
                  <a:lnTo>
                    <a:pt x="73" y="643"/>
                  </a:lnTo>
                  <a:lnTo>
                    <a:pt x="4" y="523"/>
                  </a:lnTo>
                  <a:lnTo>
                    <a:pt x="0" y="432"/>
                  </a:lnTo>
                  <a:lnTo>
                    <a:pt x="72" y="302"/>
                  </a:lnTo>
                  <a:cubicBezTo>
                    <a:pt x="73" y="301"/>
                    <a:pt x="75" y="300"/>
                    <a:pt x="76" y="300"/>
                  </a:cubicBezTo>
                  <a:lnTo>
                    <a:pt x="131" y="296"/>
                  </a:lnTo>
                  <a:lnTo>
                    <a:pt x="175" y="263"/>
                  </a:lnTo>
                  <a:cubicBezTo>
                    <a:pt x="176" y="262"/>
                    <a:pt x="177" y="262"/>
                    <a:pt x="178" y="262"/>
                  </a:cubicBezTo>
                  <a:cubicBezTo>
                    <a:pt x="179" y="262"/>
                    <a:pt x="180" y="262"/>
                    <a:pt x="181" y="263"/>
                  </a:cubicBezTo>
                  <a:lnTo>
                    <a:pt x="204" y="286"/>
                  </a:lnTo>
                  <a:lnTo>
                    <a:pt x="274" y="254"/>
                  </a:lnTo>
                  <a:lnTo>
                    <a:pt x="349" y="245"/>
                  </a:lnTo>
                  <a:lnTo>
                    <a:pt x="385" y="206"/>
                  </a:lnTo>
                  <a:lnTo>
                    <a:pt x="381" y="179"/>
                  </a:lnTo>
                  <a:cubicBezTo>
                    <a:pt x="381" y="176"/>
                    <a:pt x="382" y="174"/>
                    <a:pt x="385" y="173"/>
                  </a:cubicBezTo>
                  <a:lnTo>
                    <a:pt x="503" y="156"/>
                  </a:lnTo>
                  <a:lnTo>
                    <a:pt x="606" y="64"/>
                  </a:lnTo>
                  <a:lnTo>
                    <a:pt x="622" y="11"/>
                  </a:lnTo>
                  <a:cubicBezTo>
                    <a:pt x="622" y="10"/>
                    <a:pt x="624" y="8"/>
                    <a:pt x="625" y="8"/>
                  </a:cubicBezTo>
                  <a:lnTo>
                    <a:pt x="690" y="0"/>
                  </a:lnTo>
                  <a:cubicBezTo>
                    <a:pt x="691" y="0"/>
                    <a:pt x="692" y="0"/>
                    <a:pt x="693" y="1"/>
                  </a:cubicBezTo>
                  <a:lnTo>
                    <a:pt x="761" y="77"/>
                  </a:lnTo>
                  <a:cubicBezTo>
                    <a:pt x="762" y="78"/>
                    <a:pt x="762" y="79"/>
                    <a:pt x="762" y="81"/>
                  </a:cubicBezTo>
                  <a:lnTo>
                    <a:pt x="762" y="179"/>
                  </a:lnTo>
                  <a:lnTo>
                    <a:pt x="810" y="199"/>
                  </a:lnTo>
                  <a:cubicBezTo>
                    <a:pt x="811" y="199"/>
                    <a:pt x="812" y="200"/>
                    <a:pt x="813" y="201"/>
                  </a:cubicBezTo>
                  <a:lnTo>
                    <a:pt x="820" y="221"/>
                  </a:lnTo>
                  <a:lnTo>
                    <a:pt x="899" y="245"/>
                  </a:lnTo>
                  <a:cubicBezTo>
                    <a:pt x="900" y="246"/>
                    <a:pt x="902" y="247"/>
                    <a:pt x="902" y="249"/>
                  </a:cubicBezTo>
                  <a:lnTo>
                    <a:pt x="910" y="289"/>
                  </a:lnTo>
                  <a:lnTo>
                    <a:pt x="993" y="347"/>
                  </a:lnTo>
                  <a:lnTo>
                    <a:pt x="1024" y="413"/>
                  </a:lnTo>
                  <a:lnTo>
                    <a:pt x="1078" y="449"/>
                  </a:lnTo>
                  <a:lnTo>
                    <a:pt x="1101" y="493"/>
                  </a:lnTo>
                  <a:cubicBezTo>
                    <a:pt x="1101" y="495"/>
                    <a:pt x="1101" y="496"/>
                    <a:pt x="1100" y="498"/>
                  </a:cubicBezTo>
                  <a:cubicBezTo>
                    <a:pt x="1099" y="499"/>
                    <a:pt x="1098" y="500"/>
                    <a:pt x="1096" y="500"/>
                  </a:cubicBezTo>
                  <a:lnTo>
                    <a:pt x="1055" y="496"/>
                  </a:lnTo>
                  <a:lnTo>
                    <a:pt x="1040" y="507"/>
                  </a:lnTo>
                  <a:cubicBezTo>
                    <a:pt x="1039" y="508"/>
                    <a:pt x="1038" y="508"/>
                    <a:pt x="1037" y="508"/>
                  </a:cubicBezTo>
                  <a:cubicBezTo>
                    <a:pt x="1036" y="508"/>
                    <a:pt x="1035" y="508"/>
                    <a:pt x="1035" y="507"/>
                  </a:cubicBezTo>
                  <a:lnTo>
                    <a:pt x="1024" y="501"/>
                  </a:lnTo>
                  <a:lnTo>
                    <a:pt x="1014" y="507"/>
                  </a:lnTo>
                  <a:cubicBezTo>
                    <a:pt x="1013" y="508"/>
                    <a:pt x="1013" y="508"/>
                    <a:pt x="1012" y="508"/>
                  </a:cubicBezTo>
                  <a:cubicBezTo>
                    <a:pt x="1010" y="508"/>
                    <a:pt x="1009" y="508"/>
                    <a:pt x="1008" y="507"/>
                  </a:cubicBezTo>
                  <a:lnTo>
                    <a:pt x="989" y="487"/>
                  </a:lnTo>
                  <a:lnTo>
                    <a:pt x="905" y="495"/>
                  </a:lnTo>
                  <a:lnTo>
                    <a:pt x="902" y="505"/>
                  </a:lnTo>
                  <a:cubicBezTo>
                    <a:pt x="901" y="506"/>
                    <a:pt x="900" y="507"/>
                    <a:pt x="899" y="508"/>
                  </a:cubicBezTo>
                  <a:lnTo>
                    <a:pt x="869" y="521"/>
                  </a:lnTo>
                  <a:lnTo>
                    <a:pt x="868" y="521"/>
                  </a:lnTo>
                  <a:cubicBezTo>
                    <a:pt x="866" y="521"/>
                    <a:pt x="865" y="521"/>
                    <a:pt x="864" y="520"/>
                  </a:cubicBezTo>
                  <a:lnTo>
                    <a:pt x="849" y="505"/>
                  </a:lnTo>
                  <a:lnTo>
                    <a:pt x="750" y="538"/>
                  </a:lnTo>
                  <a:lnTo>
                    <a:pt x="708" y="526"/>
                  </a:lnTo>
                  <a:lnTo>
                    <a:pt x="672" y="566"/>
                  </a:lnTo>
                  <a:cubicBezTo>
                    <a:pt x="671" y="567"/>
                    <a:pt x="670" y="568"/>
                    <a:pt x="668" y="568"/>
                  </a:cubicBezTo>
                  <a:lnTo>
                    <a:pt x="596" y="568"/>
                  </a:lnTo>
                  <a:lnTo>
                    <a:pt x="536" y="546"/>
                  </a:lnTo>
                  <a:lnTo>
                    <a:pt x="517" y="550"/>
                  </a:lnTo>
                  <a:lnTo>
                    <a:pt x="516" y="551"/>
                  </a:lnTo>
                  <a:cubicBezTo>
                    <a:pt x="515" y="551"/>
                    <a:pt x="514" y="550"/>
                    <a:pt x="512" y="549"/>
                  </a:cubicBezTo>
                  <a:lnTo>
                    <a:pt x="468" y="500"/>
                  </a:lnTo>
                  <a:lnTo>
                    <a:pt x="421" y="496"/>
                  </a:lnTo>
                  <a:lnTo>
                    <a:pt x="377" y="549"/>
                  </a:lnTo>
                  <a:lnTo>
                    <a:pt x="373" y="610"/>
                  </a:lnTo>
                  <a:cubicBezTo>
                    <a:pt x="373" y="612"/>
                    <a:pt x="372" y="613"/>
                    <a:pt x="371" y="614"/>
                  </a:cubicBezTo>
                  <a:lnTo>
                    <a:pt x="354" y="622"/>
                  </a:lnTo>
                  <a:lnTo>
                    <a:pt x="294" y="643"/>
                  </a:lnTo>
                  <a:cubicBezTo>
                    <a:pt x="294" y="644"/>
                    <a:pt x="293" y="644"/>
                    <a:pt x="292" y="644"/>
                  </a:cubicBezTo>
                  <a:cubicBezTo>
                    <a:pt x="292" y="644"/>
                    <a:pt x="291" y="644"/>
                    <a:pt x="291" y="643"/>
                  </a:cubicBezTo>
                  <a:lnTo>
                    <a:pt x="240" y="622"/>
                  </a:lnTo>
                  <a:lnTo>
                    <a:pt x="217" y="627"/>
                  </a:lnTo>
                  <a:lnTo>
                    <a:pt x="139" y="689"/>
                  </a:lnTo>
                  <a:cubicBezTo>
                    <a:pt x="138" y="690"/>
                    <a:pt x="137" y="690"/>
                    <a:pt x="136" y="690"/>
                  </a:cubicBezTo>
                  <a:cubicBezTo>
                    <a:pt x="135" y="690"/>
                    <a:pt x="134" y="690"/>
                    <a:pt x="133" y="68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4" name="Freeform 169"/>
            <p:cNvSpPr>
              <a:spLocks noChangeArrowheads="1"/>
            </p:cNvSpPr>
            <p:nvPr/>
          </p:nvSpPr>
          <p:spPr bwMode="auto">
            <a:xfrm>
              <a:off x="4675188" y="3406775"/>
              <a:ext cx="396875" cy="249238"/>
            </a:xfrm>
            <a:custGeom>
              <a:avLst/>
              <a:gdLst/>
              <a:ahLst/>
              <a:cxnLst>
                <a:cxn ang="0">
                  <a:pos x="133" y="689"/>
                </a:cxn>
                <a:cxn ang="0">
                  <a:pos x="4" y="523"/>
                </a:cxn>
                <a:cxn ang="0">
                  <a:pos x="72" y="302"/>
                </a:cxn>
                <a:cxn ang="0">
                  <a:pos x="131" y="296"/>
                </a:cxn>
                <a:cxn ang="0">
                  <a:pos x="178" y="262"/>
                </a:cxn>
                <a:cxn ang="0">
                  <a:pos x="204" y="286"/>
                </a:cxn>
                <a:cxn ang="0">
                  <a:pos x="349" y="245"/>
                </a:cxn>
                <a:cxn ang="0">
                  <a:pos x="381" y="179"/>
                </a:cxn>
                <a:cxn ang="0">
                  <a:pos x="503" y="156"/>
                </a:cxn>
                <a:cxn ang="0">
                  <a:pos x="622" y="11"/>
                </a:cxn>
                <a:cxn ang="0">
                  <a:pos x="690" y="0"/>
                </a:cxn>
                <a:cxn ang="0">
                  <a:pos x="761" y="77"/>
                </a:cxn>
                <a:cxn ang="0">
                  <a:pos x="762" y="179"/>
                </a:cxn>
                <a:cxn ang="0">
                  <a:pos x="813" y="201"/>
                </a:cxn>
                <a:cxn ang="0">
                  <a:pos x="899" y="245"/>
                </a:cxn>
                <a:cxn ang="0">
                  <a:pos x="910" y="289"/>
                </a:cxn>
                <a:cxn ang="0">
                  <a:pos x="1024" y="413"/>
                </a:cxn>
                <a:cxn ang="0">
                  <a:pos x="1101" y="493"/>
                </a:cxn>
                <a:cxn ang="0">
                  <a:pos x="1096" y="500"/>
                </a:cxn>
                <a:cxn ang="0">
                  <a:pos x="1040" y="507"/>
                </a:cxn>
                <a:cxn ang="0">
                  <a:pos x="1035" y="507"/>
                </a:cxn>
                <a:cxn ang="0">
                  <a:pos x="1014" y="507"/>
                </a:cxn>
                <a:cxn ang="0">
                  <a:pos x="1008" y="507"/>
                </a:cxn>
                <a:cxn ang="0">
                  <a:pos x="905" y="495"/>
                </a:cxn>
                <a:cxn ang="0">
                  <a:pos x="899" y="508"/>
                </a:cxn>
                <a:cxn ang="0">
                  <a:pos x="868" y="521"/>
                </a:cxn>
                <a:cxn ang="0">
                  <a:pos x="849" y="505"/>
                </a:cxn>
                <a:cxn ang="0">
                  <a:pos x="708" y="526"/>
                </a:cxn>
                <a:cxn ang="0">
                  <a:pos x="668" y="568"/>
                </a:cxn>
                <a:cxn ang="0">
                  <a:pos x="536" y="546"/>
                </a:cxn>
                <a:cxn ang="0">
                  <a:pos x="516" y="551"/>
                </a:cxn>
                <a:cxn ang="0">
                  <a:pos x="468" y="500"/>
                </a:cxn>
                <a:cxn ang="0">
                  <a:pos x="377" y="549"/>
                </a:cxn>
                <a:cxn ang="0">
                  <a:pos x="371" y="614"/>
                </a:cxn>
                <a:cxn ang="0">
                  <a:pos x="294" y="643"/>
                </a:cxn>
                <a:cxn ang="0">
                  <a:pos x="291" y="643"/>
                </a:cxn>
                <a:cxn ang="0">
                  <a:pos x="217" y="627"/>
                </a:cxn>
                <a:cxn ang="0">
                  <a:pos x="136" y="690"/>
                </a:cxn>
              </a:cxnLst>
              <a:rect l="0" t="0" r="r" b="b"/>
              <a:pathLst>
                <a:path w="1102" h="691">
                  <a:moveTo>
                    <a:pt x="136" y="690"/>
                  </a:moveTo>
                  <a:cubicBezTo>
                    <a:pt x="135" y="690"/>
                    <a:pt x="134" y="690"/>
                    <a:pt x="133" y="689"/>
                  </a:cubicBezTo>
                  <a:lnTo>
                    <a:pt x="73" y="643"/>
                  </a:lnTo>
                  <a:lnTo>
                    <a:pt x="4" y="523"/>
                  </a:lnTo>
                  <a:lnTo>
                    <a:pt x="0" y="432"/>
                  </a:lnTo>
                  <a:lnTo>
                    <a:pt x="72" y="302"/>
                  </a:lnTo>
                  <a:cubicBezTo>
                    <a:pt x="73" y="301"/>
                    <a:pt x="75" y="300"/>
                    <a:pt x="76" y="300"/>
                  </a:cubicBezTo>
                  <a:lnTo>
                    <a:pt x="131" y="296"/>
                  </a:lnTo>
                  <a:lnTo>
                    <a:pt x="175" y="263"/>
                  </a:lnTo>
                  <a:cubicBezTo>
                    <a:pt x="176" y="262"/>
                    <a:pt x="177" y="262"/>
                    <a:pt x="178" y="262"/>
                  </a:cubicBezTo>
                  <a:cubicBezTo>
                    <a:pt x="179" y="262"/>
                    <a:pt x="180" y="262"/>
                    <a:pt x="181" y="263"/>
                  </a:cubicBezTo>
                  <a:lnTo>
                    <a:pt x="204" y="286"/>
                  </a:lnTo>
                  <a:lnTo>
                    <a:pt x="274" y="254"/>
                  </a:lnTo>
                  <a:lnTo>
                    <a:pt x="349" y="245"/>
                  </a:lnTo>
                  <a:lnTo>
                    <a:pt x="385" y="206"/>
                  </a:lnTo>
                  <a:lnTo>
                    <a:pt x="381" y="179"/>
                  </a:lnTo>
                  <a:cubicBezTo>
                    <a:pt x="381" y="176"/>
                    <a:pt x="382" y="174"/>
                    <a:pt x="385" y="173"/>
                  </a:cubicBezTo>
                  <a:lnTo>
                    <a:pt x="503" y="156"/>
                  </a:lnTo>
                  <a:lnTo>
                    <a:pt x="606" y="64"/>
                  </a:lnTo>
                  <a:lnTo>
                    <a:pt x="622" y="11"/>
                  </a:lnTo>
                  <a:cubicBezTo>
                    <a:pt x="622" y="10"/>
                    <a:pt x="624" y="8"/>
                    <a:pt x="625" y="8"/>
                  </a:cubicBezTo>
                  <a:lnTo>
                    <a:pt x="690" y="0"/>
                  </a:lnTo>
                  <a:cubicBezTo>
                    <a:pt x="691" y="0"/>
                    <a:pt x="692" y="0"/>
                    <a:pt x="693" y="1"/>
                  </a:cubicBezTo>
                  <a:lnTo>
                    <a:pt x="761" y="77"/>
                  </a:lnTo>
                  <a:cubicBezTo>
                    <a:pt x="762" y="78"/>
                    <a:pt x="762" y="79"/>
                    <a:pt x="762" y="81"/>
                  </a:cubicBezTo>
                  <a:lnTo>
                    <a:pt x="762" y="179"/>
                  </a:lnTo>
                  <a:lnTo>
                    <a:pt x="810" y="199"/>
                  </a:lnTo>
                  <a:cubicBezTo>
                    <a:pt x="811" y="199"/>
                    <a:pt x="812" y="200"/>
                    <a:pt x="813" y="201"/>
                  </a:cubicBezTo>
                  <a:lnTo>
                    <a:pt x="820" y="221"/>
                  </a:lnTo>
                  <a:lnTo>
                    <a:pt x="899" y="245"/>
                  </a:lnTo>
                  <a:cubicBezTo>
                    <a:pt x="900" y="246"/>
                    <a:pt x="902" y="247"/>
                    <a:pt x="902" y="249"/>
                  </a:cubicBezTo>
                  <a:lnTo>
                    <a:pt x="910" y="289"/>
                  </a:lnTo>
                  <a:lnTo>
                    <a:pt x="993" y="347"/>
                  </a:lnTo>
                  <a:lnTo>
                    <a:pt x="1024" y="413"/>
                  </a:lnTo>
                  <a:lnTo>
                    <a:pt x="1078" y="449"/>
                  </a:lnTo>
                  <a:lnTo>
                    <a:pt x="1101" y="493"/>
                  </a:lnTo>
                  <a:cubicBezTo>
                    <a:pt x="1101" y="495"/>
                    <a:pt x="1101" y="496"/>
                    <a:pt x="1100" y="498"/>
                  </a:cubicBezTo>
                  <a:cubicBezTo>
                    <a:pt x="1099" y="499"/>
                    <a:pt x="1098" y="500"/>
                    <a:pt x="1096" y="500"/>
                  </a:cubicBezTo>
                  <a:lnTo>
                    <a:pt x="1055" y="496"/>
                  </a:lnTo>
                  <a:lnTo>
                    <a:pt x="1040" y="507"/>
                  </a:lnTo>
                  <a:cubicBezTo>
                    <a:pt x="1039" y="508"/>
                    <a:pt x="1038" y="508"/>
                    <a:pt x="1037" y="508"/>
                  </a:cubicBezTo>
                  <a:cubicBezTo>
                    <a:pt x="1036" y="508"/>
                    <a:pt x="1035" y="508"/>
                    <a:pt x="1035" y="507"/>
                  </a:cubicBezTo>
                  <a:lnTo>
                    <a:pt x="1024" y="501"/>
                  </a:lnTo>
                  <a:lnTo>
                    <a:pt x="1014" y="507"/>
                  </a:lnTo>
                  <a:cubicBezTo>
                    <a:pt x="1013" y="508"/>
                    <a:pt x="1013" y="508"/>
                    <a:pt x="1012" y="508"/>
                  </a:cubicBezTo>
                  <a:cubicBezTo>
                    <a:pt x="1010" y="508"/>
                    <a:pt x="1009" y="508"/>
                    <a:pt x="1008" y="507"/>
                  </a:cubicBezTo>
                  <a:lnTo>
                    <a:pt x="989" y="487"/>
                  </a:lnTo>
                  <a:lnTo>
                    <a:pt x="905" y="495"/>
                  </a:lnTo>
                  <a:lnTo>
                    <a:pt x="902" y="505"/>
                  </a:lnTo>
                  <a:cubicBezTo>
                    <a:pt x="901" y="506"/>
                    <a:pt x="900" y="507"/>
                    <a:pt x="899" y="508"/>
                  </a:cubicBezTo>
                  <a:lnTo>
                    <a:pt x="869" y="521"/>
                  </a:lnTo>
                  <a:lnTo>
                    <a:pt x="868" y="521"/>
                  </a:lnTo>
                  <a:cubicBezTo>
                    <a:pt x="866" y="521"/>
                    <a:pt x="865" y="521"/>
                    <a:pt x="864" y="520"/>
                  </a:cubicBezTo>
                  <a:lnTo>
                    <a:pt x="849" y="505"/>
                  </a:lnTo>
                  <a:lnTo>
                    <a:pt x="750" y="538"/>
                  </a:lnTo>
                  <a:lnTo>
                    <a:pt x="708" y="526"/>
                  </a:lnTo>
                  <a:lnTo>
                    <a:pt x="672" y="566"/>
                  </a:lnTo>
                  <a:cubicBezTo>
                    <a:pt x="671" y="567"/>
                    <a:pt x="670" y="568"/>
                    <a:pt x="668" y="568"/>
                  </a:cubicBezTo>
                  <a:lnTo>
                    <a:pt x="596" y="568"/>
                  </a:lnTo>
                  <a:lnTo>
                    <a:pt x="536" y="546"/>
                  </a:lnTo>
                  <a:lnTo>
                    <a:pt x="517" y="550"/>
                  </a:lnTo>
                  <a:lnTo>
                    <a:pt x="516" y="551"/>
                  </a:lnTo>
                  <a:cubicBezTo>
                    <a:pt x="515" y="551"/>
                    <a:pt x="514" y="550"/>
                    <a:pt x="512" y="549"/>
                  </a:cubicBezTo>
                  <a:lnTo>
                    <a:pt x="468" y="500"/>
                  </a:lnTo>
                  <a:lnTo>
                    <a:pt x="421" y="496"/>
                  </a:lnTo>
                  <a:lnTo>
                    <a:pt x="377" y="549"/>
                  </a:lnTo>
                  <a:lnTo>
                    <a:pt x="373" y="610"/>
                  </a:lnTo>
                  <a:cubicBezTo>
                    <a:pt x="373" y="612"/>
                    <a:pt x="372" y="613"/>
                    <a:pt x="371" y="614"/>
                  </a:cubicBezTo>
                  <a:lnTo>
                    <a:pt x="354" y="622"/>
                  </a:lnTo>
                  <a:lnTo>
                    <a:pt x="294" y="643"/>
                  </a:lnTo>
                  <a:cubicBezTo>
                    <a:pt x="294" y="644"/>
                    <a:pt x="293" y="644"/>
                    <a:pt x="292" y="644"/>
                  </a:cubicBezTo>
                  <a:cubicBezTo>
                    <a:pt x="292" y="644"/>
                    <a:pt x="291" y="644"/>
                    <a:pt x="291" y="643"/>
                  </a:cubicBezTo>
                  <a:lnTo>
                    <a:pt x="240" y="622"/>
                  </a:lnTo>
                  <a:lnTo>
                    <a:pt x="217" y="627"/>
                  </a:lnTo>
                  <a:lnTo>
                    <a:pt x="139" y="689"/>
                  </a:lnTo>
                  <a:cubicBezTo>
                    <a:pt x="138" y="690"/>
                    <a:pt x="137" y="690"/>
                    <a:pt x="136" y="69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5" name="Freeform 170"/>
            <p:cNvSpPr>
              <a:spLocks noChangeArrowheads="1"/>
            </p:cNvSpPr>
            <p:nvPr/>
          </p:nvSpPr>
          <p:spPr bwMode="auto">
            <a:xfrm>
              <a:off x="4641850" y="3021013"/>
              <a:ext cx="323850" cy="498475"/>
            </a:xfrm>
            <a:custGeom>
              <a:avLst/>
              <a:gdLst/>
              <a:ahLst/>
              <a:cxnLst>
                <a:cxn ang="0">
                  <a:pos x="137" y="1277"/>
                </a:cxn>
                <a:cxn ang="0">
                  <a:pos x="56" y="1200"/>
                </a:cxn>
                <a:cxn ang="0">
                  <a:pos x="69" y="1166"/>
                </a:cxn>
                <a:cxn ang="0">
                  <a:pos x="159" y="1160"/>
                </a:cxn>
                <a:cxn ang="0">
                  <a:pos x="128" y="998"/>
                </a:cxn>
                <a:cxn ang="0">
                  <a:pos x="103" y="921"/>
                </a:cxn>
                <a:cxn ang="0">
                  <a:pos x="140" y="907"/>
                </a:cxn>
                <a:cxn ang="0">
                  <a:pos x="64" y="864"/>
                </a:cxn>
                <a:cxn ang="0">
                  <a:pos x="44" y="816"/>
                </a:cxn>
                <a:cxn ang="0">
                  <a:pos x="1" y="790"/>
                </a:cxn>
                <a:cxn ang="0">
                  <a:pos x="167" y="564"/>
                </a:cxn>
                <a:cxn ang="0">
                  <a:pos x="195" y="300"/>
                </a:cxn>
                <a:cxn ang="0">
                  <a:pos x="168" y="229"/>
                </a:cxn>
                <a:cxn ang="0">
                  <a:pos x="140" y="30"/>
                </a:cxn>
                <a:cxn ang="0">
                  <a:pos x="228" y="0"/>
                </a:cxn>
                <a:cxn ang="0">
                  <a:pos x="232" y="1"/>
                </a:cxn>
                <a:cxn ang="0">
                  <a:pos x="898" y="347"/>
                </a:cxn>
                <a:cxn ang="0">
                  <a:pos x="894" y="674"/>
                </a:cxn>
                <a:cxn ang="0">
                  <a:pos x="797" y="729"/>
                </a:cxn>
                <a:cxn ang="0">
                  <a:pos x="754" y="817"/>
                </a:cxn>
                <a:cxn ang="0">
                  <a:pos x="720" y="911"/>
                </a:cxn>
                <a:cxn ang="0">
                  <a:pos x="750" y="926"/>
                </a:cxn>
                <a:cxn ang="0">
                  <a:pos x="763" y="977"/>
                </a:cxn>
                <a:cxn ang="0">
                  <a:pos x="804" y="1061"/>
                </a:cxn>
                <a:cxn ang="0">
                  <a:pos x="784" y="1084"/>
                </a:cxn>
                <a:cxn ang="0">
                  <a:pos x="708" y="1144"/>
                </a:cxn>
                <a:cxn ang="0">
                  <a:pos x="485" y="1257"/>
                </a:cxn>
                <a:cxn ang="0">
                  <a:pos x="487" y="1285"/>
                </a:cxn>
                <a:cxn ang="0">
                  <a:pos x="446" y="1329"/>
                </a:cxn>
                <a:cxn ang="0">
                  <a:pos x="299" y="1371"/>
                </a:cxn>
                <a:cxn ang="0">
                  <a:pos x="294" y="1370"/>
                </a:cxn>
                <a:cxn ang="0">
                  <a:pos x="228" y="1379"/>
                </a:cxn>
                <a:cxn ang="0">
                  <a:pos x="166" y="1381"/>
                </a:cxn>
              </a:cxnLst>
              <a:rect l="0" t="0" r="r" b="b"/>
              <a:pathLst>
                <a:path w="899" h="1385">
                  <a:moveTo>
                    <a:pt x="166" y="1381"/>
                  </a:moveTo>
                  <a:lnTo>
                    <a:pt x="137" y="1277"/>
                  </a:lnTo>
                  <a:lnTo>
                    <a:pt x="79" y="1244"/>
                  </a:lnTo>
                  <a:lnTo>
                    <a:pt x="56" y="1200"/>
                  </a:lnTo>
                  <a:cubicBezTo>
                    <a:pt x="55" y="1199"/>
                    <a:pt x="55" y="1197"/>
                    <a:pt x="56" y="1196"/>
                  </a:cubicBezTo>
                  <a:lnTo>
                    <a:pt x="69" y="1166"/>
                  </a:lnTo>
                  <a:cubicBezTo>
                    <a:pt x="69" y="1165"/>
                    <a:pt x="71" y="1164"/>
                    <a:pt x="73" y="1164"/>
                  </a:cubicBezTo>
                  <a:lnTo>
                    <a:pt x="159" y="1160"/>
                  </a:lnTo>
                  <a:lnTo>
                    <a:pt x="120" y="1081"/>
                  </a:lnTo>
                  <a:lnTo>
                    <a:pt x="128" y="998"/>
                  </a:lnTo>
                  <a:lnTo>
                    <a:pt x="102" y="924"/>
                  </a:lnTo>
                  <a:cubicBezTo>
                    <a:pt x="102" y="923"/>
                    <a:pt x="102" y="922"/>
                    <a:pt x="103" y="921"/>
                  </a:cubicBezTo>
                  <a:cubicBezTo>
                    <a:pt x="103" y="920"/>
                    <a:pt x="104" y="919"/>
                    <a:pt x="105" y="918"/>
                  </a:cubicBezTo>
                  <a:lnTo>
                    <a:pt x="140" y="907"/>
                  </a:lnTo>
                  <a:lnTo>
                    <a:pt x="136" y="872"/>
                  </a:lnTo>
                  <a:lnTo>
                    <a:pt x="64" y="864"/>
                  </a:lnTo>
                  <a:cubicBezTo>
                    <a:pt x="62" y="864"/>
                    <a:pt x="61" y="863"/>
                    <a:pt x="60" y="861"/>
                  </a:cubicBezTo>
                  <a:lnTo>
                    <a:pt x="44" y="816"/>
                  </a:lnTo>
                  <a:lnTo>
                    <a:pt x="3" y="796"/>
                  </a:lnTo>
                  <a:cubicBezTo>
                    <a:pt x="1" y="795"/>
                    <a:pt x="0" y="792"/>
                    <a:pt x="1" y="790"/>
                  </a:cubicBezTo>
                  <a:lnTo>
                    <a:pt x="22" y="727"/>
                  </a:lnTo>
                  <a:lnTo>
                    <a:pt x="167" y="564"/>
                  </a:lnTo>
                  <a:lnTo>
                    <a:pt x="178" y="423"/>
                  </a:lnTo>
                  <a:lnTo>
                    <a:pt x="195" y="300"/>
                  </a:lnTo>
                  <a:lnTo>
                    <a:pt x="219" y="264"/>
                  </a:lnTo>
                  <a:lnTo>
                    <a:pt x="168" y="229"/>
                  </a:lnTo>
                  <a:lnTo>
                    <a:pt x="141" y="176"/>
                  </a:lnTo>
                  <a:lnTo>
                    <a:pt x="140" y="30"/>
                  </a:lnTo>
                  <a:cubicBezTo>
                    <a:pt x="140" y="28"/>
                    <a:pt x="142" y="26"/>
                    <a:pt x="144" y="26"/>
                  </a:cubicBezTo>
                  <a:lnTo>
                    <a:pt x="228" y="0"/>
                  </a:lnTo>
                  <a:cubicBezTo>
                    <a:pt x="229" y="0"/>
                    <a:pt x="229" y="0"/>
                    <a:pt x="230" y="0"/>
                  </a:cubicBezTo>
                  <a:cubicBezTo>
                    <a:pt x="230" y="0"/>
                    <a:pt x="231" y="0"/>
                    <a:pt x="232" y="1"/>
                  </a:cubicBezTo>
                  <a:lnTo>
                    <a:pt x="896" y="343"/>
                  </a:lnTo>
                  <a:cubicBezTo>
                    <a:pt x="897" y="344"/>
                    <a:pt x="898" y="346"/>
                    <a:pt x="898" y="347"/>
                  </a:cubicBezTo>
                  <a:lnTo>
                    <a:pt x="898" y="669"/>
                  </a:lnTo>
                  <a:cubicBezTo>
                    <a:pt x="898" y="671"/>
                    <a:pt x="897" y="673"/>
                    <a:pt x="894" y="674"/>
                  </a:cubicBezTo>
                  <a:lnTo>
                    <a:pt x="809" y="686"/>
                  </a:lnTo>
                  <a:lnTo>
                    <a:pt x="797" y="729"/>
                  </a:lnTo>
                  <a:lnTo>
                    <a:pt x="753" y="786"/>
                  </a:lnTo>
                  <a:lnTo>
                    <a:pt x="754" y="817"/>
                  </a:lnTo>
                  <a:lnTo>
                    <a:pt x="741" y="837"/>
                  </a:lnTo>
                  <a:lnTo>
                    <a:pt x="720" y="911"/>
                  </a:lnTo>
                  <a:lnTo>
                    <a:pt x="721" y="930"/>
                  </a:lnTo>
                  <a:lnTo>
                    <a:pt x="750" y="926"/>
                  </a:lnTo>
                  <a:cubicBezTo>
                    <a:pt x="752" y="926"/>
                    <a:pt x="754" y="928"/>
                    <a:pt x="754" y="930"/>
                  </a:cubicBezTo>
                  <a:lnTo>
                    <a:pt x="763" y="977"/>
                  </a:lnTo>
                  <a:lnTo>
                    <a:pt x="805" y="1056"/>
                  </a:lnTo>
                  <a:cubicBezTo>
                    <a:pt x="806" y="1058"/>
                    <a:pt x="805" y="1060"/>
                    <a:pt x="804" y="1061"/>
                  </a:cubicBezTo>
                  <a:lnTo>
                    <a:pt x="787" y="1082"/>
                  </a:lnTo>
                  <a:cubicBezTo>
                    <a:pt x="786" y="1083"/>
                    <a:pt x="785" y="1084"/>
                    <a:pt x="784" y="1084"/>
                  </a:cubicBezTo>
                  <a:lnTo>
                    <a:pt x="724" y="1092"/>
                  </a:lnTo>
                  <a:lnTo>
                    <a:pt x="708" y="1144"/>
                  </a:lnTo>
                  <a:lnTo>
                    <a:pt x="600" y="1239"/>
                  </a:lnTo>
                  <a:lnTo>
                    <a:pt x="485" y="1257"/>
                  </a:lnTo>
                  <a:lnTo>
                    <a:pt x="488" y="1282"/>
                  </a:lnTo>
                  <a:cubicBezTo>
                    <a:pt x="489" y="1283"/>
                    <a:pt x="488" y="1284"/>
                    <a:pt x="487" y="1285"/>
                  </a:cubicBezTo>
                  <a:lnTo>
                    <a:pt x="449" y="1328"/>
                  </a:lnTo>
                  <a:cubicBezTo>
                    <a:pt x="448" y="1329"/>
                    <a:pt x="447" y="1329"/>
                    <a:pt x="446" y="1329"/>
                  </a:cubicBezTo>
                  <a:lnTo>
                    <a:pt x="370" y="1338"/>
                  </a:lnTo>
                  <a:lnTo>
                    <a:pt x="299" y="1371"/>
                  </a:lnTo>
                  <a:cubicBezTo>
                    <a:pt x="299" y="1371"/>
                    <a:pt x="298" y="1372"/>
                    <a:pt x="297" y="1372"/>
                  </a:cubicBezTo>
                  <a:cubicBezTo>
                    <a:pt x="296" y="1372"/>
                    <a:pt x="295" y="1371"/>
                    <a:pt x="294" y="1370"/>
                  </a:cubicBezTo>
                  <a:lnTo>
                    <a:pt x="271" y="1348"/>
                  </a:lnTo>
                  <a:lnTo>
                    <a:pt x="228" y="1379"/>
                  </a:lnTo>
                  <a:lnTo>
                    <a:pt x="170" y="1384"/>
                  </a:lnTo>
                  <a:cubicBezTo>
                    <a:pt x="168" y="1384"/>
                    <a:pt x="166" y="1383"/>
                    <a:pt x="166" y="138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6" name="Freeform 171"/>
            <p:cNvSpPr>
              <a:spLocks noChangeArrowheads="1"/>
            </p:cNvSpPr>
            <p:nvPr/>
          </p:nvSpPr>
          <p:spPr bwMode="auto">
            <a:xfrm>
              <a:off x="4641850" y="3021013"/>
              <a:ext cx="323850" cy="498475"/>
            </a:xfrm>
            <a:custGeom>
              <a:avLst/>
              <a:gdLst/>
              <a:ahLst/>
              <a:cxnLst>
                <a:cxn ang="0">
                  <a:pos x="166" y="1381"/>
                </a:cxn>
                <a:cxn ang="0">
                  <a:pos x="79" y="1244"/>
                </a:cxn>
                <a:cxn ang="0">
                  <a:pos x="56" y="1196"/>
                </a:cxn>
                <a:cxn ang="0">
                  <a:pos x="73" y="1164"/>
                </a:cxn>
                <a:cxn ang="0">
                  <a:pos x="120" y="1081"/>
                </a:cxn>
                <a:cxn ang="0">
                  <a:pos x="102" y="924"/>
                </a:cxn>
                <a:cxn ang="0">
                  <a:pos x="105" y="918"/>
                </a:cxn>
                <a:cxn ang="0">
                  <a:pos x="136" y="872"/>
                </a:cxn>
                <a:cxn ang="0">
                  <a:pos x="60" y="861"/>
                </a:cxn>
                <a:cxn ang="0">
                  <a:pos x="3" y="796"/>
                </a:cxn>
                <a:cxn ang="0">
                  <a:pos x="22" y="727"/>
                </a:cxn>
                <a:cxn ang="0">
                  <a:pos x="178" y="423"/>
                </a:cxn>
                <a:cxn ang="0">
                  <a:pos x="219" y="264"/>
                </a:cxn>
                <a:cxn ang="0">
                  <a:pos x="141" y="176"/>
                </a:cxn>
                <a:cxn ang="0">
                  <a:pos x="144" y="26"/>
                </a:cxn>
                <a:cxn ang="0">
                  <a:pos x="230" y="0"/>
                </a:cxn>
                <a:cxn ang="0">
                  <a:pos x="896" y="343"/>
                </a:cxn>
                <a:cxn ang="0">
                  <a:pos x="898" y="669"/>
                </a:cxn>
                <a:cxn ang="0">
                  <a:pos x="809" y="686"/>
                </a:cxn>
                <a:cxn ang="0">
                  <a:pos x="753" y="786"/>
                </a:cxn>
                <a:cxn ang="0">
                  <a:pos x="741" y="837"/>
                </a:cxn>
                <a:cxn ang="0">
                  <a:pos x="721" y="930"/>
                </a:cxn>
                <a:cxn ang="0">
                  <a:pos x="754" y="930"/>
                </a:cxn>
                <a:cxn ang="0">
                  <a:pos x="805" y="1056"/>
                </a:cxn>
                <a:cxn ang="0">
                  <a:pos x="787" y="1082"/>
                </a:cxn>
                <a:cxn ang="0">
                  <a:pos x="724" y="1092"/>
                </a:cxn>
                <a:cxn ang="0">
                  <a:pos x="600" y="1239"/>
                </a:cxn>
                <a:cxn ang="0">
                  <a:pos x="488" y="1282"/>
                </a:cxn>
                <a:cxn ang="0">
                  <a:pos x="449" y="1328"/>
                </a:cxn>
                <a:cxn ang="0">
                  <a:pos x="370" y="1338"/>
                </a:cxn>
                <a:cxn ang="0">
                  <a:pos x="297" y="1372"/>
                </a:cxn>
                <a:cxn ang="0">
                  <a:pos x="271" y="1348"/>
                </a:cxn>
                <a:cxn ang="0">
                  <a:pos x="170" y="1384"/>
                </a:cxn>
              </a:cxnLst>
              <a:rect l="0" t="0" r="r" b="b"/>
              <a:pathLst>
                <a:path w="899" h="1385">
                  <a:moveTo>
                    <a:pt x="170" y="1384"/>
                  </a:moveTo>
                  <a:cubicBezTo>
                    <a:pt x="168" y="1384"/>
                    <a:pt x="166" y="1383"/>
                    <a:pt x="166" y="1381"/>
                  </a:cubicBezTo>
                  <a:lnTo>
                    <a:pt x="137" y="1277"/>
                  </a:lnTo>
                  <a:lnTo>
                    <a:pt x="79" y="1244"/>
                  </a:lnTo>
                  <a:lnTo>
                    <a:pt x="56" y="1200"/>
                  </a:lnTo>
                  <a:cubicBezTo>
                    <a:pt x="55" y="1199"/>
                    <a:pt x="55" y="1197"/>
                    <a:pt x="56" y="1196"/>
                  </a:cubicBezTo>
                  <a:lnTo>
                    <a:pt x="69" y="1166"/>
                  </a:lnTo>
                  <a:cubicBezTo>
                    <a:pt x="69" y="1165"/>
                    <a:pt x="71" y="1164"/>
                    <a:pt x="73" y="1164"/>
                  </a:cubicBezTo>
                  <a:lnTo>
                    <a:pt x="159" y="1160"/>
                  </a:lnTo>
                  <a:lnTo>
                    <a:pt x="120" y="1081"/>
                  </a:lnTo>
                  <a:lnTo>
                    <a:pt x="128" y="998"/>
                  </a:lnTo>
                  <a:lnTo>
                    <a:pt x="102" y="924"/>
                  </a:lnTo>
                  <a:cubicBezTo>
                    <a:pt x="102" y="923"/>
                    <a:pt x="102" y="922"/>
                    <a:pt x="103" y="921"/>
                  </a:cubicBezTo>
                  <a:cubicBezTo>
                    <a:pt x="103" y="920"/>
                    <a:pt x="104" y="919"/>
                    <a:pt x="105" y="918"/>
                  </a:cubicBezTo>
                  <a:lnTo>
                    <a:pt x="140" y="907"/>
                  </a:lnTo>
                  <a:lnTo>
                    <a:pt x="136" y="872"/>
                  </a:lnTo>
                  <a:lnTo>
                    <a:pt x="64" y="864"/>
                  </a:lnTo>
                  <a:cubicBezTo>
                    <a:pt x="62" y="864"/>
                    <a:pt x="61" y="863"/>
                    <a:pt x="60" y="861"/>
                  </a:cubicBezTo>
                  <a:lnTo>
                    <a:pt x="44" y="816"/>
                  </a:lnTo>
                  <a:lnTo>
                    <a:pt x="3" y="796"/>
                  </a:lnTo>
                  <a:cubicBezTo>
                    <a:pt x="1" y="795"/>
                    <a:pt x="0" y="792"/>
                    <a:pt x="1" y="790"/>
                  </a:cubicBezTo>
                  <a:lnTo>
                    <a:pt x="22" y="727"/>
                  </a:lnTo>
                  <a:lnTo>
                    <a:pt x="167" y="564"/>
                  </a:lnTo>
                  <a:lnTo>
                    <a:pt x="178" y="423"/>
                  </a:lnTo>
                  <a:lnTo>
                    <a:pt x="195" y="300"/>
                  </a:lnTo>
                  <a:lnTo>
                    <a:pt x="219" y="264"/>
                  </a:lnTo>
                  <a:lnTo>
                    <a:pt x="168" y="229"/>
                  </a:lnTo>
                  <a:lnTo>
                    <a:pt x="141" y="176"/>
                  </a:lnTo>
                  <a:lnTo>
                    <a:pt x="140" y="30"/>
                  </a:lnTo>
                  <a:cubicBezTo>
                    <a:pt x="140" y="28"/>
                    <a:pt x="142" y="26"/>
                    <a:pt x="144" y="26"/>
                  </a:cubicBezTo>
                  <a:lnTo>
                    <a:pt x="228" y="0"/>
                  </a:lnTo>
                  <a:cubicBezTo>
                    <a:pt x="229" y="0"/>
                    <a:pt x="229" y="0"/>
                    <a:pt x="230" y="0"/>
                  </a:cubicBezTo>
                  <a:cubicBezTo>
                    <a:pt x="230" y="0"/>
                    <a:pt x="231" y="0"/>
                    <a:pt x="232" y="1"/>
                  </a:cubicBezTo>
                  <a:lnTo>
                    <a:pt x="896" y="343"/>
                  </a:lnTo>
                  <a:cubicBezTo>
                    <a:pt x="897" y="344"/>
                    <a:pt x="898" y="346"/>
                    <a:pt x="898" y="347"/>
                  </a:cubicBezTo>
                  <a:lnTo>
                    <a:pt x="898" y="669"/>
                  </a:lnTo>
                  <a:cubicBezTo>
                    <a:pt x="898" y="671"/>
                    <a:pt x="897" y="673"/>
                    <a:pt x="894" y="674"/>
                  </a:cubicBezTo>
                  <a:lnTo>
                    <a:pt x="809" y="686"/>
                  </a:lnTo>
                  <a:lnTo>
                    <a:pt x="797" y="729"/>
                  </a:lnTo>
                  <a:lnTo>
                    <a:pt x="753" y="786"/>
                  </a:lnTo>
                  <a:lnTo>
                    <a:pt x="754" y="817"/>
                  </a:lnTo>
                  <a:lnTo>
                    <a:pt x="741" y="837"/>
                  </a:lnTo>
                  <a:lnTo>
                    <a:pt x="720" y="911"/>
                  </a:lnTo>
                  <a:lnTo>
                    <a:pt x="721" y="930"/>
                  </a:lnTo>
                  <a:lnTo>
                    <a:pt x="750" y="926"/>
                  </a:lnTo>
                  <a:cubicBezTo>
                    <a:pt x="752" y="926"/>
                    <a:pt x="754" y="928"/>
                    <a:pt x="754" y="930"/>
                  </a:cubicBezTo>
                  <a:lnTo>
                    <a:pt x="763" y="977"/>
                  </a:lnTo>
                  <a:lnTo>
                    <a:pt x="805" y="1056"/>
                  </a:lnTo>
                  <a:cubicBezTo>
                    <a:pt x="806" y="1058"/>
                    <a:pt x="805" y="1060"/>
                    <a:pt x="804" y="1061"/>
                  </a:cubicBezTo>
                  <a:lnTo>
                    <a:pt x="787" y="1082"/>
                  </a:lnTo>
                  <a:cubicBezTo>
                    <a:pt x="786" y="1083"/>
                    <a:pt x="785" y="1084"/>
                    <a:pt x="784" y="1084"/>
                  </a:cubicBezTo>
                  <a:lnTo>
                    <a:pt x="724" y="1092"/>
                  </a:lnTo>
                  <a:lnTo>
                    <a:pt x="708" y="1144"/>
                  </a:lnTo>
                  <a:lnTo>
                    <a:pt x="600" y="1239"/>
                  </a:lnTo>
                  <a:lnTo>
                    <a:pt x="485" y="1257"/>
                  </a:lnTo>
                  <a:lnTo>
                    <a:pt x="488" y="1282"/>
                  </a:lnTo>
                  <a:cubicBezTo>
                    <a:pt x="489" y="1283"/>
                    <a:pt x="488" y="1284"/>
                    <a:pt x="487" y="1285"/>
                  </a:cubicBezTo>
                  <a:lnTo>
                    <a:pt x="449" y="1328"/>
                  </a:lnTo>
                  <a:cubicBezTo>
                    <a:pt x="448" y="1329"/>
                    <a:pt x="447" y="1329"/>
                    <a:pt x="446" y="1329"/>
                  </a:cubicBezTo>
                  <a:lnTo>
                    <a:pt x="370" y="1338"/>
                  </a:lnTo>
                  <a:lnTo>
                    <a:pt x="299" y="1371"/>
                  </a:lnTo>
                  <a:cubicBezTo>
                    <a:pt x="299" y="1371"/>
                    <a:pt x="298" y="1372"/>
                    <a:pt x="297" y="1372"/>
                  </a:cubicBezTo>
                  <a:cubicBezTo>
                    <a:pt x="296" y="1372"/>
                    <a:pt x="295" y="1371"/>
                    <a:pt x="294" y="1370"/>
                  </a:cubicBezTo>
                  <a:lnTo>
                    <a:pt x="271" y="1348"/>
                  </a:lnTo>
                  <a:lnTo>
                    <a:pt x="228" y="1379"/>
                  </a:lnTo>
                  <a:lnTo>
                    <a:pt x="170" y="138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7" name="Freeform 172"/>
            <p:cNvSpPr>
              <a:spLocks noChangeArrowheads="1"/>
            </p:cNvSpPr>
            <p:nvPr/>
          </p:nvSpPr>
          <p:spPr bwMode="auto">
            <a:xfrm>
              <a:off x="4572000" y="3627438"/>
              <a:ext cx="231775" cy="263525"/>
            </a:xfrm>
            <a:custGeom>
              <a:avLst/>
              <a:gdLst/>
              <a:ahLst/>
              <a:cxnLst>
                <a:cxn ang="0">
                  <a:pos x="78" y="730"/>
                </a:cxn>
                <a:cxn ang="0">
                  <a:pos x="48" y="688"/>
                </a:cxn>
                <a:cxn ang="0">
                  <a:pos x="2" y="642"/>
                </a:cxn>
                <a:cxn ang="0">
                  <a:pos x="1" y="637"/>
                </a:cxn>
                <a:cxn ang="0">
                  <a:pos x="14" y="603"/>
                </a:cxn>
                <a:cxn ang="0">
                  <a:pos x="17" y="600"/>
                </a:cxn>
                <a:cxn ang="0">
                  <a:pos x="47" y="592"/>
                </a:cxn>
                <a:cxn ang="0">
                  <a:pos x="47" y="520"/>
                </a:cxn>
                <a:cxn ang="0">
                  <a:pos x="49" y="516"/>
                </a:cxn>
                <a:cxn ang="0">
                  <a:pos x="130" y="457"/>
                </a:cxn>
                <a:cxn ang="0">
                  <a:pos x="133" y="456"/>
                </a:cxn>
                <a:cxn ang="0">
                  <a:pos x="135" y="457"/>
                </a:cxn>
                <a:cxn ang="0">
                  <a:pos x="222" y="506"/>
                </a:cxn>
                <a:cxn ang="0">
                  <a:pos x="247" y="496"/>
                </a:cxn>
                <a:cxn ang="0">
                  <a:pos x="259" y="376"/>
                </a:cxn>
                <a:cxn ang="0">
                  <a:pos x="242" y="288"/>
                </a:cxn>
                <a:cxn ang="0">
                  <a:pos x="268" y="238"/>
                </a:cxn>
                <a:cxn ang="0">
                  <a:pos x="268" y="207"/>
                </a:cxn>
                <a:cxn ang="0">
                  <a:pos x="252" y="190"/>
                </a:cxn>
                <a:cxn ang="0">
                  <a:pos x="215" y="183"/>
                </a:cxn>
                <a:cxn ang="0">
                  <a:pos x="192" y="218"/>
                </a:cxn>
                <a:cxn ang="0">
                  <a:pos x="188" y="220"/>
                </a:cxn>
                <a:cxn ang="0">
                  <a:pos x="185" y="219"/>
                </a:cxn>
                <a:cxn ang="0">
                  <a:pos x="172" y="211"/>
                </a:cxn>
                <a:cxn ang="0">
                  <a:pos x="170" y="206"/>
                </a:cxn>
                <a:cxn ang="0">
                  <a:pos x="183" y="131"/>
                </a:cxn>
                <a:cxn ang="0">
                  <a:pos x="188" y="127"/>
                </a:cxn>
                <a:cxn ang="0">
                  <a:pos x="298" y="127"/>
                </a:cxn>
                <a:cxn ang="0">
                  <a:pos x="379" y="140"/>
                </a:cxn>
                <a:cxn ang="0">
                  <a:pos x="404" y="168"/>
                </a:cxn>
                <a:cxn ang="0">
                  <a:pos x="416" y="72"/>
                </a:cxn>
                <a:cxn ang="0">
                  <a:pos x="418" y="69"/>
                </a:cxn>
                <a:cxn ang="0">
                  <a:pos x="498" y="5"/>
                </a:cxn>
                <a:cxn ang="0">
                  <a:pos x="526" y="0"/>
                </a:cxn>
                <a:cxn ang="0">
                  <a:pos x="577" y="21"/>
                </a:cxn>
                <a:cxn ang="0">
                  <a:pos x="635" y="0"/>
                </a:cxn>
                <a:cxn ang="0">
                  <a:pos x="637" y="0"/>
                </a:cxn>
                <a:cxn ang="0">
                  <a:pos x="640" y="1"/>
                </a:cxn>
                <a:cxn ang="0">
                  <a:pos x="641" y="5"/>
                </a:cxn>
                <a:cxn ang="0">
                  <a:pos x="637" y="56"/>
                </a:cxn>
                <a:cxn ang="0">
                  <a:pos x="590" y="147"/>
                </a:cxn>
                <a:cxn ang="0">
                  <a:pos x="561" y="368"/>
                </a:cxn>
                <a:cxn ang="0">
                  <a:pos x="559" y="371"/>
                </a:cxn>
                <a:cxn ang="0">
                  <a:pos x="479" y="431"/>
                </a:cxn>
                <a:cxn ang="0">
                  <a:pos x="450" y="484"/>
                </a:cxn>
                <a:cxn ang="0">
                  <a:pos x="434" y="580"/>
                </a:cxn>
                <a:cxn ang="0">
                  <a:pos x="408" y="632"/>
                </a:cxn>
                <a:cxn ang="0">
                  <a:pos x="296" y="714"/>
                </a:cxn>
                <a:cxn ang="0">
                  <a:pos x="294" y="715"/>
                </a:cxn>
                <a:cxn ang="0">
                  <a:pos x="292" y="715"/>
                </a:cxn>
                <a:cxn ang="0">
                  <a:pos x="276" y="711"/>
                </a:cxn>
                <a:cxn ang="0">
                  <a:pos x="272" y="707"/>
                </a:cxn>
                <a:cxn ang="0">
                  <a:pos x="268" y="674"/>
                </a:cxn>
                <a:cxn ang="0">
                  <a:pos x="231" y="685"/>
                </a:cxn>
                <a:cxn ang="0">
                  <a:pos x="212" y="709"/>
                </a:cxn>
                <a:cxn ang="0">
                  <a:pos x="209" y="711"/>
                </a:cxn>
                <a:cxn ang="0">
                  <a:pos x="208" y="711"/>
                </a:cxn>
                <a:cxn ang="0">
                  <a:pos x="161" y="698"/>
                </a:cxn>
                <a:cxn ang="0">
                  <a:pos x="137" y="679"/>
                </a:cxn>
                <a:cxn ang="0">
                  <a:pos x="85" y="730"/>
                </a:cxn>
                <a:cxn ang="0">
                  <a:pos x="82" y="732"/>
                </a:cxn>
                <a:cxn ang="0">
                  <a:pos x="81" y="732"/>
                </a:cxn>
                <a:cxn ang="0">
                  <a:pos x="78" y="730"/>
                </a:cxn>
              </a:cxnLst>
              <a:rect l="0" t="0" r="r" b="b"/>
              <a:pathLst>
                <a:path w="642" h="733">
                  <a:moveTo>
                    <a:pt x="78" y="730"/>
                  </a:moveTo>
                  <a:lnTo>
                    <a:pt x="48" y="688"/>
                  </a:lnTo>
                  <a:lnTo>
                    <a:pt x="2" y="642"/>
                  </a:lnTo>
                  <a:cubicBezTo>
                    <a:pt x="1" y="640"/>
                    <a:pt x="0" y="638"/>
                    <a:pt x="1" y="637"/>
                  </a:cubicBezTo>
                  <a:lnTo>
                    <a:pt x="14" y="603"/>
                  </a:lnTo>
                  <a:cubicBezTo>
                    <a:pt x="14" y="601"/>
                    <a:pt x="16" y="600"/>
                    <a:pt x="17" y="600"/>
                  </a:cubicBezTo>
                  <a:lnTo>
                    <a:pt x="47" y="592"/>
                  </a:lnTo>
                  <a:lnTo>
                    <a:pt x="47" y="520"/>
                  </a:lnTo>
                  <a:cubicBezTo>
                    <a:pt x="47" y="518"/>
                    <a:pt x="48" y="517"/>
                    <a:pt x="49" y="516"/>
                  </a:cubicBezTo>
                  <a:lnTo>
                    <a:pt x="130" y="457"/>
                  </a:lnTo>
                  <a:cubicBezTo>
                    <a:pt x="131" y="456"/>
                    <a:pt x="132" y="456"/>
                    <a:pt x="133" y="456"/>
                  </a:cubicBezTo>
                  <a:cubicBezTo>
                    <a:pt x="133" y="456"/>
                    <a:pt x="134" y="456"/>
                    <a:pt x="135" y="457"/>
                  </a:cubicBezTo>
                  <a:lnTo>
                    <a:pt x="222" y="506"/>
                  </a:lnTo>
                  <a:lnTo>
                    <a:pt x="247" y="496"/>
                  </a:lnTo>
                  <a:lnTo>
                    <a:pt x="259" y="376"/>
                  </a:lnTo>
                  <a:lnTo>
                    <a:pt x="242" y="288"/>
                  </a:lnTo>
                  <a:lnTo>
                    <a:pt x="268" y="238"/>
                  </a:lnTo>
                  <a:lnTo>
                    <a:pt x="268" y="207"/>
                  </a:lnTo>
                  <a:lnTo>
                    <a:pt x="252" y="190"/>
                  </a:lnTo>
                  <a:lnTo>
                    <a:pt x="215" y="183"/>
                  </a:lnTo>
                  <a:lnTo>
                    <a:pt x="192" y="218"/>
                  </a:lnTo>
                  <a:cubicBezTo>
                    <a:pt x="191" y="219"/>
                    <a:pt x="189" y="220"/>
                    <a:pt x="188" y="220"/>
                  </a:cubicBezTo>
                  <a:cubicBezTo>
                    <a:pt x="187" y="220"/>
                    <a:pt x="186" y="220"/>
                    <a:pt x="185" y="219"/>
                  </a:cubicBezTo>
                  <a:lnTo>
                    <a:pt x="172" y="211"/>
                  </a:lnTo>
                  <a:cubicBezTo>
                    <a:pt x="171" y="210"/>
                    <a:pt x="170" y="208"/>
                    <a:pt x="170" y="206"/>
                  </a:cubicBezTo>
                  <a:lnTo>
                    <a:pt x="183" y="131"/>
                  </a:lnTo>
                  <a:cubicBezTo>
                    <a:pt x="183" y="129"/>
                    <a:pt x="185" y="127"/>
                    <a:pt x="188" y="127"/>
                  </a:cubicBezTo>
                  <a:lnTo>
                    <a:pt x="298" y="127"/>
                  </a:lnTo>
                  <a:lnTo>
                    <a:pt x="379" y="140"/>
                  </a:lnTo>
                  <a:lnTo>
                    <a:pt x="404" y="168"/>
                  </a:lnTo>
                  <a:lnTo>
                    <a:pt x="416" y="72"/>
                  </a:lnTo>
                  <a:cubicBezTo>
                    <a:pt x="416" y="71"/>
                    <a:pt x="417" y="70"/>
                    <a:pt x="418" y="69"/>
                  </a:cubicBezTo>
                  <a:lnTo>
                    <a:pt x="498" y="5"/>
                  </a:lnTo>
                  <a:lnTo>
                    <a:pt x="526" y="0"/>
                  </a:lnTo>
                  <a:lnTo>
                    <a:pt x="577" y="21"/>
                  </a:lnTo>
                  <a:lnTo>
                    <a:pt x="635" y="0"/>
                  </a:lnTo>
                  <a:cubicBezTo>
                    <a:pt x="636" y="0"/>
                    <a:pt x="636" y="0"/>
                    <a:pt x="637" y="0"/>
                  </a:cubicBezTo>
                  <a:cubicBezTo>
                    <a:pt x="638" y="0"/>
                    <a:pt x="639" y="0"/>
                    <a:pt x="640" y="1"/>
                  </a:cubicBezTo>
                  <a:cubicBezTo>
                    <a:pt x="641" y="2"/>
                    <a:pt x="641" y="4"/>
                    <a:pt x="641" y="5"/>
                  </a:cubicBezTo>
                  <a:lnTo>
                    <a:pt x="637" y="56"/>
                  </a:lnTo>
                  <a:lnTo>
                    <a:pt x="590" y="147"/>
                  </a:lnTo>
                  <a:lnTo>
                    <a:pt x="561" y="368"/>
                  </a:lnTo>
                  <a:cubicBezTo>
                    <a:pt x="561" y="369"/>
                    <a:pt x="560" y="371"/>
                    <a:pt x="559" y="371"/>
                  </a:cubicBezTo>
                  <a:lnTo>
                    <a:pt x="479" y="431"/>
                  </a:lnTo>
                  <a:lnTo>
                    <a:pt x="450" y="484"/>
                  </a:lnTo>
                  <a:lnTo>
                    <a:pt x="434" y="580"/>
                  </a:lnTo>
                  <a:lnTo>
                    <a:pt x="408" y="632"/>
                  </a:lnTo>
                  <a:lnTo>
                    <a:pt x="296" y="714"/>
                  </a:lnTo>
                  <a:cubicBezTo>
                    <a:pt x="296" y="715"/>
                    <a:pt x="295" y="715"/>
                    <a:pt x="294" y="715"/>
                  </a:cubicBezTo>
                  <a:cubicBezTo>
                    <a:pt x="293" y="715"/>
                    <a:pt x="293" y="715"/>
                    <a:pt x="292" y="715"/>
                  </a:cubicBezTo>
                  <a:lnTo>
                    <a:pt x="276" y="711"/>
                  </a:lnTo>
                  <a:cubicBezTo>
                    <a:pt x="274" y="710"/>
                    <a:pt x="272" y="708"/>
                    <a:pt x="272" y="707"/>
                  </a:cubicBezTo>
                  <a:lnTo>
                    <a:pt x="268" y="674"/>
                  </a:lnTo>
                  <a:lnTo>
                    <a:pt x="231" y="685"/>
                  </a:lnTo>
                  <a:lnTo>
                    <a:pt x="212" y="709"/>
                  </a:lnTo>
                  <a:cubicBezTo>
                    <a:pt x="212" y="710"/>
                    <a:pt x="210" y="711"/>
                    <a:pt x="209" y="711"/>
                  </a:cubicBezTo>
                  <a:lnTo>
                    <a:pt x="208" y="711"/>
                  </a:lnTo>
                  <a:lnTo>
                    <a:pt x="161" y="698"/>
                  </a:lnTo>
                  <a:lnTo>
                    <a:pt x="137" y="679"/>
                  </a:lnTo>
                  <a:lnTo>
                    <a:pt x="85" y="730"/>
                  </a:lnTo>
                  <a:cubicBezTo>
                    <a:pt x="84" y="731"/>
                    <a:pt x="83" y="732"/>
                    <a:pt x="82" y="732"/>
                  </a:cubicBezTo>
                  <a:lnTo>
                    <a:pt x="81" y="732"/>
                  </a:lnTo>
                  <a:cubicBezTo>
                    <a:pt x="80" y="732"/>
                    <a:pt x="79" y="731"/>
                    <a:pt x="78" y="73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8" name="Freeform 173"/>
            <p:cNvSpPr>
              <a:spLocks noChangeArrowheads="1"/>
            </p:cNvSpPr>
            <p:nvPr/>
          </p:nvSpPr>
          <p:spPr bwMode="auto">
            <a:xfrm>
              <a:off x="4572000" y="3627438"/>
              <a:ext cx="231775" cy="263525"/>
            </a:xfrm>
            <a:custGeom>
              <a:avLst/>
              <a:gdLst/>
              <a:ahLst/>
              <a:cxnLst>
                <a:cxn ang="0">
                  <a:pos x="81" y="732"/>
                </a:cxn>
                <a:cxn ang="0">
                  <a:pos x="78" y="730"/>
                </a:cxn>
                <a:cxn ang="0">
                  <a:pos x="48" y="688"/>
                </a:cxn>
                <a:cxn ang="0">
                  <a:pos x="2" y="642"/>
                </a:cxn>
                <a:cxn ang="0">
                  <a:pos x="1" y="637"/>
                </a:cxn>
                <a:cxn ang="0">
                  <a:pos x="14" y="603"/>
                </a:cxn>
                <a:cxn ang="0">
                  <a:pos x="17" y="600"/>
                </a:cxn>
                <a:cxn ang="0">
                  <a:pos x="47" y="592"/>
                </a:cxn>
                <a:cxn ang="0">
                  <a:pos x="47" y="520"/>
                </a:cxn>
                <a:cxn ang="0">
                  <a:pos x="49" y="516"/>
                </a:cxn>
                <a:cxn ang="0">
                  <a:pos x="130" y="457"/>
                </a:cxn>
                <a:cxn ang="0">
                  <a:pos x="133" y="456"/>
                </a:cxn>
                <a:cxn ang="0">
                  <a:pos x="135" y="457"/>
                </a:cxn>
                <a:cxn ang="0">
                  <a:pos x="222" y="506"/>
                </a:cxn>
                <a:cxn ang="0">
                  <a:pos x="247" y="496"/>
                </a:cxn>
                <a:cxn ang="0">
                  <a:pos x="259" y="376"/>
                </a:cxn>
                <a:cxn ang="0">
                  <a:pos x="242" y="288"/>
                </a:cxn>
                <a:cxn ang="0">
                  <a:pos x="268" y="238"/>
                </a:cxn>
                <a:cxn ang="0">
                  <a:pos x="268" y="207"/>
                </a:cxn>
                <a:cxn ang="0">
                  <a:pos x="252" y="190"/>
                </a:cxn>
                <a:cxn ang="0">
                  <a:pos x="215" y="183"/>
                </a:cxn>
                <a:cxn ang="0">
                  <a:pos x="192" y="218"/>
                </a:cxn>
                <a:cxn ang="0">
                  <a:pos x="188" y="220"/>
                </a:cxn>
                <a:cxn ang="0">
                  <a:pos x="185" y="219"/>
                </a:cxn>
                <a:cxn ang="0">
                  <a:pos x="172" y="211"/>
                </a:cxn>
                <a:cxn ang="0">
                  <a:pos x="170" y="206"/>
                </a:cxn>
                <a:cxn ang="0">
                  <a:pos x="183" y="131"/>
                </a:cxn>
                <a:cxn ang="0">
                  <a:pos x="188" y="127"/>
                </a:cxn>
                <a:cxn ang="0">
                  <a:pos x="298" y="127"/>
                </a:cxn>
                <a:cxn ang="0">
                  <a:pos x="379" y="140"/>
                </a:cxn>
                <a:cxn ang="0">
                  <a:pos x="404" y="168"/>
                </a:cxn>
                <a:cxn ang="0">
                  <a:pos x="416" y="72"/>
                </a:cxn>
                <a:cxn ang="0">
                  <a:pos x="418" y="69"/>
                </a:cxn>
                <a:cxn ang="0">
                  <a:pos x="498" y="5"/>
                </a:cxn>
                <a:cxn ang="0">
                  <a:pos x="526" y="0"/>
                </a:cxn>
                <a:cxn ang="0">
                  <a:pos x="577" y="21"/>
                </a:cxn>
                <a:cxn ang="0">
                  <a:pos x="635" y="0"/>
                </a:cxn>
                <a:cxn ang="0">
                  <a:pos x="637" y="0"/>
                </a:cxn>
                <a:cxn ang="0">
                  <a:pos x="640" y="1"/>
                </a:cxn>
                <a:cxn ang="0">
                  <a:pos x="641" y="5"/>
                </a:cxn>
                <a:cxn ang="0">
                  <a:pos x="637" y="56"/>
                </a:cxn>
                <a:cxn ang="0">
                  <a:pos x="590" y="147"/>
                </a:cxn>
                <a:cxn ang="0">
                  <a:pos x="561" y="368"/>
                </a:cxn>
                <a:cxn ang="0">
                  <a:pos x="559" y="371"/>
                </a:cxn>
                <a:cxn ang="0">
                  <a:pos x="479" y="431"/>
                </a:cxn>
                <a:cxn ang="0">
                  <a:pos x="450" y="484"/>
                </a:cxn>
                <a:cxn ang="0">
                  <a:pos x="434" y="580"/>
                </a:cxn>
                <a:cxn ang="0">
                  <a:pos x="408" y="632"/>
                </a:cxn>
                <a:cxn ang="0">
                  <a:pos x="296" y="714"/>
                </a:cxn>
                <a:cxn ang="0">
                  <a:pos x="294" y="715"/>
                </a:cxn>
                <a:cxn ang="0">
                  <a:pos x="292" y="715"/>
                </a:cxn>
                <a:cxn ang="0">
                  <a:pos x="276" y="711"/>
                </a:cxn>
                <a:cxn ang="0">
                  <a:pos x="272" y="707"/>
                </a:cxn>
                <a:cxn ang="0">
                  <a:pos x="268" y="674"/>
                </a:cxn>
                <a:cxn ang="0">
                  <a:pos x="231" y="685"/>
                </a:cxn>
                <a:cxn ang="0">
                  <a:pos x="212" y="709"/>
                </a:cxn>
                <a:cxn ang="0">
                  <a:pos x="209" y="711"/>
                </a:cxn>
                <a:cxn ang="0">
                  <a:pos x="208" y="711"/>
                </a:cxn>
                <a:cxn ang="0">
                  <a:pos x="161" y="698"/>
                </a:cxn>
                <a:cxn ang="0">
                  <a:pos x="137" y="679"/>
                </a:cxn>
                <a:cxn ang="0">
                  <a:pos x="85" y="730"/>
                </a:cxn>
                <a:cxn ang="0">
                  <a:pos x="82" y="732"/>
                </a:cxn>
                <a:cxn ang="0">
                  <a:pos x="81" y="732"/>
                </a:cxn>
              </a:cxnLst>
              <a:rect l="0" t="0" r="r" b="b"/>
              <a:pathLst>
                <a:path w="642" h="733">
                  <a:moveTo>
                    <a:pt x="81" y="732"/>
                  </a:moveTo>
                  <a:cubicBezTo>
                    <a:pt x="80" y="732"/>
                    <a:pt x="79" y="731"/>
                    <a:pt x="78" y="730"/>
                  </a:cubicBezTo>
                  <a:lnTo>
                    <a:pt x="48" y="688"/>
                  </a:lnTo>
                  <a:lnTo>
                    <a:pt x="2" y="642"/>
                  </a:lnTo>
                  <a:cubicBezTo>
                    <a:pt x="1" y="640"/>
                    <a:pt x="0" y="638"/>
                    <a:pt x="1" y="637"/>
                  </a:cubicBezTo>
                  <a:lnTo>
                    <a:pt x="14" y="603"/>
                  </a:lnTo>
                  <a:cubicBezTo>
                    <a:pt x="14" y="601"/>
                    <a:pt x="16" y="600"/>
                    <a:pt x="17" y="600"/>
                  </a:cubicBezTo>
                  <a:lnTo>
                    <a:pt x="47" y="592"/>
                  </a:lnTo>
                  <a:lnTo>
                    <a:pt x="47" y="520"/>
                  </a:lnTo>
                  <a:cubicBezTo>
                    <a:pt x="47" y="518"/>
                    <a:pt x="48" y="517"/>
                    <a:pt x="49" y="516"/>
                  </a:cubicBezTo>
                  <a:lnTo>
                    <a:pt x="130" y="457"/>
                  </a:lnTo>
                  <a:cubicBezTo>
                    <a:pt x="131" y="456"/>
                    <a:pt x="132" y="456"/>
                    <a:pt x="133" y="456"/>
                  </a:cubicBezTo>
                  <a:cubicBezTo>
                    <a:pt x="133" y="456"/>
                    <a:pt x="134" y="456"/>
                    <a:pt x="135" y="457"/>
                  </a:cubicBezTo>
                  <a:lnTo>
                    <a:pt x="222" y="506"/>
                  </a:lnTo>
                  <a:lnTo>
                    <a:pt x="247" y="496"/>
                  </a:lnTo>
                  <a:lnTo>
                    <a:pt x="259" y="376"/>
                  </a:lnTo>
                  <a:lnTo>
                    <a:pt x="242" y="288"/>
                  </a:lnTo>
                  <a:lnTo>
                    <a:pt x="268" y="238"/>
                  </a:lnTo>
                  <a:lnTo>
                    <a:pt x="268" y="207"/>
                  </a:lnTo>
                  <a:lnTo>
                    <a:pt x="252" y="190"/>
                  </a:lnTo>
                  <a:lnTo>
                    <a:pt x="215" y="183"/>
                  </a:lnTo>
                  <a:lnTo>
                    <a:pt x="192" y="218"/>
                  </a:lnTo>
                  <a:cubicBezTo>
                    <a:pt x="191" y="219"/>
                    <a:pt x="189" y="220"/>
                    <a:pt x="188" y="220"/>
                  </a:cubicBezTo>
                  <a:cubicBezTo>
                    <a:pt x="187" y="220"/>
                    <a:pt x="186" y="220"/>
                    <a:pt x="185" y="219"/>
                  </a:cubicBezTo>
                  <a:lnTo>
                    <a:pt x="172" y="211"/>
                  </a:lnTo>
                  <a:cubicBezTo>
                    <a:pt x="171" y="210"/>
                    <a:pt x="170" y="208"/>
                    <a:pt x="170" y="206"/>
                  </a:cubicBezTo>
                  <a:lnTo>
                    <a:pt x="183" y="131"/>
                  </a:lnTo>
                  <a:cubicBezTo>
                    <a:pt x="183" y="129"/>
                    <a:pt x="185" y="127"/>
                    <a:pt x="188" y="127"/>
                  </a:cubicBezTo>
                  <a:lnTo>
                    <a:pt x="298" y="127"/>
                  </a:lnTo>
                  <a:lnTo>
                    <a:pt x="379" y="140"/>
                  </a:lnTo>
                  <a:lnTo>
                    <a:pt x="404" y="168"/>
                  </a:lnTo>
                  <a:lnTo>
                    <a:pt x="416" y="72"/>
                  </a:lnTo>
                  <a:cubicBezTo>
                    <a:pt x="416" y="71"/>
                    <a:pt x="417" y="70"/>
                    <a:pt x="418" y="69"/>
                  </a:cubicBezTo>
                  <a:lnTo>
                    <a:pt x="498" y="5"/>
                  </a:lnTo>
                  <a:lnTo>
                    <a:pt x="526" y="0"/>
                  </a:lnTo>
                  <a:lnTo>
                    <a:pt x="577" y="21"/>
                  </a:lnTo>
                  <a:lnTo>
                    <a:pt x="635" y="0"/>
                  </a:lnTo>
                  <a:cubicBezTo>
                    <a:pt x="636" y="0"/>
                    <a:pt x="636" y="0"/>
                    <a:pt x="637" y="0"/>
                  </a:cubicBezTo>
                  <a:cubicBezTo>
                    <a:pt x="638" y="0"/>
                    <a:pt x="639" y="0"/>
                    <a:pt x="640" y="1"/>
                  </a:cubicBezTo>
                  <a:cubicBezTo>
                    <a:pt x="641" y="2"/>
                    <a:pt x="641" y="4"/>
                    <a:pt x="641" y="5"/>
                  </a:cubicBezTo>
                  <a:lnTo>
                    <a:pt x="637" y="56"/>
                  </a:lnTo>
                  <a:lnTo>
                    <a:pt x="590" y="147"/>
                  </a:lnTo>
                  <a:lnTo>
                    <a:pt x="561" y="368"/>
                  </a:lnTo>
                  <a:cubicBezTo>
                    <a:pt x="561" y="369"/>
                    <a:pt x="560" y="371"/>
                    <a:pt x="559" y="371"/>
                  </a:cubicBezTo>
                  <a:lnTo>
                    <a:pt x="479" y="431"/>
                  </a:lnTo>
                  <a:lnTo>
                    <a:pt x="450" y="484"/>
                  </a:lnTo>
                  <a:lnTo>
                    <a:pt x="434" y="580"/>
                  </a:lnTo>
                  <a:lnTo>
                    <a:pt x="408" y="632"/>
                  </a:lnTo>
                  <a:lnTo>
                    <a:pt x="296" y="714"/>
                  </a:lnTo>
                  <a:cubicBezTo>
                    <a:pt x="296" y="715"/>
                    <a:pt x="295" y="715"/>
                    <a:pt x="294" y="715"/>
                  </a:cubicBezTo>
                  <a:cubicBezTo>
                    <a:pt x="293" y="715"/>
                    <a:pt x="293" y="715"/>
                    <a:pt x="292" y="715"/>
                  </a:cubicBezTo>
                  <a:lnTo>
                    <a:pt x="276" y="711"/>
                  </a:lnTo>
                  <a:cubicBezTo>
                    <a:pt x="274" y="710"/>
                    <a:pt x="272" y="708"/>
                    <a:pt x="272" y="707"/>
                  </a:cubicBezTo>
                  <a:lnTo>
                    <a:pt x="268" y="674"/>
                  </a:lnTo>
                  <a:lnTo>
                    <a:pt x="231" y="685"/>
                  </a:lnTo>
                  <a:lnTo>
                    <a:pt x="212" y="709"/>
                  </a:lnTo>
                  <a:cubicBezTo>
                    <a:pt x="212" y="710"/>
                    <a:pt x="210" y="711"/>
                    <a:pt x="209" y="711"/>
                  </a:cubicBezTo>
                  <a:lnTo>
                    <a:pt x="208" y="711"/>
                  </a:lnTo>
                  <a:lnTo>
                    <a:pt x="161" y="698"/>
                  </a:lnTo>
                  <a:lnTo>
                    <a:pt x="137" y="679"/>
                  </a:lnTo>
                  <a:lnTo>
                    <a:pt x="85" y="730"/>
                  </a:lnTo>
                  <a:cubicBezTo>
                    <a:pt x="84" y="731"/>
                    <a:pt x="83" y="732"/>
                    <a:pt x="82" y="732"/>
                  </a:cubicBezTo>
                  <a:lnTo>
                    <a:pt x="81" y="73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79" name="Freeform 174"/>
            <p:cNvSpPr>
              <a:spLocks noChangeArrowheads="1"/>
            </p:cNvSpPr>
            <p:nvPr/>
          </p:nvSpPr>
          <p:spPr bwMode="auto">
            <a:xfrm>
              <a:off x="4262438" y="3363913"/>
              <a:ext cx="92075" cy="190500"/>
            </a:xfrm>
            <a:custGeom>
              <a:avLst/>
              <a:gdLst/>
              <a:ahLst/>
              <a:cxnLst>
                <a:cxn ang="0">
                  <a:pos x="98" y="527"/>
                </a:cxn>
                <a:cxn ang="0">
                  <a:pos x="77" y="490"/>
                </a:cxn>
                <a:cxn ang="0">
                  <a:pos x="76" y="318"/>
                </a:cxn>
                <a:cxn ang="0">
                  <a:pos x="47" y="218"/>
                </a:cxn>
                <a:cxn ang="0">
                  <a:pos x="2" y="182"/>
                </a:cxn>
                <a:cxn ang="0">
                  <a:pos x="0" y="178"/>
                </a:cxn>
                <a:cxn ang="0">
                  <a:pos x="8" y="123"/>
                </a:cxn>
                <a:cxn ang="0">
                  <a:pos x="52" y="78"/>
                </a:cxn>
                <a:cxn ang="0">
                  <a:pos x="55" y="76"/>
                </a:cxn>
                <a:cxn ang="0">
                  <a:pos x="104" y="80"/>
                </a:cxn>
                <a:cxn ang="0">
                  <a:pos x="132" y="40"/>
                </a:cxn>
                <a:cxn ang="0">
                  <a:pos x="138" y="37"/>
                </a:cxn>
                <a:cxn ang="0">
                  <a:pos x="131" y="19"/>
                </a:cxn>
                <a:cxn ang="0">
                  <a:pos x="132" y="16"/>
                </a:cxn>
                <a:cxn ang="0">
                  <a:pos x="134" y="13"/>
                </a:cxn>
                <a:cxn ang="0">
                  <a:pos x="173" y="0"/>
                </a:cxn>
                <a:cxn ang="0">
                  <a:pos x="174" y="0"/>
                </a:cxn>
                <a:cxn ang="0">
                  <a:pos x="177" y="2"/>
                </a:cxn>
                <a:cxn ang="0">
                  <a:pos x="237" y="61"/>
                </a:cxn>
                <a:cxn ang="0">
                  <a:pos x="238" y="65"/>
                </a:cxn>
                <a:cxn ang="0">
                  <a:pos x="234" y="88"/>
                </a:cxn>
                <a:cxn ang="0">
                  <a:pos x="250" y="112"/>
                </a:cxn>
                <a:cxn ang="0">
                  <a:pos x="255" y="170"/>
                </a:cxn>
                <a:cxn ang="0">
                  <a:pos x="252" y="174"/>
                </a:cxn>
                <a:cxn ang="0">
                  <a:pos x="238" y="181"/>
                </a:cxn>
                <a:cxn ang="0">
                  <a:pos x="238" y="212"/>
                </a:cxn>
                <a:cxn ang="0">
                  <a:pos x="237" y="216"/>
                </a:cxn>
                <a:cxn ang="0">
                  <a:pos x="207" y="245"/>
                </a:cxn>
                <a:cxn ang="0">
                  <a:pos x="179" y="336"/>
                </a:cxn>
                <a:cxn ang="0">
                  <a:pos x="179" y="517"/>
                </a:cxn>
                <a:cxn ang="0">
                  <a:pos x="174" y="522"/>
                </a:cxn>
                <a:cxn ang="0">
                  <a:pos x="102" y="530"/>
                </a:cxn>
                <a:cxn ang="0">
                  <a:pos x="98" y="527"/>
                </a:cxn>
              </a:cxnLst>
              <a:rect l="0" t="0" r="r" b="b"/>
              <a:pathLst>
                <a:path w="256" h="531">
                  <a:moveTo>
                    <a:pt x="98" y="527"/>
                  </a:moveTo>
                  <a:lnTo>
                    <a:pt x="77" y="490"/>
                  </a:lnTo>
                  <a:lnTo>
                    <a:pt x="76" y="318"/>
                  </a:lnTo>
                  <a:lnTo>
                    <a:pt x="47" y="218"/>
                  </a:lnTo>
                  <a:lnTo>
                    <a:pt x="2" y="182"/>
                  </a:lnTo>
                  <a:cubicBezTo>
                    <a:pt x="0" y="181"/>
                    <a:pt x="0" y="179"/>
                    <a:pt x="0" y="178"/>
                  </a:cubicBezTo>
                  <a:lnTo>
                    <a:pt x="8" y="123"/>
                  </a:lnTo>
                  <a:lnTo>
                    <a:pt x="52" y="78"/>
                  </a:lnTo>
                  <a:cubicBezTo>
                    <a:pt x="53" y="77"/>
                    <a:pt x="54" y="76"/>
                    <a:pt x="55" y="76"/>
                  </a:cubicBezTo>
                  <a:lnTo>
                    <a:pt x="104" y="80"/>
                  </a:lnTo>
                  <a:lnTo>
                    <a:pt x="132" y="40"/>
                  </a:lnTo>
                  <a:lnTo>
                    <a:pt x="138" y="37"/>
                  </a:lnTo>
                  <a:lnTo>
                    <a:pt x="131" y="19"/>
                  </a:lnTo>
                  <a:cubicBezTo>
                    <a:pt x="131" y="18"/>
                    <a:pt x="131" y="17"/>
                    <a:pt x="132" y="16"/>
                  </a:cubicBezTo>
                  <a:cubicBezTo>
                    <a:pt x="132" y="14"/>
                    <a:pt x="133" y="14"/>
                    <a:pt x="134" y="13"/>
                  </a:cubicBezTo>
                  <a:lnTo>
                    <a:pt x="173" y="0"/>
                  </a:lnTo>
                  <a:lnTo>
                    <a:pt x="174" y="0"/>
                  </a:lnTo>
                  <a:cubicBezTo>
                    <a:pt x="175" y="0"/>
                    <a:pt x="177" y="1"/>
                    <a:pt x="177" y="2"/>
                  </a:cubicBezTo>
                  <a:lnTo>
                    <a:pt x="237" y="61"/>
                  </a:lnTo>
                  <a:cubicBezTo>
                    <a:pt x="238" y="62"/>
                    <a:pt x="238" y="63"/>
                    <a:pt x="238" y="65"/>
                  </a:cubicBezTo>
                  <a:lnTo>
                    <a:pt x="234" y="88"/>
                  </a:lnTo>
                  <a:lnTo>
                    <a:pt x="250" y="112"/>
                  </a:lnTo>
                  <a:lnTo>
                    <a:pt x="255" y="170"/>
                  </a:lnTo>
                  <a:cubicBezTo>
                    <a:pt x="255" y="171"/>
                    <a:pt x="254" y="173"/>
                    <a:pt x="252" y="174"/>
                  </a:cubicBezTo>
                  <a:lnTo>
                    <a:pt x="238" y="181"/>
                  </a:lnTo>
                  <a:lnTo>
                    <a:pt x="238" y="212"/>
                  </a:lnTo>
                  <a:cubicBezTo>
                    <a:pt x="238" y="214"/>
                    <a:pt x="238" y="215"/>
                    <a:pt x="237" y="216"/>
                  </a:cubicBezTo>
                  <a:lnTo>
                    <a:pt x="207" y="245"/>
                  </a:lnTo>
                  <a:lnTo>
                    <a:pt x="179" y="336"/>
                  </a:lnTo>
                  <a:lnTo>
                    <a:pt x="179" y="517"/>
                  </a:lnTo>
                  <a:cubicBezTo>
                    <a:pt x="179" y="519"/>
                    <a:pt x="177" y="521"/>
                    <a:pt x="174" y="522"/>
                  </a:cubicBezTo>
                  <a:lnTo>
                    <a:pt x="102" y="530"/>
                  </a:lnTo>
                  <a:cubicBezTo>
                    <a:pt x="100" y="530"/>
                    <a:pt x="99" y="529"/>
                    <a:pt x="98" y="52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0" name="Freeform 175"/>
            <p:cNvSpPr>
              <a:spLocks noChangeArrowheads="1"/>
            </p:cNvSpPr>
            <p:nvPr/>
          </p:nvSpPr>
          <p:spPr bwMode="auto">
            <a:xfrm>
              <a:off x="4262438" y="3363913"/>
              <a:ext cx="92075" cy="190500"/>
            </a:xfrm>
            <a:custGeom>
              <a:avLst/>
              <a:gdLst/>
              <a:ahLst/>
              <a:cxnLst>
                <a:cxn ang="0">
                  <a:pos x="102" y="530"/>
                </a:cxn>
                <a:cxn ang="0">
                  <a:pos x="98" y="527"/>
                </a:cxn>
                <a:cxn ang="0">
                  <a:pos x="77" y="490"/>
                </a:cxn>
                <a:cxn ang="0">
                  <a:pos x="76" y="318"/>
                </a:cxn>
                <a:cxn ang="0">
                  <a:pos x="47" y="218"/>
                </a:cxn>
                <a:cxn ang="0">
                  <a:pos x="2" y="182"/>
                </a:cxn>
                <a:cxn ang="0">
                  <a:pos x="0" y="178"/>
                </a:cxn>
                <a:cxn ang="0">
                  <a:pos x="8" y="123"/>
                </a:cxn>
                <a:cxn ang="0">
                  <a:pos x="52" y="78"/>
                </a:cxn>
                <a:cxn ang="0">
                  <a:pos x="55" y="76"/>
                </a:cxn>
                <a:cxn ang="0">
                  <a:pos x="104" y="80"/>
                </a:cxn>
                <a:cxn ang="0">
                  <a:pos x="132" y="40"/>
                </a:cxn>
                <a:cxn ang="0">
                  <a:pos x="138" y="37"/>
                </a:cxn>
                <a:cxn ang="0">
                  <a:pos x="131" y="19"/>
                </a:cxn>
                <a:cxn ang="0">
                  <a:pos x="132" y="16"/>
                </a:cxn>
                <a:cxn ang="0">
                  <a:pos x="134" y="13"/>
                </a:cxn>
                <a:cxn ang="0">
                  <a:pos x="173" y="0"/>
                </a:cxn>
                <a:cxn ang="0">
                  <a:pos x="174" y="0"/>
                </a:cxn>
                <a:cxn ang="0">
                  <a:pos x="177" y="2"/>
                </a:cxn>
                <a:cxn ang="0">
                  <a:pos x="237" y="61"/>
                </a:cxn>
                <a:cxn ang="0">
                  <a:pos x="238" y="65"/>
                </a:cxn>
                <a:cxn ang="0">
                  <a:pos x="234" y="88"/>
                </a:cxn>
                <a:cxn ang="0">
                  <a:pos x="250" y="112"/>
                </a:cxn>
                <a:cxn ang="0">
                  <a:pos x="255" y="170"/>
                </a:cxn>
                <a:cxn ang="0">
                  <a:pos x="252" y="174"/>
                </a:cxn>
                <a:cxn ang="0">
                  <a:pos x="238" y="181"/>
                </a:cxn>
                <a:cxn ang="0">
                  <a:pos x="238" y="212"/>
                </a:cxn>
                <a:cxn ang="0">
                  <a:pos x="237" y="216"/>
                </a:cxn>
                <a:cxn ang="0">
                  <a:pos x="207" y="245"/>
                </a:cxn>
                <a:cxn ang="0">
                  <a:pos x="179" y="336"/>
                </a:cxn>
                <a:cxn ang="0">
                  <a:pos x="179" y="517"/>
                </a:cxn>
                <a:cxn ang="0">
                  <a:pos x="174" y="522"/>
                </a:cxn>
                <a:cxn ang="0">
                  <a:pos x="102" y="530"/>
                </a:cxn>
              </a:cxnLst>
              <a:rect l="0" t="0" r="r" b="b"/>
              <a:pathLst>
                <a:path w="256" h="531">
                  <a:moveTo>
                    <a:pt x="102" y="530"/>
                  </a:moveTo>
                  <a:cubicBezTo>
                    <a:pt x="100" y="530"/>
                    <a:pt x="99" y="529"/>
                    <a:pt x="98" y="527"/>
                  </a:cubicBezTo>
                  <a:lnTo>
                    <a:pt x="77" y="490"/>
                  </a:lnTo>
                  <a:lnTo>
                    <a:pt x="76" y="318"/>
                  </a:lnTo>
                  <a:lnTo>
                    <a:pt x="47" y="218"/>
                  </a:lnTo>
                  <a:lnTo>
                    <a:pt x="2" y="182"/>
                  </a:lnTo>
                  <a:cubicBezTo>
                    <a:pt x="0" y="181"/>
                    <a:pt x="0" y="179"/>
                    <a:pt x="0" y="178"/>
                  </a:cubicBezTo>
                  <a:lnTo>
                    <a:pt x="8" y="123"/>
                  </a:lnTo>
                  <a:lnTo>
                    <a:pt x="52" y="78"/>
                  </a:lnTo>
                  <a:cubicBezTo>
                    <a:pt x="53" y="77"/>
                    <a:pt x="54" y="76"/>
                    <a:pt x="55" y="76"/>
                  </a:cubicBezTo>
                  <a:lnTo>
                    <a:pt x="104" y="80"/>
                  </a:lnTo>
                  <a:lnTo>
                    <a:pt x="132" y="40"/>
                  </a:lnTo>
                  <a:lnTo>
                    <a:pt x="138" y="37"/>
                  </a:lnTo>
                  <a:lnTo>
                    <a:pt x="131" y="19"/>
                  </a:lnTo>
                  <a:cubicBezTo>
                    <a:pt x="131" y="18"/>
                    <a:pt x="131" y="17"/>
                    <a:pt x="132" y="16"/>
                  </a:cubicBezTo>
                  <a:cubicBezTo>
                    <a:pt x="132" y="14"/>
                    <a:pt x="133" y="14"/>
                    <a:pt x="134" y="13"/>
                  </a:cubicBezTo>
                  <a:lnTo>
                    <a:pt x="173" y="0"/>
                  </a:lnTo>
                  <a:lnTo>
                    <a:pt x="174" y="0"/>
                  </a:lnTo>
                  <a:cubicBezTo>
                    <a:pt x="175" y="0"/>
                    <a:pt x="177" y="1"/>
                    <a:pt x="177" y="2"/>
                  </a:cubicBezTo>
                  <a:lnTo>
                    <a:pt x="237" y="61"/>
                  </a:lnTo>
                  <a:cubicBezTo>
                    <a:pt x="238" y="62"/>
                    <a:pt x="238" y="63"/>
                    <a:pt x="238" y="65"/>
                  </a:cubicBezTo>
                  <a:lnTo>
                    <a:pt x="234" y="88"/>
                  </a:lnTo>
                  <a:lnTo>
                    <a:pt x="250" y="112"/>
                  </a:lnTo>
                  <a:lnTo>
                    <a:pt x="255" y="170"/>
                  </a:lnTo>
                  <a:cubicBezTo>
                    <a:pt x="255" y="171"/>
                    <a:pt x="254" y="173"/>
                    <a:pt x="252" y="174"/>
                  </a:cubicBezTo>
                  <a:lnTo>
                    <a:pt x="238" y="181"/>
                  </a:lnTo>
                  <a:lnTo>
                    <a:pt x="238" y="212"/>
                  </a:lnTo>
                  <a:cubicBezTo>
                    <a:pt x="238" y="214"/>
                    <a:pt x="238" y="215"/>
                    <a:pt x="237" y="216"/>
                  </a:cubicBezTo>
                  <a:lnTo>
                    <a:pt x="207" y="245"/>
                  </a:lnTo>
                  <a:lnTo>
                    <a:pt x="179" y="336"/>
                  </a:lnTo>
                  <a:lnTo>
                    <a:pt x="179" y="517"/>
                  </a:lnTo>
                  <a:cubicBezTo>
                    <a:pt x="179" y="519"/>
                    <a:pt x="177" y="521"/>
                    <a:pt x="174" y="522"/>
                  </a:cubicBezTo>
                  <a:lnTo>
                    <a:pt x="102" y="53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1" name="Freeform 176"/>
            <p:cNvSpPr>
              <a:spLocks noChangeArrowheads="1"/>
            </p:cNvSpPr>
            <p:nvPr/>
          </p:nvSpPr>
          <p:spPr bwMode="auto">
            <a:xfrm>
              <a:off x="4519613" y="3670300"/>
              <a:ext cx="61912" cy="41275"/>
            </a:xfrm>
            <a:custGeom>
              <a:avLst/>
              <a:gdLst/>
              <a:ahLst/>
              <a:cxnLst>
                <a:cxn ang="0">
                  <a:pos x="19" y="112"/>
                </a:cxn>
                <a:cxn ang="0">
                  <a:pos x="2" y="91"/>
                </a:cxn>
                <a:cxn ang="0">
                  <a:pos x="1" y="86"/>
                </a:cxn>
                <a:cxn ang="0">
                  <a:pos x="26" y="11"/>
                </a:cxn>
                <a:cxn ang="0">
                  <a:pos x="30" y="8"/>
                </a:cxn>
                <a:cxn ang="0">
                  <a:pos x="166" y="0"/>
                </a:cxn>
                <a:cxn ang="0">
                  <a:pos x="169" y="1"/>
                </a:cxn>
                <a:cxn ang="0">
                  <a:pos x="171" y="4"/>
                </a:cxn>
                <a:cxn ang="0">
                  <a:pos x="171" y="101"/>
                </a:cxn>
                <a:cxn ang="0">
                  <a:pos x="167" y="105"/>
                </a:cxn>
                <a:cxn ang="0">
                  <a:pos x="22" y="114"/>
                </a:cxn>
                <a:cxn ang="0">
                  <a:pos x="19" y="112"/>
                </a:cxn>
              </a:cxnLst>
              <a:rect l="0" t="0" r="r" b="b"/>
              <a:pathLst>
                <a:path w="172" h="115">
                  <a:moveTo>
                    <a:pt x="19" y="112"/>
                  </a:moveTo>
                  <a:lnTo>
                    <a:pt x="2" y="91"/>
                  </a:lnTo>
                  <a:cubicBezTo>
                    <a:pt x="1" y="90"/>
                    <a:pt x="0" y="88"/>
                    <a:pt x="1" y="86"/>
                  </a:cubicBezTo>
                  <a:lnTo>
                    <a:pt x="26" y="11"/>
                  </a:lnTo>
                  <a:cubicBezTo>
                    <a:pt x="27" y="9"/>
                    <a:pt x="28" y="8"/>
                    <a:pt x="30" y="8"/>
                  </a:cubicBezTo>
                  <a:lnTo>
                    <a:pt x="166" y="0"/>
                  </a:lnTo>
                  <a:cubicBezTo>
                    <a:pt x="167" y="0"/>
                    <a:pt x="169" y="0"/>
                    <a:pt x="169" y="1"/>
                  </a:cubicBezTo>
                  <a:cubicBezTo>
                    <a:pt x="170" y="2"/>
                    <a:pt x="171" y="3"/>
                    <a:pt x="171" y="4"/>
                  </a:cubicBezTo>
                  <a:lnTo>
                    <a:pt x="171" y="101"/>
                  </a:lnTo>
                  <a:cubicBezTo>
                    <a:pt x="171" y="103"/>
                    <a:pt x="169" y="105"/>
                    <a:pt x="167" y="105"/>
                  </a:cubicBezTo>
                  <a:lnTo>
                    <a:pt x="22" y="114"/>
                  </a:lnTo>
                  <a:cubicBezTo>
                    <a:pt x="21" y="114"/>
                    <a:pt x="19" y="113"/>
                    <a:pt x="19" y="11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2" name="Freeform 177"/>
            <p:cNvSpPr>
              <a:spLocks noChangeArrowheads="1"/>
            </p:cNvSpPr>
            <p:nvPr/>
          </p:nvSpPr>
          <p:spPr bwMode="auto">
            <a:xfrm>
              <a:off x="4519613" y="3670300"/>
              <a:ext cx="61912" cy="41275"/>
            </a:xfrm>
            <a:custGeom>
              <a:avLst/>
              <a:gdLst/>
              <a:ahLst/>
              <a:cxnLst>
                <a:cxn ang="0">
                  <a:pos x="22" y="114"/>
                </a:cxn>
                <a:cxn ang="0">
                  <a:pos x="19" y="112"/>
                </a:cxn>
                <a:cxn ang="0">
                  <a:pos x="2" y="91"/>
                </a:cxn>
                <a:cxn ang="0">
                  <a:pos x="1" y="86"/>
                </a:cxn>
                <a:cxn ang="0">
                  <a:pos x="26" y="11"/>
                </a:cxn>
                <a:cxn ang="0">
                  <a:pos x="30" y="8"/>
                </a:cxn>
                <a:cxn ang="0">
                  <a:pos x="166" y="0"/>
                </a:cxn>
                <a:cxn ang="0">
                  <a:pos x="169" y="1"/>
                </a:cxn>
                <a:cxn ang="0">
                  <a:pos x="171" y="4"/>
                </a:cxn>
                <a:cxn ang="0">
                  <a:pos x="171" y="101"/>
                </a:cxn>
                <a:cxn ang="0">
                  <a:pos x="167" y="105"/>
                </a:cxn>
                <a:cxn ang="0">
                  <a:pos x="22" y="114"/>
                </a:cxn>
              </a:cxnLst>
              <a:rect l="0" t="0" r="r" b="b"/>
              <a:pathLst>
                <a:path w="172" h="115">
                  <a:moveTo>
                    <a:pt x="22" y="114"/>
                  </a:moveTo>
                  <a:cubicBezTo>
                    <a:pt x="21" y="114"/>
                    <a:pt x="19" y="113"/>
                    <a:pt x="19" y="112"/>
                  </a:cubicBezTo>
                  <a:lnTo>
                    <a:pt x="2" y="91"/>
                  </a:lnTo>
                  <a:cubicBezTo>
                    <a:pt x="1" y="90"/>
                    <a:pt x="0" y="88"/>
                    <a:pt x="1" y="86"/>
                  </a:cubicBezTo>
                  <a:lnTo>
                    <a:pt x="26" y="11"/>
                  </a:lnTo>
                  <a:cubicBezTo>
                    <a:pt x="27" y="9"/>
                    <a:pt x="28" y="8"/>
                    <a:pt x="30" y="8"/>
                  </a:cubicBezTo>
                  <a:lnTo>
                    <a:pt x="166" y="0"/>
                  </a:lnTo>
                  <a:cubicBezTo>
                    <a:pt x="167" y="0"/>
                    <a:pt x="169" y="0"/>
                    <a:pt x="169" y="1"/>
                  </a:cubicBezTo>
                  <a:cubicBezTo>
                    <a:pt x="170" y="2"/>
                    <a:pt x="171" y="3"/>
                    <a:pt x="171" y="4"/>
                  </a:cubicBezTo>
                  <a:lnTo>
                    <a:pt x="171" y="101"/>
                  </a:lnTo>
                  <a:cubicBezTo>
                    <a:pt x="171" y="103"/>
                    <a:pt x="169" y="105"/>
                    <a:pt x="167" y="105"/>
                  </a:cubicBezTo>
                  <a:lnTo>
                    <a:pt x="22" y="11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3" name="Freeform 178"/>
            <p:cNvSpPr>
              <a:spLocks noChangeArrowheads="1"/>
            </p:cNvSpPr>
            <p:nvPr/>
          </p:nvSpPr>
          <p:spPr bwMode="auto">
            <a:xfrm>
              <a:off x="4492625" y="3622675"/>
              <a:ext cx="17463" cy="19050"/>
            </a:xfrm>
            <a:custGeom>
              <a:avLst/>
              <a:gdLst/>
              <a:ahLst/>
              <a:cxnLst>
                <a:cxn ang="0">
                  <a:pos x="5" y="52"/>
                </a:cxn>
                <a:cxn ang="0">
                  <a:pos x="2" y="50"/>
                </a:cxn>
                <a:cxn ang="0">
                  <a:pos x="1" y="46"/>
                </a:cxn>
                <a:cxn ang="0">
                  <a:pos x="14" y="4"/>
                </a:cxn>
                <a:cxn ang="0">
                  <a:pos x="16" y="1"/>
                </a:cxn>
                <a:cxn ang="0">
                  <a:pos x="18" y="0"/>
                </a:cxn>
                <a:cxn ang="0">
                  <a:pos x="20" y="1"/>
                </a:cxn>
                <a:cxn ang="0">
                  <a:pos x="46" y="14"/>
                </a:cxn>
                <a:cxn ang="0">
                  <a:pos x="48" y="20"/>
                </a:cxn>
                <a:cxn ang="0">
                  <a:pos x="35" y="49"/>
                </a:cxn>
                <a:cxn ang="0">
                  <a:pos x="31" y="52"/>
                </a:cxn>
                <a:cxn ang="0">
                  <a:pos x="5" y="52"/>
                </a:cxn>
              </a:cxnLst>
              <a:rect l="0" t="0" r="r" b="b"/>
              <a:pathLst>
                <a:path w="50" h="53">
                  <a:moveTo>
                    <a:pt x="5" y="52"/>
                  </a:moveTo>
                  <a:cubicBezTo>
                    <a:pt x="4" y="52"/>
                    <a:pt x="2" y="51"/>
                    <a:pt x="2" y="50"/>
                  </a:cubicBezTo>
                  <a:cubicBezTo>
                    <a:pt x="1" y="49"/>
                    <a:pt x="0" y="47"/>
                    <a:pt x="1" y="46"/>
                  </a:cubicBezTo>
                  <a:lnTo>
                    <a:pt x="14" y="4"/>
                  </a:lnTo>
                  <a:cubicBezTo>
                    <a:pt x="14" y="2"/>
                    <a:pt x="15" y="1"/>
                    <a:pt x="16" y="1"/>
                  </a:cubicBezTo>
                  <a:cubicBezTo>
                    <a:pt x="17" y="1"/>
                    <a:pt x="17" y="0"/>
                    <a:pt x="18" y="0"/>
                  </a:cubicBezTo>
                  <a:cubicBezTo>
                    <a:pt x="19" y="0"/>
                    <a:pt x="19" y="1"/>
                    <a:pt x="20" y="1"/>
                  </a:cubicBezTo>
                  <a:lnTo>
                    <a:pt x="46" y="14"/>
                  </a:lnTo>
                  <a:cubicBezTo>
                    <a:pt x="48" y="15"/>
                    <a:pt x="49" y="17"/>
                    <a:pt x="48" y="20"/>
                  </a:cubicBezTo>
                  <a:lnTo>
                    <a:pt x="35" y="49"/>
                  </a:lnTo>
                  <a:cubicBezTo>
                    <a:pt x="34" y="51"/>
                    <a:pt x="33" y="52"/>
                    <a:pt x="31" y="52"/>
                  </a:cubicBezTo>
                  <a:lnTo>
                    <a:pt x="5" y="5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4" name="Freeform 179"/>
            <p:cNvSpPr>
              <a:spLocks noChangeArrowheads="1"/>
            </p:cNvSpPr>
            <p:nvPr/>
          </p:nvSpPr>
          <p:spPr bwMode="auto">
            <a:xfrm>
              <a:off x="4492625" y="3622675"/>
              <a:ext cx="17463" cy="19050"/>
            </a:xfrm>
            <a:custGeom>
              <a:avLst/>
              <a:gdLst/>
              <a:ahLst/>
              <a:cxnLst>
                <a:cxn ang="0">
                  <a:pos x="5" y="52"/>
                </a:cxn>
                <a:cxn ang="0">
                  <a:pos x="2" y="50"/>
                </a:cxn>
                <a:cxn ang="0">
                  <a:pos x="1" y="46"/>
                </a:cxn>
                <a:cxn ang="0">
                  <a:pos x="14" y="4"/>
                </a:cxn>
                <a:cxn ang="0">
                  <a:pos x="16" y="1"/>
                </a:cxn>
                <a:cxn ang="0">
                  <a:pos x="18" y="0"/>
                </a:cxn>
                <a:cxn ang="0">
                  <a:pos x="20" y="1"/>
                </a:cxn>
                <a:cxn ang="0">
                  <a:pos x="46" y="14"/>
                </a:cxn>
                <a:cxn ang="0">
                  <a:pos x="48" y="20"/>
                </a:cxn>
                <a:cxn ang="0">
                  <a:pos x="35" y="49"/>
                </a:cxn>
                <a:cxn ang="0">
                  <a:pos x="31" y="52"/>
                </a:cxn>
                <a:cxn ang="0">
                  <a:pos x="5" y="52"/>
                </a:cxn>
              </a:cxnLst>
              <a:rect l="0" t="0" r="r" b="b"/>
              <a:pathLst>
                <a:path w="50" h="53">
                  <a:moveTo>
                    <a:pt x="5" y="52"/>
                  </a:moveTo>
                  <a:cubicBezTo>
                    <a:pt x="4" y="52"/>
                    <a:pt x="2" y="51"/>
                    <a:pt x="2" y="50"/>
                  </a:cubicBezTo>
                  <a:cubicBezTo>
                    <a:pt x="1" y="49"/>
                    <a:pt x="0" y="47"/>
                    <a:pt x="1" y="46"/>
                  </a:cubicBezTo>
                  <a:lnTo>
                    <a:pt x="14" y="4"/>
                  </a:lnTo>
                  <a:cubicBezTo>
                    <a:pt x="14" y="2"/>
                    <a:pt x="15" y="1"/>
                    <a:pt x="16" y="1"/>
                  </a:cubicBezTo>
                  <a:cubicBezTo>
                    <a:pt x="17" y="1"/>
                    <a:pt x="17" y="0"/>
                    <a:pt x="18" y="0"/>
                  </a:cubicBezTo>
                  <a:cubicBezTo>
                    <a:pt x="19" y="0"/>
                    <a:pt x="19" y="1"/>
                    <a:pt x="20" y="1"/>
                  </a:cubicBezTo>
                  <a:lnTo>
                    <a:pt x="46" y="14"/>
                  </a:lnTo>
                  <a:cubicBezTo>
                    <a:pt x="48" y="15"/>
                    <a:pt x="49" y="17"/>
                    <a:pt x="48" y="20"/>
                  </a:cubicBezTo>
                  <a:lnTo>
                    <a:pt x="35" y="49"/>
                  </a:lnTo>
                  <a:cubicBezTo>
                    <a:pt x="34" y="51"/>
                    <a:pt x="33" y="52"/>
                    <a:pt x="31" y="52"/>
                  </a:cubicBezTo>
                  <a:lnTo>
                    <a:pt x="5" y="5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5" name="Freeform 180"/>
            <p:cNvSpPr>
              <a:spLocks noChangeArrowheads="1"/>
            </p:cNvSpPr>
            <p:nvPr/>
          </p:nvSpPr>
          <p:spPr bwMode="auto">
            <a:xfrm>
              <a:off x="5438775" y="3257550"/>
              <a:ext cx="17463" cy="12700"/>
            </a:xfrm>
            <a:custGeom>
              <a:avLst/>
              <a:gdLst/>
              <a:ahLst/>
              <a:cxnLst>
                <a:cxn ang="0">
                  <a:pos x="9" y="35"/>
                </a:cxn>
                <a:cxn ang="0">
                  <a:pos x="4" y="31"/>
                </a:cxn>
                <a:cxn ang="0">
                  <a:pos x="0" y="10"/>
                </a:cxn>
                <a:cxn ang="0">
                  <a:pos x="2" y="5"/>
                </a:cxn>
                <a:cxn ang="0">
                  <a:pos x="11" y="1"/>
                </a:cxn>
                <a:cxn ang="0">
                  <a:pos x="13" y="0"/>
                </a:cxn>
                <a:cxn ang="0">
                  <a:pos x="17" y="1"/>
                </a:cxn>
                <a:cxn ang="0">
                  <a:pos x="33" y="18"/>
                </a:cxn>
                <a:cxn ang="0">
                  <a:pos x="45" y="26"/>
                </a:cxn>
                <a:cxn ang="0">
                  <a:pos x="47" y="31"/>
                </a:cxn>
                <a:cxn ang="0">
                  <a:pos x="43" y="35"/>
                </a:cxn>
                <a:cxn ang="0">
                  <a:pos x="9" y="35"/>
                </a:cxn>
              </a:cxnLst>
              <a:rect l="0" t="0" r="r" b="b"/>
              <a:pathLst>
                <a:path w="49" h="36">
                  <a:moveTo>
                    <a:pt x="9" y="35"/>
                  </a:moveTo>
                  <a:cubicBezTo>
                    <a:pt x="7" y="35"/>
                    <a:pt x="5" y="33"/>
                    <a:pt x="4" y="31"/>
                  </a:cubicBezTo>
                  <a:lnTo>
                    <a:pt x="0" y="10"/>
                  </a:lnTo>
                  <a:cubicBezTo>
                    <a:pt x="0" y="8"/>
                    <a:pt x="1" y="6"/>
                    <a:pt x="2" y="5"/>
                  </a:cubicBezTo>
                  <a:lnTo>
                    <a:pt x="11" y="1"/>
                  </a:lnTo>
                  <a:cubicBezTo>
                    <a:pt x="12" y="0"/>
                    <a:pt x="12" y="0"/>
                    <a:pt x="13" y="0"/>
                  </a:cubicBezTo>
                  <a:cubicBezTo>
                    <a:pt x="14" y="0"/>
                    <a:pt x="16" y="1"/>
                    <a:pt x="17" y="1"/>
                  </a:cubicBezTo>
                  <a:lnTo>
                    <a:pt x="33" y="18"/>
                  </a:lnTo>
                  <a:lnTo>
                    <a:pt x="45" y="26"/>
                  </a:lnTo>
                  <a:cubicBezTo>
                    <a:pt x="47" y="27"/>
                    <a:pt x="48" y="30"/>
                    <a:pt x="47" y="31"/>
                  </a:cubicBezTo>
                  <a:cubicBezTo>
                    <a:pt x="47" y="33"/>
                    <a:pt x="45" y="35"/>
                    <a:pt x="43" y="35"/>
                  </a:cubicBezTo>
                  <a:lnTo>
                    <a:pt x="9" y="3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6" name="Freeform 181"/>
            <p:cNvSpPr>
              <a:spLocks noChangeArrowheads="1"/>
            </p:cNvSpPr>
            <p:nvPr/>
          </p:nvSpPr>
          <p:spPr bwMode="auto">
            <a:xfrm>
              <a:off x="5438775" y="3257550"/>
              <a:ext cx="17463" cy="12700"/>
            </a:xfrm>
            <a:custGeom>
              <a:avLst/>
              <a:gdLst/>
              <a:ahLst/>
              <a:cxnLst>
                <a:cxn ang="0">
                  <a:pos x="9" y="35"/>
                </a:cxn>
                <a:cxn ang="0">
                  <a:pos x="4" y="31"/>
                </a:cxn>
                <a:cxn ang="0">
                  <a:pos x="0" y="10"/>
                </a:cxn>
                <a:cxn ang="0">
                  <a:pos x="2" y="5"/>
                </a:cxn>
                <a:cxn ang="0">
                  <a:pos x="11" y="1"/>
                </a:cxn>
                <a:cxn ang="0">
                  <a:pos x="13" y="0"/>
                </a:cxn>
                <a:cxn ang="0">
                  <a:pos x="17" y="1"/>
                </a:cxn>
                <a:cxn ang="0">
                  <a:pos x="33" y="18"/>
                </a:cxn>
                <a:cxn ang="0">
                  <a:pos x="45" y="26"/>
                </a:cxn>
                <a:cxn ang="0">
                  <a:pos x="47" y="31"/>
                </a:cxn>
                <a:cxn ang="0">
                  <a:pos x="43" y="35"/>
                </a:cxn>
                <a:cxn ang="0">
                  <a:pos x="9" y="35"/>
                </a:cxn>
              </a:cxnLst>
              <a:rect l="0" t="0" r="r" b="b"/>
              <a:pathLst>
                <a:path w="49" h="36">
                  <a:moveTo>
                    <a:pt x="9" y="35"/>
                  </a:moveTo>
                  <a:cubicBezTo>
                    <a:pt x="7" y="35"/>
                    <a:pt x="5" y="33"/>
                    <a:pt x="4" y="31"/>
                  </a:cubicBezTo>
                  <a:lnTo>
                    <a:pt x="0" y="10"/>
                  </a:lnTo>
                  <a:cubicBezTo>
                    <a:pt x="0" y="8"/>
                    <a:pt x="1" y="6"/>
                    <a:pt x="2" y="5"/>
                  </a:cubicBezTo>
                  <a:lnTo>
                    <a:pt x="11" y="1"/>
                  </a:lnTo>
                  <a:cubicBezTo>
                    <a:pt x="12" y="0"/>
                    <a:pt x="12" y="0"/>
                    <a:pt x="13" y="0"/>
                  </a:cubicBezTo>
                  <a:cubicBezTo>
                    <a:pt x="14" y="0"/>
                    <a:pt x="16" y="1"/>
                    <a:pt x="17" y="1"/>
                  </a:cubicBezTo>
                  <a:lnTo>
                    <a:pt x="33" y="18"/>
                  </a:lnTo>
                  <a:lnTo>
                    <a:pt x="45" y="26"/>
                  </a:lnTo>
                  <a:cubicBezTo>
                    <a:pt x="47" y="27"/>
                    <a:pt x="48" y="30"/>
                    <a:pt x="47" y="31"/>
                  </a:cubicBezTo>
                  <a:cubicBezTo>
                    <a:pt x="47" y="33"/>
                    <a:pt x="45" y="35"/>
                    <a:pt x="43" y="35"/>
                  </a:cubicBezTo>
                  <a:lnTo>
                    <a:pt x="9" y="3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7" name="Freeform 182"/>
            <p:cNvSpPr>
              <a:spLocks noChangeArrowheads="1"/>
            </p:cNvSpPr>
            <p:nvPr/>
          </p:nvSpPr>
          <p:spPr bwMode="auto">
            <a:xfrm>
              <a:off x="5497513" y="3354388"/>
              <a:ext cx="49212" cy="60325"/>
            </a:xfrm>
            <a:custGeom>
              <a:avLst/>
              <a:gdLst/>
              <a:ahLst/>
              <a:cxnLst>
                <a:cxn ang="0">
                  <a:pos x="8" y="162"/>
                </a:cxn>
                <a:cxn ang="0">
                  <a:pos x="0" y="137"/>
                </a:cxn>
                <a:cxn ang="0">
                  <a:pos x="29" y="45"/>
                </a:cxn>
                <a:cxn ang="0">
                  <a:pos x="99" y="0"/>
                </a:cxn>
                <a:cxn ang="0">
                  <a:pos x="101" y="0"/>
                </a:cxn>
                <a:cxn ang="0">
                  <a:pos x="105" y="1"/>
                </a:cxn>
                <a:cxn ang="0">
                  <a:pos x="126" y="31"/>
                </a:cxn>
                <a:cxn ang="0">
                  <a:pos x="136" y="71"/>
                </a:cxn>
                <a:cxn ang="0">
                  <a:pos x="133" y="76"/>
                </a:cxn>
                <a:cxn ang="0">
                  <a:pos x="76" y="106"/>
                </a:cxn>
                <a:cxn ang="0">
                  <a:pos x="119" y="110"/>
                </a:cxn>
                <a:cxn ang="0">
                  <a:pos x="122" y="112"/>
                </a:cxn>
                <a:cxn ang="0">
                  <a:pos x="122" y="117"/>
                </a:cxn>
                <a:cxn ang="0">
                  <a:pos x="97" y="163"/>
                </a:cxn>
                <a:cxn ang="0">
                  <a:pos x="94" y="165"/>
                </a:cxn>
                <a:cxn ang="0">
                  <a:pos x="93" y="165"/>
                </a:cxn>
                <a:cxn ang="0">
                  <a:pos x="90" y="164"/>
                </a:cxn>
                <a:cxn ang="0">
                  <a:pos x="71" y="149"/>
                </a:cxn>
                <a:cxn ang="0">
                  <a:pos x="14" y="165"/>
                </a:cxn>
                <a:cxn ang="0">
                  <a:pos x="12" y="166"/>
                </a:cxn>
                <a:cxn ang="0">
                  <a:pos x="8" y="162"/>
                </a:cxn>
              </a:cxnLst>
              <a:rect l="0" t="0" r="r" b="b"/>
              <a:pathLst>
                <a:path w="137" h="167">
                  <a:moveTo>
                    <a:pt x="8" y="162"/>
                  </a:moveTo>
                  <a:lnTo>
                    <a:pt x="0" y="137"/>
                  </a:lnTo>
                  <a:lnTo>
                    <a:pt x="29" y="45"/>
                  </a:lnTo>
                  <a:lnTo>
                    <a:pt x="99" y="0"/>
                  </a:lnTo>
                  <a:cubicBezTo>
                    <a:pt x="100" y="0"/>
                    <a:pt x="101" y="0"/>
                    <a:pt x="101" y="0"/>
                  </a:cubicBezTo>
                  <a:cubicBezTo>
                    <a:pt x="103" y="0"/>
                    <a:pt x="104" y="0"/>
                    <a:pt x="105" y="1"/>
                  </a:cubicBezTo>
                  <a:lnTo>
                    <a:pt x="126" y="31"/>
                  </a:lnTo>
                  <a:lnTo>
                    <a:pt x="136" y="71"/>
                  </a:lnTo>
                  <a:cubicBezTo>
                    <a:pt x="136" y="73"/>
                    <a:pt x="135" y="75"/>
                    <a:pt x="133" y="76"/>
                  </a:cubicBezTo>
                  <a:lnTo>
                    <a:pt x="76" y="106"/>
                  </a:lnTo>
                  <a:lnTo>
                    <a:pt x="119" y="110"/>
                  </a:lnTo>
                  <a:cubicBezTo>
                    <a:pt x="120" y="110"/>
                    <a:pt x="122" y="111"/>
                    <a:pt x="122" y="112"/>
                  </a:cubicBezTo>
                  <a:cubicBezTo>
                    <a:pt x="123" y="113"/>
                    <a:pt x="123" y="115"/>
                    <a:pt x="122" y="117"/>
                  </a:cubicBezTo>
                  <a:lnTo>
                    <a:pt x="97" y="163"/>
                  </a:lnTo>
                  <a:cubicBezTo>
                    <a:pt x="96" y="164"/>
                    <a:pt x="95" y="165"/>
                    <a:pt x="94" y="165"/>
                  </a:cubicBezTo>
                  <a:cubicBezTo>
                    <a:pt x="93" y="165"/>
                    <a:pt x="93" y="165"/>
                    <a:pt x="93" y="165"/>
                  </a:cubicBezTo>
                  <a:cubicBezTo>
                    <a:pt x="92" y="165"/>
                    <a:pt x="91" y="165"/>
                    <a:pt x="90" y="164"/>
                  </a:cubicBezTo>
                  <a:lnTo>
                    <a:pt x="71" y="149"/>
                  </a:lnTo>
                  <a:lnTo>
                    <a:pt x="14" y="165"/>
                  </a:lnTo>
                  <a:cubicBezTo>
                    <a:pt x="13" y="165"/>
                    <a:pt x="13" y="166"/>
                    <a:pt x="12" y="166"/>
                  </a:cubicBezTo>
                  <a:cubicBezTo>
                    <a:pt x="11" y="166"/>
                    <a:pt x="9" y="164"/>
                    <a:pt x="8" y="16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8" name="Freeform 183"/>
            <p:cNvSpPr>
              <a:spLocks noChangeArrowheads="1"/>
            </p:cNvSpPr>
            <p:nvPr/>
          </p:nvSpPr>
          <p:spPr bwMode="auto">
            <a:xfrm>
              <a:off x="5497513" y="3354388"/>
              <a:ext cx="49212" cy="60325"/>
            </a:xfrm>
            <a:custGeom>
              <a:avLst/>
              <a:gdLst/>
              <a:ahLst/>
              <a:cxnLst>
                <a:cxn ang="0">
                  <a:pos x="12" y="166"/>
                </a:cxn>
                <a:cxn ang="0">
                  <a:pos x="8" y="162"/>
                </a:cxn>
                <a:cxn ang="0">
                  <a:pos x="0" y="137"/>
                </a:cxn>
                <a:cxn ang="0">
                  <a:pos x="29" y="45"/>
                </a:cxn>
                <a:cxn ang="0">
                  <a:pos x="99" y="0"/>
                </a:cxn>
                <a:cxn ang="0">
                  <a:pos x="101" y="0"/>
                </a:cxn>
                <a:cxn ang="0">
                  <a:pos x="105" y="1"/>
                </a:cxn>
                <a:cxn ang="0">
                  <a:pos x="126" y="31"/>
                </a:cxn>
                <a:cxn ang="0">
                  <a:pos x="136" y="71"/>
                </a:cxn>
                <a:cxn ang="0">
                  <a:pos x="133" y="76"/>
                </a:cxn>
                <a:cxn ang="0">
                  <a:pos x="76" y="106"/>
                </a:cxn>
                <a:cxn ang="0">
                  <a:pos x="119" y="110"/>
                </a:cxn>
                <a:cxn ang="0">
                  <a:pos x="122" y="112"/>
                </a:cxn>
                <a:cxn ang="0">
                  <a:pos x="122" y="117"/>
                </a:cxn>
                <a:cxn ang="0">
                  <a:pos x="97" y="163"/>
                </a:cxn>
                <a:cxn ang="0">
                  <a:pos x="94" y="165"/>
                </a:cxn>
                <a:cxn ang="0">
                  <a:pos x="93" y="165"/>
                </a:cxn>
                <a:cxn ang="0">
                  <a:pos x="90" y="164"/>
                </a:cxn>
                <a:cxn ang="0">
                  <a:pos x="71" y="149"/>
                </a:cxn>
                <a:cxn ang="0">
                  <a:pos x="14" y="165"/>
                </a:cxn>
                <a:cxn ang="0">
                  <a:pos x="12" y="166"/>
                </a:cxn>
              </a:cxnLst>
              <a:rect l="0" t="0" r="r" b="b"/>
              <a:pathLst>
                <a:path w="137" h="167">
                  <a:moveTo>
                    <a:pt x="12" y="166"/>
                  </a:moveTo>
                  <a:cubicBezTo>
                    <a:pt x="11" y="166"/>
                    <a:pt x="9" y="164"/>
                    <a:pt x="8" y="162"/>
                  </a:cubicBezTo>
                  <a:lnTo>
                    <a:pt x="0" y="137"/>
                  </a:lnTo>
                  <a:lnTo>
                    <a:pt x="29" y="45"/>
                  </a:lnTo>
                  <a:lnTo>
                    <a:pt x="99" y="0"/>
                  </a:lnTo>
                  <a:cubicBezTo>
                    <a:pt x="100" y="0"/>
                    <a:pt x="101" y="0"/>
                    <a:pt x="101" y="0"/>
                  </a:cubicBezTo>
                  <a:cubicBezTo>
                    <a:pt x="103" y="0"/>
                    <a:pt x="104" y="0"/>
                    <a:pt x="105" y="1"/>
                  </a:cubicBezTo>
                  <a:lnTo>
                    <a:pt x="126" y="31"/>
                  </a:lnTo>
                  <a:lnTo>
                    <a:pt x="136" y="71"/>
                  </a:lnTo>
                  <a:cubicBezTo>
                    <a:pt x="136" y="73"/>
                    <a:pt x="135" y="75"/>
                    <a:pt x="133" y="76"/>
                  </a:cubicBezTo>
                  <a:lnTo>
                    <a:pt x="76" y="106"/>
                  </a:lnTo>
                  <a:lnTo>
                    <a:pt x="119" y="110"/>
                  </a:lnTo>
                  <a:cubicBezTo>
                    <a:pt x="120" y="110"/>
                    <a:pt x="122" y="111"/>
                    <a:pt x="122" y="112"/>
                  </a:cubicBezTo>
                  <a:cubicBezTo>
                    <a:pt x="123" y="113"/>
                    <a:pt x="123" y="115"/>
                    <a:pt x="122" y="117"/>
                  </a:cubicBezTo>
                  <a:lnTo>
                    <a:pt x="97" y="163"/>
                  </a:lnTo>
                  <a:cubicBezTo>
                    <a:pt x="96" y="164"/>
                    <a:pt x="95" y="165"/>
                    <a:pt x="94" y="165"/>
                  </a:cubicBezTo>
                  <a:cubicBezTo>
                    <a:pt x="93" y="165"/>
                    <a:pt x="93" y="165"/>
                    <a:pt x="93" y="165"/>
                  </a:cubicBezTo>
                  <a:cubicBezTo>
                    <a:pt x="92" y="165"/>
                    <a:pt x="91" y="165"/>
                    <a:pt x="90" y="164"/>
                  </a:cubicBezTo>
                  <a:lnTo>
                    <a:pt x="71" y="149"/>
                  </a:lnTo>
                  <a:lnTo>
                    <a:pt x="14" y="165"/>
                  </a:lnTo>
                  <a:cubicBezTo>
                    <a:pt x="13" y="165"/>
                    <a:pt x="13" y="166"/>
                    <a:pt x="12" y="16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9" name="Freeform 184"/>
            <p:cNvSpPr>
              <a:spLocks noChangeArrowheads="1"/>
            </p:cNvSpPr>
            <p:nvPr/>
          </p:nvSpPr>
          <p:spPr bwMode="auto">
            <a:xfrm>
              <a:off x="4502150" y="3670300"/>
              <a:ext cx="169863" cy="188913"/>
            </a:xfrm>
            <a:custGeom>
              <a:avLst/>
              <a:gdLst/>
              <a:ahLst/>
              <a:cxnLst>
                <a:cxn ang="0">
                  <a:pos x="197" y="522"/>
                </a:cxn>
                <a:cxn ang="0">
                  <a:pos x="44" y="353"/>
                </a:cxn>
                <a:cxn ang="0">
                  <a:pos x="1" y="255"/>
                </a:cxn>
                <a:cxn ang="0">
                  <a:pos x="3" y="249"/>
                </a:cxn>
                <a:cxn ang="0">
                  <a:pos x="39" y="225"/>
                </a:cxn>
                <a:cxn ang="0">
                  <a:pos x="43" y="168"/>
                </a:cxn>
                <a:cxn ang="0">
                  <a:pos x="45" y="164"/>
                </a:cxn>
                <a:cxn ang="0">
                  <a:pos x="48" y="164"/>
                </a:cxn>
                <a:cxn ang="0">
                  <a:pos x="49" y="164"/>
                </a:cxn>
                <a:cxn ang="0">
                  <a:pos x="74" y="170"/>
                </a:cxn>
                <a:cxn ang="0">
                  <a:pos x="49" y="151"/>
                </a:cxn>
                <a:cxn ang="0">
                  <a:pos x="47" y="147"/>
                </a:cxn>
                <a:cxn ang="0">
                  <a:pos x="49" y="144"/>
                </a:cxn>
                <a:cxn ang="0">
                  <a:pos x="64" y="128"/>
                </a:cxn>
                <a:cxn ang="0">
                  <a:pos x="64" y="109"/>
                </a:cxn>
                <a:cxn ang="0">
                  <a:pos x="69" y="104"/>
                </a:cxn>
                <a:cxn ang="0">
                  <a:pos x="208" y="96"/>
                </a:cxn>
                <a:cxn ang="0">
                  <a:pos x="208" y="4"/>
                </a:cxn>
                <a:cxn ang="0">
                  <a:pos x="210" y="1"/>
                </a:cxn>
                <a:cxn ang="0">
                  <a:pos x="213" y="0"/>
                </a:cxn>
                <a:cxn ang="0">
                  <a:pos x="383" y="8"/>
                </a:cxn>
                <a:cxn ang="0">
                  <a:pos x="386" y="10"/>
                </a:cxn>
                <a:cxn ang="0">
                  <a:pos x="387" y="14"/>
                </a:cxn>
                <a:cxn ang="0">
                  <a:pos x="375" y="86"/>
                </a:cxn>
                <a:cxn ang="0">
                  <a:pos x="381" y="90"/>
                </a:cxn>
                <a:cxn ang="0">
                  <a:pos x="404" y="57"/>
                </a:cxn>
                <a:cxn ang="0">
                  <a:pos x="408" y="54"/>
                </a:cxn>
                <a:cxn ang="0">
                  <a:pos x="451" y="63"/>
                </a:cxn>
                <a:cxn ang="0">
                  <a:pos x="471" y="85"/>
                </a:cxn>
                <a:cxn ang="0">
                  <a:pos x="472" y="122"/>
                </a:cxn>
                <a:cxn ang="0">
                  <a:pos x="446" y="170"/>
                </a:cxn>
                <a:cxn ang="0">
                  <a:pos x="464" y="256"/>
                </a:cxn>
                <a:cxn ang="0">
                  <a:pos x="451" y="380"/>
                </a:cxn>
                <a:cxn ang="0">
                  <a:pos x="448" y="384"/>
                </a:cxn>
                <a:cxn ang="0">
                  <a:pos x="418" y="397"/>
                </a:cxn>
                <a:cxn ang="0">
                  <a:pos x="416" y="397"/>
                </a:cxn>
                <a:cxn ang="0">
                  <a:pos x="414" y="396"/>
                </a:cxn>
                <a:cxn ang="0">
                  <a:pos x="328" y="347"/>
                </a:cxn>
                <a:cxn ang="0">
                  <a:pos x="252" y="403"/>
                </a:cxn>
                <a:cxn ang="0">
                  <a:pos x="252" y="477"/>
                </a:cxn>
                <a:cxn ang="0">
                  <a:pos x="248" y="482"/>
                </a:cxn>
                <a:cxn ang="0">
                  <a:pos x="217" y="489"/>
                </a:cxn>
                <a:cxn ang="0">
                  <a:pos x="205" y="521"/>
                </a:cxn>
                <a:cxn ang="0">
                  <a:pos x="201" y="524"/>
                </a:cxn>
                <a:cxn ang="0">
                  <a:pos x="201" y="524"/>
                </a:cxn>
                <a:cxn ang="0">
                  <a:pos x="197" y="522"/>
                </a:cxn>
              </a:cxnLst>
              <a:rect l="0" t="0" r="r" b="b"/>
              <a:pathLst>
                <a:path w="473" h="525">
                  <a:moveTo>
                    <a:pt x="197" y="522"/>
                  </a:moveTo>
                  <a:lnTo>
                    <a:pt x="44" y="353"/>
                  </a:lnTo>
                  <a:lnTo>
                    <a:pt x="1" y="255"/>
                  </a:lnTo>
                  <a:cubicBezTo>
                    <a:pt x="0" y="253"/>
                    <a:pt x="1" y="250"/>
                    <a:pt x="3" y="249"/>
                  </a:cubicBezTo>
                  <a:lnTo>
                    <a:pt x="39" y="225"/>
                  </a:lnTo>
                  <a:lnTo>
                    <a:pt x="43" y="168"/>
                  </a:lnTo>
                  <a:cubicBezTo>
                    <a:pt x="43" y="167"/>
                    <a:pt x="44" y="165"/>
                    <a:pt x="45" y="164"/>
                  </a:cubicBezTo>
                  <a:cubicBezTo>
                    <a:pt x="46" y="164"/>
                    <a:pt x="47" y="164"/>
                    <a:pt x="48" y="164"/>
                  </a:cubicBezTo>
                  <a:lnTo>
                    <a:pt x="49" y="164"/>
                  </a:lnTo>
                  <a:lnTo>
                    <a:pt x="74" y="170"/>
                  </a:lnTo>
                  <a:lnTo>
                    <a:pt x="49" y="151"/>
                  </a:lnTo>
                  <a:cubicBezTo>
                    <a:pt x="48" y="150"/>
                    <a:pt x="48" y="149"/>
                    <a:pt x="47" y="147"/>
                  </a:cubicBezTo>
                  <a:cubicBezTo>
                    <a:pt x="47" y="146"/>
                    <a:pt x="48" y="145"/>
                    <a:pt x="49" y="144"/>
                  </a:cubicBezTo>
                  <a:lnTo>
                    <a:pt x="64" y="128"/>
                  </a:lnTo>
                  <a:lnTo>
                    <a:pt x="64" y="109"/>
                  </a:lnTo>
                  <a:cubicBezTo>
                    <a:pt x="64" y="106"/>
                    <a:pt x="66" y="104"/>
                    <a:pt x="69" y="104"/>
                  </a:cubicBezTo>
                  <a:lnTo>
                    <a:pt x="208" y="96"/>
                  </a:lnTo>
                  <a:lnTo>
                    <a:pt x="208" y="4"/>
                  </a:lnTo>
                  <a:cubicBezTo>
                    <a:pt x="208" y="3"/>
                    <a:pt x="209" y="2"/>
                    <a:pt x="210" y="1"/>
                  </a:cubicBezTo>
                  <a:cubicBezTo>
                    <a:pt x="211" y="0"/>
                    <a:pt x="212" y="0"/>
                    <a:pt x="213" y="0"/>
                  </a:cubicBezTo>
                  <a:lnTo>
                    <a:pt x="383" y="8"/>
                  </a:lnTo>
                  <a:cubicBezTo>
                    <a:pt x="384" y="8"/>
                    <a:pt x="385" y="9"/>
                    <a:pt x="386" y="10"/>
                  </a:cubicBezTo>
                  <a:cubicBezTo>
                    <a:pt x="387" y="11"/>
                    <a:pt x="388" y="12"/>
                    <a:pt x="387" y="14"/>
                  </a:cubicBezTo>
                  <a:lnTo>
                    <a:pt x="375" y="86"/>
                  </a:lnTo>
                  <a:lnTo>
                    <a:pt x="381" y="90"/>
                  </a:lnTo>
                  <a:lnTo>
                    <a:pt x="404" y="57"/>
                  </a:lnTo>
                  <a:cubicBezTo>
                    <a:pt x="405" y="55"/>
                    <a:pt x="407" y="54"/>
                    <a:pt x="408" y="54"/>
                  </a:cubicBezTo>
                  <a:lnTo>
                    <a:pt x="451" y="63"/>
                  </a:lnTo>
                  <a:lnTo>
                    <a:pt x="471" y="85"/>
                  </a:lnTo>
                  <a:lnTo>
                    <a:pt x="472" y="122"/>
                  </a:lnTo>
                  <a:lnTo>
                    <a:pt x="446" y="170"/>
                  </a:lnTo>
                  <a:lnTo>
                    <a:pt x="464" y="256"/>
                  </a:lnTo>
                  <a:lnTo>
                    <a:pt x="451" y="380"/>
                  </a:lnTo>
                  <a:cubicBezTo>
                    <a:pt x="451" y="382"/>
                    <a:pt x="450" y="383"/>
                    <a:pt x="448" y="384"/>
                  </a:cubicBezTo>
                  <a:lnTo>
                    <a:pt x="418" y="397"/>
                  </a:lnTo>
                  <a:cubicBezTo>
                    <a:pt x="418" y="397"/>
                    <a:pt x="417" y="397"/>
                    <a:pt x="416" y="397"/>
                  </a:cubicBezTo>
                  <a:cubicBezTo>
                    <a:pt x="416" y="397"/>
                    <a:pt x="415" y="397"/>
                    <a:pt x="414" y="396"/>
                  </a:cubicBezTo>
                  <a:lnTo>
                    <a:pt x="328" y="347"/>
                  </a:lnTo>
                  <a:lnTo>
                    <a:pt x="252" y="403"/>
                  </a:lnTo>
                  <a:lnTo>
                    <a:pt x="252" y="477"/>
                  </a:lnTo>
                  <a:cubicBezTo>
                    <a:pt x="252" y="479"/>
                    <a:pt x="250" y="481"/>
                    <a:pt x="248" y="482"/>
                  </a:cubicBezTo>
                  <a:lnTo>
                    <a:pt x="217" y="489"/>
                  </a:lnTo>
                  <a:lnTo>
                    <a:pt x="205" y="521"/>
                  </a:lnTo>
                  <a:cubicBezTo>
                    <a:pt x="204" y="522"/>
                    <a:pt x="203" y="524"/>
                    <a:pt x="201" y="524"/>
                  </a:cubicBezTo>
                  <a:lnTo>
                    <a:pt x="201" y="524"/>
                  </a:lnTo>
                  <a:cubicBezTo>
                    <a:pt x="199" y="524"/>
                    <a:pt x="198" y="523"/>
                    <a:pt x="197" y="52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0" name="Freeform 185"/>
            <p:cNvSpPr>
              <a:spLocks noChangeArrowheads="1"/>
            </p:cNvSpPr>
            <p:nvPr/>
          </p:nvSpPr>
          <p:spPr bwMode="auto">
            <a:xfrm>
              <a:off x="4502150" y="3670300"/>
              <a:ext cx="169863" cy="188913"/>
            </a:xfrm>
            <a:custGeom>
              <a:avLst/>
              <a:gdLst/>
              <a:ahLst/>
              <a:cxnLst>
                <a:cxn ang="0">
                  <a:pos x="201" y="524"/>
                </a:cxn>
                <a:cxn ang="0">
                  <a:pos x="197" y="522"/>
                </a:cxn>
                <a:cxn ang="0">
                  <a:pos x="44" y="353"/>
                </a:cxn>
                <a:cxn ang="0">
                  <a:pos x="1" y="255"/>
                </a:cxn>
                <a:cxn ang="0">
                  <a:pos x="3" y="249"/>
                </a:cxn>
                <a:cxn ang="0">
                  <a:pos x="39" y="225"/>
                </a:cxn>
                <a:cxn ang="0">
                  <a:pos x="43" y="168"/>
                </a:cxn>
                <a:cxn ang="0">
                  <a:pos x="45" y="164"/>
                </a:cxn>
                <a:cxn ang="0">
                  <a:pos x="48" y="164"/>
                </a:cxn>
                <a:cxn ang="0">
                  <a:pos x="49" y="164"/>
                </a:cxn>
                <a:cxn ang="0">
                  <a:pos x="74" y="170"/>
                </a:cxn>
                <a:cxn ang="0">
                  <a:pos x="49" y="151"/>
                </a:cxn>
                <a:cxn ang="0">
                  <a:pos x="47" y="147"/>
                </a:cxn>
                <a:cxn ang="0">
                  <a:pos x="49" y="144"/>
                </a:cxn>
                <a:cxn ang="0">
                  <a:pos x="64" y="128"/>
                </a:cxn>
                <a:cxn ang="0">
                  <a:pos x="64" y="109"/>
                </a:cxn>
                <a:cxn ang="0">
                  <a:pos x="69" y="104"/>
                </a:cxn>
                <a:cxn ang="0">
                  <a:pos x="208" y="96"/>
                </a:cxn>
                <a:cxn ang="0">
                  <a:pos x="208" y="4"/>
                </a:cxn>
                <a:cxn ang="0">
                  <a:pos x="210" y="1"/>
                </a:cxn>
                <a:cxn ang="0">
                  <a:pos x="213" y="0"/>
                </a:cxn>
                <a:cxn ang="0">
                  <a:pos x="383" y="8"/>
                </a:cxn>
                <a:cxn ang="0">
                  <a:pos x="386" y="10"/>
                </a:cxn>
                <a:cxn ang="0">
                  <a:pos x="387" y="14"/>
                </a:cxn>
                <a:cxn ang="0">
                  <a:pos x="375" y="86"/>
                </a:cxn>
                <a:cxn ang="0">
                  <a:pos x="381" y="90"/>
                </a:cxn>
                <a:cxn ang="0">
                  <a:pos x="404" y="57"/>
                </a:cxn>
                <a:cxn ang="0">
                  <a:pos x="408" y="54"/>
                </a:cxn>
                <a:cxn ang="0">
                  <a:pos x="451" y="63"/>
                </a:cxn>
                <a:cxn ang="0">
                  <a:pos x="471" y="85"/>
                </a:cxn>
                <a:cxn ang="0">
                  <a:pos x="472" y="122"/>
                </a:cxn>
                <a:cxn ang="0">
                  <a:pos x="446" y="170"/>
                </a:cxn>
                <a:cxn ang="0">
                  <a:pos x="464" y="256"/>
                </a:cxn>
                <a:cxn ang="0">
                  <a:pos x="451" y="380"/>
                </a:cxn>
                <a:cxn ang="0">
                  <a:pos x="448" y="384"/>
                </a:cxn>
                <a:cxn ang="0">
                  <a:pos x="418" y="397"/>
                </a:cxn>
                <a:cxn ang="0">
                  <a:pos x="416" y="397"/>
                </a:cxn>
                <a:cxn ang="0">
                  <a:pos x="414" y="396"/>
                </a:cxn>
                <a:cxn ang="0">
                  <a:pos x="328" y="347"/>
                </a:cxn>
                <a:cxn ang="0">
                  <a:pos x="252" y="403"/>
                </a:cxn>
                <a:cxn ang="0">
                  <a:pos x="252" y="477"/>
                </a:cxn>
                <a:cxn ang="0">
                  <a:pos x="248" y="482"/>
                </a:cxn>
                <a:cxn ang="0">
                  <a:pos x="217" y="489"/>
                </a:cxn>
                <a:cxn ang="0">
                  <a:pos x="205" y="521"/>
                </a:cxn>
                <a:cxn ang="0">
                  <a:pos x="201" y="524"/>
                </a:cxn>
              </a:cxnLst>
              <a:rect l="0" t="0" r="r" b="b"/>
              <a:pathLst>
                <a:path w="473" h="525">
                  <a:moveTo>
                    <a:pt x="201" y="524"/>
                  </a:moveTo>
                  <a:cubicBezTo>
                    <a:pt x="199" y="524"/>
                    <a:pt x="198" y="523"/>
                    <a:pt x="197" y="522"/>
                  </a:cubicBezTo>
                  <a:lnTo>
                    <a:pt x="44" y="353"/>
                  </a:lnTo>
                  <a:lnTo>
                    <a:pt x="1" y="255"/>
                  </a:lnTo>
                  <a:cubicBezTo>
                    <a:pt x="0" y="253"/>
                    <a:pt x="1" y="250"/>
                    <a:pt x="3" y="249"/>
                  </a:cubicBezTo>
                  <a:lnTo>
                    <a:pt x="39" y="225"/>
                  </a:lnTo>
                  <a:lnTo>
                    <a:pt x="43" y="168"/>
                  </a:lnTo>
                  <a:cubicBezTo>
                    <a:pt x="43" y="167"/>
                    <a:pt x="44" y="165"/>
                    <a:pt x="45" y="164"/>
                  </a:cubicBezTo>
                  <a:cubicBezTo>
                    <a:pt x="46" y="164"/>
                    <a:pt x="47" y="164"/>
                    <a:pt x="48" y="164"/>
                  </a:cubicBezTo>
                  <a:lnTo>
                    <a:pt x="49" y="164"/>
                  </a:lnTo>
                  <a:lnTo>
                    <a:pt x="74" y="170"/>
                  </a:lnTo>
                  <a:lnTo>
                    <a:pt x="49" y="151"/>
                  </a:lnTo>
                  <a:cubicBezTo>
                    <a:pt x="48" y="150"/>
                    <a:pt x="48" y="149"/>
                    <a:pt x="47" y="147"/>
                  </a:cubicBezTo>
                  <a:cubicBezTo>
                    <a:pt x="47" y="146"/>
                    <a:pt x="48" y="145"/>
                    <a:pt x="49" y="144"/>
                  </a:cubicBezTo>
                  <a:lnTo>
                    <a:pt x="64" y="128"/>
                  </a:lnTo>
                  <a:lnTo>
                    <a:pt x="64" y="109"/>
                  </a:lnTo>
                  <a:cubicBezTo>
                    <a:pt x="64" y="106"/>
                    <a:pt x="66" y="104"/>
                    <a:pt x="69" y="104"/>
                  </a:cubicBezTo>
                  <a:lnTo>
                    <a:pt x="208" y="96"/>
                  </a:lnTo>
                  <a:lnTo>
                    <a:pt x="208" y="4"/>
                  </a:lnTo>
                  <a:cubicBezTo>
                    <a:pt x="208" y="3"/>
                    <a:pt x="209" y="2"/>
                    <a:pt x="210" y="1"/>
                  </a:cubicBezTo>
                  <a:cubicBezTo>
                    <a:pt x="211" y="0"/>
                    <a:pt x="212" y="0"/>
                    <a:pt x="213" y="0"/>
                  </a:cubicBezTo>
                  <a:lnTo>
                    <a:pt x="383" y="8"/>
                  </a:lnTo>
                  <a:cubicBezTo>
                    <a:pt x="384" y="8"/>
                    <a:pt x="385" y="9"/>
                    <a:pt x="386" y="10"/>
                  </a:cubicBezTo>
                  <a:cubicBezTo>
                    <a:pt x="387" y="11"/>
                    <a:pt x="388" y="12"/>
                    <a:pt x="387" y="14"/>
                  </a:cubicBezTo>
                  <a:lnTo>
                    <a:pt x="375" y="86"/>
                  </a:lnTo>
                  <a:lnTo>
                    <a:pt x="381" y="90"/>
                  </a:lnTo>
                  <a:lnTo>
                    <a:pt x="404" y="57"/>
                  </a:lnTo>
                  <a:cubicBezTo>
                    <a:pt x="405" y="55"/>
                    <a:pt x="407" y="54"/>
                    <a:pt x="408" y="54"/>
                  </a:cubicBezTo>
                  <a:lnTo>
                    <a:pt x="451" y="63"/>
                  </a:lnTo>
                  <a:lnTo>
                    <a:pt x="471" y="85"/>
                  </a:lnTo>
                  <a:lnTo>
                    <a:pt x="472" y="122"/>
                  </a:lnTo>
                  <a:lnTo>
                    <a:pt x="446" y="170"/>
                  </a:lnTo>
                  <a:lnTo>
                    <a:pt x="464" y="256"/>
                  </a:lnTo>
                  <a:lnTo>
                    <a:pt x="451" y="380"/>
                  </a:lnTo>
                  <a:cubicBezTo>
                    <a:pt x="451" y="382"/>
                    <a:pt x="450" y="383"/>
                    <a:pt x="448" y="384"/>
                  </a:cubicBezTo>
                  <a:lnTo>
                    <a:pt x="418" y="397"/>
                  </a:lnTo>
                  <a:cubicBezTo>
                    <a:pt x="418" y="397"/>
                    <a:pt x="417" y="397"/>
                    <a:pt x="416" y="397"/>
                  </a:cubicBezTo>
                  <a:cubicBezTo>
                    <a:pt x="416" y="397"/>
                    <a:pt x="415" y="397"/>
                    <a:pt x="414" y="396"/>
                  </a:cubicBezTo>
                  <a:lnTo>
                    <a:pt x="328" y="347"/>
                  </a:lnTo>
                  <a:lnTo>
                    <a:pt x="252" y="403"/>
                  </a:lnTo>
                  <a:lnTo>
                    <a:pt x="252" y="477"/>
                  </a:lnTo>
                  <a:cubicBezTo>
                    <a:pt x="252" y="479"/>
                    <a:pt x="250" y="481"/>
                    <a:pt x="248" y="482"/>
                  </a:cubicBezTo>
                  <a:lnTo>
                    <a:pt x="217" y="489"/>
                  </a:lnTo>
                  <a:lnTo>
                    <a:pt x="205" y="521"/>
                  </a:lnTo>
                  <a:cubicBezTo>
                    <a:pt x="204" y="522"/>
                    <a:pt x="203" y="524"/>
                    <a:pt x="201" y="52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1" name="Freeform 186"/>
            <p:cNvSpPr>
              <a:spLocks noChangeArrowheads="1"/>
            </p:cNvSpPr>
            <p:nvPr/>
          </p:nvSpPr>
          <p:spPr bwMode="auto">
            <a:xfrm>
              <a:off x="3733800" y="3319463"/>
              <a:ext cx="95250" cy="28575"/>
            </a:xfrm>
            <a:custGeom>
              <a:avLst/>
              <a:gdLst/>
              <a:ahLst/>
              <a:cxnLst>
                <a:cxn ang="0">
                  <a:pos x="6" y="76"/>
                </a:cxn>
                <a:cxn ang="0">
                  <a:pos x="4" y="73"/>
                </a:cxn>
                <a:cxn ang="0">
                  <a:pos x="0" y="48"/>
                </a:cxn>
                <a:cxn ang="0">
                  <a:pos x="1" y="44"/>
                </a:cxn>
                <a:cxn ang="0">
                  <a:pos x="22" y="23"/>
                </a:cxn>
                <a:cxn ang="0">
                  <a:pos x="26" y="21"/>
                </a:cxn>
                <a:cxn ang="0">
                  <a:pos x="110" y="21"/>
                </a:cxn>
                <a:cxn ang="0">
                  <a:pos x="151" y="1"/>
                </a:cxn>
                <a:cxn ang="0">
                  <a:pos x="153" y="0"/>
                </a:cxn>
                <a:cxn ang="0">
                  <a:pos x="155" y="1"/>
                </a:cxn>
                <a:cxn ang="0">
                  <a:pos x="214" y="35"/>
                </a:cxn>
                <a:cxn ang="0">
                  <a:pos x="258" y="26"/>
                </a:cxn>
                <a:cxn ang="0">
                  <a:pos x="258" y="26"/>
                </a:cxn>
                <a:cxn ang="0">
                  <a:pos x="262" y="27"/>
                </a:cxn>
                <a:cxn ang="0">
                  <a:pos x="263" y="30"/>
                </a:cxn>
                <a:cxn ang="0">
                  <a:pos x="263" y="43"/>
                </a:cxn>
                <a:cxn ang="0">
                  <a:pos x="261" y="47"/>
                </a:cxn>
                <a:cxn ang="0">
                  <a:pos x="231" y="64"/>
                </a:cxn>
                <a:cxn ang="0">
                  <a:pos x="229" y="65"/>
                </a:cxn>
                <a:cxn ang="0">
                  <a:pos x="228" y="64"/>
                </a:cxn>
                <a:cxn ang="0">
                  <a:pos x="149" y="35"/>
                </a:cxn>
                <a:cxn ang="0">
                  <a:pos x="87" y="64"/>
                </a:cxn>
                <a:cxn ang="0">
                  <a:pos x="9" y="77"/>
                </a:cxn>
                <a:cxn ang="0">
                  <a:pos x="6" y="76"/>
                </a:cxn>
              </a:cxnLst>
              <a:rect l="0" t="0" r="r" b="b"/>
              <a:pathLst>
                <a:path w="264" h="78">
                  <a:moveTo>
                    <a:pt x="6" y="76"/>
                  </a:moveTo>
                  <a:cubicBezTo>
                    <a:pt x="5" y="76"/>
                    <a:pt x="4" y="75"/>
                    <a:pt x="4" y="73"/>
                  </a:cubicBezTo>
                  <a:lnTo>
                    <a:pt x="0" y="48"/>
                  </a:lnTo>
                  <a:cubicBezTo>
                    <a:pt x="0" y="47"/>
                    <a:pt x="0" y="45"/>
                    <a:pt x="1" y="44"/>
                  </a:cubicBezTo>
                  <a:lnTo>
                    <a:pt x="22" y="23"/>
                  </a:lnTo>
                  <a:cubicBezTo>
                    <a:pt x="23" y="22"/>
                    <a:pt x="25" y="21"/>
                    <a:pt x="26" y="21"/>
                  </a:cubicBezTo>
                  <a:lnTo>
                    <a:pt x="110" y="21"/>
                  </a:lnTo>
                  <a:lnTo>
                    <a:pt x="151" y="1"/>
                  </a:lnTo>
                  <a:cubicBezTo>
                    <a:pt x="151" y="0"/>
                    <a:pt x="152" y="0"/>
                    <a:pt x="153" y="0"/>
                  </a:cubicBezTo>
                  <a:cubicBezTo>
                    <a:pt x="154" y="0"/>
                    <a:pt x="155" y="0"/>
                    <a:pt x="155" y="1"/>
                  </a:cubicBezTo>
                  <a:lnTo>
                    <a:pt x="214" y="35"/>
                  </a:lnTo>
                  <a:lnTo>
                    <a:pt x="258" y="26"/>
                  </a:lnTo>
                  <a:lnTo>
                    <a:pt x="258" y="26"/>
                  </a:lnTo>
                  <a:cubicBezTo>
                    <a:pt x="260" y="26"/>
                    <a:pt x="261" y="26"/>
                    <a:pt x="262" y="27"/>
                  </a:cubicBezTo>
                  <a:cubicBezTo>
                    <a:pt x="263" y="28"/>
                    <a:pt x="263" y="29"/>
                    <a:pt x="263" y="30"/>
                  </a:cubicBezTo>
                  <a:lnTo>
                    <a:pt x="263" y="43"/>
                  </a:lnTo>
                  <a:cubicBezTo>
                    <a:pt x="263" y="45"/>
                    <a:pt x="263" y="46"/>
                    <a:pt x="261" y="47"/>
                  </a:cubicBezTo>
                  <a:lnTo>
                    <a:pt x="231" y="64"/>
                  </a:lnTo>
                  <a:cubicBezTo>
                    <a:pt x="231" y="64"/>
                    <a:pt x="230" y="65"/>
                    <a:pt x="229" y="65"/>
                  </a:cubicBezTo>
                  <a:cubicBezTo>
                    <a:pt x="229" y="65"/>
                    <a:pt x="228" y="65"/>
                    <a:pt x="228" y="64"/>
                  </a:cubicBezTo>
                  <a:lnTo>
                    <a:pt x="149" y="35"/>
                  </a:lnTo>
                  <a:lnTo>
                    <a:pt x="87" y="64"/>
                  </a:lnTo>
                  <a:lnTo>
                    <a:pt x="9" y="77"/>
                  </a:lnTo>
                  <a:cubicBezTo>
                    <a:pt x="8" y="77"/>
                    <a:pt x="7" y="77"/>
                    <a:pt x="6" y="7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2" name="Freeform 187"/>
            <p:cNvSpPr>
              <a:spLocks noChangeArrowheads="1"/>
            </p:cNvSpPr>
            <p:nvPr/>
          </p:nvSpPr>
          <p:spPr bwMode="auto">
            <a:xfrm>
              <a:off x="3733800" y="3319463"/>
              <a:ext cx="95250" cy="28575"/>
            </a:xfrm>
            <a:custGeom>
              <a:avLst/>
              <a:gdLst/>
              <a:ahLst/>
              <a:cxnLst>
                <a:cxn ang="0">
                  <a:pos x="9" y="77"/>
                </a:cxn>
                <a:cxn ang="0">
                  <a:pos x="6" y="76"/>
                </a:cxn>
                <a:cxn ang="0">
                  <a:pos x="4" y="73"/>
                </a:cxn>
                <a:cxn ang="0">
                  <a:pos x="0" y="48"/>
                </a:cxn>
                <a:cxn ang="0">
                  <a:pos x="1" y="44"/>
                </a:cxn>
                <a:cxn ang="0">
                  <a:pos x="22" y="23"/>
                </a:cxn>
                <a:cxn ang="0">
                  <a:pos x="26" y="21"/>
                </a:cxn>
                <a:cxn ang="0">
                  <a:pos x="110" y="21"/>
                </a:cxn>
                <a:cxn ang="0">
                  <a:pos x="151" y="1"/>
                </a:cxn>
                <a:cxn ang="0">
                  <a:pos x="153" y="0"/>
                </a:cxn>
                <a:cxn ang="0">
                  <a:pos x="155" y="1"/>
                </a:cxn>
                <a:cxn ang="0">
                  <a:pos x="214" y="35"/>
                </a:cxn>
                <a:cxn ang="0">
                  <a:pos x="258" y="26"/>
                </a:cxn>
                <a:cxn ang="0">
                  <a:pos x="258" y="26"/>
                </a:cxn>
                <a:cxn ang="0">
                  <a:pos x="262" y="27"/>
                </a:cxn>
                <a:cxn ang="0">
                  <a:pos x="263" y="30"/>
                </a:cxn>
                <a:cxn ang="0">
                  <a:pos x="263" y="43"/>
                </a:cxn>
                <a:cxn ang="0">
                  <a:pos x="261" y="47"/>
                </a:cxn>
                <a:cxn ang="0">
                  <a:pos x="231" y="64"/>
                </a:cxn>
                <a:cxn ang="0">
                  <a:pos x="229" y="65"/>
                </a:cxn>
                <a:cxn ang="0">
                  <a:pos x="228" y="64"/>
                </a:cxn>
                <a:cxn ang="0">
                  <a:pos x="149" y="35"/>
                </a:cxn>
                <a:cxn ang="0">
                  <a:pos x="87" y="64"/>
                </a:cxn>
                <a:cxn ang="0">
                  <a:pos x="9" y="77"/>
                </a:cxn>
              </a:cxnLst>
              <a:rect l="0" t="0" r="r" b="b"/>
              <a:pathLst>
                <a:path w="264" h="78">
                  <a:moveTo>
                    <a:pt x="9" y="77"/>
                  </a:moveTo>
                  <a:cubicBezTo>
                    <a:pt x="8" y="77"/>
                    <a:pt x="7" y="77"/>
                    <a:pt x="6" y="76"/>
                  </a:cubicBezTo>
                  <a:cubicBezTo>
                    <a:pt x="5" y="76"/>
                    <a:pt x="4" y="75"/>
                    <a:pt x="4" y="73"/>
                  </a:cubicBezTo>
                  <a:lnTo>
                    <a:pt x="0" y="48"/>
                  </a:lnTo>
                  <a:cubicBezTo>
                    <a:pt x="0" y="47"/>
                    <a:pt x="0" y="45"/>
                    <a:pt x="1" y="44"/>
                  </a:cubicBezTo>
                  <a:lnTo>
                    <a:pt x="22" y="23"/>
                  </a:lnTo>
                  <a:cubicBezTo>
                    <a:pt x="23" y="22"/>
                    <a:pt x="25" y="21"/>
                    <a:pt x="26" y="21"/>
                  </a:cubicBezTo>
                  <a:lnTo>
                    <a:pt x="110" y="21"/>
                  </a:lnTo>
                  <a:lnTo>
                    <a:pt x="151" y="1"/>
                  </a:lnTo>
                  <a:cubicBezTo>
                    <a:pt x="151" y="0"/>
                    <a:pt x="152" y="0"/>
                    <a:pt x="153" y="0"/>
                  </a:cubicBezTo>
                  <a:cubicBezTo>
                    <a:pt x="154" y="0"/>
                    <a:pt x="155" y="0"/>
                    <a:pt x="155" y="1"/>
                  </a:cubicBezTo>
                  <a:lnTo>
                    <a:pt x="214" y="35"/>
                  </a:lnTo>
                  <a:lnTo>
                    <a:pt x="258" y="26"/>
                  </a:lnTo>
                  <a:lnTo>
                    <a:pt x="258" y="26"/>
                  </a:lnTo>
                  <a:cubicBezTo>
                    <a:pt x="260" y="26"/>
                    <a:pt x="261" y="26"/>
                    <a:pt x="262" y="27"/>
                  </a:cubicBezTo>
                  <a:cubicBezTo>
                    <a:pt x="263" y="28"/>
                    <a:pt x="263" y="29"/>
                    <a:pt x="263" y="30"/>
                  </a:cubicBezTo>
                  <a:lnTo>
                    <a:pt x="263" y="43"/>
                  </a:lnTo>
                  <a:cubicBezTo>
                    <a:pt x="263" y="45"/>
                    <a:pt x="263" y="46"/>
                    <a:pt x="261" y="47"/>
                  </a:cubicBezTo>
                  <a:lnTo>
                    <a:pt x="231" y="64"/>
                  </a:lnTo>
                  <a:cubicBezTo>
                    <a:pt x="231" y="64"/>
                    <a:pt x="230" y="65"/>
                    <a:pt x="229" y="65"/>
                  </a:cubicBezTo>
                  <a:cubicBezTo>
                    <a:pt x="229" y="65"/>
                    <a:pt x="228" y="65"/>
                    <a:pt x="228" y="64"/>
                  </a:cubicBezTo>
                  <a:lnTo>
                    <a:pt x="149" y="35"/>
                  </a:lnTo>
                  <a:lnTo>
                    <a:pt x="87" y="64"/>
                  </a:lnTo>
                  <a:lnTo>
                    <a:pt x="9" y="7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3" name="Freeform 188"/>
            <p:cNvSpPr>
              <a:spLocks noChangeArrowheads="1"/>
            </p:cNvSpPr>
            <p:nvPr/>
          </p:nvSpPr>
          <p:spPr bwMode="auto">
            <a:xfrm>
              <a:off x="4144963" y="3402013"/>
              <a:ext cx="138112" cy="200025"/>
            </a:xfrm>
            <a:custGeom>
              <a:avLst/>
              <a:gdLst/>
              <a:ahLst/>
              <a:cxnLst>
                <a:cxn ang="0">
                  <a:pos x="104" y="555"/>
                </a:cxn>
                <a:cxn ang="0">
                  <a:pos x="7" y="517"/>
                </a:cxn>
                <a:cxn ang="0">
                  <a:pos x="4" y="512"/>
                </a:cxn>
                <a:cxn ang="0">
                  <a:pos x="8" y="508"/>
                </a:cxn>
                <a:cxn ang="0">
                  <a:pos x="41" y="504"/>
                </a:cxn>
                <a:cxn ang="0">
                  <a:pos x="38" y="469"/>
                </a:cxn>
                <a:cxn ang="0">
                  <a:pos x="19" y="457"/>
                </a:cxn>
                <a:cxn ang="0">
                  <a:pos x="16" y="454"/>
                </a:cxn>
                <a:cxn ang="0">
                  <a:pos x="0" y="387"/>
                </a:cxn>
                <a:cxn ang="0">
                  <a:pos x="38" y="270"/>
                </a:cxn>
                <a:cxn ang="0">
                  <a:pos x="62" y="249"/>
                </a:cxn>
                <a:cxn ang="0">
                  <a:pos x="38" y="175"/>
                </a:cxn>
                <a:cxn ang="0">
                  <a:pos x="42" y="144"/>
                </a:cxn>
                <a:cxn ang="0">
                  <a:pos x="21" y="44"/>
                </a:cxn>
                <a:cxn ang="0">
                  <a:pos x="25" y="17"/>
                </a:cxn>
                <a:cxn ang="0">
                  <a:pos x="30" y="13"/>
                </a:cxn>
                <a:cxn ang="0">
                  <a:pos x="199" y="17"/>
                </a:cxn>
                <a:cxn ang="0">
                  <a:pos x="253" y="0"/>
                </a:cxn>
                <a:cxn ang="0">
                  <a:pos x="254" y="0"/>
                </a:cxn>
                <a:cxn ang="0">
                  <a:pos x="257" y="1"/>
                </a:cxn>
                <a:cxn ang="0">
                  <a:pos x="270" y="14"/>
                </a:cxn>
                <a:cxn ang="0">
                  <a:pos x="271" y="19"/>
                </a:cxn>
                <a:cxn ang="0">
                  <a:pos x="264" y="46"/>
                </a:cxn>
                <a:cxn ang="0">
                  <a:pos x="300" y="82"/>
                </a:cxn>
                <a:cxn ang="0">
                  <a:pos x="314" y="156"/>
                </a:cxn>
                <a:cxn ang="0">
                  <a:pos x="331" y="368"/>
                </a:cxn>
                <a:cxn ang="0">
                  <a:pos x="380" y="429"/>
                </a:cxn>
                <a:cxn ang="0">
                  <a:pos x="380" y="435"/>
                </a:cxn>
                <a:cxn ang="0">
                  <a:pos x="355" y="465"/>
                </a:cxn>
                <a:cxn ang="0">
                  <a:pos x="352" y="466"/>
                </a:cxn>
                <a:cxn ang="0">
                  <a:pos x="284" y="470"/>
                </a:cxn>
                <a:cxn ang="0">
                  <a:pos x="108" y="555"/>
                </a:cxn>
                <a:cxn ang="0">
                  <a:pos x="106" y="555"/>
                </a:cxn>
                <a:cxn ang="0">
                  <a:pos x="104" y="555"/>
                </a:cxn>
              </a:cxnLst>
              <a:rect l="0" t="0" r="r" b="b"/>
              <a:pathLst>
                <a:path w="383" h="556">
                  <a:moveTo>
                    <a:pt x="104" y="555"/>
                  </a:moveTo>
                  <a:lnTo>
                    <a:pt x="7" y="517"/>
                  </a:lnTo>
                  <a:cubicBezTo>
                    <a:pt x="5" y="516"/>
                    <a:pt x="3" y="514"/>
                    <a:pt x="4" y="512"/>
                  </a:cubicBezTo>
                  <a:cubicBezTo>
                    <a:pt x="4" y="510"/>
                    <a:pt x="6" y="508"/>
                    <a:pt x="8" y="508"/>
                  </a:cubicBezTo>
                  <a:lnTo>
                    <a:pt x="41" y="504"/>
                  </a:lnTo>
                  <a:lnTo>
                    <a:pt x="38" y="469"/>
                  </a:lnTo>
                  <a:lnTo>
                    <a:pt x="19" y="457"/>
                  </a:lnTo>
                  <a:cubicBezTo>
                    <a:pt x="17" y="456"/>
                    <a:pt x="17" y="455"/>
                    <a:pt x="16" y="454"/>
                  </a:cubicBezTo>
                  <a:lnTo>
                    <a:pt x="0" y="387"/>
                  </a:lnTo>
                  <a:lnTo>
                    <a:pt x="38" y="270"/>
                  </a:lnTo>
                  <a:lnTo>
                    <a:pt x="62" y="249"/>
                  </a:lnTo>
                  <a:lnTo>
                    <a:pt x="38" y="175"/>
                  </a:lnTo>
                  <a:lnTo>
                    <a:pt x="42" y="144"/>
                  </a:lnTo>
                  <a:lnTo>
                    <a:pt x="21" y="44"/>
                  </a:lnTo>
                  <a:lnTo>
                    <a:pt x="25" y="17"/>
                  </a:lnTo>
                  <a:cubicBezTo>
                    <a:pt x="25" y="14"/>
                    <a:pt x="27" y="13"/>
                    <a:pt x="30" y="13"/>
                  </a:cubicBezTo>
                  <a:lnTo>
                    <a:pt x="199" y="17"/>
                  </a:lnTo>
                  <a:lnTo>
                    <a:pt x="253" y="0"/>
                  </a:lnTo>
                  <a:lnTo>
                    <a:pt x="254" y="0"/>
                  </a:lnTo>
                  <a:cubicBezTo>
                    <a:pt x="255" y="0"/>
                    <a:pt x="256" y="0"/>
                    <a:pt x="257" y="1"/>
                  </a:cubicBezTo>
                  <a:lnTo>
                    <a:pt x="270" y="14"/>
                  </a:lnTo>
                  <a:cubicBezTo>
                    <a:pt x="271" y="15"/>
                    <a:pt x="272" y="17"/>
                    <a:pt x="271" y="19"/>
                  </a:cubicBezTo>
                  <a:lnTo>
                    <a:pt x="264" y="46"/>
                  </a:lnTo>
                  <a:lnTo>
                    <a:pt x="300" y="82"/>
                  </a:lnTo>
                  <a:lnTo>
                    <a:pt x="314" y="156"/>
                  </a:lnTo>
                  <a:lnTo>
                    <a:pt x="331" y="368"/>
                  </a:lnTo>
                  <a:lnTo>
                    <a:pt x="380" y="429"/>
                  </a:lnTo>
                  <a:cubicBezTo>
                    <a:pt x="382" y="431"/>
                    <a:pt x="382" y="433"/>
                    <a:pt x="380" y="435"/>
                  </a:cubicBezTo>
                  <a:lnTo>
                    <a:pt x="355" y="465"/>
                  </a:lnTo>
                  <a:cubicBezTo>
                    <a:pt x="354" y="465"/>
                    <a:pt x="353" y="466"/>
                    <a:pt x="352" y="466"/>
                  </a:cubicBezTo>
                  <a:lnTo>
                    <a:pt x="284" y="470"/>
                  </a:lnTo>
                  <a:lnTo>
                    <a:pt x="108" y="555"/>
                  </a:lnTo>
                  <a:cubicBezTo>
                    <a:pt x="107" y="555"/>
                    <a:pt x="107" y="555"/>
                    <a:pt x="106" y="555"/>
                  </a:cubicBezTo>
                  <a:cubicBezTo>
                    <a:pt x="105" y="555"/>
                    <a:pt x="105" y="555"/>
                    <a:pt x="104" y="55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4" name="Freeform 189"/>
            <p:cNvSpPr>
              <a:spLocks noChangeArrowheads="1"/>
            </p:cNvSpPr>
            <p:nvPr/>
          </p:nvSpPr>
          <p:spPr bwMode="auto">
            <a:xfrm>
              <a:off x="4144963" y="3402013"/>
              <a:ext cx="138112" cy="200025"/>
            </a:xfrm>
            <a:custGeom>
              <a:avLst/>
              <a:gdLst/>
              <a:ahLst/>
              <a:cxnLst>
                <a:cxn ang="0">
                  <a:pos x="106" y="555"/>
                </a:cxn>
                <a:cxn ang="0">
                  <a:pos x="104" y="555"/>
                </a:cxn>
                <a:cxn ang="0">
                  <a:pos x="7" y="517"/>
                </a:cxn>
                <a:cxn ang="0">
                  <a:pos x="4" y="512"/>
                </a:cxn>
                <a:cxn ang="0">
                  <a:pos x="8" y="508"/>
                </a:cxn>
                <a:cxn ang="0">
                  <a:pos x="41" y="504"/>
                </a:cxn>
                <a:cxn ang="0">
                  <a:pos x="38" y="469"/>
                </a:cxn>
                <a:cxn ang="0">
                  <a:pos x="19" y="457"/>
                </a:cxn>
                <a:cxn ang="0">
                  <a:pos x="16" y="454"/>
                </a:cxn>
                <a:cxn ang="0">
                  <a:pos x="0" y="387"/>
                </a:cxn>
                <a:cxn ang="0">
                  <a:pos x="38" y="270"/>
                </a:cxn>
                <a:cxn ang="0">
                  <a:pos x="62" y="249"/>
                </a:cxn>
                <a:cxn ang="0">
                  <a:pos x="38" y="175"/>
                </a:cxn>
                <a:cxn ang="0">
                  <a:pos x="42" y="144"/>
                </a:cxn>
                <a:cxn ang="0">
                  <a:pos x="21" y="44"/>
                </a:cxn>
                <a:cxn ang="0">
                  <a:pos x="25" y="17"/>
                </a:cxn>
                <a:cxn ang="0">
                  <a:pos x="30" y="13"/>
                </a:cxn>
                <a:cxn ang="0">
                  <a:pos x="199" y="17"/>
                </a:cxn>
                <a:cxn ang="0">
                  <a:pos x="253" y="0"/>
                </a:cxn>
                <a:cxn ang="0">
                  <a:pos x="254" y="0"/>
                </a:cxn>
                <a:cxn ang="0">
                  <a:pos x="257" y="1"/>
                </a:cxn>
                <a:cxn ang="0">
                  <a:pos x="270" y="14"/>
                </a:cxn>
                <a:cxn ang="0">
                  <a:pos x="271" y="19"/>
                </a:cxn>
                <a:cxn ang="0">
                  <a:pos x="264" y="46"/>
                </a:cxn>
                <a:cxn ang="0">
                  <a:pos x="300" y="82"/>
                </a:cxn>
                <a:cxn ang="0">
                  <a:pos x="314" y="156"/>
                </a:cxn>
                <a:cxn ang="0">
                  <a:pos x="331" y="368"/>
                </a:cxn>
                <a:cxn ang="0">
                  <a:pos x="380" y="429"/>
                </a:cxn>
                <a:cxn ang="0">
                  <a:pos x="380" y="435"/>
                </a:cxn>
                <a:cxn ang="0">
                  <a:pos x="355" y="465"/>
                </a:cxn>
                <a:cxn ang="0">
                  <a:pos x="352" y="466"/>
                </a:cxn>
                <a:cxn ang="0">
                  <a:pos x="284" y="470"/>
                </a:cxn>
                <a:cxn ang="0">
                  <a:pos x="108" y="555"/>
                </a:cxn>
                <a:cxn ang="0">
                  <a:pos x="106" y="555"/>
                </a:cxn>
              </a:cxnLst>
              <a:rect l="0" t="0" r="r" b="b"/>
              <a:pathLst>
                <a:path w="383" h="556">
                  <a:moveTo>
                    <a:pt x="106" y="555"/>
                  </a:moveTo>
                  <a:cubicBezTo>
                    <a:pt x="105" y="555"/>
                    <a:pt x="105" y="555"/>
                    <a:pt x="104" y="555"/>
                  </a:cubicBezTo>
                  <a:lnTo>
                    <a:pt x="7" y="517"/>
                  </a:lnTo>
                  <a:cubicBezTo>
                    <a:pt x="5" y="516"/>
                    <a:pt x="3" y="514"/>
                    <a:pt x="4" y="512"/>
                  </a:cubicBezTo>
                  <a:cubicBezTo>
                    <a:pt x="4" y="510"/>
                    <a:pt x="6" y="508"/>
                    <a:pt x="8" y="508"/>
                  </a:cubicBezTo>
                  <a:lnTo>
                    <a:pt x="41" y="504"/>
                  </a:lnTo>
                  <a:lnTo>
                    <a:pt x="38" y="469"/>
                  </a:lnTo>
                  <a:lnTo>
                    <a:pt x="19" y="457"/>
                  </a:lnTo>
                  <a:cubicBezTo>
                    <a:pt x="17" y="456"/>
                    <a:pt x="17" y="455"/>
                    <a:pt x="16" y="454"/>
                  </a:cubicBezTo>
                  <a:lnTo>
                    <a:pt x="0" y="387"/>
                  </a:lnTo>
                  <a:lnTo>
                    <a:pt x="38" y="270"/>
                  </a:lnTo>
                  <a:lnTo>
                    <a:pt x="62" y="249"/>
                  </a:lnTo>
                  <a:lnTo>
                    <a:pt x="38" y="175"/>
                  </a:lnTo>
                  <a:lnTo>
                    <a:pt x="42" y="144"/>
                  </a:lnTo>
                  <a:lnTo>
                    <a:pt x="21" y="44"/>
                  </a:lnTo>
                  <a:lnTo>
                    <a:pt x="25" y="17"/>
                  </a:lnTo>
                  <a:cubicBezTo>
                    <a:pt x="25" y="14"/>
                    <a:pt x="27" y="13"/>
                    <a:pt x="30" y="13"/>
                  </a:cubicBezTo>
                  <a:lnTo>
                    <a:pt x="199" y="17"/>
                  </a:lnTo>
                  <a:lnTo>
                    <a:pt x="253" y="0"/>
                  </a:lnTo>
                  <a:lnTo>
                    <a:pt x="254" y="0"/>
                  </a:lnTo>
                  <a:cubicBezTo>
                    <a:pt x="255" y="0"/>
                    <a:pt x="256" y="0"/>
                    <a:pt x="257" y="1"/>
                  </a:cubicBezTo>
                  <a:lnTo>
                    <a:pt x="270" y="14"/>
                  </a:lnTo>
                  <a:cubicBezTo>
                    <a:pt x="271" y="15"/>
                    <a:pt x="272" y="17"/>
                    <a:pt x="271" y="19"/>
                  </a:cubicBezTo>
                  <a:lnTo>
                    <a:pt x="264" y="46"/>
                  </a:lnTo>
                  <a:lnTo>
                    <a:pt x="300" y="82"/>
                  </a:lnTo>
                  <a:lnTo>
                    <a:pt x="314" y="156"/>
                  </a:lnTo>
                  <a:lnTo>
                    <a:pt x="331" y="368"/>
                  </a:lnTo>
                  <a:lnTo>
                    <a:pt x="380" y="429"/>
                  </a:lnTo>
                  <a:cubicBezTo>
                    <a:pt x="382" y="431"/>
                    <a:pt x="382" y="433"/>
                    <a:pt x="380" y="435"/>
                  </a:cubicBezTo>
                  <a:lnTo>
                    <a:pt x="355" y="465"/>
                  </a:lnTo>
                  <a:cubicBezTo>
                    <a:pt x="354" y="465"/>
                    <a:pt x="353" y="466"/>
                    <a:pt x="352" y="466"/>
                  </a:cubicBezTo>
                  <a:lnTo>
                    <a:pt x="284" y="470"/>
                  </a:lnTo>
                  <a:lnTo>
                    <a:pt x="108" y="555"/>
                  </a:lnTo>
                  <a:cubicBezTo>
                    <a:pt x="107" y="555"/>
                    <a:pt x="107" y="555"/>
                    <a:pt x="106" y="55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5" name="Freeform 190"/>
            <p:cNvSpPr>
              <a:spLocks noChangeArrowheads="1"/>
            </p:cNvSpPr>
            <p:nvPr/>
          </p:nvSpPr>
          <p:spPr bwMode="auto">
            <a:xfrm>
              <a:off x="3786188" y="3354388"/>
              <a:ext cx="227012" cy="171450"/>
            </a:xfrm>
            <a:custGeom>
              <a:avLst/>
              <a:gdLst/>
              <a:ahLst/>
              <a:cxnLst>
                <a:cxn ang="0">
                  <a:pos x="467" y="459"/>
                </a:cxn>
                <a:cxn ang="0">
                  <a:pos x="480" y="417"/>
                </a:cxn>
                <a:cxn ang="0">
                  <a:pos x="453" y="361"/>
                </a:cxn>
                <a:cxn ang="0">
                  <a:pos x="404" y="377"/>
                </a:cxn>
                <a:cxn ang="0">
                  <a:pos x="399" y="372"/>
                </a:cxn>
                <a:cxn ang="0">
                  <a:pos x="372" y="381"/>
                </a:cxn>
                <a:cxn ang="0">
                  <a:pos x="367" y="380"/>
                </a:cxn>
                <a:cxn ang="0">
                  <a:pos x="382" y="327"/>
                </a:cxn>
                <a:cxn ang="0">
                  <a:pos x="232" y="250"/>
                </a:cxn>
                <a:cxn ang="0">
                  <a:pos x="179" y="314"/>
                </a:cxn>
                <a:cxn ang="0">
                  <a:pos x="154" y="312"/>
                </a:cxn>
                <a:cxn ang="0">
                  <a:pos x="67" y="228"/>
                </a:cxn>
                <a:cxn ang="0">
                  <a:pos x="22" y="177"/>
                </a:cxn>
                <a:cxn ang="0">
                  <a:pos x="18" y="178"/>
                </a:cxn>
                <a:cxn ang="0">
                  <a:pos x="2" y="159"/>
                </a:cxn>
                <a:cxn ang="0">
                  <a:pos x="44" y="107"/>
                </a:cxn>
                <a:cxn ang="0">
                  <a:pos x="103" y="52"/>
                </a:cxn>
                <a:cxn ang="0">
                  <a:pos x="123" y="32"/>
                </a:cxn>
                <a:cxn ang="0">
                  <a:pos x="117" y="1"/>
                </a:cxn>
                <a:cxn ang="0">
                  <a:pos x="121" y="0"/>
                </a:cxn>
                <a:cxn ang="0">
                  <a:pos x="323" y="25"/>
                </a:cxn>
                <a:cxn ang="0">
                  <a:pos x="328" y="30"/>
                </a:cxn>
                <a:cxn ang="0">
                  <a:pos x="356" y="42"/>
                </a:cxn>
                <a:cxn ang="0">
                  <a:pos x="361" y="43"/>
                </a:cxn>
                <a:cxn ang="0">
                  <a:pos x="405" y="43"/>
                </a:cxn>
                <a:cxn ang="0">
                  <a:pos x="409" y="42"/>
                </a:cxn>
                <a:cxn ang="0">
                  <a:pos x="485" y="22"/>
                </a:cxn>
                <a:cxn ang="0">
                  <a:pos x="510" y="21"/>
                </a:cxn>
                <a:cxn ang="0">
                  <a:pos x="535" y="92"/>
                </a:cxn>
                <a:cxn ang="0">
                  <a:pos x="574" y="118"/>
                </a:cxn>
                <a:cxn ang="0">
                  <a:pos x="553" y="146"/>
                </a:cxn>
                <a:cxn ang="0">
                  <a:pos x="573" y="139"/>
                </a:cxn>
                <a:cxn ang="0">
                  <a:pos x="578" y="144"/>
                </a:cxn>
                <a:cxn ang="0">
                  <a:pos x="602" y="217"/>
                </a:cxn>
                <a:cxn ang="0">
                  <a:pos x="587" y="243"/>
                </a:cxn>
                <a:cxn ang="0">
                  <a:pos x="613" y="283"/>
                </a:cxn>
                <a:cxn ang="0">
                  <a:pos x="625" y="320"/>
                </a:cxn>
                <a:cxn ang="0">
                  <a:pos x="613" y="338"/>
                </a:cxn>
                <a:cxn ang="0">
                  <a:pos x="620" y="342"/>
                </a:cxn>
                <a:cxn ang="0">
                  <a:pos x="628" y="380"/>
                </a:cxn>
                <a:cxn ang="0">
                  <a:pos x="582" y="374"/>
                </a:cxn>
                <a:cxn ang="0">
                  <a:pos x="601" y="394"/>
                </a:cxn>
                <a:cxn ang="0">
                  <a:pos x="586" y="442"/>
                </a:cxn>
                <a:cxn ang="0">
                  <a:pos x="556" y="445"/>
                </a:cxn>
                <a:cxn ang="0">
                  <a:pos x="518" y="472"/>
                </a:cxn>
                <a:cxn ang="0">
                  <a:pos x="513" y="474"/>
                </a:cxn>
              </a:cxnLst>
              <a:rect l="0" t="0" r="r" b="b"/>
              <a:pathLst>
                <a:path w="630" h="475">
                  <a:moveTo>
                    <a:pt x="470" y="461"/>
                  </a:moveTo>
                  <a:cubicBezTo>
                    <a:pt x="469" y="461"/>
                    <a:pt x="468" y="460"/>
                    <a:pt x="467" y="459"/>
                  </a:cubicBezTo>
                  <a:cubicBezTo>
                    <a:pt x="467" y="458"/>
                    <a:pt x="467" y="457"/>
                    <a:pt x="467" y="455"/>
                  </a:cubicBezTo>
                  <a:lnTo>
                    <a:pt x="480" y="417"/>
                  </a:lnTo>
                  <a:lnTo>
                    <a:pt x="467" y="378"/>
                  </a:lnTo>
                  <a:lnTo>
                    <a:pt x="453" y="361"/>
                  </a:lnTo>
                  <a:lnTo>
                    <a:pt x="405" y="377"/>
                  </a:lnTo>
                  <a:lnTo>
                    <a:pt x="404" y="377"/>
                  </a:lnTo>
                  <a:cubicBezTo>
                    <a:pt x="403" y="377"/>
                    <a:pt x="402" y="377"/>
                    <a:pt x="401" y="376"/>
                  </a:cubicBezTo>
                  <a:cubicBezTo>
                    <a:pt x="400" y="375"/>
                    <a:pt x="399" y="374"/>
                    <a:pt x="399" y="372"/>
                  </a:cubicBezTo>
                  <a:lnTo>
                    <a:pt x="399" y="371"/>
                  </a:lnTo>
                  <a:lnTo>
                    <a:pt x="372" y="381"/>
                  </a:lnTo>
                  <a:cubicBezTo>
                    <a:pt x="371" y="381"/>
                    <a:pt x="370" y="381"/>
                    <a:pt x="370" y="381"/>
                  </a:cubicBezTo>
                  <a:cubicBezTo>
                    <a:pt x="369" y="381"/>
                    <a:pt x="368" y="381"/>
                    <a:pt x="367" y="380"/>
                  </a:cubicBezTo>
                  <a:cubicBezTo>
                    <a:pt x="365" y="379"/>
                    <a:pt x="365" y="377"/>
                    <a:pt x="365" y="375"/>
                  </a:cubicBezTo>
                  <a:lnTo>
                    <a:pt x="382" y="327"/>
                  </a:lnTo>
                  <a:lnTo>
                    <a:pt x="325" y="246"/>
                  </a:lnTo>
                  <a:lnTo>
                    <a:pt x="232" y="250"/>
                  </a:lnTo>
                  <a:lnTo>
                    <a:pt x="183" y="312"/>
                  </a:lnTo>
                  <a:cubicBezTo>
                    <a:pt x="182" y="313"/>
                    <a:pt x="181" y="314"/>
                    <a:pt x="179" y="314"/>
                  </a:cubicBezTo>
                  <a:lnTo>
                    <a:pt x="158" y="314"/>
                  </a:lnTo>
                  <a:cubicBezTo>
                    <a:pt x="157" y="314"/>
                    <a:pt x="155" y="313"/>
                    <a:pt x="154" y="312"/>
                  </a:cubicBezTo>
                  <a:lnTo>
                    <a:pt x="104" y="249"/>
                  </a:lnTo>
                  <a:lnTo>
                    <a:pt x="67" y="228"/>
                  </a:lnTo>
                  <a:lnTo>
                    <a:pt x="34" y="165"/>
                  </a:lnTo>
                  <a:lnTo>
                    <a:pt x="22" y="177"/>
                  </a:lnTo>
                  <a:cubicBezTo>
                    <a:pt x="21" y="178"/>
                    <a:pt x="20" y="178"/>
                    <a:pt x="18" y="178"/>
                  </a:cubicBezTo>
                  <a:lnTo>
                    <a:pt x="18" y="178"/>
                  </a:lnTo>
                  <a:cubicBezTo>
                    <a:pt x="17" y="178"/>
                    <a:pt x="15" y="177"/>
                    <a:pt x="15" y="176"/>
                  </a:cubicBezTo>
                  <a:lnTo>
                    <a:pt x="2" y="159"/>
                  </a:lnTo>
                  <a:cubicBezTo>
                    <a:pt x="0" y="158"/>
                    <a:pt x="1" y="155"/>
                    <a:pt x="2" y="154"/>
                  </a:cubicBezTo>
                  <a:lnTo>
                    <a:pt x="44" y="107"/>
                  </a:lnTo>
                  <a:lnTo>
                    <a:pt x="114" y="90"/>
                  </a:lnTo>
                  <a:lnTo>
                    <a:pt x="103" y="52"/>
                  </a:lnTo>
                  <a:cubicBezTo>
                    <a:pt x="102" y="50"/>
                    <a:pt x="103" y="48"/>
                    <a:pt x="104" y="47"/>
                  </a:cubicBezTo>
                  <a:lnTo>
                    <a:pt x="123" y="32"/>
                  </a:lnTo>
                  <a:lnTo>
                    <a:pt x="115" y="6"/>
                  </a:lnTo>
                  <a:cubicBezTo>
                    <a:pt x="115" y="4"/>
                    <a:pt x="115" y="2"/>
                    <a:pt x="117" y="1"/>
                  </a:cubicBezTo>
                  <a:cubicBezTo>
                    <a:pt x="117" y="0"/>
                    <a:pt x="119" y="0"/>
                    <a:pt x="120" y="0"/>
                  </a:cubicBezTo>
                  <a:lnTo>
                    <a:pt x="121" y="0"/>
                  </a:lnTo>
                  <a:lnTo>
                    <a:pt x="240" y="29"/>
                  </a:lnTo>
                  <a:lnTo>
                    <a:pt x="323" y="25"/>
                  </a:lnTo>
                  <a:cubicBezTo>
                    <a:pt x="325" y="25"/>
                    <a:pt x="326" y="26"/>
                    <a:pt x="327" y="27"/>
                  </a:cubicBezTo>
                  <a:cubicBezTo>
                    <a:pt x="328" y="28"/>
                    <a:pt x="328" y="29"/>
                    <a:pt x="328" y="30"/>
                  </a:cubicBezTo>
                  <a:lnTo>
                    <a:pt x="325" y="52"/>
                  </a:lnTo>
                  <a:lnTo>
                    <a:pt x="356" y="42"/>
                  </a:lnTo>
                  <a:lnTo>
                    <a:pt x="357" y="42"/>
                  </a:lnTo>
                  <a:cubicBezTo>
                    <a:pt x="358" y="42"/>
                    <a:pt x="360" y="42"/>
                    <a:pt x="361" y="43"/>
                  </a:cubicBezTo>
                  <a:lnTo>
                    <a:pt x="383" y="65"/>
                  </a:lnTo>
                  <a:lnTo>
                    <a:pt x="405" y="43"/>
                  </a:lnTo>
                  <a:cubicBezTo>
                    <a:pt x="406" y="42"/>
                    <a:pt x="407" y="42"/>
                    <a:pt x="408" y="42"/>
                  </a:cubicBezTo>
                  <a:lnTo>
                    <a:pt x="409" y="42"/>
                  </a:lnTo>
                  <a:lnTo>
                    <a:pt x="453" y="54"/>
                  </a:lnTo>
                  <a:lnTo>
                    <a:pt x="485" y="22"/>
                  </a:lnTo>
                  <a:cubicBezTo>
                    <a:pt x="486" y="21"/>
                    <a:pt x="487" y="21"/>
                    <a:pt x="489" y="21"/>
                  </a:cubicBezTo>
                  <a:lnTo>
                    <a:pt x="510" y="21"/>
                  </a:lnTo>
                  <a:cubicBezTo>
                    <a:pt x="512" y="21"/>
                    <a:pt x="514" y="22"/>
                    <a:pt x="514" y="24"/>
                  </a:cubicBezTo>
                  <a:lnTo>
                    <a:pt x="535" y="92"/>
                  </a:lnTo>
                  <a:lnTo>
                    <a:pt x="572" y="115"/>
                  </a:lnTo>
                  <a:cubicBezTo>
                    <a:pt x="573" y="115"/>
                    <a:pt x="573" y="117"/>
                    <a:pt x="574" y="118"/>
                  </a:cubicBezTo>
                  <a:cubicBezTo>
                    <a:pt x="574" y="119"/>
                    <a:pt x="574" y="120"/>
                    <a:pt x="573" y="121"/>
                  </a:cubicBezTo>
                  <a:lnTo>
                    <a:pt x="553" y="146"/>
                  </a:lnTo>
                  <a:lnTo>
                    <a:pt x="572" y="140"/>
                  </a:lnTo>
                  <a:cubicBezTo>
                    <a:pt x="572" y="139"/>
                    <a:pt x="573" y="139"/>
                    <a:pt x="573" y="139"/>
                  </a:cubicBezTo>
                  <a:cubicBezTo>
                    <a:pt x="574" y="139"/>
                    <a:pt x="575" y="140"/>
                    <a:pt x="576" y="140"/>
                  </a:cubicBezTo>
                  <a:cubicBezTo>
                    <a:pt x="577" y="141"/>
                    <a:pt x="578" y="142"/>
                    <a:pt x="578" y="144"/>
                  </a:cubicBezTo>
                  <a:lnTo>
                    <a:pt x="578" y="186"/>
                  </a:lnTo>
                  <a:lnTo>
                    <a:pt x="602" y="217"/>
                  </a:lnTo>
                  <a:cubicBezTo>
                    <a:pt x="604" y="219"/>
                    <a:pt x="604" y="221"/>
                    <a:pt x="602" y="223"/>
                  </a:cubicBezTo>
                  <a:lnTo>
                    <a:pt x="587" y="243"/>
                  </a:lnTo>
                  <a:lnTo>
                    <a:pt x="590" y="276"/>
                  </a:lnTo>
                  <a:lnTo>
                    <a:pt x="613" y="283"/>
                  </a:lnTo>
                  <a:cubicBezTo>
                    <a:pt x="615" y="284"/>
                    <a:pt x="616" y="285"/>
                    <a:pt x="616" y="287"/>
                  </a:cubicBezTo>
                  <a:lnTo>
                    <a:pt x="625" y="320"/>
                  </a:lnTo>
                  <a:cubicBezTo>
                    <a:pt x="625" y="322"/>
                    <a:pt x="625" y="324"/>
                    <a:pt x="623" y="325"/>
                  </a:cubicBezTo>
                  <a:lnTo>
                    <a:pt x="613" y="338"/>
                  </a:lnTo>
                  <a:lnTo>
                    <a:pt x="616" y="338"/>
                  </a:lnTo>
                  <a:cubicBezTo>
                    <a:pt x="618" y="338"/>
                    <a:pt x="620" y="340"/>
                    <a:pt x="620" y="342"/>
                  </a:cubicBezTo>
                  <a:lnTo>
                    <a:pt x="629" y="376"/>
                  </a:lnTo>
                  <a:cubicBezTo>
                    <a:pt x="629" y="377"/>
                    <a:pt x="629" y="379"/>
                    <a:pt x="628" y="380"/>
                  </a:cubicBezTo>
                  <a:cubicBezTo>
                    <a:pt x="627" y="381"/>
                    <a:pt x="625" y="381"/>
                    <a:pt x="624" y="381"/>
                  </a:cubicBezTo>
                  <a:lnTo>
                    <a:pt x="582" y="374"/>
                  </a:lnTo>
                  <a:lnTo>
                    <a:pt x="582" y="382"/>
                  </a:lnTo>
                  <a:lnTo>
                    <a:pt x="601" y="394"/>
                  </a:lnTo>
                  <a:cubicBezTo>
                    <a:pt x="603" y="395"/>
                    <a:pt x="604" y="397"/>
                    <a:pt x="603" y="400"/>
                  </a:cubicBezTo>
                  <a:lnTo>
                    <a:pt x="586" y="442"/>
                  </a:lnTo>
                  <a:cubicBezTo>
                    <a:pt x="585" y="444"/>
                    <a:pt x="584" y="445"/>
                    <a:pt x="582" y="445"/>
                  </a:cubicBezTo>
                  <a:lnTo>
                    <a:pt x="556" y="445"/>
                  </a:lnTo>
                  <a:lnTo>
                    <a:pt x="541" y="438"/>
                  </a:lnTo>
                  <a:lnTo>
                    <a:pt x="518" y="472"/>
                  </a:lnTo>
                  <a:cubicBezTo>
                    <a:pt x="517" y="474"/>
                    <a:pt x="515" y="474"/>
                    <a:pt x="514" y="474"/>
                  </a:cubicBezTo>
                  <a:lnTo>
                    <a:pt x="513" y="474"/>
                  </a:lnTo>
                  <a:lnTo>
                    <a:pt x="470" y="46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6" name="Freeform 191"/>
            <p:cNvSpPr>
              <a:spLocks noChangeArrowheads="1"/>
            </p:cNvSpPr>
            <p:nvPr/>
          </p:nvSpPr>
          <p:spPr bwMode="auto">
            <a:xfrm>
              <a:off x="3786188" y="3354388"/>
              <a:ext cx="227012" cy="171450"/>
            </a:xfrm>
            <a:custGeom>
              <a:avLst/>
              <a:gdLst/>
              <a:ahLst/>
              <a:cxnLst>
                <a:cxn ang="0">
                  <a:pos x="470" y="461"/>
                </a:cxn>
                <a:cxn ang="0">
                  <a:pos x="467" y="455"/>
                </a:cxn>
                <a:cxn ang="0">
                  <a:pos x="467" y="378"/>
                </a:cxn>
                <a:cxn ang="0">
                  <a:pos x="405" y="377"/>
                </a:cxn>
                <a:cxn ang="0">
                  <a:pos x="401" y="376"/>
                </a:cxn>
                <a:cxn ang="0">
                  <a:pos x="399" y="371"/>
                </a:cxn>
                <a:cxn ang="0">
                  <a:pos x="370" y="381"/>
                </a:cxn>
                <a:cxn ang="0">
                  <a:pos x="365" y="375"/>
                </a:cxn>
                <a:cxn ang="0">
                  <a:pos x="325" y="246"/>
                </a:cxn>
                <a:cxn ang="0">
                  <a:pos x="183" y="312"/>
                </a:cxn>
                <a:cxn ang="0">
                  <a:pos x="158" y="314"/>
                </a:cxn>
                <a:cxn ang="0">
                  <a:pos x="104" y="249"/>
                </a:cxn>
                <a:cxn ang="0">
                  <a:pos x="34" y="165"/>
                </a:cxn>
                <a:cxn ang="0">
                  <a:pos x="18" y="178"/>
                </a:cxn>
                <a:cxn ang="0">
                  <a:pos x="15" y="176"/>
                </a:cxn>
                <a:cxn ang="0">
                  <a:pos x="2" y="154"/>
                </a:cxn>
                <a:cxn ang="0">
                  <a:pos x="114" y="90"/>
                </a:cxn>
                <a:cxn ang="0">
                  <a:pos x="104" y="47"/>
                </a:cxn>
                <a:cxn ang="0">
                  <a:pos x="115" y="6"/>
                </a:cxn>
                <a:cxn ang="0">
                  <a:pos x="120" y="0"/>
                </a:cxn>
                <a:cxn ang="0">
                  <a:pos x="240" y="29"/>
                </a:cxn>
                <a:cxn ang="0">
                  <a:pos x="327" y="27"/>
                </a:cxn>
                <a:cxn ang="0">
                  <a:pos x="325" y="52"/>
                </a:cxn>
                <a:cxn ang="0">
                  <a:pos x="357" y="42"/>
                </a:cxn>
                <a:cxn ang="0">
                  <a:pos x="383" y="65"/>
                </a:cxn>
                <a:cxn ang="0">
                  <a:pos x="408" y="42"/>
                </a:cxn>
                <a:cxn ang="0">
                  <a:pos x="453" y="54"/>
                </a:cxn>
                <a:cxn ang="0">
                  <a:pos x="489" y="21"/>
                </a:cxn>
                <a:cxn ang="0">
                  <a:pos x="514" y="24"/>
                </a:cxn>
                <a:cxn ang="0">
                  <a:pos x="572" y="115"/>
                </a:cxn>
                <a:cxn ang="0">
                  <a:pos x="573" y="121"/>
                </a:cxn>
                <a:cxn ang="0">
                  <a:pos x="572" y="140"/>
                </a:cxn>
                <a:cxn ang="0">
                  <a:pos x="576" y="140"/>
                </a:cxn>
                <a:cxn ang="0">
                  <a:pos x="578" y="186"/>
                </a:cxn>
                <a:cxn ang="0">
                  <a:pos x="602" y="223"/>
                </a:cxn>
                <a:cxn ang="0">
                  <a:pos x="590" y="276"/>
                </a:cxn>
                <a:cxn ang="0">
                  <a:pos x="616" y="287"/>
                </a:cxn>
                <a:cxn ang="0">
                  <a:pos x="623" y="325"/>
                </a:cxn>
                <a:cxn ang="0">
                  <a:pos x="616" y="338"/>
                </a:cxn>
                <a:cxn ang="0">
                  <a:pos x="629" y="376"/>
                </a:cxn>
                <a:cxn ang="0">
                  <a:pos x="624" y="381"/>
                </a:cxn>
                <a:cxn ang="0">
                  <a:pos x="582" y="382"/>
                </a:cxn>
                <a:cxn ang="0">
                  <a:pos x="603" y="400"/>
                </a:cxn>
                <a:cxn ang="0">
                  <a:pos x="582" y="445"/>
                </a:cxn>
                <a:cxn ang="0">
                  <a:pos x="541" y="438"/>
                </a:cxn>
                <a:cxn ang="0">
                  <a:pos x="514" y="474"/>
                </a:cxn>
              </a:cxnLst>
              <a:rect l="0" t="0" r="r" b="b"/>
              <a:pathLst>
                <a:path w="630" h="475">
                  <a:moveTo>
                    <a:pt x="513" y="474"/>
                  </a:moveTo>
                  <a:lnTo>
                    <a:pt x="470" y="461"/>
                  </a:lnTo>
                  <a:cubicBezTo>
                    <a:pt x="469" y="461"/>
                    <a:pt x="468" y="460"/>
                    <a:pt x="467" y="459"/>
                  </a:cubicBezTo>
                  <a:cubicBezTo>
                    <a:pt x="467" y="458"/>
                    <a:pt x="467" y="457"/>
                    <a:pt x="467" y="455"/>
                  </a:cubicBezTo>
                  <a:lnTo>
                    <a:pt x="480" y="417"/>
                  </a:lnTo>
                  <a:lnTo>
                    <a:pt x="467" y="378"/>
                  </a:lnTo>
                  <a:lnTo>
                    <a:pt x="453" y="361"/>
                  </a:lnTo>
                  <a:lnTo>
                    <a:pt x="405" y="377"/>
                  </a:lnTo>
                  <a:lnTo>
                    <a:pt x="404" y="377"/>
                  </a:lnTo>
                  <a:cubicBezTo>
                    <a:pt x="403" y="377"/>
                    <a:pt x="402" y="377"/>
                    <a:pt x="401" y="376"/>
                  </a:cubicBezTo>
                  <a:cubicBezTo>
                    <a:pt x="400" y="375"/>
                    <a:pt x="399" y="374"/>
                    <a:pt x="399" y="372"/>
                  </a:cubicBezTo>
                  <a:lnTo>
                    <a:pt x="399" y="371"/>
                  </a:lnTo>
                  <a:lnTo>
                    <a:pt x="372" y="381"/>
                  </a:lnTo>
                  <a:cubicBezTo>
                    <a:pt x="371" y="381"/>
                    <a:pt x="370" y="381"/>
                    <a:pt x="370" y="381"/>
                  </a:cubicBezTo>
                  <a:cubicBezTo>
                    <a:pt x="369" y="381"/>
                    <a:pt x="368" y="381"/>
                    <a:pt x="367" y="380"/>
                  </a:cubicBezTo>
                  <a:cubicBezTo>
                    <a:pt x="365" y="379"/>
                    <a:pt x="365" y="377"/>
                    <a:pt x="365" y="375"/>
                  </a:cubicBezTo>
                  <a:lnTo>
                    <a:pt x="382" y="327"/>
                  </a:lnTo>
                  <a:lnTo>
                    <a:pt x="325" y="246"/>
                  </a:lnTo>
                  <a:lnTo>
                    <a:pt x="232" y="250"/>
                  </a:lnTo>
                  <a:lnTo>
                    <a:pt x="183" y="312"/>
                  </a:lnTo>
                  <a:cubicBezTo>
                    <a:pt x="182" y="313"/>
                    <a:pt x="181" y="314"/>
                    <a:pt x="179" y="314"/>
                  </a:cubicBezTo>
                  <a:lnTo>
                    <a:pt x="158" y="314"/>
                  </a:lnTo>
                  <a:cubicBezTo>
                    <a:pt x="157" y="314"/>
                    <a:pt x="155" y="313"/>
                    <a:pt x="154" y="312"/>
                  </a:cubicBezTo>
                  <a:lnTo>
                    <a:pt x="104" y="249"/>
                  </a:lnTo>
                  <a:lnTo>
                    <a:pt x="67" y="228"/>
                  </a:lnTo>
                  <a:lnTo>
                    <a:pt x="34" y="165"/>
                  </a:lnTo>
                  <a:lnTo>
                    <a:pt x="22" y="177"/>
                  </a:lnTo>
                  <a:cubicBezTo>
                    <a:pt x="21" y="178"/>
                    <a:pt x="20" y="178"/>
                    <a:pt x="18" y="178"/>
                  </a:cubicBezTo>
                  <a:lnTo>
                    <a:pt x="18" y="178"/>
                  </a:lnTo>
                  <a:cubicBezTo>
                    <a:pt x="17" y="178"/>
                    <a:pt x="15" y="177"/>
                    <a:pt x="15" y="176"/>
                  </a:cubicBezTo>
                  <a:lnTo>
                    <a:pt x="2" y="159"/>
                  </a:lnTo>
                  <a:cubicBezTo>
                    <a:pt x="0" y="158"/>
                    <a:pt x="1" y="155"/>
                    <a:pt x="2" y="154"/>
                  </a:cubicBezTo>
                  <a:lnTo>
                    <a:pt x="44" y="107"/>
                  </a:lnTo>
                  <a:lnTo>
                    <a:pt x="114" y="90"/>
                  </a:lnTo>
                  <a:lnTo>
                    <a:pt x="103" y="52"/>
                  </a:lnTo>
                  <a:cubicBezTo>
                    <a:pt x="102" y="50"/>
                    <a:pt x="103" y="48"/>
                    <a:pt x="104" y="47"/>
                  </a:cubicBezTo>
                  <a:lnTo>
                    <a:pt x="123" y="32"/>
                  </a:lnTo>
                  <a:lnTo>
                    <a:pt x="115" y="6"/>
                  </a:lnTo>
                  <a:cubicBezTo>
                    <a:pt x="115" y="4"/>
                    <a:pt x="115" y="2"/>
                    <a:pt x="117" y="1"/>
                  </a:cubicBezTo>
                  <a:cubicBezTo>
                    <a:pt x="117" y="0"/>
                    <a:pt x="119" y="0"/>
                    <a:pt x="120" y="0"/>
                  </a:cubicBezTo>
                  <a:lnTo>
                    <a:pt x="121" y="0"/>
                  </a:lnTo>
                  <a:lnTo>
                    <a:pt x="240" y="29"/>
                  </a:lnTo>
                  <a:lnTo>
                    <a:pt x="323" y="25"/>
                  </a:lnTo>
                  <a:cubicBezTo>
                    <a:pt x="325" y="25"/>
                    <a:pt x="326" y="26"/>
                    <a:pt x="327" y="27"/>
                  </a:cubicBezTo>
                  <a:cubicBezTo>
                    <a:pt x="328" y="28"/>
                    <a:pt x="328" y="29"/>
                    <a:pt x="328" y="30"/>
                  </a:cubicBezTo>
                  <a:lnTo>
                    <a:pt x="325" y="52"/>
                  </a:lnTo>
                  <a:lnTo>
                    <a:pt x="356" y="42"/>
                  </a:lnTo>
                  <a:lnTo>
                    <a:pt x="357" y="42"/>
                  </a:lnTo>
                  <a:cubicBezTo>
                    <a:pt x="358" y="42"/>
                    <a:pt x="360" y="42"/>
                    <a:pt x="361" y="43"/>
                  </a:cubicBezTo>
                  <a:lnTo>
                    <a:pt x="383" y="65"/>
                  </a:lnTo>
                  <a:lnTo>
                    <a:pt x="405" y="43"/>
                  </a:lnTo>
                  <a:cubicBezTo>
                    <a:pt x="406" y="42"/>
                    <a:pt x="407" y="42"/>
                    <a:pt x="408" y="42"/>
                  </a:cubicBezTo>
                  <a:lnTo>
                    <a:pt x="409" y="42"/>
                  </a:lnTo>
                  <a:lnTo>
                    <a:pt x="453" y="54"/>
                  </a:lnTo>
                  <a:lnTo>
                    <a:pt x="485" y="22"/>
                  </a:lnTo>
                  <a:cubicBezTo>
                    <a:pt x="486" y="21"/>
                    <a:pt x="487" y="21"/>
                    <a:pt x="489" y="21"/>
                  </a:cubicBezTo>
                  <a:lnTo>
                    <a:pt x="510" y="21"/>
                  </a:lnTo>
                  <a:cubicBezTo>
                    <a:pt x="512" y="21"/>
                    <a:pt x="514" y="22"/>
                    <a:pt x="514" y="24"/>
                  </a:cubicBezTo>
                  <a:lnTo>
                    <a:pt x="535" y="92"/>
                  </a:lnTo>
                  <a:lnTo>
                    <a:pt x="572" y="115"/>
                  </a:lnTo>
                  <a:cubicBezTo>
                    <a:pt x="573" y="115"/>
                    <a:pt x="573" y="117"/>
                    <a:pt x="574" y="118"/>
                  </a:cubicBezTo>
                  <a:cubicBezTo>
                    <a:pt x="574" y="119"/>
                    <a:pt x="574" y="120"/>
                    <a:pt x="573" y="121"/>
                  </a:cubicBezTo>
                  <a:lnTo>
                    <a:pt x="553" y="146"/>
                  </a:lnTo>
                  <a:lnTo>
                    <a:pt x="572" y="140"/>
                  </a:lnTo>
                  <a:cubicBezTo>
                    <a:pt x="572" y="139"/>
                    <a:pt x="573" y="139"/>
                    <a:pt x="573" y="139"/>
                  </a:cubicBezTo>
                  <a:cubicBezTo>
                    <a:pt x="574" y="139"/>
                    <a:pt x="575" y="140"/>
                    <a:pt x="576" y="140"/>
                  </a:cubicBezTo>
                  <a:cubicBezTo>
                    <a:pt x="577" y="141"/>
                    <a:pt x="578" y="142"/>
                    <a:pt x="578" y="144"/>
                  </a:cubicBezTo>
                  <a:lnTo>
                    <a:pt x="578" y="186"/>
                  </a:lnTo>
                  <a:lnTo>
                    <a:pt x="602" y="217"/>
                  </a:lnTo>
                  <a:cubicBezTo>
                    <a:pt x="604" y="219"/>
                    <a:pt x="604" y="221"/>
                    <a:pt x="602" y="223"/>
                  </a:cubicBezTo>
                  <a:lnTo>
                    <a:pt x="587" y="243"/>
                  </a:lnTo>
                  <a:lnTo>
                    <a:pt x="590" y="276"/>
                  </a:lnTo>
                  <a:lnTo>
                    <a:pt x="613" y="283"/>
                  </a:lnTo>
                  <a:cubicBezTo>
                    <a:pt x="615" y="284"/>
                    <a:pt x="616" y="285"/>
                    <a:pt x="616" y="287"/>
                  </a:cubicBezTo>
                  <a:lnTo>
                    <a:pt x="625" y="320"/>
                  </a:lnTo>
                  <a:cubicBezTo>
                    <a:pt x="625" y="322"/>
                    <a:pt x="625" y="324"/>
                    <a:pt x="623" y="325"/>
                  </a:cubicBezTo>
                  <a:lnTo>
                    <a:pt x="613" y="338"/>
                  </a:lnTo>
                  <a:lnTo>
                    <a:pt x="616" y="338"/>
                  </a:lnTo>
                  <a:cubicBezTo>
                    <a:pt x="618" y="338"/>
                    <a:pt x="620" y="340"/>
                    <a:pt x="620" y="342"/>
                  </a:cubicBezTo>
                  <a:lnTo>
                    <a:pt x="629" y="376"/>
                  </a:lnTo>
                  <a:cubicBezTo>
                    <a:pt x="629" y="377"/>
                    <a:pt x="629" y="379"/>
                    <a:pt x="628" y="380"/>
                  </a:cubicBezTo>
                  <a:cubicBezTo>
                    <a:pt x="627" y="381"/>
                    <a:pt x="625" y="381"/>
                    <a:pt x="624" y="381"/>
                  </a:cubicBezTo>
                  <a:lnTo>
                    <a:pt x="582" y="374"/>
                  </a:lnTo>
                  <a:lnTo>
                    <a:pt x="582" y="382"/>
                  </a:lnTo>
                  <a:lnTo>
                    <a:pt x="601" y="394"/>
                  </a:lnTo>
                  <a:cubicBezTo>
                    <a:pt x="603" y="395"/>
                    <a:pt x="604" y="397"/>
                    <a:pt x="603" y="400"/>
                  </a:cubicBezTo>
                  <a:lnTo>
                    <a:pt x="586" y="442"/>
                  </a:lnTo>
                  <a:cubicBezTo>
                    <a:pt x="585" y="444"/>
                    <a:pt x="584" y="445"/>
                    <a:pt x="582" y="445"/>
                  </a:cubicBezTo>
                  <a:lnTo>
                    <a:pt x="556" y="445"/>
                  </a:lnTo>
                  <a:lnTo>
                    <a:pt x="541" y="438"/>
                  </a:lnTo>
                  <a:lnTo>
                    <a:pt x="518" y="472"/>
                  </a:lnTo>
                  <a:cubicBezTo>
                    <a:pt x="517" y="474"/>
                    <a:pt x="515" y="474"/>
                    <a:pt x="514" y="474"/>
                  </a:cubicBezTo>
                  <a:lnTo>
                    <a:pt x="513" y="47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7" name="Freeform 192"/>
            <p:cNvSpPr>
              <a:spLocks noChangeArrowheads="1"/>
            </p:cNvSpPr>
            <p:nvPr/>
          </p:nvSpPr>
          <p:spPr bwMode="auto">
            <a:xfrm>
              <a:off x="3983038" y="3414713"/>
              <a:ext cx="188912" cy="196850"/>
            </a:xfrm>
            <a:custGeom>
              <a:avLst/>
              <a:gdLst/>
              <a:ahLst/>
              <a:cxnLst>
                <a:cxn ang="0">
                  <a:pos x="85" y="537"/>
                </a:cxn>
                <a:cxn ang="0">
                  <a:pos x="72" y="415"/>
                </a:cxn>
                <a:cxn ang="0">
                  <a:pos x="53" y="381"/>
                </a:cxn>
                <a:cxn ang="0">
                  <a:pos x="1" y="366"/>
                </a:cxn>
                <a:cxn ang="0">
                  <a:pos x="25" y="309"/>
                </a:cxn>
                <a:cxn ang="0">
                  <a:pos x="5" y="269"/>
                </a:cxn>
                <a:cxn ang="0">
                  <a:pos x="31" y="266"/>
                </a:cxn>
                <a:cxn ang="0">
                  <a:pos x="28" y="220"/>
                </a:cxn>
                <a:cxn ang="0">
                  <a:pos x="26" y="199"/>
                </a:cxn>
                <a:cxn ang="0">
                  <a:pos x="31" y="194"/>
                </a:cxn>
                <a:cxn ang="0">
                  <a:pos x="65" y="178"/>
                </a:cxn>
                <a:cxn ang="0">
                  <a:pos x="52" y="176"/>
                </a:cxn>
                <a:cxn ang="0">
                  <a:pos x="68" y="151"/>
                </a:cxn>
                <a:cxn ang="0">
                  <a:pos x="37" y="115"/>
                </a:cxn>
                <a:cxn ang="0">
                  <a:pos x="30" y="73"/>
                </a:cxn>
                <a:cxn ang="0">
                  <a:pos x="48" y="48"/>
                </a:cxn>
                <a:cxn ang="0">
                  <a:pos x="90" y="21"/>
                </a:cxn>
                <a:cxn ang="0">
                  <a:pos x="132" y="45"/>
                </a:cxn>
                <a:cxn ang="0">
                  <a:pos x="157" y="12"/>
                </a:cxn>
                <a:cxn ang="0">
                  <a:pos x="195" y="0"/>
                </a:cxn>
                <a:cxn ang="0">
                  <a:pos x="198" y="1"/>
                </a:cxn>
                <a:cxn ang="0">
                  <a:pos x="204" y="40"/>
                </a:cxn>
                <a:cxn ang="0">
                  <a:pos x="285" y="34"/>
                </a:cxn>
                <a:cxn ang="0">
                  <a:pos x="330" y="89"/>
                </a:cxn>
                <a:cxn ang="0">
                  <a:pos x="414" y="64"/>
                </a:cxn>
                <a:cxn ang="0">
                  <a:pos x="458" y="70"/>
                </a:cxn>
                <a:cxn ang="0">
                  <a:pos x="497" y="106"/>
                </a:cxn>
                <a:cxn ang="0">
                  <a:pos x="501" y="111"/>
                </a:cxn>
                <a:cxn ang="0">
                  <a:pos x="522" y="215"/>
                </a:cxn>
                <a:cxn ang="0">
                  <a:pos x="495" y="241"/>
                </a:cxn>
                <a:cxn ang="0">
                  <a:pos x="475" y="416"/>
                </a:cxn>
                <a:cxn ang="0">
                  <a:pos x="497" y="431"/>
                </a:cxn>
                <a:cxn ang="0">
                  <a:pos x="497" y="479"/>
                </a:cxn>
                <a:cxn ang="0">
                  <a:pos x="323" y="479"/>
                </a:cxn>
                <a:cxn ang="0">
                  <a:pos x="117" y="546"/>
                </a:cxn>
                <a:cxn ang="0">
                  <a:pos x="89" y="542"/>
                </a:cxn>
              </a:cxnLst>
              <a:rect l="0" t="0" r="r" b="b"/>
              <a:pathLst>
                <a:path w="524" h="548">
                  <a:moveTo>
                    <a:pt x="89" y="542"/>
                  </a:moveTo>
                  <a:cubicBezTo>
                    <a:pt x="87" y="542"/>
                    <a:pt x="85" y="540"/>
                    <a:pt x="85" y="537"/>
                  </a:cubicBezTo>
                  <a:lnTo>
                    <a:pt x="93" y="419"/>
                  </a:lnTo>
                  <a:lnTo>
                    <a:pt x="72" y="415"/>
                  </a:lnTo>
                  <a:cubicBezTo>
                    <a:pt x="71" y="415"/>
                    <a:pt x="69" y="414"/>
                    <a:pt x="69" y="413"/>
                  </a:cubicBezTo>
                  <a:lnTo>
                    <a:pt x="53" y="381"/>
                  </a:lnTo>
                  <a:lnTo>
                    <a:pt x="4" y="369"/>
                  </a:lnTo>
                  <a:cubicBezTo>
                    <a:pt x="2" y="368"/>
                    <a:pt x="1" y="367"/>
                    <a:pt x="1" y="366"/>
                  </a:cubicBezTo>
                  <a:cubicBezTo>
                    <a:pt x="0" y="365"/>
                    <a:pt x="0" y="363"/>
                    <a:pt x="1" y="362"/>
                  </a:cubicBezTo>
                  <a:lnTo>
                    <a:pt x="25" y="309"/>
                  </a:lnTo>
                  <a:lnTo>
                    <a:pt x="5" y="273"/>
                  </a:lnTo>
                  <a:cubicBezTo>
                    <a:pt x="4" y="272"/>
                    <a:pt x="4" y="270"/>
                    <a:pt x="5" y="269"/>
                  </a:cubicBezTo>
                  <a:cubicBezTo>
                    <a:pt x="6" y="267"/>
                    <a:pt x="8" y="266"/>
                    <a:pt x="9" y="266"/>
                  </a:cubicBezTo>
                  <a:lnTo>
                    <a:pt x="31" y="266"/>
                  </a:lnTo>
                  <a:lnTo>
                    <a:pt x="46" y="231"/>
                  </a:lnTo>
                  <a:lnTo>
                    <a:pt x="28" y="220"/>
                  </a:lnTo>
                  <a:cubicBezTo>
                    <a:pt x="27" y="219"/>
                    <a:pt x="26" y="218"/>
                    <a:pt x="26" y="216"/>
                  </a:cubicBezTo>
                  <a:lnTo>
                    <a:pt x="26" y="199"/>
                  </a:lnTo>
                  <a:cubicBezTo>
                    <a:pt x="26" y="198"/>
                    <a:pt x="26" y="196"/>
                    <a:pt x="27" y="196"/>
                  </a:cubicBezTo>
                  <a:cubicBezTo>
                    <a:pt x="28" y="195"/>
                    <a:pt x="29" y="194"/>
                    <a:pt x="31" y="194"/>
                  </a:cubicBezTo>
                  <a:lnTo>
                    <a:pt x="71" y="202"/>
                  </a:lnTo>
                  <a:lnTo>
                    <a:pt x="65" y="178"/>
                  </a:lnTo>
                  <a:lnTo>
                    <a:pt x="56" y="178"/>
                  </a:lnTo>
                  <a:cubicBezTo>
                    <a:pt x="54" y="178"/>
                    <a:pt x="53" y="177"/>
                    <a:pt x="52" y="176"/>
                  </a:cubicBezTo>
                  <a:cubicBezTo>
                    <a:pt x="51" y="174"/>
                    <a:pt x="51" y="172"/>
                    <a:pt x="52" y="171"/>
                  </a:cubicBezTo>
                  <a:lnTo>
                    <a:pt x="68" y="151"/>
                  </a:lnTo>
                  <a:lnTo>
                    <a:pt x="60" y="122"/>
                  </a:lnTo>
                  <a:lnTo>
                    <a:pt x="37" y="115"/>
                  </a:lnTo>
                  <a:cubicBezTo>
                    <a:pt x="36" y="114"/>
                    <a:pt x="34" y="113"/>
                    <a:pt x="34" y="111"/>
                  </a:cubicBezTo>
                  <a:lnTo>
                    <a:pt x="30" y="73"/>
                  </a:lnTo>
                  <a:cubicBezTo>
                    <a:pt x="30" y="71"/>
                    <a:pt x="30" y="70"/>
                    <a:pt x="31" y="69"/>
                  </a:cubicBezTo>
                  <a:lnTo>
                    <a:pt x="48" y="48"/>
                  </a:lnTo>
                  <a:lnTo>
                    <a:pt x="87" y="22"/>
                  </a:lnTo>
                  <a:cubicBezTo>
                    <a:pt x="88" y="21"/>
                    <a:pt x="89" y="21"/>
                    <a:pt x="90" y="21"/>
                  </a:cubicBezTo>
                  <a:cubicBezTo>
                    <a:pt x="91" y="21"/>
                    <a:pt x="91" y="21"/>
                    <a:pt x="92" y="22"/>
                  </a:cubicBezTo>
                  <a:lnTo>
                    <a:pt x="132" y="45"/>
                  </a:lnTo>
                  <a:lnTo>
                    <a:pt x="153" y="31"/>
                  </a:lnTo>
                  <a:lnTo>
                    <a:pt x="157" y="12"/>
                  </a:lnTo>
                  <a:cubicBezTo>
                    <a:pt x="157" y="10"/>
                    <a:pt x="159" y="9"/>
                    <a:pt x="161" y="8"/>
                  </a:cubicBezTo>
                  <a:lnTo>
                    <a:pt x="195" y="0"/>
                  </a:lnTo>
                  <a:cubicBezTo>
                    <a:pt x="195" y="0"/>
                    <a:pt x="195" y="0"/>
                    <a:pt x="196" y="0"/>
                  </a:cubicBezTo>
                  <a:cubicBezTo>
                    <a:pt x="197" y="0"/>
                    <a:pt x="198" y="0"/>
                    <a:pt x="198" y="1"/>
                  </a:cubicBezTo>
                  <a:cubicBezTo>
                    <a:pt x="199" y="1"/>
                    <a:pt x="200" y="3"/>
                    <a:pt x="200" y="4"/>
                  </a:cubicBezTo>
                  <a:lnTo>
                    <a:pt x="204" y="40"/>
                  </a:lnTo>
                  <a:lnTo>
                    <a:pt x="236" y="26"/>
                  </a:lnTo>
                  <a:lnTo>
                    <a:pt x="285" y="34"/>
                  </a:lnTo>
                  <a:cubicBezTo>
                    <a:pt x="287" y="34"/>
                    <a:pt x="288" y="35"/>
                    <a:pt x="288" y="36"/>
                  </a:cubicBezTo>
                  <a:lnTo>
                    <a:pt x="330" y="89"/>
                  </a:lnTo>
                  <a:lnTo>
                    <a:pt x="353" y="93"/>
                  </a:lnTo>
                  <a:lnTo>
                    <a:pt x="414" y="64"/>
                  </a:lnTo>
                  <a:lnTo>
                    <a:pt x="455" y="68"/>
                  </a:lnTo>
                  <a:cubicBezTo>
                    <a:pt x="456" y="68"/>
                    <a:pt x="457" y="69"/>
                    <a:pt x="458" y="70"/>
                  </a:cubicBezTo>
                  <a:lnTo>
                    <a:pt x="482" y="106"/>
                  </a:lnTo>
                  <a:lnTo>
                    <a:pt x="497" y="106"/>
                  </a:lnTo>
                  <a:cubicBezTo>
                    <a:pt x="498" y="106"/>
                    <a:pt x="499" y="106"/>
                    <a:pt x="500" y="107"/>
                  </a:cubicBezTo>
                  <a:cubicBezTo>
                    <a:pt x="501" y="108"/>
                    <a:pt x="501" y="110"/>
                    <a:pt x="501" y="111"/>
                  </a:cubicBezTo>
                  <a:lnTo>
                    <a:pt x="497" y="141"/>
                  </a:lnTo>
                  <a:lnTo>
                    <a:pt x="522" y="215"/>
                  </a:lnTo>
                  <a:cubicBezTo>
                    <a:pt x="523" y="216"/>
                    <a:pt x="522" y="218"/>
                    <a:pt x="521" y="220"/>
                  </a:cubicBezTo>
                  <a:lnTo>
                    <a:pt x="495" y="241"/>
                  </a:lnTo>
                  <a:lnTo>
                    <a:pt x="459" y="353"/>
                  </a:lnTo>
                  <a:lnTo>
                    <a:pt x="475" y="416"/>
                  </a:lnTo>
                  <a:lnTo>
                    <a:pt x="495" y="428"/>
                  </a:lnTo>
                  <a:cubicBezTo>
                    <a:pt x="496" y="429"/>
                    <a:pt x="497" y="430"/>
                    <a:pt x="497" y="431"/>
                  </a:cubicBezTo>
                  <a:lnTo>
                    <a:pt x="501" y="474"/>
                  </a:lnTo>
                  <a:cubicBezTo>
                    <a:pt x="501" y="476"/>
                    <a:pt x="500" y="479"/>
                    <a:pt x="497" y="479"/>
                  </a:cubicBezTo>
                  <a:lnTo>
                    <a:pt x="459" y="483"/>
                  </a:lnTo>
                  <a:lnTo>
                    <a:pt x="323" y="479"/>
                  </a:lnTo>
                  <a:lnTo>
                    <a:pt x="209" y="504"/>
                  </a:lnTo>
                  <a:lnTo>
                    <a:pt x="117" y="546"/>
                  </a:lnTo>
                  <a:cubicBezTo>
                    <a:pt x="117" y="546"/>
                    <a:pt x="116" y="547"/>
                    <a:pt x="115" y="547"/>
                  </a:cubicBezTo>
                  <a:lnTo>
                    <a:pt x="89" y="54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8" name="Freeform 193"/>
            <p:cNvSpPr>
              <a:spLocks noChangeArrowheads="1"/>
            </p:cNvSpPr>
            <p:nvPr/>
          </p:nvSpPr>
          <p:spPr bwMode="auto">
            <a:xfrm>
              <a:off x="3983038" y="3414713"/>
              <a:ext cx="188912" cy="196850"/>
            </a:xfrm>
            <a:custGeom>
              <a:avLst/>
              <a:gdLst/>
              <a:ahLst/>
              <a:cxnLst>
                <a:cxn ang="0">
                  <a:pos x="85" y="537"/>
                </a:cxn>
                <a:cxn ang="0">
                  <a:pos x="72" y="415"/>
                </a:cxn>
                <a:cxn ang="0">
                  <a:pos x="53" y="381"/>
                </a:cxn>
                <a:cxn ang="0">
                  <a:pos x="1" y="366"/>
                </a:cxn>
                <a:cxn ang="0">
                  <a:pos x="25" y="309"/>
                </a:cxn>
                <a:cxn ang="0">
                  <a:pos x="5" y="269"/>
                </a:cxn>
                <a:cxn ang="0">
                  <a:pos x="31" y="266"/>
                </a:cxn>
                <a:cxn ang="0">
                  <a:pos x="28" y="220"/>
                </a:cxn>
                <a:cxn ang="0">
                  <a:pos x="26" y="199"/>
                </a:cxn>
                <a:cxn ang="0">
                  <a:pos x="31" y="194"/>
                </a:cxn>
                <a:cxn ang="0">
                  <a:pos x="65" y="178"/>
                </a:cxn>
                <a:cxn ang="0">
                  <a:pos x="52" y="176"/>
                </a:cxn>
                <a:cxn ang="0">
                  <a:pos x="68" y="151"/>
                </a:cxn>
                <a:cxn ang="0">
                  <a:pos x="37" y="115"/>
                </a:cxn>
                <a:cxn ang="0">
                  <a:pos x="30" y="73"/>
                </a:cxn>
                <a:cxn ang="0">
                  <a:pos x="48" y="48"/>
                </a:cxn>
                <a:cxn ang="0">
                  <a:pos x="90" y="21"/>
                </a:cxn>
                <a:cxn ang="0">
                  <a:pos x="132" y="45"/>
                </a:cxn>
                <a:cxn ang="0">
                  <a:pos x="157" y="12"/>
                </a:cxn>
                <a:cxn ang="0">
                  <a:pos x="195" y="0"/>
                </a:cxn>
                <a:cxn ang="0">
                  <a:pos x="198" y="1"/>
                </a:cxn>
                <a:cxn ang="0">
                  <a:pos x="204" y="40"/>
                </a:cxn>
                <a:cxn ang="0">
                  <a:pos x="285" y="34"/>
                </a:cxn>
                <a:cxn ang="0">
                  <a:pos x="330" y="89"/>
                </a:cxn>
                <a:cxn ang="0">
                  <a:pos x="414" y="64"/>
                </a:cxn>
                <a:cxn ang="0">
                  <a:pos x="458" y="70"/>
                </a:cxn>
                <a:cxn ang="0">
                  <a:pos x="497" y="106"/>
                </a:cxn>
                <a:cxn ang="0">
                  <a:pos x="501" y="111"/>
                </a:cxn>
                <a:cxn ang="0">
                  <a:pos x="522" y="215"/>
                </a:cxn>
                <a:cxn ang="0">
                  <a:pos x="495" y="241"/>
                </a:cxn>
                <a:cxn ang="0">
                  <a:pos x="475" y="416"/>
                </a:cxn>
                <a:cxn ang="0">
                  <a:pos x="497" y="431"/>
                </a:cxn>
                <a:cxn ang="0">
                  <a:pos x="497" y="479"/>
                </a:cxn>
                <a:cxn ang="0">
                  <a:pos x="323" y="479"/>
                </a:cxn>
                <a:cxn ang="0">
                  <a:pos x="117" y="546"/>
                </a:cxn>
                <a:cxn ang="0">
                  <a:pos x="89" y="542"/>
                </a:cxn>
              </a:cxnLst>
              <a:rect l="0" t="0" r="r" b="b"/>
              <a:pathLst>
                <a:path w="524" h="548">
                  <a:moveTo>
                    <a:pt x="89" y="542"/>
                  </a:moveTo>
                  <a:cubicBezTo>
                    <a:pt x="87" y="542"/>
                    <a:pt x="85" y="540"/>
                    <a:pt x="85" y="537"/>
                  </a:cubicBezTo>
                  <a:lnTo>
                    <a:pt x="93" y="419"/>
                  </a:lnTo>
                  <a:lnTo>
                    <a:pt x="72" y="415"/>
                  </a:lnTo>
                  <a:cubicBezTo>
                    <a:pt x="71" y="415"/>
                    <a:pt x="69" y="414"/>
                    <a:pt x="69" y="413"/>
                  </a:cubicBezTo>
                  <a:lnTo>
                    <a:pt x="53" y="381"/>
                  </a:lnTo>
                  <a:lnTo>
                    <a:pt x="4" y="369"/>
                  </a:lnTo>
                  <a:cubicBezTo>
                    <a:pt x="2" y="368"/>
                    <a:pt x="1" y="367"/>
                    <a:pt x="1" y="366"/>
                  </a:cubicBezTo>
                  <a:cubicBezTo>
                    <a:pt x="0" y="365"/>
                    <a:pt x="0" y="363"/>
                    <a:pt x="1" y="362"/>
                  </a:cubicBezTo>
                  <a:lnTo>
                    <a:pt x="25" y="309"/>
                  </a:lnTo>
                  <a:lnTo>
                    <a:pt x="5" y="273"/>
                  </a:lnTo>
                  <a:cubicBezTo>
                    <a:pt x="4" y="272"/>
                    <a:pt x="4" y="270"/>
                    <a:pt x="5" y="269"/>
                  </a:cubicBezTo>
                  <a:cubicBezTo>
                    <a:pt x="6" y="267"/>
                    <a:pt x="8" y="266"/>
                    <a:pt x="9" y="266"/>
                  </a:cubicBezTo>
                  <a:lnTo>
                    <a:pt x="31" y="266"/>
                  </a:lnTo>
                  <a:lnTo>
                    <a:pt x="46" y="231"/>
                  </a:lnTo>
                  <a:lnTo>
                    <a:pt x="28" y="220"/>
                  </a:lnTo>
                  <a:cubicBezTo>
                    <a:pt x="27" y="219"/>
                    <a:pt x="26" y="218"/>
                    <a:pt x="26" y="216"/>
                  </a:cubicBezTo>
                  <a:lnTo>
                    <a:pt x="26" y="199"/>
                  </a:lnTo>
                  <a:cubicBezTo>
                    <a:pt x="26" y="198"/>
                    <a:pt x="26" y="196"/>
                    <a:pt x="27" y="196"/>
                  </a:cubicBezTo>
                  <a:cubicBezTo>
                    <a:pt x="28" y="195"/>
                    <a:pt x="29" y="194"/>
                    <a:pt x="31" y="194"/>
                  </a:cubicBezTo>
                  <a:lnTo>
                    <a:pt x="71" y="202"/>
                  </a:lnTo>
                  <a:lnTo>
                    <a:pt x="65" y="178"/>
                  </a:lnTo>
                  <a:lnTo>
                    <a:pt x="56" y="178"/>
                  </a:lnTo>
                  <a:cubicBezTo>
                    <a:pt x="54" y="178"/>
                    <a:pt x="53" y="177"/>
                    <a:pt x="52" y="176"/>
                  </a:cubicBezTo>
                  <a:cubicBezTo>
                    <a:pt x="51" y="174"/>
                    <a:pt x="51" y="172"/>
                    <a:pt x="52" y="171"/>
                  </a:cubicBezTo>
                  <a:lnTo>
                    <a:pt x="68" y="151"/>
                  </a:lnTo>
                  <a:lnTo>
                    <a:pt x="60" y="122"/>
                  </a:lnTo>
                  <a:lnTo>
                    <a:pt x="37" y="115"/>
                  </a:lnTo>
                  <a:cubicBezTo>
                    <a:pt x="36" y="114"/>
                    <a:pt x="34" y="113"/>
                    <a:pt x="34" y="111"/>
                  </a:cubicBezTo>
                  <a:lnTo>
                    <a:pt x="30" y="73"/>
                  </a:lnTo>
                  <a:cubicBezTo>
                    <a:pt x="30" y="71"/>
                    <a:pt x="30" y="70"/>
                    <a:pt x="31" y="69"/>
                  </a:cubicBezTo>
                  <a:lnTo>
                    <a:pt x="48" y="48"/>
                  </a:lnTo>
                  <a:lnTo>
                    <a:pt x="87" y="22"/>
                  </a:lnTo>
                  <a:cubicBezTo>
                    <a:pt x="88" y="21"/>
                    <a:pt x="89" y="21"/>
                    <a:pt x="90" y="21"/>
                  </a:cubicBezTo>
                  <a:cubicBezTo>
                    <a:pt x="91" y="21"/>
                    <a:pt x="91" y="21"/>
                    <a:pt x="92" y="22"/>
                  </a:cubicBezTo>
                  <a:lnTo>
                    <a:pt x="132" y="45"/>
                  </a:lnTo>
                  <a:lnTo>
                    <a:pt x="153" y="31"/>
                  </a:lnTo>
                  <a:lnTo>
                    <a:pt x="157" y="12"/>
                  </a:lnTo>
                  <a:cubicBezTo>
                    <a:pt x="157" y="10"/>
                    <a:pt x="159" y="9"/>
                    <a:pt x="161" y="8"/>
                  </a:cubicBezTo>
                  <a:lnTo>
                    <a:pt x="195" y="0"/>
                  </a:lnTo>
                  <a:cubicBezTo>
                    <a:pt x="195" y="0"/>
                    <a:pt x="195" y="0"/>
                    <a:pt x="196" y="0"/>
                  </a:cubicBezTo>
                  <a:cubicBezTo>
                    <a:pt x="197" y="0"/>
                    <a:pt x="198" y="0"/>
                    <a:pt x="198" y="1"/>
                  </a:cubicBezTo>
                  <a:cubicBezTo>
                    <a:pt x="199" y="1"/>
                    <a:pt x="200" y="3"/>
                    <a:pt x="200" y="4"/>
                  </a:cubicBezTo>
                  <a:lnTo>
                    <a:pt x="204" y="40"/>
                  </a:lnTo>
                  <a:lnTo>
                    <a:pt x="236" y="26"/>
                  </a:lnTo>
                  <a:lnTo>
                    <a:pt x="285" y="34"/>
                  </a:lnTo>
                  <a:cubicBezTo>
                    <a:pt x="287" y="34"/>
                    <a:pt x="288" y="35"/>
                    <a:pt x="288" y="36"/>
                  </a:cubicBezTo>
                  <a:lnTo>
                    <a:pt x="330" y="89"/>
                  </a:lnTo>
                  <a:lnTo>
                    <a:pt x="353" y="93"/>
                  </a:lnTo>
                  <a:lnTo>
                    <a:pt x="414" y="64"/>
                  </a:lnTo>
                  <a:lnTo>
                    <a:pt x="455" y="68"/>
                  </a:lnTo>
                  <a:cubicBezTo>
                    <a:pt x="456" y="68"/>
                    <a:pt x="457" y="69"/>
                    <a:pt x="458" y="70"/>
                  </a:cubicBezTo>
                  <a:lnTo>
                    <a:pt x="482" y="106"/>
                  </a:lnTo>
                  <a:lnTo>
                    <a:pt x="497" y="106"/>
                  </a:lnTo>
                  <a:cubicBezTo>
                    <a:pt x="498" y="106"/>
                    <a:pt x="499" y="106"/>
                    <a:pt x="500" y="107"/>
                  </a:cubicBezTo>
                  <a:cubicBezTo>
                    <a:pt x="501" y="108"/>
                    <a:pt x="501" y="110"/>
                    <a:pt x="501" y="111"/>
                  </a:cubicBezTo>
                  <a:lnTo>
                    <a:pt x="497" y="141"/>
                  </a:lnTo>
                  <a:lnTo>
                    <a:pt x="522" y="215"/>
                  </a:lnTo>
                  <a:cubicBezTo>
                    <a:pt x="523" y="216"/>
                    <a:pt x="522" y="218"/>
                    <a:pt x="521" y="220"/>
                  </a:cubicBezTo>
                  <a:lnTo>
                    <a:pt x="495" y="241"/>
                  </a:lnTo>
                  <a:lnTo>
                    <a:pt x="459" y="353"/>
                  </a:lnTo>
                  <a:lnTo>
                    <a:pt x="475" y="416"/>
                  </a:lnTo>
                  <a:lnTo>
                    <a:pt x="495" y="428"/>
                  </a:lnTo>
                  <a:cubicBezTo>
                    <a:pt x="496" y="429"/>
                    <a:pt x="497" y="430"/>
                    <a:pt x="497" y="431"/>
                  </a:cubicBezTo>
                  <a:lnTo>
                    <a:pt x="501" y="474"/>
                  </a:lnTo>
                  <a:cubicBezTo>
                    <a:pt x="501" y="476"/>
                    <a:pt x="500" y="479"/>
                    <a:pt x="497" y="479"/>
                  </a:cubicBezTo>
                  <a:lnTo>
                    <a:pt x="459" y="483"/>
                  </a:lnTo>
                  <a:lnTo>
                    <a:pt x="323" y="479"/>
                  </a:lnTo>
                  <a:lnTo>
                    <a:pt x="209" y="504"/>
                  </a:lnTo>
                  <a:lnTo>
                    <a:pt x="117" y="546"/>
                  </a:lnTo>
                  <a:cubicBezTo>
                    <a:pt x="117" y="546"/>
                    <a:pt x="116" y="547"/>
                    <a:pt x="115" y="547"/>
                  </a:cubicBezTo>
                  <a:lnTo>
                    <a:pt x="89" y="54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99" name="Freeform 194"/>
            <p:cNvSpPr>
              <a:spLocks noChangeArrowheads="1"/>
            </p:cNvSpPr>
            <p:nvPr/>
          </p:nvSpPr>
          <p:spPr bwMode="auto">
            <a:xfrm>
              <a:off x="5053013" y="4627563"/>
              <a:ext cx="73025" cy="71437"/>
            </a:xfrm>
            <a:custGeom>
              <a:avLst/>
              <a:gdLst/>
              <a:ahLst/>
              <a:cxnLst>
                <a:cxn ang="0">
                  <a:pos x="88" y="199"/>
                </a:cxn>
                <a:cxn ang="0">
                  <a:pos x="41" y="178"/>
                </a:cxn>
                <a:cxn ang="0">
                  <a:pos x="1" y="112"/>
                </a:cxn>
                <a:cxn ang="0">
                  <a:pos x="1" y="107"/>
                </a:cxn>
                <a:cxn ang="0">
                  <a:pos x="43" y="36"/>
                </a:cxn>
                <a:cxn ang="0">
                  <a:pos x="109" y="0"/>
                </a:cxn>
                <a:cxn ang="0">
                  <a:pos x="154" y="4"/>
                </a:cxn>
                <a:cxn ang="0">
                  <a:pos x="157" y="6"/>
                </a:cxn>
                <a:cxn ang="0">
                  <a:pos x="200" y="74"/>
                </a:cxn>
                <a:cxn ang="0">
                  <a:pos x="200" y="78"/>
                </a:cxn>
                <a:cxn ang="0">
                  <a:pos x="170" y="150"/>
                </a:cxn>
                <a:cxn ang="0">
                  <a:pos x="92" y="199"/>
                </a:cxn>
                <a:cxn ang="0">
                  <a:pos x="90" y="199"/>
                </a:cxn>
                <a:cxn ang="0">
                  <a:pos x="88" y="199"/>
                </a:cxn>
              </a:cxnLst>
              <a:rect l="0" t="0" r="r" b="b"/>
              <a:pathLst>
                <a:path w="201" h="200">
                  <a:moveTo>
                    <a:pt x="88" y="199"/>
                  </a:moveTo>
                  <a:lnTo>
                    <a:pt x="41" y="178"/>
                  </a:lnTo>
                  <a:lnTo>
                    <a:pt x="1" y="112"/>
                  </a:lnTo>
                  <a:cubicBezTo>
                    <a:pt x="0" y="111"/>
                    <a:pt x="0" y="109"/>
                    <a:pt x="1" y="107"/>
                  </a:cubicBezTo>
                  <a:lnTo>
                    <a:pt x="43" y="36"/>
                  </a:lnTo>
                  <a:lnTo>
                    <a:pt x="109" y="0"/>
                  </a:lnTo>
                  <a:lnTo>
                    <a:pt x="154" y="4"/>
                  </a:lnTo>
                  <a:cubicBezTo>
                    <a:pt x="155" y="4"/>
                    <a:pt x="156" y="5"/>
                    <a:pt x="157" y="6"/>
                  </a:cubicBezTo>
                  <a:lnTo>
                    <a:pt x="200" y="74"/>
                  </a:lnTo>
                  <a:cubicBezTo>
                    <a:pt x="200" y="75"/>
                    <a:pt x="200" y="76"/>
                    <a:pt x="200" y="78"/>
                  </a:cubicBezTo>
                  <a:lnTo>
                    <a:pt x="170" y="150"/>
                  </a:lnTo>
                  <a:lnTo>
                    <a:pt x="92" y="199"/>
                  </a:lnTo>
                  <a:cubicBezTo>
                    <a:pt x="91" y="199"/>
                    <a:pt x="91" y="199"/>
                    <a:pt x="90" y="199"/>
                  </a:cubicBezTo>
                  <a:cubicBezTo>
                    <a:pt x="89" y="199"/>
                    <a:pt x="88" y="199"/>
                    <a:pt x="88" y="19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0" name="Freeform 195"/>
            <p:cNvSpPr>
              <a:spLocks noChangeArrowheads="1"/>
            </p:cNvSpPr>
            <p:nvPr/>
          </p:nvSpPr>
          <p:spPr bwMode="auto">
            <a:xfrm>
              <a:off x="5053013" y="4627563"/>
              <a:ext cx="73025" cy="71437"/>
            </a:xfrm>
            <a:custGeom>
              <a:avLst/>
              <a:gdLst/>
              <a:ahLst/>
              <a:cxnLst>
                <a:cxn ang="0">
                  <a:pos x="90" y="199"/>
                </a:cxn>
                <a:cxn ang="0">
                  <a:pos x="88" y="199"/>
                </a:cxn>
                <a:cxn ang="0">
                  <a:pos x="41" y="178"/>
                </a:cxn>
                <a:cxn ang="0">
                  <a:pos x="1" y="112"/>
                </a:cxn>
                <a:cxn ang="0">
                  <a:pos x="1" y="107"/>
                </a:cxn>
                <a:cxn ang="0">
                  <a:pos x="43" y="36"/>
                </a:cxn>
                <a:cxn ang="0">
                  <a:pos x="109" y="0"/>
                </a:cxn>
                <a:cxn ang="0">
                  <a:pos x="154" y="4"/>
                </a:cxn>
                <a:cxn ang="0">
                  <a:pos x="157" y="6"/>
                </a:cxn>
                <a:cxn ang="0">
                  <a:pos x="200" y="74"/>
                </a:cxn>
                <a:cxn ang="0">
                  <a:pos x="200" y="78"/>
                </a:cxn>
                <a:cxn ang="0">
                  <a:pos x="170" y="150"/>
                </a:cxn>
                <a:cxn ang="0">
                  <a:pos x="92" y="199"/>
                </a:cxn>
                <a:cxn ang="0">
                  <a:pos x="90" y="199"/>
                </a:cxn>
              </a:cxnLst>
              <a:rect l="0" t="0" r="r" b="b"/>
              <a:pathLst>
                <a:path w="201" h="200">
                  <a:moveTo>
                    <a:pt x="90" y="199"/>
                  </a:moveTo>
                  <a:cubicBezTo>
                    <a:pt x="89" y="199"/>
                    <a:pt x="88" y="199"/>
                    <a:pt x="88" y="199"/>
                  </a:cubicBezTo>
                  <a:lnTo>
                    <a:pt x="41" y="178"/>
                  </a:lnTo>
                  <a:lnTo>
                    <a:pt x="1" y="112"/>
                  </a:lnTo>
                  <a:cubicBezTo>
                    <a:pt x="0" y="111"/>
                    <a:pt x="0" y="109"/>
                    <a:pt x="1" y="107"/>
                  </a:cubicBezTo>
                  <a:lnTo>
                    <a:pt x="43" y="36"/>
                  </a:lnTo>
                  <a:lnTo>
                    <a:pt x="109" y="0"/>
                  </a:lnTo>
                  <a:lnTo>
                    <a:pt x="154" y="4"/>
                  </a:lnTo>
                  <a:cubicBezTo>
                    <a:pt x="155" y="4"/>
                    <a:pt x="156" y="5"/>
                    <a:pt x="157" y="6"/>
                  </a:cubicBezTo>
                  <a:lnTo>
                    <a:pt x="200" y="74"/>
                  </a:lnTo>
                  <a:cubicBezTo>
                    <a:pt x="200" y="75"/>
                    <a:pt x="200" y="76"/>
                    <a:pt x="200" y="78"/>
                  </a:cubicBezTo>
                  <a:lnTo>
                    <a:pt x="170" y="150"/>
                  </a:lnTo>
                  <a:lnTo>
                    <a:pt x="92" y="199"/>
                  </a:lnTo>
                  <a:cubicBezTo>
                    <a:pt x="91" y="199"/>
                    <a:pt x="91" y="199"/>
                    <a:pt x="90" y="19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1" name="Freeform 196"/>
            <p:cNvSpPr>
              <a:spLocks noChangeArrowheads="1"/>
            </p:cNvSpPr>
            <p:nvPr/>
          </p:nvSpPr>
          <p:spPr bwMode="auto">
            <a:xfrm>
              <a:off x="3894138" y="3479800"/>
              <a:ext cx="125412" cy="130175"/>
            </a:xfrm>
            <a:custGeom>
              <a:avLst/>
              <a:gdLst/>
              <a:ahLst/>
              <a:cxnLst>
                <a:cxn ang="0">
                  <a:pos x="333" y="360"/>
                </a:cxn>
                <a:cxn ang="0">
                  <a:pos x="185" y="296"/>
                </a:cxn>
                <a:cxn ang="0">
                  <a:pos x="1" y="143"/>
                </a:cxn>
                <a:cxn ang="0">
                  <a:pos x="0" y="140"/>
                </a:cxn>
                <a:cxn ang="0">
                  <a:pos x="1" y="136"/>
                </a:cxn>
                <a:cxn ang="0">
                  <a:pos x="76" y="74"/>
                </a:cxn>
                <a:cxn ang="0">
                  <a:pos x="76" y="47"/>
                </a:cxn>
                <a:cxn ang="0">
                  <a:pos x="79" y="42"/>
                </a:cxn>
                <a:cxn ang="0">
                  <a:pos x="100" y="35"/>
                </a:cxn>
                <a:cxn ang="0">
                  <a:pos x="97" y="22"/>
                </a:cxn>
                <a:cxn ang="0">
                  <a:pos x="100" y="17"/>
                </a:cxn>
                <a:cxn ang="0">
                  <a:pos x="151" y="0"/>
                </a:cxn>
                <a:cxn ang="0">
                  <a:pos x="153" y="0"/>
                </a:cxn>
                <a:cxn ang="0">
                  <a:pos x="156" y="1"/>
                </a:cxn>
                <a:cxn ang="0">
                  <a:pos x="173" y="23"/>
                </a:cxn>
                <a:cxn ang="0">
                  <a:pos x="187" y="67"/>
                </a:cxn>
                <a:cxn ang="0">
                  <a:pos x="176" y="103"/>
                </a:cxn>
                <a:cxn ang="0">
                  <a:pos x="210" y="113"/>
                </a:cxn>
                <a:cxn ang="0">
                  <a:pos x="234" y="78"/>
                </a:cxn>
                <a:cxn ang="0">
                  <a:pos x="237" y="76"/>
                </a:cxn>
                <a:cxn ang="0">
                  <a:pos x="240" y="76"/>
                </a:cxn>
                <a:cxn ang="0">
                  <a:pos x="256" y="85"/>
                </a:cxn>
                <a:cxn ang="0">
                  <a:pos x="280" y="125"/>
                </a:cxn>
                <a:cxn ang="0">
                  <a:pos x="280" y="129"/>
                </a:cxn>
                <a:cxn ang="0">
                  <a:pos x="257" y="179"/>
                </a:cxn>
                <a:cxn ang="0">
                  <a:pos x="302" y="190"/>
                </a:cxn>
                <a:cxn ang="0">
                  <a:pos x="305" y="193"/>
                </a:cxn>
                <a:cxn ang="0">
                  <a:pos x="321" y="224"/>
                </a:cxn>
                <a:cxn ang="0">
                  <a:pos x="344" y="228"/>
                </a:cxn>
                <a:cxn ang="0">
                  <a:pos x="348" y="233"/>
                </a:cxn>
                <a:cxn ang="0">
                  <a:pos x="340" y="356"/>
                </a:cxn>
                <a:cxn ang="0">
                  <a:pos x="337" y="360"/>
                </a:cxn>
                <a:cxn ang="0">
                  <a:pos x="335" y="360"/>
                </a:cxn>
                <a:cxn ang="0">
                  <a:pos x="333" y="360"/>
                </a:cxn>
              </a:cxnLst>
              <a:rect l="0" t="0" r="r" b="b"/>
              <a:pathLst>
                <a:path w="349" h="361">
                  <a:moveTo>
                    <a:pt x="333" y="360"/>
                  </a:moveTo>
                  <a:lnTo>
                    <a:pt x="185" y="296"/>
                  </a:lnTo>
                  <a:lnTo>
                    <a:pt x="1" y="143"/>
                  </a:lnTo>
                  <a:cubicBezTo>
                    <a:pt x="0" y="143"/>
                    <a:pt x="0" y="141"/>
                    <a:pt x="0" y="140"/>
                  </a:cubicBezTo>
                  <a:cubicBezTo>
                    <a:pt x="0" y="138"/>
                    <a:pt x="0" y="137"/>
                    <a:pt x="1" y="136"/>
                  </a:cubicBezTo>
                  <a:lnTo>
                    <a:pt x="76" y="74"/>
                  </a:lnTo>
                  <a:lnTo>
                    <a:pt x="76" y="47"/>
                  </a:lnTo>
                  <a:cubicBezTo>
                    <a:pt x="76" y="45"/>
                    <a:pt x="77" y="43"/>
                    <a:pt x="79" y="42"/>
                  </a:cubicBezTo>
                  <a:lnTo>
                    <a:pt x="100" y="35"/>
                  </a:lnTo>
                  <a:lnTo>
                    <a:pt x="97" y="22"/>
                  </a:lnTo>
                  <a:cubicBezTo>
                    <a:pt x="97" y="20"/>
                    <a:pt x="98" y="18"/>
                    <a:pt x="100" y="17"/>
                  </a:cubicBezTo>
                  <a:lnTo>
                    <a:pt x="151" y="0"/>
                  </a:lnTo>
                  <a:cubicBezTo>
                    <a:pt x="152" y="0"/>
                    <a:pt x="152" y="0"/>
                    <a:pt x="153" y="0"/>
                  </a:cubicBezTo>
                  <a:cubicBezTo>
                    <a:pt x="154" y="0"/>
                    <a:pt x="155" y="0"/>
                    <a:pt x="156" y="1"/>
                  </a:cubicBezTo>
                  <a:lnTo>
                    <a:pt x="173" y="23"/>
                  </a:lnTo>
                  <a:lnTo>
                    <a:pt x="187" y="67"/>
                  </a:lnTo>
                  <a:lnTo>
                    <a:pt x="176" y="103"/>
                  </a:lnTo>
                  <a:lnTo>
                    <a:pt x="210" y="113"/>
                  </a:lnTo>
                  <a:lnTo>
                    <a:pt x="234" y="78"/>
                  </a:lnTo>
                  <a:cubicBezTo>
                    <a:pt x="235" y="77"/>
                    <a:pt x="236" y="76"/>
                    <a:pt x="237" y="76"/>
                  </a:cubicBezTo>
                  <a:cubicBezTo>
                    <a:pt x="238" y="76"/>
                    <a:pt x="239" y="76"/>
                    <a:pt x="240" y="76"/>
                  </a:cubicBezTo>
                  <a:lnTo>
                    <a:pt x="256" y="85"/>
                  </a:lnTo>
                  <a:lnTo>
                    <a:pt x="280" y="125"/>
                  </a:lnTo>
                  <a:cubicBezTo>
                    <a:pt x="280" y="126"/>
                    <a:pt x="280" y="128"/>
                    <a:pt x="280" y="129"/>
                  </a:cubicBezTo>
                  <a:lnTo>
                    <a:pt x="257" y="179"/>
                  </a:lnTo>
                  <a:lnTo>
                    <a:pt x="302" y="190"/>
                  </a:lnTo>
                  <a:cubicBezTo>
                    <a:pt x="304" y="191"/>
                    <a:pt x="305" y="191"/>
                    <a:pt x="305" y="193"/>
                  </a:cubicBezTo>
                  <a:lnTo>
                    <a:pt x="321" y="224"/>
                  </a:lnTo>
                  <a:lnTo>
                    <a:pt x="344" y="228"/>
                  </a:lnTo>
                  <a:cubicBezTo>
                    <a:pt x="346" y="229"/>
                    <a:pt x="348" y="231"/>
                    <a:pt x="348" y="233"/>
                  </a:cubicBezTo>
                  <a:lnTo>
                    <a:pt x="340" y="356"/>
                  </a:lnTo>
                  <a:cubicBezTo>
                    <a:pt x="339" y="357"/>
                    <a:pt x="339" y="359"/>
                    <a:pt x="337" y="360"/>
                  </a:cubicBezTo>
                  <a:cubicBezTo>
                    <a:pt x="336" y="360"/>
                    <a:pt x="336" y="360"/>
                    <a:pt x="335" y="360"/>
                  </a:cubicBezTo>
                  <a:cubicBezTo>
                    <a:pt x="334" y="360"/>
                    <a:pt x="334" y="360"/>
                    <a:pt x="333" y="36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2" name="Freeform 197"/>
            <p:cNvSpPr>
              <a:spLocks noChangeArrowheads="1"/>
            </p:cNvSpPr>
            <p:nvPr/>
          </p:nvSpPr>
          <p:spPr bwMode="auto">
            <a:xfrm>
              <a:off x="3894138" y="3479800"/>
              <a:ext cx="125412" cy="130175"/>
            </a:xfrm>
            <a:custGeom>
              <a:avLst/>
              <a:gdLst/>
              <a:ahLst/>
              <a:cxnLst>
                <a:cxn ang="0">
                  <a:pos x="335" y="360"/>
                </a:cxn>
                <a:cxn ang="0">
                  <a:pos x="333" y="360"/>
                </a:cxn>
                <a:cxn ang="0">
                  <a:pos x="185" y="296"/>
                </a:cxn>
                <a:cxn ang="0">
                  <a:pos x="1" y="143"/>
                </a:cxn>
                <a:cxn ang="0">
                  <a:pos x="0" y="140"/>
                </a:cxn>
                <a:cxn ang="0">
                  <a:pos x="1" y="136"/>
                </a:cxn>
                <a:cxn ang="0">
                  <a:pos x="76" y="74"/>
                </a:cxn>
                <a:cxn ang="0">
                  <a:pos x="76" y="47"/>
                </a:cxn>
                <a:cxn ang="0">
                  <a:pos x="79" y="42"/>
                </a:cxn>
                <a:cxn ang="0">
                  <a:pos x="100" y="35"/>
                </a:cxn>
                <a:cxn ang="0">
                  <a:pos x="97" y="22"/>
                </a:cxn>
                <a:cxn ang="0">
                  <a:pos x="100" y="17"/>
                </a:cxn>
                <a:cxn ang="0">
                  <a:pos x="151" y="0"/>
                </a:cxn>
                <a:cxn ang="0">
                  <a:pos x="153" y="0"/>
                </a:cxn>
                <a:cxn ang="0">
                  <a:pos x="156" y="1"/>
                </a:cxn>
                <a:cxn ang="0">
                  <a:pos x="173" y="23"/>
                </a:cxn>
                <a:cxn ang="0">
                  <a:pos x="187" y="67"/>
                </a:cxn>
                <a:cxn ang="0">
                  <a:pos x="176" y="103"/>
                </a:cxn>
                <a:cxn ang="0">
                  <a:pos x="210" y="113"/>
                </a:cxn>
                <a:cxn ang="0">
                  <a:pos x="234" y="78"/>
                </a:cxn>
                <a:cxn ang="0">
                  <a:pos x="237" y="76"/>
                </a:cxn>
                <a:cxn ang="0">
                  <a:pos x="240" y="76"/>
                </a:cxn>
                <a:cxn ang="0">
                  <a:pos x="256" y="85"/>
                </a:cxn>
                <a:cxn ang="0">
                  <a:pos x="280" y="125"/>
                </a:cxn>
                <a:cxn ang="0">
                  <a:pos x="280" y="129"/>
                </a:cxn>
                <a:cxn ang="0">
                  <a:pos x="257" y="179"/>
                </a:cxn>
                <a:cxn ang="0">
                  <a:pos x="302" y="190"/>
                </a:cxn>
                <a:cxn ang="0">
                  <a:pos x="305" y="193"/>
                </a:cxn>
                <a:cxn ang="0">
                  <a:pos x="321" y="224"/>
                </a:cxn>
                <a:cxn ang="0">
                  <a:pos x="344" y="228"/>
                </a:cxn>
                <a:cxn ang="0">
                  <a:pos x="348" y="233"/>
                </a:cxn>
                <a:cxn ang="0">
                  <a:pos x="340" y="356"/>
                </a:cxn>
                <a:cxn ang="0">
                  <a:pos x="337" y="360"/>
                </a:cxn>
                <a:cxn ang="0">
                  <a:pos x="335" y="360"/>
                </a:cxn>
              </a:cxnLst>
              <a:rect l="0" t="0" r="r" b="b"/>
              <a:pathLst>
                <a:path w="349" h="361">
                  <a:moveTo>
                    <a:pt x="335" y="360"/>
                  </a:moveTo>
                  <a:cubicBezTo>
                    <a:pt x="334" y="360"/>
                    <a:pt x="334" y="360"/>
                    <a:pt x="333" y="360"/>
                  </a:cubicBezTo>
                  <a:lnTo>
                    <a:pt x="185" y="296"/>
                  </a:lnTo>
                  <a:lnTo>
                    <a:pt x="1" y="143"/>
                  </a:lnTo>
                  <a:cubicBezTo>
                    <a:pt x="0" y="143"/>
                    <a:pt x="0" y="141"/>
                    <a:pt x="0" y="140"/>
                  </a:cubicBezTo>
                  <a:cubicBezTo>
                    <a:pt x="0" y="138"/>
                    <a:pt x="0" y="137"/>
                    <a:pt x="1" y="136"/>
                  </a:cubicBezTo>
                  <a:lnTo>
                    <a:pt x="76" y="74"/>
                  </a:lnTo>
                  <a:lnTo>
                    <a:pt x="76" y="47"/>
                  </a:lnTo>
                  <a:cubicBezTo>
                    <a:pt x="76" y="45"/>
                    <a:pt x="77" y="43"/>
                    <a:pt x="79" y="42"/>
                  </a:cubicBezTo>
                  <a:lnTo>
                    <a:pt x="100" y="35"/>
                  </a:lnTo>
                  <a:lnTo>
                    <a:pt x="97" y="22"/>
                  </a:lnTo>
                  <a:cubicBezTo>
                    <a:pt x="97" y="20"/>
                    <a:pt x="98" y="18"/>
                    <a:pt x="100" y="17"/>
                  </a:cubicBezTo>
                  <a:lnTo>
                    <a:pt x="151" y="0"/>
                  </a:lnTo>
                  <a:cubicBezTo>
                    <a:pt x="152" y="0"/>
                    <a:pt x="152" y="0"/>
                    <a:pt x="153" y="0"/>
                  </a:cubicBezTo>
                  <a:cubicBezTo>
                    <a:pt x="154" y="0"/>
                    <a:pt x="155" y="0"/>
                    <a:pt x="156" y="1"/>
                  </a:cubicBezTo>
                  <a:lnTo>
                    <a:pt x="173" y="23"/>
                  </a:lnTo>
                  <a:lnTo>
                    <a:pt x="187" y="67"/>
                  </a:lnTo>
                  <a:lnTo>
                    <a:pt x="176" y="103"/>
                  </a:lnTo>
                  <a:lnTo>
                    <a:pt x="210" y="113"/>
                  </a:lnTo>
                  <a:lnTo>
                    <a:pt x="234" y="78"/>
                  </a:lnTo>
                  <a:cubicBezTo>
                    <a:pt x="235" y="77"/>
                    <a:pt x="236" y="76"/>
                    <a:pt x="237" y="76"/>
                  </a:cubicBezTo>
                  <a:cubicBezTo>
                    <a:pt x="238" y="76"/>
                    <a:pt x="239" y="76"/>
                    <a:pt x="240" y="76"/>
                  </a:cubicBezTo>
                  <a:lnTo>
                    <a:pt x="256" y="85"/>
                  </a:lnTo>
                  <a:lnTo>
                    <a:pt x="280" y="125"/>
                  </a:lnTo>
                  <a:cubicBezTo>
                    <a:pt x="280" y="126"/>
                    <a:pt x="280" y="128"/>
                    <a:pt x="280" y="129"/>
                  </a:cubicBezTo>
                  <a:lnTo>
                    <a:pt x="257" y="179"/>
                  </a:lnTo>
                  <a:lnTo>
                    <a:pt x="302" y="190"/>
                  </a:lnTo>
                  <a:cubicBezTo>
                    <a:pt x="304" y="191"/>
                    <a:pt x="305" y="191"/>
                    <a:pt x="305" y="193"/>
                  </a:cubicBezTo>
                  <a:lnTo>
                    <a:pt x="321" y="224"/>
                  </a:lnTo>
                  <a:lnTo>
                    <a:pt x="344" y="228"/>
                  </a:lnTo>
                  <a:cubicBezTo>
                    <a:pt x="346" y="229"/>
                    <a:pt x="348" y="231"/>
                    <a:pt x="348" y="233"/>
                  </a:cubicBezTo>
                  <a:lnTo>
                    <a:pt x="340" y="356"/>
                  </a:lnTo>
                  <a:cubicBezTo>
                    <a:pt x="339" y="357"/>
                    <a:pt x="339" y="359"/>
                    <a:pt x="337" y="360"/>
                  </a:cubicBezTo>
                  <a:cubicBezTo>
                    <a:pt x="336" y="360"/>
                    <a:pt x="336" y="360"/>
                    <a:pt x="335" y="36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3" name="Freeform 198"/>
            <p:cNvSpPr>
              <a:spLocks noChangeArrowheads="1"/>
            </p:cNvSpPr>
            <p:nvPr/>
          </p:nvSpPr>
          <p:spPr bwMode="auto">
            <a:xfrm>
              <a:off x="4513263" y="2687638"/>
              <a:ext cx="482600" cy="460375"/>
            </a:xfrm>
            <a:custGeom>
              <a:avLst/>
              <a:gdLst/>
              <a:ahLst/>
              <a:cxnLst>
                <a:cxn ang="0">
                  <a:pos x="1248" y="1278"/>
                </a:cxn>
                <a:cxn ang="0">
                  <a:pos x="585" y="936"/>
                </a:cxn>
                <a:cxn ang="0">
                  <a:pos x="502" y="961"/>
                </a:cxn>
                <a:cxn ang="0">
                  <a:pos x="473" y="973"/>
                </a:cxn>
                <a:cxn ang="0">
                  <a:pos x="471" y="974"/>
                </a:cxn>
                <a:cxn ang="0">
                  <a:pos x="468" y="973"/>
                </a:cxn>
                <a:cxn ang="0">
                  <a:pos x="401" y="922"/>
                </a:cxn>
                <a:cxn ang="0">
                  <a:pos x="226" y="923"/>
                </a:cxn>
                <a:cxn ang="0">
                  <a:pos x="221" y="920"/>
                </a:cxn>
                <a:cxn ang="0">
                  <a:pos x="184" y="846"/>
                </a:cxn>
                <a:cxn ang="0">
                  <a:pos x="97" y="821"/>
                </a:cxn>
                <a:cxn ang="0">
                  <a:pos x="74" y="803"/>
                </a:cxn>
                <a:cxn ang="0">
                  <a:pos x="60" y="750"/>
                </a:cxn>
                <a:cxn ang="0">
                  <a:pos x="14" y="675"/>
                </a:cxn>
                <a:cxn ang="0">
                  <a:pos x="15" y="669"/>
                </a:cxn>
                <a:cxn ang="0">
                  <a:pos x="43" y="641"/>
                </a:cxn>
                <a:cxn ang="0">
                  <a:pos x="51" y="520"/>
                </a:cxn>
                <a:cxn ang="0">
                  <a:pos x="39" y="377"/>
                </a:cxn>
                <a:cxn ang="0">
                  <a:pos x="1" y="324"/>
                </a:cxn>
                <a:cxn ang="0">
                  <a:pos x="1" y="319"/>
                </a:cxn>
                <a:cxn ang="0">
                  <a:pos x="27" y="281"/>
                </a:cxn>
                <a:cxn ang="0">
                  <a:pos x="81" y="239"/>
                </a:cxn>
                <a:cxn ang="0">
                  <a:pos x="81" y="157"/>
                </a:cxn>
                <a:cxn ang="0">
                  <a:pos x="83" y="153"/>
                </a:cxn>
                <a:cxn ang="0">
                  <a:pos x="179" y="82"/>
                </a:cxn>
                <a:cxn ang="0">
                  <a:pos x="183" y="4"/>
                </a:cxn>
                <a:cxn ang="0">
                  <a:pos x="185" y="0"/>
                </a:cxn>
                <a:cxn ang="0">
                  <a:pos x="187" y="0"/>
                </a:cxn>
                <a:cxn ang="0">
                  <a:pos x="190" y="0"/>
                </a:cxn>
                <a:cxn ang="0">
                  <a:pos x="270" y="38"/>
                </a:cxn>
                <a:cxn ang="0">
                  <a:pos x="387" y="38"/>
                </a:cxn>
                <a:cxn ang="0">
                  <a:pos x="503" y="84"/>
                </a:cxn>
                <a:cxn ang="0">
                  <a:pos x="555" y="178"/>
                </a:cxn>
                <a:cxn ang="0">
                  <a:pos x="710" y="215"/>
                </a:cxn>
                <a:cxn ang="0">
                  <a:pos x="811" y="278"/>
                </a:cxn>
                <a:cxn ang="0">
                  <a:pos x="887" y="246"/>
                </a:cxn>
                <a:cxn ang="0">
                  <a:pos x="907" y="207"/>
                </a:cxn>
                <a:cxn ang="0">
                  <a:pos x="890" y="158"/>
                </a:cxn>
                <a:cxn ang="0">
                  <a:pos x="899" y="113"/>
                </a:cxn>
                <a:cxn ang="0">
                  <a:pos x="984" y="39"/>
                </a:cxn>
                <a:cxn ang="0">
                  <a:pos x="1075" y="25"/>
                </a:cxn>
                <a:cxn ang="0">
                  <a:pos x="1145" y="46"/>
                </a:cxn>
                <a:cxn ang="0">
                  <a:pos x="1176" y="93"/>
                </a:cxn>
                <a:cxn ang="0">
                  <a:pos x="1314" y="122"/>
                </a:cxn>
                <a:cxn ang="0">
                  <a:pos x="1317" y="124"/>
                </a:cxn>
                <a:cxn ang="0">
                  <a:pos x="1338" y="154"/>
                </a:cxn>
                <a:cxn ang="0">
                  <a:pos x="1338" y="160"/>
                </a:cxn>
                <a:cxn ang="0">
                  <a:pos x="1314" y="184"/>
                </a:cxn>
                <a:cxn ang="0">
                  <a:pos x="1318" y="283"/>
                </a:cxn>
                <a:cxn ang="0">
                  <a:pos x="1317" y="287"/>
                </a:cxn>
                <a:cxn ang="0">
                  <a:pos x="1297" y="306"/>
                </a:cxn>
                <a:cxn ang="0">
                  <a:pos x="1314" y="380"/>
                </a:cxn>
                <a:cxn ang="0">
                  <a:pos x="1333" y="399"/>
                </a:cxn>
                <a:cxn ang="0">
                  <a:pos x="1335" y="402"/>
                </a:cxn>
                <a:cxn ang="0">
                  <a:pos x="1339" y="1053"/>
                </a:cxn>
                <a:cxn ang="0">
                  <a:pos x="1339" y="1223"/>
                </a:cxn>
                <a:cxn ang="0">
                  <a:pos x="1335" y="1227"/>
                </a:cxn>
                <a:cxn ang="0">
                  <a:pos x="1254" y="1231"/>
                </a:cxn>
                <a:cxn ang="0">
                  <a:pos x="1254" y="1273"/>
                </a:cxn>
                <a:cxn ang="0">
                  <a:pos x="1252" y="1277"/>
                </a:cxn>
                <a:cxn ang="0">
                  <a:pos x="1250" y="1278"/>
                </a:cxn>
                <a:cxn ang="0">
                  <a:pos x="1248" y="1278"/>
                </a:cxn>
              </a:cxnLst>
              <a:rect l="0" t="0" r="r" b="b"/>
              <a:pathLst>
                <a:path w="1341" h="1279">
                  <a:moveTo>
                    <a:pt x="1248" y="1278"/>
                  </a:moveTo>
                  <a:lnTo>
                    <a:pt x="585" y="936"/>
                  </a:lnTo>
                  <a:lnTo>
                    <a:pt x="502" y="961"/>
                  </a:lnTo>
                  <a:lnTo>
                    <a:pt x="473" y="973"/>
                  </a:lnTo>
                  <a:cubicBezTo>
                    <a:pt x="473" y="973"/>
                    <a:pt x="472" y="974"/>
                    <a:pt x="471" y="974"/>
                  </a:cubicBezTo>
                  <a:cubicBezTo>
                    <a:pt x="470" y="974"/>
                    <a:pt x="469" y="973"/>
                    <a:pt x="468" y="973"/>
                  </a:cubicBezTo>
                  <a:lnTo>
                    <a:pt x="401" y="922"/>
                  </a:lnTo>
                  <a:lnTo>
                    <a:pt x="226" y="923"/>
                  </a:lnTo>
                  <a:cubicBezTo>
                    <a:pt x="224" y="923"/>
                    <a:pt x="222" y="922"/>
                    <a:pt x="221" y="920"/>
                  </a:cubicBezTo>
                  <a:lnTo>
                    <a:pt x="184" y="846"/>
                  </a:lnTo>
                  <a:lnTo>
                    <a:pt x="97" y="821"/>
                  </a:lnTo>
                  <a:lnTo>
                    <a:pt x="74" y="803"/>
                  </a:lnTo>
                  <a:lnTo>
                    <a:pt x="60" y="750"/>
                  </a:lnTo>
                  <a:lnTo>
                    <a:pt x="14" y="675"/>
                  </a:lnTo>
                  <a:cubicBezTo>
                    <a:pt x="13" y="673"/>
                    <a:pt x="13" y="671"/>
                    <a:pt x="15" y="669"/>
                  </a:cubicBezTo>
                  <a:lnTo>
                    <a:pt x="43" y="641"/>
                  </a:lnTo>
                  <a:lnTo>
                    <a:pt x="51" y="520"/>
                  </a:lnTo>
                  <a:lnTo>
                    <a:pt x="39" y="377"/>
                  </a:lnTo>
                  <a:lnTo>
                    <a:pt x="1" y="324"/>
                  </a:lnTo>
                  <a:cubicBezTo>
                    <a:pt x="0" y="323"/>
                    <a:pt x="0" y="321"/>
                    <a:pt x="1" y="319"/>
                  </a:cubicBezTo>
                  <a:lnTo>
                    <a:pt x="27" y="281"/>
                  </a:lnTo>
                  <a:lnTo>
                    <a:pt x="81" y="239"/>
                  </a:lnTo>
                  <a:lnTo>
                    <a:pt x="81" y="157"/>
                  </a:lnTo>
                  <a:cubicBezTo>
                    <a:pt x="81" y="155"/>
                    <a:pt x="82" y="154"/>
                    <a:pt x="83" y="153"/>
                  </a:cubicBezTo>
                  <a:lnTo>
                    <a:pt x="179" y="82"/>
                  </a:lnTo>
                  <a:lnTo>
                    <a:pt x="183" y="4"/>
                  </a:lnTo>
                  <a:cubicBezTo>
                    <a:pt x="183" y="2"/>
                    <a:pt x="184" y="1"/>
                    <a:pt x="185" y="0"/>
                  </a:cubicBezTo>
                  <a:cubicBezTo>
                    <a:pt x="186" y="0"/>
                    <a:pt x="187" y="0"/>
                    <a:pt x="187" y="0"/>
                  </a:cubicBezTo>
                  <a:cubicBezTo>
                    <a:pt x="188" y="0"/>
                    <a:pt x="189" y="0"/>
                    <a:pt x="190" y="0"/>
                  </a:cubicBezTo>
                  <a:lnTo>
                    <a:pt x="270" y="38"/>
                  </a:lnTo>
                  <a:lnTo>
                    <a:pt x="387" y="38"/>
                  </a:lnTo>
                  <a:lnTo>
                    <a:pt x="503" y="84"/>
                  </a:lnTo>
                  <a:lnTo>
                    <a:pt x="555" y="178"/>
                  </a:lnTo>
                  <a:lnTo>
                    <a:pt x="710" y="215"/>
                  </a:lnTo>
                  <a:lnTo>
                    <a:pt x="811" y="278"/>
                  </a:lnTo>
                  <a:lnTo>
                    <a:pt x="887" y="246"/>
                  </a:lnTo>
                  <a:lnTo>
                    <a:pt x="907" y="207"/>
                  </a:lnTo>
                  <a:lnTo>
                    <a:pt x="890" y="158"/>
                  </a:lnTo>
                  <a:lnTo>
                    <a:pt x="899" y="113"/>
                  </a:lnTo>
                  <a:lnTo>
                    <a:pt x="984" y="39"/>
                  </a:lnTo>
                  <a:lnTo>
                    <a:pt x="1075" y="25"/>
                  </a:lnTo>
                  <a:lnTo>
                    <a:pt x="1145" y="46"/>
                  </a:lnTo>
                  <a:lnTo>
                    <a:pt x="1176" y="93"/>
                  </a:lnTo>
                  <a:lnTo>
                    <a:pt x="1314" y="122"/>
                  </a:lnTo>
                  <a:cubicBezTo>
                    <a:pt x="1315" y="123"/>
                    <a:pt x="1316" y="123"/>
                    <a:pt x="1317" y="124"/>
                  </a:cubicBezTo>
                  <a:lnTo>
                    <a:pt x="1338" y="154"/>
                  </a:lnTo>
                  <a:cubicBezTo>
                    <a:pt x="1340" y="156"/>
                    <a:pt x="1339" y="158"/>
                    <a:pt x="1338" y="160"/>
                  </a:cubicBezTo>
                  <a:lnTo>
                    <a:pt x="1314" y="184"/>
                  </a:lnTo>
                  <a:lnTo>
                    <a:pt x="1318" y="283"/>
                  </a:lnTo>
                  <a:cubicBezTo>
                    <a:pt x="1318" y="285"/>
                    <a:pt x="1318" y="286"/>
                    <a:pt x="1317" y="287"/>
                  </a:cubicBezTo>
                  <a:lnTo>
                    <a:pt x="1297" y="306"/>
                  </a:lnTo>
                  <a:lnTo>
                    <a:pt x="1314" y="380"/>
                  </a:lnTo>
                  <a:lnTo>
                    <a:pt x="1333" y="399"/>
                  </a:lnTo>
                  <a:cubicBezTo>
                    <a:pt x="1334" y="399"/>
                    <a:pt x="1335" y="401"/>
                    <a:pt x="1335" y="402"/>
                  </a:cubicBezTo>
                  <a:lnTo>
                    <a:pt x="1339" y="1053"/>
                  </a:lnTo>
                  <a:lnTo>
                    <a:pt x="1339" y="1223"/>
                  </a:lnTo>
                  <a:cubicBezTo>
                    <a:pt x="1339" y="1225"/>
                    <a:pt x="1337" y="1227"/>
                    <a:pt x="1335" y="1227"/>
                  </a:cubicBezTo>
                  <a:lnTo>
                    <a:pt x="1254" y="1231"/>
                  </a:lnTo>
                  <a:lnTo>
                    <a:pt x="1254" y="1273"/>
                  </a:lnTo>
                  <a:cubicBezTo>
                    <a:pt x="1254" y="1275"/>
                    <a:pt x="1254" y="1277"/>
                    <a:pt x="1252" y="1277"/>
                  </a:cubicBezTo>
                  <a:cubicBezTo>
                    <a:pt x="1251" y="1278"/>
                    <a:pt x="1251" y="1278"/>
                    <a:pt x="1250" y="1278"/>
                  </a:cubicBezTo>
                  <a:cubicBezTo>
                    <a:pt x="1249" y="1278"/>
                    <a:pt x="1248" y="1278"/>
                    <a:pt x="1248" y="127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4" name="Freeform 199"/>
            <p:cNvSpPr>
              <a:spLocks noChangeArrowheads="1"/>
            </p:cNvSpPr>
            <p:nvPr/>
          </p:nvSpPr>
          <p:spPr bwMode="auto">
            <a:xfrm>
              <a:off x="4513263" y="2687638"/>
              <a:ext cx="482600" cy="460375"/>
            </a:xfrm>
            <a:custGeom>
              <a:avLst/>
              <a:gdLst/>
              <a:ahLst/>
              <a:cxnLst>
                <a:cxn ang="0">
                  <a:pos x="1250" y="1278"/>
                </a:cxn>
                <a:cxn ang="0">
                  <a:pos x="1248" y="1278"/>
                </a:cxn>
                <a:cxn ang="0">
                  <a:pos x="585" y="936"/>
                </a:cxn>
                <a:cxn ang="0">
                  <a:pos x="502" y="961"/>
                </a:cxn>
                <a:cxn ang="0">
                  <a:pos x="473" y="973"/>
                </a:cxn>
                <a:cxn ang="0">
                  <a:pos x="471" y="974"/>
                </a:cxn>
                <a:cxn ang="0">
                  <a:pos x="468" y="973"/>
                </a:cxn>
                <a:cxn ang="0">
                  <a:pos x="401" y="922"/>
                </a:cxn>
                <a:cxn ang="0">
                  <a:pos x="226" y="923"/>
                </a:cxn>
                <a:cxn ang="0">
                  <a:pos x="221" y="920"/>
                </a:cxn>
                <a:cxn ang="0">
                  <a:pos x="184" y="846"/>
                </a:cxn>
                <a:cxn ang="0">
                  <a:pos x="97" y="821"/>
                </a:cxn>
                <a:cxn ang="0">
                  <a:pos x="74" y="803"/>
                </a:cxn>
                <a:cxn ang="0">
                  <a:pos x="60" y="750"/>
                </a:cxn>
                <a:cxn ang="0">
                  <a:pos x="14" y="675"/>
                </a:cxn>
                <a:cxn ang="0">
                  <a:pos x="15" y="669"/>
                </a:cxn>
                <a:cxn ang="0">
                  <a:pos x="43" y="641"/>
                </a:cxn>
                <a:cxn ang="0">
                  <a:pos x="51" y="520"/>
                </a:cxn>
                <a:cxn ang="0">
                  <a:pos x="39" y="377"/>
                </a:cxn>
                <a:cxn ang="0">
                  <a:pos x="1" y="324"/>
                </a:cxn>
                <a:cxn ang="0">
                  <a:pos x="1" y="319"/>
                </a:cxn>
                <a:cxn ang="0">
                  <a:pos x="27" y="281"/>
                </a:cxn>
                <a:cxn ang="0">
                  <a:pos x="81" y="239"/>
                </a:cxn>
                <a:cxn ang="0">
                  <a:pos x="81" y="157"/>
                </a:cxn>
                <a:cxn ang="0">
                  <a:pos x="83" y="153"/>
                </a:cxn>
                <a:cxn ang="0">
                  <a:pos x="179" y="82"/>
                </a:cxn>
                <a:cxn ang="0">
                  <a:pos x="183" y="4"/>
                </a:cxn>
                <a:cxn ang="0">
                  <a:pos x="185" y="0"/>
                </a:cxn>
                <a:cxn ang="0">
                  <a:pos x="187" y="0"/>
                </a:cxn>
                <a:cxn ang="0">
                  <a:pos x="190" y="0"/>
                </a:cxn>
                <a:cxn ang="0">
                  <a:pos x="270" y="38"/>
                </a:cxn>
                <a:cxn ang="0">
                  <a:pos x="387" y="38"/>
                </a:cxn>
                <a:cxn ang="0">
                  <a:pos x="503" y="84"/>
                </a:cxn>
                <a:cxn ang="0">
                  <a:pos x="555" y="178"/>
                </a:cxn>
                <a:cxn ang="0">
                  <a:pos x="710" y="215"/>
                </a:cxn>
                <a:cxn ang="0">
                  <a:pos x="811" y="278"/>
                </a:cxn>
                <a:cxn ang="0">
                  <a:pos x="887" y="246"/>
                </a:cxn>
                <a:cxn ang="0">
                  <a:pos x="907" y="207"/>
                </a:cxn>
                <a:cxn ang="0">
                  <a:pos x="890" y="158"/>
                </a:cxn>
                <a:cxn ang="0">
                  <a:pos x="899" y="113"/>
                </a:cxn>
                <a:cxn ang="0">
                  <a:pos x="984" y="39"/>
                </a:cxn>
                <a:cxn ang="0">
                  <a:pos x="1075" y="25"/>
                </a:cxn>
                <a:cxn ang="0">
                  <a:pos x="1145" y="46"/>
                </a:cxn>
                <a:cxn ang="0">
                  <a:pos x="1176" y="93"/>
                </a:cxn>
                <a:cxn ang="0">
                  <a:pos x="1314" y="122"/>
                </a:cxn>
                <a:cxn ang="0">
                  <a:pos x="1317" y="124"/>
                </a:cxn>
                <a:cxn ang="0">
                  <a:pos x="1338" y="154"/>
                </a:cxn>
                <a:cxn ang="0">
                  <a:pos x="1338" y="160"/>
                </a:cxn>
                <a:cxn ang="0">
                  <a:pos x="1314" y="184"/>
                </a:cxn>
                <a:cxn ang="0">
                  <a:pos x="1318" y="283"/>
                </a:cxn>
                <a:cxn ang="0">
                  <a:pos x="1317" y="287"/>
                </a:cxn>
                <a:cxn ang="0">
                  <a:pos x="1297" y="306"/>
                </a:cxn>
                <a:cxn ang="0">
                  <a:pos x="1314" y="380"/>
                </a:cxn>
                <a:cxn ang="0">
                  <a:pos x="1333" y="399"/>
                </a:cxn>
                <a:cxn ang="0">
                  <a:pos x="1335" y="402"/>
                </a:cxn>
                <a:cxn ang="0">
                  <a:pos x="1339" y="1053"/>
                </a:cxn>
                <a:cxn ang="0">
                  <a:pos x="1339" y="1223"/>
                </a:cxn>
                <a:cxn ang="0">
                  <a:pos x="1335" y="1227"/>
                </a:cxn>
                <a:cxn ang="0">
                  <a:pos x="1254" y="1231"/>
                </a:cxn>
                <a:cxn ang="0">
                  <a:pos x="1254" y="1273"/>
                </a:cxn>
                <a:cxn ang="0">
                  <a:pos x="1252" y="1277"/>
                </a:cxn>
                <a:cxn ang="0">
                  <a:pos x="1250" y="1278"/>
                </a:cxn>
              </a:cxnLst>
              <a:rect l="0" t="0" r="r" b="b"/>
              <a:pathLst>
                <a:path w="1341" h="1279">
                  <a:moveTo>
                    <a:pt x="1250" y="1278"/>
                  </a:moveTo>
                  <a:cubicBezTo>
                    <a:pt x="1249" y="1278"/>
                    <a:pt x="1248" y="1278"/>
                    <a:pt x="1248" y="1278"/>
                  </a:cubicBezTo>
                  <a:lnTo>
                    <a:pt x="585" y="936"/>
                  </a:lnTo>
                  <a:lnTo>
                    <a:pt x="502" y="961"/>
                  </a:lnTo>
                  <a:lnTo>
                    <a:pt x="473" y="973"/>
                  </a:lnTo>
                  <a:cubicBezTo>
                    <a:pt x="473" y="973"/>
                    <a:pt x="472" y="974"/>
                    <a:pt x="471" y="974"/>
                  </a:cubicBezTo>
                  <a:cubicBezTo>
                    <a:pt x="470" y="974"/>
                    <a:pt x="469" y="973"/>
                    <a:pt x="468" y="973"/>
                  </a:cubicBezTo>
                  <a:lnTo>
                    <a:pt x="401" y="922"/>
                  </a:lnTo>
                  <a:lnTo>
                    <a:pt x="226" y="923"/>
                  </a:lnTo>
                  <a:cubicBezTo>
                    <a:pt x="224" y="923"/>
                    <a:pt x="222" y="922"/>
                    <a:pt x="221" y="920"/>
                  </a:cubicBezTo>
                  <a:lnTo>
                    <a:pt x="184" y="846"/>
                  </a:lnTo>
                  <a:lnTo>
                    <a:pt x="97" y="821"/>
                  </a:lnTo>
                  <a:lnTo>
                    <a:pt x="74" y="803"/>
                  </a:lnTo>
                  <a:lnTo>
                    <a:pt x="60" y="750"/>
                  </a:lnTo>
                  <a:lnTo>
                    <a:pt x="14" y="675"/>
                  </a:lnTo>
                  <a:cubicBezTo>
                    <a:pt x="13" y="673"/>
                    <a:pt x="13" y="671"/>
                    <a:pt x="15" y="669"/>
                  </a:cubicBezTo>
                  <a:lnTo>
                    <a:pt x="43" y="641"/>
                  </a:lnTo>
                  <a:lnTo>
                    <a:pt x="51" y="520"/>
                  </a:lnTo>
                  <a:lnTo>
                    <a:pt x="39" y="377"/>
                  </a:lnTo>
                  <a:lnTo>
                    <a:pt x="1" y="324"/>
                  </a:lnTo>
                  <a:cubicBezTo>
                    <a:pt x="0" y="323"/>
                    <a:pt x="0" y="321"/>
                    <a:pt x="1" y="319"/>
                  </a:cubicBezTo>
                  <a:lnTo>
                    <a:pt x="27" y="281"/>
                  </a:lnTo>
                  <a:lnTo>
                    <a:pt x="81" y="239"/>
                  </a:lnTo>
                  <a:lnTo>
                    <a:pt x="81" y="157"/>
                  </a:lnTo>
                  <a:cubicBezTo>
                    <a:pt x="81" y="155"/>
                    <a:pt x="82" y="154"/>
                    <a:pt x="83" y="153"/>
                  </a:cubicBezTo>
                  <a:lnTo>
                    <a:pt x="179" y="82"/>
                  </a:lnTo>
                  <a:lnTo>
                    <a:pt x="183" y="4"/>
                  </a:lnTo>
                  <a:cubicBezTo>
                    <a:pt x="183" y="2"/>
                    <a:pt x="184" y="1"/>
                    <a:pt x="185" y="0"/>
                  </a:cubicBezTo>
                  <a:cubicBezTo>
                    <a:pt x="186" y="0"/>
                    <a:pt x="187" y="0"/>
                    <a:pt x="187" y="0"/>
                  </a:cubicBezTo>
                  <a:cubicBezTo>
                    <a:pt x="188" y="0"/>
                    <a:pt x="189" y="0"/>
                    <a:pt x="190" y="0"/>
                  </a:cubicBezTo>
                  <a:lnTo>
                    <a:pt x="270" y="38"/>
                  </a:lnTo>
                  <a:lnTo>
                    <a:pt x="387" y="38"/>
                  </a:lnTo>
                  <a:lnTo>
                    <a:pt x="503" y="84"/>
                  </a:lnTo>
                  <a:lnTo>
                    <a:pt x="555" y="178"/>
                  </a:lnTo>
                  <a:lnTo>
                    <a:pt x="710" y="215"/>
                  </a:lnTo>
                  <a:lnTo>
                    <a:pt x="811" y="278"/>
                  </a:lnTo>
                  <a:lnTo>
                    <a:pt x="887" y="246"/>
                  </a:lnTo>
                  <a:lnTo>
                    <a:pt x="907" y="207"/>
                  </a:lnTo>
                  <a:lnTo>
                    <a:pt x="890" y="158"/>
                  </a:lnTo>
                  <a:lnTo>
                    <a:pt x="899" y="113"/>
                  </a:lnTo>
                  <a:lnTo>
                    <a:pt x="984" y="39"/>
                  </a:lnTo>
                  <a:lnTo>
                    <a:pt x="1075" y="25"/>
                  </a:lnTo>
                  <a:lnTo>
                    <a:pt x="1145" y="46"/>
                  </a:lnTo>
                  <a:lnTo>
                    <a:pt x="1176" y="93"/>
                  </a:lnTo>
                  <a:lnTo>
                    <a:pt x="1314" y="122"/>
                  </a:lnTo>
                  <a:cubicBezTo>
                    <a:pt x="1315" y="123"/>
                    <a:pt x="1316" y="123"/>
                    <a:pt x="1317" y="124"/>
                  </a:cubicBezTo>
                  <a:lnTo>
                    <a:pt x="1338" y="154"/>
                  </a:lnTo>
                  <a:cubicBezTo>
                    <a:pt x="1340" y="156"/>
                    <a:pt x="1339" y="158"/>
                    <a:pt x="1338" y="160"/>
                  </a:cubicBezTo>
                  <a:lnTo>
                    <a:pt x="1314" y="184"/>
                  </a:lnTo>
                  <a:lnTo>
                    <a:pt x="1318" y="283"/>
                  </a:lnTo>
                  <a:cubicBezTo>
                    <a:pt x="1318" y="285"/>
                    <a:pt x="1318" y="286"/>
                    <a:pt x="1317" y="287"/>
                  </a:cubicBezTo>
                  <a:lnTo>
                    <a:pt x="1297" y="306"/>
                  </a:lnTo>
                  <a:lnTo>
                    <a:pt x="1314" y="380"/>
                  </a:lnTo>
                  <a:lnTo>
                    <a:pt x="1333" y="399"/>
                  </a:lnTo>
                  <a:cubicBezTo>
                    <a:pt x="1334" y="399"/>
                    <a:pt x="1335" y="401"/>
                    <a:pt x="1335" y="402"/>
                  </a:cubicBezTo>
                  <a:lnTo>
                    <a:pt x="1339" y="1053"/>
                  </a:lnTo>
                  <a:lnTo>
                    <a:pt x="1339" y="1223"/>
                  </a:lnTo>
                  <a:cubicBezTo>
                    <a:pt x="1339" y="1225"/>
                    <a:pt x="1337" y="1227"/>
                    <a:pt x="1335" y="1227"/>
                  </a:cubicBezTo>
                  <a:lnTo>
                    <a:pt x="1254" y="1231"/>
                  </a:lnTo>
                  <a:lnTo>
                    <a:pt x="1254" y="1273"/>
                  </a:lnTo>
                  <a:cubicBezTo>
                    <a:pt x="1254" y="1275"/>
                    <a:pt x="1254" y="1277"/>
                    <a:pt x="1252" y="1277"/>
                  </a:cubicBezTo>
                  <a:cubicBezTo>
                    <a:pt x="1251" y="1278"/>
                    <a:pt x="1251" y="1278"/>
                    <a:pt x="1250" y="127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5" name="Freeform 200"/>
            <p:cNvSpPr>
              <a:spLocks noChangeArrowheads="1"/>
            </p:cNvSpPr>
            <p:nvPr/>
          </p:nvSpPr>
          <p:spPr bwMode="auto">
            <a:xfrm>
              <a:off x="5534025" y="4103688"/>
              <a:ext cx="220663" cy="430212"/>
            </a:xfrm>
            <a:custGeom>
              <a:avLst/>
              <a:gdLst/>
              <a:ahLst/>
              <a:cxnLst>
                <a:cxn ang="0">
                  <a:pos x="78" y="1130"/>
                </a:cxn>
                <a:cxn ang="0">
                  <a:pos x="42" y="1000"/>
                </a:cxn>
                <a:cxn ang="0">
                  <a:pos x="0" y="851"/>
                </a:cxn>
                <a:cxn ang="0">
                  <a:pos x="59" y="467"/>
                </a:cxn>
                <a:cxn ang="0">
                  <a:pos x="102" y="379"/>
                </a:cxn>
                <a:cxn ang="0">
                  <a:pos x="104" y="356"/>
                </a:cxn>
                <a:cxn ang="0">
                  <a:pos x="170" y="330"/>
                </a:cxn>
                <a:cxn ang="0">
                  <a:pos x="183" y="338"/>
                </a:cxn>
                <a:cxn ang="0">
                  <a:pos x="242" y="309"/>
                </a:cxn>
                <a:cxn ang="0">
                  <a:pos x="269" y="334"/>
                </a:cxn>
                <a:cxn ang="0">
                  <a:pos x="267" y="298"/>
                </a:cxn>
                <a:cxn ang="0">
                  <a:pos x="307" y="267"/>
                </a:cxn>
                <a:cxn ang="0">
                  <a:pos x="311" y="267"/>
                </a:cxn>
                <a:cxn ang="0">
                  <a:pos x="321" y="291"/>
                </a:cxn>
                <a:cxn ang="0">
                  <a:pos x="322" y="260"/>
                </a:cxn>
                <a:cxn ang="0">
                  <a:pos x="340" y="231"/>
                </a:cxn>
                <a:cxn ang="0">
                  <a:pos x="356" y="216"/>
                </a:cxn>
                <a:cxn ang="0">
                  <a:pos x="361" y="221"/>
                </a:cxn>
                <a:cxn ang="0">
                  <a:pos x="378" y="218"/>
                </a:cxn>
                <a:cxn ang="0">
                  <a:pos x="374" y="199"/>
                </a:cxn>
                <a:cxn ang="0">
                  <a:pos x="391" y="167"/>
                </a:cxn>
                <a:cxn ang="0">
                  <a:pos x="396" y="165"/>
                </a:cxn>
                <a:cxn ang="0">
                  <a:pos x="391" y="129"/>
                </a:cxn>
                <a:cxn ang="0">
                  <a:pos x="416" y="127"/>
                </a:cxn>
                <a:cxn ang="0">
                  <a:pos x="421" y="134"/>
                </a:cxn>
                <a:cxn ang="0">
                  <a:pos x="441" y="97"/>
                </a:cxn>
                <a:cxn ang="0">
                  <a:pos x="462" y="30"/>
                </a:cxn>
                <a:cxn ang="0">
                  <a:pos x="497" y="1"/>
                </a:cxn>
                <a:cxn ang="0">
                  <a:pos x="501" y="0"/>
                </a:cxn>
                <a:cxn ang="0">
                  <a:pos x="559" y="78"/>
                </a:cxn>
                <a:cxn ang="0">
                  <a:pos x="598" y="328"/>
                </a:cxn>
                <a:cxn ang="0">
                  <a:pos x="585" y="331"/>
                </a:cxn>
                <a:cxn ang="0">
                  <a:pos x="565" y="289"/>
                </a:cxn>
                <a:cxn ang="0">
                  <a:pos x="560" y="385"/>
                </a:cxn>
                <a:cxn ang="0">
                  <a:pos x="514" y="568"/>
                </a:cxn>
                <a:cxn ang="0">
                  <a:pos x="305" y="1150"/>
                </a:cxn>
                <a:cxn ang="0">
                  <a:pos x="242" y="1156"/>
                </a:cxn>
                <a:cxn ang="0">
                  <a:pos x="170" y="1194"/>
                </a:cxn>
              </a:cxnLst>
              <a:rect l="0" t="0" r="r" b="b"/>
              <a:pathLst>
                <a:path w="612" h="1195">
                  <a:moveTo>
                    <a:pt x="167" y="1193"/>
                  </a:moveTo>
                  <a:lnTo>
                    <a:pt x="78" y="1130"/>
                  </a:lnTo>
                  <a:lnTo>
                    <a:pt x="56" y="1099"/>
                  </a:lnTo>
                  <a:lnTo>
                    <a:pt x="42" y="1000"/>
                  </a:lnTo>
                  <a:lnTo>
                    <a:pt x="9" y="920"/>
                  </a:lnTo>
                  <a:lnTo>
                    <a:pt x="0" y="851"/>
                  </a:lnTo>
                  <a:lnTo>
                    <a:pt x="110" y="664"/>
                  </a:lnTo>
                  <a:lnTo>
                    <a:pt x="59" y="467"/>
                  </a:lnTo>
                  <a:cubicBezTo>
                    <a:pt x="59" y="466"/>
                    <a:pt x="59" y="465"/>
                    <a:pt x="60" y="464"/>
                  </a:cubicBezTo>
                  <a:lnTo>
                    <a:pt x="102" y="379"/>
                  </a:lnTo>
                  <a:lnTo>
                    <a:pt x="102" y="360"/>
                  </a:lnTo>
                  <a:cubicBezTo>
                    <a:pt x="102" y="358"/>
                    <a:pt x="103" y="357"/>
                    <a:pt x="104" y="356"/>
                  </a:cubicBezTo>
                  <a:lnTo>
                    <a:pt x="168" y="330"/>
                  </a:lnTo>
                  <a:cubicBezTo>
                    <a:pt x="169" y="330"/>
                    <a:pt x="169" y="330"/>
                    <a:pt x="170" y="330"/>
                  </a:cubicBezTo>
                  <a:cubicBezTo>
                    <a:pt x="171" y="330"/>
                    <a:pt x="172" y="330"/>
                    <a:pt x="172" y="331"/>
                  </a:cubicBezTo>
                  <a:lnTo>
                    <a:pt x="183" y="338"/>
                  </a:lnTo>
                  <a:lnTo>
                    <a:pt x="240" y="309"/>
                  </a:lnTo>
                  <a:cubicBezTo>
                    <a:pt x="240" y="309"/>
                    <a:pt x="241" y="309"/>
                    <a:pt x="242" y="309"/>
                  </a:cubicBezTo>
                  <a:cubicBezTo>
                    <a:pt x="243" y="309"/>
                    <a:pt x="244" y="309"/>
                    <a:pt x="245" y="310"/>
                  </a:cubicBezTo>
                  <a:lnTo>
                    <a:pt x="269" y="334"/>
                  </a:lnTo>
                  <a:lnTo>
                    <a:pt x="281" y="334"/>
                  </a:lnTo>
                  <a:lnTo>
                    <a:pt x="267" y="298"/>
                  </a:lnTo>
                  <a:cubicBezTo>
                    <a:pt x="266" y="296"/>
                    <a:pt x="267" y="294"/>
                    <a:pt x="269" y="293"/>
                  </a:cubicBezTo>
                  <a:lnTo>
                    <a:pt x="307" y="267"/>
                  </a:lnTo>
                  <a:cubicBezTo>
                    <a:pt x="308" y="267"/>
                    <a:pt x="309" y="267"/>
                    <a:pt x="310" y="267"/>
                  </a:cubicBezTo>
                  <a:lnTo>
                    <a:pt x="311" y="267"/>
                  </a:lnTo>
                  <a:cubicBezTo>
                    <a:pt x="313" y="267"/>
                    <a:pt x="314" y="268"/>
                    <a:pt x="314" y="270"/>
                  </a:cubicBezTo>
                  <a:lnTo>
                    <a:pt x="321" y="291"/>
                  </a:lnTo>
                  <a:lnTo>
                    <a:pt x="333" y="289"/>
                  </a:lnTo>
                  <a:lnTo>
                    <a:pt x="322" y="260"/>
                  </a:lnTo>
                  <a:cubicBezTo>
                    <a:pt x="322" y="259"/>
                    <a:pt x="322" y="257"/>
                    <a:pt x="323" y="256"/>
                  </a:cubicBezTo>
                  <a:lnTo>
                    <a:pt x="340" y="231"/>
                  </a:lnTo>
                  <a:lnTo>
                    <a:pt x="353" y="217"/>
                  </a:lnTo>
                  <a:cubicBezTo>
                    <a:pt x="354" y="216"/>
                    <a:pt x="355" y="216"/>
                    <a:pt x="356" y="216"/>
                  </a:cubicBezTo>
                  <a:cubicBezTo>
                    <a:pt x="357" y="216"/>
                    <a:pt x="357" y="216"/>
                    <a:pt x="358" y="216"/>
                  </a:cubicBezTo>
                  <a:cubicBezTo>
                    <a:pt x="360" y="217"/>
                    <a:pt x="361" y="219"/>
                    <a:pt x="361" y="221"/>
                  </a:cubicBezTo>
                  <a:lnTo>
                    <a:pt x="361" y="238"/>
                  </a:lnTo>
                  <a:lnTo>
                    <a:pt x="378" y="218"/>
                  </a:lnTo>
                  <a:lnTo>
                    <a:pt x="393" y="214"/>
                  </a:lnTo>
                  <a:lnTo>
                    <a:pt x="374" y="199"/>
                  </a:lnTo>
                  <a:cubicBezTo>
                    <a:pt x="372" y="197"/>
                    <a:pt x="372" y="195"/>
                    <a:pt x="374" y="193"/>
                  </a:cubicBezTo>
                  <a:lnTo>
                    <a:pt x="391" y="167"/>
                  </a:lnTo>
                  <a:cubicBezTo>
                    <a:pt x="391" y="166"/>
                    <a:pt x="393" y="165"/>
                    <a:pt x="394" y="165"/>
                  </a:cubicBezTo>
                  <a:cubicBezTo>
                    <a:pt x="394" y="165"/>
                    <a:pt x="395" y="165"/>
                    <a:pt x="396" y="165"/>
                  </a:cubicBezTo>
                  <a:lnTo>
                    <a:pt x="390" y="133"/>
                  </a:lnTo>
                  <a:cubicBezTo>
                    <a:pt x="389" y="131"/>
                    <a:pt x="390" y="130"/>
                    <a:pt x="391" y="129"/>
                  </a:cubicBezTo>
                  <a:cubicBezTo>
                    <a:pt x="392" y="128"/>
                    <a:pt x="393" y="127"/>
                    <a:pt x="394" y="127"/>
                  </a:cubicBezTo>
                  <a:lnTo>
                    <a:pt x="416" y="127"/>
                  </a:lnTo>
                  <a:cubicBezTo>
                    <a:pt x="418" y="127"/>
                    <a:pt x="420" y="128"/>
                    <a:pt x="420" y="131"/>
                  </a:cubicBezTo>
                  <a:lnTo>
                    <a:pt x="421" y="134"/>
                  </a:lnTo>
                  <a:lnTo>
                    <a:pt x="437" y="100"/>
                  </a:lnTo>
                  <a:cubicBezTo>
                    <a:pt x="437" y="98"/>
                    <a:pt x="439" y="97"/>
                    <a:pt x="441" y="97"/>
                  </a:cubicBezTo>
                  <a:lnTo>
                    <a:pt x="462" y="97"/>
                  </a:lnTo>
                  <a:lnTo>
                    <a:pt x="462" y="30"/>
                  </a:lnTo>
                  <a:cubicBezTo>
                    <a:pt x="462" y="29"/>
                    <a:pt x="462" y="27"/>
                    <a:pt x="464" y="26"/>
                  </a:cubicBezTo>
                  <a:lnTo>
                    <a:pt x="497" y="1"/>
                  </a:lnTo>
                  <a:cubicBezTo>
                    <a:pt x="498" y="0"/>
                    <a:pt x="499" y="0"/>
                    <a:pt x="500" y="0"/>
                  </a:cubicBezTo>
                  <a:lnTo>
                    <a:pt x="501" y="0"/>
                  </a:lnTo>
                  <a:cubicBezTo>
                    <a:pt x="502" y="0"/>
                    <a:pt x="503" y="1"/>
                    <a:pt x="504" y="2"/>
                  </a:cubicBezTo>
                  <a:lnTo>
                    <a:pt x="559" y="78"/>
                  </a:lnTo>
                  <a:lnTo>
                    <a:pt x="611" y="283"/>
                  </a:lnTo>
                  <a:lnTo>
                    <a:pt x="598" y="328"/>
                  </a:lnTo>
                  <a:cubicBezTo>
                    <a:pt x="597" y="330"/>
                    <a:pt x="596" y="331"/>
                    <a:pt x="593" y="331"/>
                  </a:cubicBezTo>
                  <a:lnTo>
                    <a:pt x="585" y="331"/>
                  </a:lnTo>
                  <a:cubicBezTo>
                    <a:pt x="583" y="331"/>
                    <a:pt x="581" y="330"/>
                    <a:pt x="581" y="328"/>
                  </a:cubicBezTo>
                  <a:lnTo>
                    <a:pt x="565" y="289"/>
                  </a:lnTo>
                  <a:lnTo>
                    <a:pt x="556" y="289"/>
                  </a:lnTo>
                  <a:lnTo>
                    <a:pt x="560" y="385"/>
                  </a:lnTo>
                  <a:lnTo>
                    <a:pt x="534" y="434"/>
                  </a:lnTo>
                  <a:lnTo>
                    <a:pt x="514" y="568"/>
                  </a:lnTo>
                  <a:lnTo>
                    <a:pt x="348" y="1098"/>
                  </a:lnTo>
                  <a:lnTo>
                    <a:pt x="305" y="1150"/>
                  </a:lnTo>
                  <a:cubicBezTo>
                    <a:pt x="304" y="1151"/>
                    <a:pt x="303" y="1152"/>
                    <a:pt x="302" y="1152"/>
                  </a:cubicBezTo>
                  <a:lnTo>
                    <a:pt x="242" y="1156"/>
                  </a:lnTo>
                  <a:lnTo>
                    <a:pt x="172" y="1194"/>
                  </a:lnTo>
                  <a:cubicBezTo>
                    <a:pt x="171" y="1194"/>
                    <a:pt x="171" y="1194"/>
                    <a:pt x="170" y="1194"/>
                  </a:cubicBezTo>
                  <a:cubicBezTo>
                    <a:pt x="169" y="1194"/>
                    <a:pt x="168" y="1194"/>
                    <a:pt x="167" y="119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6" name="Freeform 201"/>
            <p:cNvSpPr>
              <a:spLocks noChangeArrowheads="1"/>
            </p:cNvSpPr>
            <p:nvPr/>
          </p:nvSpPr>
          <p:spPr bwMode="auto">
            <a:xfrm>
              <a:off x="5534025" y="4103688"/>
              <a:ext cx="220663" cy="430212"/>
            </a:xfrm>
            <a:custGeom>
              <a:avLst/>
              <a:gdLst/>
              <a:ahLst/>
              <a:cxnLst>
                <a:cxn ang="0">
                  <a:pos x="167" y="1193"/>
                </a:cxn>
                <a:cxn ang="0">
                  <a:pos x="56" y="1099"/>
                </a:cxn>
                <a:cxn ang="0">
                  <a:pos x="9" y="920"/>
                </a:cxn>
                <a:cxn ang="0">
                  <a:pos x="110" y="664"/>
                </a:cxn>
                <a:cxn ang="0">
                  <a:pos x="60" y="464"/>
                </a:cxn>
                <a:cxn ang="0">
                  <a:pos x="102" y="360"/>
                </a:cxn>
                <a:cxn ang="0">
                  <a:pos x="168" y="330"/>
                </a:cxn>
                <a:cxn ang="0">
                  <a:pos x="172" y="331"/>
                </a:cxn>
                <a:cxn ang="0">
                  <a:pos x="240" y="309"/>
                </a:cxn>
                <a:cxn ang="0">
                  <a:pos x="245" y="310"/>
                </a:cxn>
                <a:cxn ang="0">
                  <a:pos x="281" y="334"/>
                </a:cxn>
                <a:cxn ang="0">
                  <a:pos x="269" y="293"/>
                </a:cxn>
                <a:cxn ang="0">
                  <a:pos x="310" y="267"/>
                </a:cxn>
                <a:cxn ang="0">
                  <a:pos x="314" y="270"/>
                </a:cxn>
                <a:cxn ang="0">
                  <a:pos x="333" y="289"/>
                </a:cxn>
                <a:cxn ang="0">
                  <a:pos x="323" y="256"/>
                </a:cxn>
                <a:cxn ang="0">
                  <a:pos x="353" y="217"/>
                </a:cxn>
                <a:cxn ang="0">
                  <a:pos x="358" y="216"/>
                </a:cxn>
                <a:cxn ang="0">
                  <a:pos x="361" y="238"/>
                </a:cxn>
                <a:cxn ang="0">
                  <a:pos x="393" y="214"/>
                </a:cxn>
                <a:cxn ang="0">
                  <a:pos x="374" y="193"/>
                </a:cxn>
                <a:cxn ang="0">
                  <a:pos x="394" y="165"/>
                </a:cxn>
                <a:cxn ang="0">
                  <a:pos x="390" y="133"/>
                </a:cxn>
                <a:cxn ang="0">
                  <a:pos x="394" y="127"/>
                </a:cxn>
                <a:cxn ang="0">
                  <a:pos x="420" y="131"/>
                </a:cxn>
                <a:cxn ang="0">
                  <a:pos x="437" y="100"/>
                </a:cxn>
                <a:cxn ang="0">
                  <a:pos x="462" y="97"/>
                </a:cxn>
                <a:cxn ang="0">
                  <a:pos x="464" y="26"/>
                </a:cxn>
                <a:cxn ang="0">
                  <a:pos x="500" y="0"/>
                </a:cxn>
                <a:cxn ang="0">
                  <a:pos x="504" y="2"/>
                </a:cxn>
                <a:cxn ang="0">
                  <a:pos x="611" y="283"/>
                </a:cxn>
                <a:cxn ang="0">
                  <a:pos x="593" y="331"/>
                </a:cxn>
                <a:cxn ang="0">
                  <a:pos x="581" y="328"/>
                </a:cxn>
                <a:cxn ang="0">
                  <a:pos x="556" y="289"/>
                </a:cxn>
                <a:cxn ang="0">
                  <a:pos x="534" y="434"/>
                </a:cxn>
                <a:cxn ang="0">
                  <a:pos x="348" y="1098"/>
                </a:cxn>
                <a:cxn ang="0">
                  <a:pos x="302" y="1152"/>
                </a:cxn>
                <a:cxn ang="0">
                  <a:pos x="172" y="1194"/>
                </a:cxn>
              </a:cxnLst>
              <a:rect l="0" t="0" r="r" b="b"/>
              <a:pathLst>
                <a:path w="612" h="1195">
                  <a:moveTo>
                    <a:pt x="170" y="1194"/>
                  </a:moveTo>
                  <a:cubicBezTo>
                    <a:pt x="169" y="1194"/>
                    <a:pt x="168" y="1194"/>
                    <a:pt x="167" y="1193"/>
                  </a:cubicBezTo>
                  <a:lnTo>
                    <a:pt x="78" y="1130"/>
                  </a:lnTo>
                  <a:lnTo>
                    <a:pt x="56" y="1099"/>
                  </a:lnTo>
                  <a:lnTo>
                    <a:pt x="42" y="1000"/>
                  </a:lnTo>
                  <a:lnTo>
                    <a:pt x="9" y="920"/>
                  </a:lnTo>
                  <a:lnTo>
                    <a:pt x="0" y="851"/>
                  </a:lnTo>
                  <a:lnTo>
                    <a:pt x="110" y="664"/>
                  </a:lnTo>
                  <a:lnTo>
                    <a:pt x="59" y="467"/>
                  </a:lnTo>
                  <a:cubicBezTo>
                    <a:pt x="59" y="466"/>
                    <a:pt x="59" y="465"/>
                    <a:pt x="60" y="464"/>
                  </a:cubicBezTo>
                  <a:lnTo>
                    <a:pt x="102" y="379"/>
                  </a:lnTo>
                  <a:lnTo>
                    <a:pt x="102" y="360"/>
                  </a:lnTo>
                  <a:cubicBezTo>
                    <a:pt x="102" y="358"/>
                    <a:pt x="103" y="357"/>
                    <a:pt x="104" y="356"/>
                  </a:cubicBezTo>
                  <a:lnTo>
                    <a:pt x="168" y="330"/>
                  </a:lnTo>
                  <a:cubicBezTo>
                    <a:pt x="169" y="330"/>
                    <a:pt x="169" y="330"/>
                    <a:pt x="170" y="330"/>
                  </a:cubicBezTo>
                  <a:cubicBezTo>
                    <a:pt x="171" y="330"/>
                    <a:pt x="172" y="330"/>
                    <a:pt x="172" y="331"/>
                  </a:cubicBezTo>
                  <a:lnTo>
                    <a:pt x="183" y="338"/>
                  </a:lnTo>
                  <a:lnTo>
                    <a:pt x="240" y="309"/>
                  </a:lnTo>
                  <a:cubicBezTo>
                    <a:pt x="240" y="309"/>
                    <a:pt x="241" y="309"/>
                    <a:pt x="242" y="309"/>
                  </a:cubicBezTo>
                  <a:cubicBezTo>
                    <a:pt x="243" y="309"/>
                    <a:pt x="244" y="309"/>
                    <a:pt x="245" y="310"/>
                  </a:cubicBezTo>
                  <a:lnTo>
                    <a:pt x="269" y="334"/>
                  </a:lnTo>
                  <a:lnTo>
                    <a:pt x="281" y="334"/>
                  </a:lnTo>
                  <a:lnTo>
                    <a:pt x="267" y="298"/>
                  </a:lnTo>
                  <a:cubicBezTo>
                    <a:pt x="266" y="296"/>
                    <a:pt x="267" y="294"/>
                    <a:pt x="269" y="293"/>
                  </a:cubicBezTo>
                  <a:lnTo>
                    <a:pt x="307" y="267"/>
                  </a:lnTo>
                  <a:cubicBezTo>
                    <a:pt x="308" y="267"/>
                    <a:pt x="309" y="267"/>
                    <a:pt x="310" y="267"/>
                  </a:cubicBezTo>
                  <a:lnTo>
                    <a:pt x="311" y="267"/>
                  </a:lnTo>
                  <a:cubicBezTo>
                    <a:pt x="313" y="267"/>
                    <a:pt x="314" y="268"/>
                    <a:pt x="314" y="270"/>
                  </a:cubicBezTo>
                  <a:lnTo>
                    <a:pt x="321" y="291"/>
                  </a:lnTo>
                  <a:lnTo>
                    <a:pt x="333" y="289"/>
                  </a:lnTo>
                  <a:lnTo>
                    <a:pt x="322" y="260"/>
                  </a:lnTo>
                  <a:cubicBezTo>
                    <a:pt x="322" y="259"/>
                    <a:pt x="322" y="257"/>
                    <a:pt x="323" y="256"/>
                  </a:cubicBezTo>
                  <a:lnTo>
                    <a:pt x="340" y="231"/>
                  </a:lnTo>
                  <a:lnTo>
                    <a:pt x="353" y="217"/>
                  </a:lnTo>
                  <a:cubicBezTo>
                    <a:pt x="354" y="216"/>
                    <a:pt x="355" y="216"/>
                    <a:pt x="356" y="216"/>
                  </a:cubicBezTo>
                  <a:cubicBezTo>
                    <a:pt x="357" y="216"/>
                    <a:pt x="357" y="216"/>
                    <a:pt x="358" y="216"/>
                  </a:cubicBezTo>
                  <a:cubicBezTo>
                    <a:pt x="360" y="217"/>
                    <a:pt x="361" y="219"/>
                    <a:pt x="361" y="221"/>
                  </a:cubicBezTo>
                  <a:lnTo>
                    <a:pt x="361" y="238"/>
                  </a:lnTo>
                  <a:lnTo>
                    <a:pt x="378" y="218"/>
                  </a:lnTo>
                  <a:lnTo>
                    <a:pt x="393" y="214"/>
                  </a:lnTo>
                  <a:lnTo>
                    <a:pt x="374" y="199"/>
                  </a:lnTo>
                  <a:cubicBezTo>
                    <a:pt x="372" y="197"/>
                    <a:pt x="372" y="195"/>
                    <a:pt x="374" y="193"/>
                  </a:cubicBezTo>
                  <a:lnTo>
                    <a:pt x="391" y="167"/>
                  </a:lnTo>
                  <a:cubicBezTo>
                    <a:pt x="391" y="166"/>
                    <a:pt x="393" y="165"/>
                    <a:pt x="394" y="165"/>
                  </a:cubicBezTo>
                  <a:cubicBezTo>
                    <a:pt x="394" y="165"/>
                    <a:pt x="395" y="165"/>
                    <a:pt x="396" y="165"/>
                  </a:cubicBezTo>
                  <a:lnTo>
                    <a:pt x="390" y="133"/>
                  </a:lnTo>
                  <a:cubicBezTo>
                    <a:pt x="389" y="131"/>
                    <a:pt x="390" y="130"/>
                    <a:pt x="391" y="129"/>
                  </a:cubicBezTo>
                  <a:cubicBezTo>
                    <a:pt x="392" y="128"/>
                    <a:pt x="393" y="127"/>
                    <a:pt x="394" y="127"/>
                  </a:cubicBezTo>
                  <a:lnTo>
                    <a:pt x="416" y="127"/>
                  </a:lnTo>
                  <a:cubicBezTo>
                    <a:pt x="418" y="127"/>
                    <a:pt x="420" y="128"/>
                    <a:pt x="420" y="131"/>
                  </a:cubicBezTo>
                  <a:lnTo>
                    <a:pt x="421" y="134"/>
                  </a:lnTo>
                  <a:lnTo>
                    <a:pt x="437" y="100"/>
                  </a:lnTo>
                  <a:cubicBezTo>
                    <a:pt x="437" y="98"/>
                    <a:pt x="439" y="97"/>
                    <a:pt x="441" y="97"/>
                  </a:cubicBezTo>
                  <a:lnTo>
                    <a:pt x="462" y="97"/>
                  </a:lnTo>
                  <a:lnTo>
                    <a:pt x="462" y="30"/>
                  </a:lnTo>
                  <a:cubicBezTo>
                    <a:pt x="462" y="29"/>
                    <a:pt x="462" y="27"/>
                    <a:pt x="464" y="26"/>
                  </a:cubicBezTo>
                  <a:lnTo>
                    <a:pt x="497" y="1"/>
                  </a:lnTo>
                  <a:cubicBezTo>
                    <a:pt x="498" y="0"/>
                    <a:pt x="499" y="0"/>
                    <a:pt x="500" y="0"/>
                  </a:cubicBezTo>
                  <a:lnTo>
                    <a:pt x="501" y="0"/>
                  </a:lnTo>
                  <a:cubicBezTo>
                    <a:pt x="502" y="0"/>
                    <a:pt x="503" y="1"/>
                    <a:pt x="504" y="2"/>
                  </a:cubicBezTo>
                  <a:lnTo>
                    <a:pt x="559" y="78"/>
                  </a:lnTo>
                  <a:lnTo>
                    <a:pt x="611" y="283"/>
                  </a:lnTo>
                  <a:lnTo>
                    <a:pt x="598" y="328"/>
                  </a:lnTo>
                  <a:cubicBezTo>
                    <a:pt x="597" y="330"/>
                    <a:pt x="596" y="331"/>
                    <a:pt x="593" y="331"/>
                  </a:cubicBezTo>
                  <a:lnTo>
                    <a:pt x="585" y="331"/>
                  </a:lnTo>
                  <a:cubicBezTo>
                    <a:pt x="583" y="331"/>
                    <a:pt x="581" y="330"/>
                    <a:pt x="581" y="328"/>
                  </a:cubicBezTo>
                  <a:lnTo>
                    <a:pt x="565" y="289"/>
                  </a:lnTo>
                  <a:lnTo>
                    <a:pt x="556" y="289"/>
                  </a:lnTo>
                  <a:lnTo>
                    <a:pt x="560" y="385"/>
                  </a:lnTo>
                  <a:lnTo>
                    <a:pt x="534" y="434"/>
                  </a:lnTo>
                  <a:lnTo>
                    <a:pt x="514" y="568"/>
                  </a:lnTo>
                  <a:lnTo>
                    <a:pt x="348" y="1098"/>
                  </a:lnTo>
                  <a:lnTo>
                    <a:pt x="305" y="1150"/>
                  </a:lnTo>
                  <a:cubicBezTo>
                    <a:pt x="304" y="1151"/>
                    <a:pt x="303" y="1152"/>
                    <a:pt x="302" y="1152"/>
                  </a:cubicBezTo>
                  <a:lnTo>
                    <a:pt x="242" y="1156"/>
                  </a:lnTo>
                  <a:lnTo>
                    <a:pt x="172" y="1194"/>
                  </a:lnTo>
                  <a:cubicBezTo>
                    <a:pt x="171" y="1194"/>
                    <a:pt x="171" y="1194"/>
                    <a:pt x="170" y="119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7" name="Freeform 202"/>
            <p:cNvSpPr>
              <a:spLocks noChangeArrowheads="1"/>
            </p:cNvSpPr>
            <p:nvPr/>
          </p:nvSpPr>
          <p:spPr bwMode="auto">
            <a:xfrm>
              <a:off x="3875088" y="2967038"/>
              <a:ext cx="492125" cy="468312"/>
            </a:xfrm>
            <a:custGeom>
              <a:avLst/>
              <a:gdLst/>
              <a:ahLst/>
              <a:cxnLst>
                <a:cxn ang="0">
                  <a:pos x="319" y="1264"/>
                </a:cxn>
                <a:cxn ang="0">
                  <a:pos x="290" y="1236"/>
                </a:cxn>
                <a:cxn ang="0">
                  <a:pos x="285" y="1234"/>
                </a:cxn>
                <a:cxn ang="0">
                  <a:pos x="311" y="1195"/>
                </a:cxn>
                <a:cxn ang="0">
                  <a:pos x="255" y="1105"/>
                </a:cxn>
                <a:cxn ang="0">
                  <a:pos x="207" y="1138"/>
                </a:cxn>
                <a:cxn ang="0">
                  <a:pos x="202" y="1139"/>
                </a:cxn>
                <a:cxn ang="0">
                  <a:pos x="135" y="1150"/>
                </a:cxn>
                <a:cxn ang="0">
                  <a:pos x="128" y="1150"/>
                </a:cxn>
                <a:cxn ang="0">
                  <a:pos x="69" y="1139"/>
                </a:cxn>
                <a:cxn ang="0">
                  <a:pos x="65" y="1138"/>
                </a:cxn>
                <a:cxn ang="0">
                  <a:pos x="68" y="1104"/>
                </a:cxn>
                <a:cxn ang="0">
                  <a:pos x="10" y="1002"/>
                </a:cxn>
                <a:cxn ang="0">
                  <a:pos x="17" y="976"/>
                </a:cxn>
                <a:cxn ang="0">
                  <a:pos x="1" y="898"/>
                </a:cxn>
                <a:cxn ang="0">
                  <a:pos x="60" y="806"/>
                </a:cxn>
                <a:cxn ang="0">
                  <a:pos x="64" y="804"/>
                </a:cxn>
                <a:cxn ang="0">
                  <a:pos x="83" y="813"/>
                </a:cxn>
                <a:cxn ang="0">
                  <a:pos x="130" y="867"/>
                </a:cxn>
                <a:cxn ang="0">
                  <a:pos x="552" y="842"/>
                </a:cxn>
                <a:cxn ang="0">
                  <a:pos x="537" y="771"/>
                </a:cxn>
                <a:cxn ang="0">
                  <a:pos x="453" y="5"/>
                </a:cxn>
                <a:cxn ang="0">
                  <a:pos x="458" y="0"/>
                </a:cxn>
                <a:cxn ang="0">
                  <a:pos x="1109" y="339"/>
                </a:cxn>
                <a:cxn ang="0">
                  <a:pos x="1115" y="369"/>
                </a:cxn>
                <a:cxn ang="0">
                  <a:pos x="1173" y="417"/>
                </a:cxn>
                <a:cxn ang="0">
                  <a:pos x="1285" y="462"/>
                </a:cxn>
                <a:cxn ang="0">
                  <a:pos x="1293" y="533"/>
                </a:cxn>
                <a:cxn ang="0">
                  <a:pos x="1360" y="516"/>
                </a:cxn>
                <a:cxn ang="0">
                  <a:pos x="1365" y="521"/>
                </a:cxn>
                <a:cxn ang="0">
                  <a:pos x="1363" y="800"/>
                </a:cxn>
                <a:cxn ang="0">
                  <a:pos x="1305" y="858"/>
                </a:cxn>
                <a:cxn ang="0">
                  <a:pos x="1125" y="860"/>
                </a:cxn>
                <a:cxn ang="0">
                  <a:pos x="1085" y="894"/>
                </a:cxn>
                <a:cxn ang="0">
                  <a:pos x="946" y="902"/>
                </a:cxn>
                <a:cxn ang="0">
                  <a:pos x="694" y="1045"/>
                </a:cxn>
                <a:cxn ang="0">
                  <a:pos x="601" y="1188"/>
                </a:cxn>
                <a:cxn ang="0">
                  <a:pos x="583" y="1286"/>
                </a:cxn>
                <a:cxn ang="0">
                  <a:pos x="533" y="1278"/>
                </a:cxn>
                <a:cxn ang="0">
                  <a:pos x="496" y="1295"/>
                </a:cxn>
                <a:cxn ang="0">
                  <a:pos x="491" y="1291"/>
                </a:cxn>
                <a:cxn ang="0">
                  <a:pos x="462" y="1261"/>
                </a:cxn>
                <a:cxn ang="0">
                  <a:pos x="456" y="1282"/>
                </a:cxn>
                <a:cxn ang="0">
                  <a:pos x="428" y="1300"/>
                </a:cxn>
                <a:cxn ang="0">
                  <a:pos x="386" y="1275"/>
                </a:cxn>
                <a:cxn ang="0">
                  <a:pos x="348" y="1300"/>
                </a:cxn>
              </a:cxnLst>
              <a:rect l="0" t="0" r="r" b="b"/>
              <a:pathLst>
                <a:path w="1366" h="1301">
                  <a:moveTo>
                    <a:pt x="344" y="1298"/>
                  </a:moveTo>
                  <a:lnTo>
                    <a:pt x="319" y="1264"/>
                  </a:lnTo>
                  <a:lnTo>
                    <a:pt x="318" y="1226"/>
                  </a:lnTo>
                  <a:lnTo>
                    <a:pt x="290" y="1236"/>
                  </a:lnTo>
                  <a:cubicBezTo>
                    <a:pt x="290" y="1236"/>
                    <a:pt x="289" y="1236"/>
                    <a:pt x="288" y="1236"/>
                  </a:cubicBezTo>
                  <a:cubicBezTo>
                    <a:pt x="287" y="1236"/>
                    <a:pt x="286" y="1235"/>
                    <a:pt x="285" y="1234"/>
                  </a:cubicBezTo>
                  <a:cubicBezTo>
                    <a:pt x="283" y="1233"/>
                    <a:pt x="283" y="1230"/>
                    <a:pt x="285" y="1229"/>
                  </a:cubicBezTo>
                  <a:lnTo>
                    <a:pt x="311" y="1195"/>
                  </a:lnTo>
                  <a:lnTo>
                    <a:pt x="277" y="1172"/>
                  </a:lnTo>
                  <a:lnTo>
                    <a:pt x="255" y="1105"/>
                  </a:lnTo>
                  <a:lnTo>
                    <a:pt x="240" y="1105"/>
                  </a:lnTo>
                  <a:lnTo>
                    <a:pt x="207" y="1138"/>
                  </a:lnTo>
                  <a:cubicBezTo>
                    <a:pt x="206" y="1138"/>
                    <a:pt x="205" y="1139"/>
                    <a:pt x="204" y="1139"/>
                  </a:cubicBezTo>
                  <a:cubicBezTo>
                    <a:pt x="204" y="1139"/>
                    <a:pt x="203" y="1139"/>
                    <a:pt x="202" y="1139"/>
                  </a:cubicBezTo>
                  <a:lnTo>
                    <a:pt x="159" y="1127"/>
                  </a:lnTo>
                  <a:lnTo>
                    <a:pt x="135" y="1150"/>
                  </a:lnTo>
                  <a:cubicBezTo>
                    <a:pt x="134" y="1151"/>
                    <a:pt x="133" y="1152"/>
                    <a:pt x="132" y="1152"/>
                  </a:cubicBezTo>
                  <a:cubicBezTo>
                    <a:pt x="130" y="1152"/>
                    <a:pt x="129" y="1151"/>
                    <a:pt x="128" y="1150"/>
                  </a:cubicBezTo>
                  <a:lnTo>
                    <a:pt x="105" y="1127"/>
                  </a:lnTo>
                  <a:lnTo>
                    <a:pt x="69" y="1139"/>
                  </a:lnTo>
                  <a:cubicBezTo>
                    <a:pt x="69" y="1139"/>
                    <a:pt x="69" y="1139"/>
                    <a:pt x="68" y="1139"/>
                  </a:cubicBezTo>
                  <a:cubicBezTo>
                    <a:pt x="67" y="1139"/>
                    <a:pt x="66" y="1139"/>
                    <a:pt x="65" y="1138"/>
                  </a:cubicBezTo>
                  <a:cubicBezTo>
                    <a:pt x="64" y="1137"/>
                    <a:pt x="63" y="1135"/>
                    <a:pt x="63" y="1134"/>
                  </a:cubicBezTo>
                  <a:lnTo>
                    <a:pt x="68" y="1104"/>
                  </a:lnTo>
                  <a:lnTo>
                    <a:pt x="63" y="1058"/>
                  </a:lnTo>
                  <a:lnTo>
                    <a:pt x="10" y="1002"/>
                  </a:lnTo>
                  <a:cubicBezTo>
                    <a:pt x="8" y="1001"/>
                    <a:pt x="8" y="999"/>
                    <a:pt x="9" y="997"/>
                  </a:cubicBezTo>
                  <a:lnTo>
                    <a:pt x="17" y="976"/>
                  </a:lnTo>
                  <a:lnTo>
                    <a:pt x="0" y="903"/>
                  </a:lnTo>
                  <a:cubicBezTo>
                    <a:pt x="0" y="901"/>
                    <a:pt x="0" y="899"/>
                    <a:pt x="1" y="898"/>
                  </a:cubicBezTo>
                  <a:lnTo>
                    <a:pt x="31" y="869"/>
                  </a:lnTo>
                  <a:lnTo>
                    <a:pt x="60" y="806"/>
                  </a:lnTo>
                  <a:cubicBezTo>
                    <a:pt x="60" y="805"/>
                    <a:pt x="61" y="804"/>
                    <a:pt x="62" y="804"/>
                  </a:cubicBezTo>
                  <a:cubicBezTo>
                    <a:pt x="63" y="804"/>
                    <a:pt x="63" y="804"/>
                    <a:pt x="64" y="804"/>
                  </a:cubicBezTo>
                  <a:cubicBezTo>
                    <a:pt x="65" y="804"/>
                    <a:pt x="65" y="804"/>
                    <a:pt x="66" y="804"/>
                  </a:cubicBezTo>
                  <a:lnTo>
                    <a:pt x="83" y="813"/>
                  </a:lnTo>
                  <a:lnTo>
                    <a:pt x="109" y="863"/>
                  </a:lnTo>
                  <a:lnTo>
                    <a:pt x="130" y="867"/>
                  </a:lnTo>
                  <a:lnTo>
                    <a:pt x="171" y="834"/>
                  </a:lnTo>
                  <a:lnTo>
                    <a:pt x="552" y="842"/>
                  </a:lnTo>
                  <a:lnTo>
                    <a:pt x="567" y="778"/>
                  </a:lnTo>
                  <a:lnTo>
                    <a:pt x="537" y="771"/>
                  </a:lnTo>
                  <a:cubicBezTo>
                    <a:pt x="535" y="770"/>
                    <a:pt x="534" y="769"/>
                    <a:pt x="534" y="767"/>
                  </a:cubicBezTo>
                  <a:lnTo>
                    <a:pt x="453" y="5"/>
                  </a:lnTo>
                  <a:cubicBezTo>
                    <a:pt x="453" y="4"/>
                    <a:pt x="454" y="2"/>
                    <a:pt x="454" y="2"/>
                  </a:cubicBezTo>
                  <a:cubicBezTo>
                    <a:pt x="455" y="0"/>
                    <a:pt x="457" y="0"/>
                    <a:pt x="458" y="0"/>
                  </a:cubicBezTo>
                  <a:lnTo>
                    <a:pt x="606" y="0"/>
                  </a:lnTo>
                  <a:lnTo>
                    <a:pt x="1109" y="339"/>
                  </a:lnTo>
                  <a:cubicBezTo>
                    <a:pt x="1110" y="340"/>
                    <a:pt x="1110" y="341"/>
                    <a:pt x="1111" y="342"/>
                  </a:cubicBezTo>
                  <a:lnTo>
                    <a:pt x="1115" y="369"/>
                  </a:lnTo>
                  <a:lnTo>
                    <a:pt x="1150" y="385"/>
                  </a:lnTo>
                  <a:lnTo>
                    <a:pt x="1173" y="417"/>
                  </a:lnTo>
                  <a:lnTo>
                    <a:pt x="1281" y="457"/>
                  </a:lnTo>
                  <a:cubicBezTo>
                    <a:pt x="1283" y="458"/>
                    <a:pt x="1285" y="460"/>
                    <a:pt x="1285" y="462"/>
                  </a:cubicBezTo>
                  <a:lnTo>
                    <a:pt x="1280" y="526"/>
                  </a:lnTo>
                  <a:lnTo>
                    <a:pt x="1293" y="533"/>
                  </a:lnTo>
                  <a:lnTo>
                    <a:pt x="1359" y="516"/>
                  </a:lnTo>
                  <a:lnTo>
                    <a:pt x="1360" y="516"/>
                  </a:lnTo>
                  <a:cubicBezTo>
                    <a:pt x="1361" y="516"/>
                    <a:pt x="1362" y="516"/>
                    <a:pt x="1363" y="517"/>
                  </a:cubicBezTo>
                  <a:cubicBezTo>
                    <a:pt x="1364" y="518"/>
                    <a:pt x="1365" y="519"/>
                    <a:pt x="1365" y="521"/>
                  </a:cubicBezTo>
                  <a:lnTo>
                    <a:pt x="1365" y="796"/>
                  </a:lnTo>
                  <a:cubicBezTo>
                    <a:pt x="1365" y="797"/>
                    <a:pt x="1364" y="799"/>
                    <a:pt x="1363" y="800"/>
                  </a:cubicBezTo>
                  <a:lnTo>
                    <a:pt x="1342" y="812"/>
                  </a:lnTo>
                  <a:lnTo>
                    <a:pt x="1305" y="858"/>
                  </a:lnTo>
                  <a:cubicBezTo>
                    <a:pt x="1304" y="859"/>
                    <a:pt x="1302" y="860"/>
                    <a:pt x="1301" y="860"/>
                  </a:cubicBezTo>
                  <a:lnTo>
                    <a:pt x="1125" y="860"/>
                  </a:lnTo>
                  <a:lnTo>
                    <a:pt x="1088" y="892"/>
                  </a:lnTo>
                  <a:cubicBezTo>
                    <a:pt x="1087" y="893"/>
                    <a:pt x="1086" y="894"/>
                    <a:pt x="1085" y="894"/>
                  </a:cubicBezTo>
                  <a:lnTo>
                    <a:pt x="1026" y="894"/>
                  </a:lnTo>
                  <a:lnTo>
                    <a:pt x="946" y="902"/>
                  </a:lnTo>
                  <a:lnTo>
                    <a:pt x="812" y="1007"/>
                  </a:lnTo>
                  <a:lnTo>
                    <a:pt x="694" y="1045"/>
                  </a:lnTo>
                  <a:lnTo>
                    <a:pt x="666" y="1123"/>
                  </a:lnTo>
                  <a:lnTo>
                    <a:pt x="601" y="1188"/>
                  </a:lnTo>
                  <a:lnTo>
                    <a:pt x="585" y="1283"/>
                  </a:lnTo>
                  <a:cubicBezTo>
                    <a:pt x="585" y="1284"/>
                    <a:pt x="585" y="1285"/>
                    <a:pt x="583" y="1286"/>
                  </a:cubicBezTo>
                  <a:cubicBezTo>
                    <a:pt x="583" y="1287"/>
                    <a:pt x="582" y="1287"/>
                    <a:pt x="581" y="1287"/>
                  </a:cubicBezTo>
                  <a:lnTo>
                    <a:pt x="533" y="1278"/>
                  </a:lnTo>
                  <a:lnTo>
                    <a:pt x="498" y="1295"/>
                  </a:lnTo>
                  <a:cubicBezTo>
                    <a:pt x="497" y="1295"/>
                    <a:pt x="497" y="1295"/>
                    <a:pt x="496" y="1295"/>
                  </a:cubicBezTo>
                  <a:cubicBezTo>
                    <a:pt x="495" y="1295"/>
                    <a:pt x="494" y="1295"/>
                    <a:pt x="494" y="1295"/>
                  </a:cubicBezTo>
                  <a:cubicBezTo>
                    <a:pt x="492" y="1294"/>
                    <a:pt x="491" y="1293"/>
                    <a:pt x="491" y="1291"/>
                  </a:cubicBezTo>
                  <a:lnTo>
                    <a:pt x="488" y="1254"/>
                  </a:lnTo>
                  <a:lnTo>
                    <a:pt x="462" y="1261"/>
                  </a:lnTo>
                  <a:lnTo>
                    <a:pt x="458" y="1279"/>
                  </a:lnTo>
                  <a:cubicBezTo>
                    <a:pt x="458" y="1280"/>
                    <a:pt x="457" y="1281"/>
                    <a:pt x="456" y="1282"/>
                  </a:cubicBezTo>
                  <a:lnTo>
                    <a:pt x="431" y="1299"/>
                  </a:lnTo>
                  <a:cubicBezTo>
                    <a:pt x="430" y="1299"/>
                    <a:pt x="429" y="1300"/>
                    <a:pt x="428" y="1300"/>
                  </a:cubicBezTo>
                  <a:cubicBezTo>
                    <a:pt x="427" y="1300"/>
                    <a:pt x="427" y="1299"/>
                    <a:pt x="426" y="1299"/>
                  </a:cubicBezTo>
                  <a:lnTo>
                    <a:pt x="386" y="1275"/>
                  </a:lnTo>
                  <a:lnTo>
                    <a:pt x="350" y="1299"/>
                  </a:lnTo>
                  <a:cubicBezTo>
                    <a:pt x="349" y="1299"/>
                    <a:pt x="349" y="1300"/>
                    <a:pt x="348" y="1300"/>
                  </a:cubicBezTo>
                  <a:cubicBezTo>
                    <a:pt x="346" y="1300"/>
                    <a:pt x="345" y="1299"/>
                    <a:pt x="344" y="129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8" name="Freeform 203"/>
            <p:cNvSpPr>
              <a:spLocks noChangeArrowheads="1"/>
            </p:cNvSpPr>
            <p:nvPr/>
          </p:nvSpPr>
          <p:spPr bwMode="auto">
            <a:xfrm>
              <a:off x="3875088" y="2967038"/>
              <a:ext cx="492125" cy="468312"/>
            </a:xfrm>
            <a:custGeom>
              <a:avLst/>
              <a:gdLst/>
              <a:ahLst/>
              <a:cxnLst>
                <a:cxn ang="0">
                  <a:pos x="344" y="1298"/>
                </a:cxn>
                <a:cxn ang="0">
                  <a:pos x="318" y="1226"/>
                </a:cxn>
                <a:cxn ang="0">
                  <a:pos x="288" y="1236"/>
                </a:cxn>
                <a:cxn ang="0">
                  <a:pos x="285" y="1229"/>
                </a:cxn>
                <a:cxn ang="0">
                  <a:pos x="277" y="1172"/>
                </a:cxn>
                <a:cxn ang="0">
                  <a:pos x="240" y="1105"/>
                </a:cxn>
                <a:cxn ang="0">
                  <a:pos x="204" y="1139"/>
                </a:cxn>
                <a:cxn ang="0">
                  <a:pos x="159" y="1127"/>
                </a:cxn>
                <a:cxn ang="0">
                  <a:pos x="132" y="1152"/>
                </a:cxn>
                <a:cxn ang="0">
                  <a:pos x="105" y="1127"/>
                </a:cxn>
                <a:cxn ang="0">
                  <a:pos x="68" y="1139"/>
                </a:cxn>
                <a:cxn ang="0">
                  <a:pos x="63" y="1134"/>
                </a:cxn>
                <a:cxn ang="0">
                  <a:pos x="63" y="1058"/>
                </a:cxn>
                <a:cxn ang="0">
                  <a:pos x="9" y="997"/>
                </a:cxn>
                <a:cxn ang="0">
                  <a:pos x="0" y="903"/>
                </a:cxn>
                <a:cxn ang="0">
                  <a:pos x="31" y="869"/>
                </a:cxn>
                <a:cxn ang="0">
                  <a:pos x="62" y="804"/>
                </a:cxn>
                <a:cxn ang="0">
                  <a:pos x="66" y="804"/>
                </a:cxn>
                <a:cxn ang="0">
                  <a:pos x="109" y="863"/>
                </a:cxn>
                <a:cxn ang="0">
                  <a:pos x="171" y="834"/>
                </a:cxn>
                <a:cxn ang="0">
                  <a:pos x="567" y="778"/>
                </a:cxn>
                <a:cxn ang="0">
                  <a:pos x="534" y="767"/>
                </a:cxn>
                <a:cxn ang="0">
                  <a:pos x="454" y="2"/>
                </a:cxn>
                <a:cxn ang="0">
                  <a:pos x="606" y="0"/>
                </a:cxn>
                <a:cxn ang="0">
                  <a:pos x="1111" y="342"/>
                </a:cxn>
                <a:cxn ang="0">
                  <a:pos x="1150" y="385"/>
                </a:cxn>
                <a:cxn ang="0">
                  <a:pos x="1281" y="457"/>
                </a:cxn>
                <a:cxn ang="0">
                  <a:pos x="1280" y="526"/>
                </a:cxn>
                <a:cxn ang="0">
                  <a:pos x="1359" y="516"/>
                </a:cxn>
                <a:cxn ang="0">
                  <a:pos x="1363" y="517"/>
                </a:cxn>
                <a:cxn ang="0">
                  <a:pos x="1365" y="796"/>
                </a:cxn>
                <a:cxn ang="0">
                  <a:pos x="1342" y="812"/>
                </a:cxn>
                <a:cxn ang="0">
                  <a:pos x="1301" y="860"/>
                </a:cxn>
                <a:cxn ang="0">
                  <a:pos x="1088" y="892"/>
                </a:cxn>
                <a:cxn ang="0">
                  <a:pos x="1026" y="894"/>
                </a:cxn>
                <a:cxn ang="0">
                  <a:pos x="812" y="1007"/>
                </a:cxn>
                <a:cxn ang="0">
                  <a:pos x="666" y="1123"/>
                </a:cxn>
                <a:cxn ang="0">
                  <a:pos x="585" y="1283"/>
                </a:cxn>
                <a:cxn ang="0">
                  <a:pos x="581" y="1287"/>
                </a:cxn>
                <a:cxn ang="0">
                  <a:pos x="498" y="1295"/>
                </a:cxn>
                <a:cxn ang="0">
                  <a:pos x="494" y="1295"/>
                </a:cxn>
                <a:cxn ang="0">
                  <a:pos x="488" y="1254"/>
                </a:cxn>
                <a:cxn ang="0">
                  <a:pos x="458" y="1279"/>
                </a:cxn>
                <a:cxn ang="0">
                  <a:pos x="431" y="1299"/>
                </a:cxn>
                <a:cxn ang="0">
                  <a:pos x="426" y="1299"/>
                </a:cxn>
                <a:cxn ang="0">
                  <a:pos x="350" y="1299"/>
                </a:cxn>
              </a:cxnLst>
              <a:rect l="0" t="0" r="r" b="b"/>
              <a:pathLst>
                <a:path w="1366" h="1301">
                  <a:moveTo>
                    <a:pt x="348" y="1300"/>
                  </a:moveTo>
                  <a:cubicBezTo>
                    <a:pt x="346" y="1300"/>
                    <a:pt x="345" y="1299"/>
                    <a:pt x="344" y="1298"/>
                  </a:cubicBezTo>
                  <a:lnTo>
                    <a:pt x="319" y="1264"/>
                  </a:lnTo>
                  <a:lnTo>
                    <a:pt x="318" y="1226"/>
                  </a:lnTo>
                  <a:lnTo>
                    <a:pt x="290" y="1236"/>
                  </a:lnTo>
                  <a:cubicBezTo>
                    <a:pt x="290" y="1236"/>
                    <a:pt x="289" y="1236"/>
                    <a:pt x="288" y="1236"/>
                  </a:cubicBezTo>
                  <a:cubicBezTo>
                    <a:pt x="287" y="1236"/>
                    <a:pt x="286" y="1235"/>
                    <a:pt x="285" y="1234"/>
                  </a:cubicBezTo>
                  <a:cubicBezTo>
                    <a:pt x="283" y="1233"/>
                    <a:pt x="283" y="1230"/>
                    <a:pt x="285" y="1229"/>
                  </a:cubicBezTo>
                  <a:lnTo>
                    <a:pt x="311" y="1195"/>
                  </a:lnTo>
                  <a:lnTo>
                    <a:pt x="277" y="1172"/>
                  </a:lnTo>
                  <a:lnTo>
                    <a:pt x="255" y="1105"/>
                  </a:lnTo>
                  <a:lnTo>
                    <a:pt x="240" y="1105"/>
                  </a:lnTo>
                  <a:lnTo>
                    <a:pt x="207" y="1138"/>
                  </a:lnTo>
                  <a:cubicBezTo>
                    <a:pt x="206" y="1138"/>
                    <a:pt x="205" y="1139"/>
                    <a:pt x="204" y="1139"/>
                  </a:cubicBezTo>
                  <a:cubicBezTo>
                    <a:pt x="204" y="1139"/>
                    <a:pt x="203" y="1139"/>
                    <a:pt x="202" y="1139"/>
                  </a:cubicBezTo>
                  <a:lnTo>
                    <a:pt x="159" y="1127"/>
                  </a:lnTo>
                  <a:lnTo>
                    <a:pt x="135" y="1150"/>
                  </a:lnTo>
                  <a:cubicBezTo>
                    <a:pt x="134" y="1151"/>
                    <a:pt x="133" y="1152"/>
                    <a:pt x="132" y="1152"/>
                  </a:cubicBezTo>
                  <a:cubicBezTo>
                    <a:pt x="130" y="1152"/>
                    <a:pt x="129" y="1151"/>
                    <a:pt x="128" y="1150"/>
                  </a:cubicBezTo>
                  <a:lnTo>
                    <a:pt x="105" y="1127"/>
                  </a:lnTo>
                  <a:lnTo>
                    <a:pt x="69" y="1139"/>
                  </a:lnTo>
                  <a:cubicBezTo>
                    <a:pt x="69" y="1139"/>
                    <a:pt x="69" y="1139"/>
                    <a:pt x="68" y="1139"/>
                  </a:cubicBezTo>
                  <a:cubicBezTo>
                    <a:pt x="67" y="1139"/>
                    <a:pt x="66" y="1139"/>
                    <a:pt x="65" y="1138"/>
                  </a:cubicBezTo>
                  <a:cubicBezTo>
                    <a:pt x="64" y="1137"/>
                    <a:pt x="63" y="1135"/>
                    <a:pt x="63" y="1134"/>
                  </a:cubicBezTo>
                  <a:lnTo>
                    <a:pt x="68" y="1104"/>
                  </a:lnTo>
                  <a:lnTo>
                    <a:pt x="63" y="1058"/>
                  </a:lnTo>
                  <a:lnTo>
                    <a:pt x="10" y="1002"/>
                  </a:lnTo>
                  <a:cubicBezTo>
                    <a:pt x="8" y="1001"/>
                    <a:pt x="8" y="999"/>
                    <a:pt x="9" y="997"/>
                  </a:cubicBezTo>
                  <a:lnTo>
                    <a:pt x="17" y="976"/>
                  </a:lnTo>
                  <a:lnTo>
                    <a:pt x="0" y="903"/>
                  </a:lnTo>
                  <a:cubicBezTo>
                    <a:pt x="0" y="901"/>
                    <a:pt x="0" y="899"/>
                    <a:pt x="1" y="898"/>
                  </a:cubicBezTo>
                  <a:lnTo>
                    <a:pt x="31" y="869"/>
                  </a:lnTo>
                  <a:lnTo>
                    <a:pt x="60" y="806"/>
                  </a:lnTo>
                  <a:cubicBezTo>
                    <a:pt x="60" y="805"/>
                    <a:pt x="61" y="804"/>
                    <a:pt x="62" y="804"/>
                  </a:cubicBezTo>
                  <a:cubicBezTo>
                    <a:pt x="63" y="804"/>
                    <a:pt x="63" y="804"/>
                    <a:pt x="64" y="804"/>
                  </a:cubicBezTo>
                  <a:cubicBezTo>
                    <a:pt x="65" y="804"/>
                    <a:pt x="65" y="804"/>
                    <a:pt x="66" y="804"/>
                  </a:cubicBezTo>
                  <a:lnTo>
                    <a:pt x="83" y="813"/>
                  </a:lnTo>
                  <a:lnTo>
                    <a:pt x="109" y="863"/>
                  </a:lnTo>
                  <a:lnTo>
                    <a:pt x="130" y="867"/>
                  </a:lnTo>
                  <a:lnTo>
                    <a:pt x="171" y="834"/>
                  </a:lnTo>
                  <a:lnTo>
                    <a:pt x="552" y="842"/>
                  </a:lnTo>
                  <a:lnTo>
                    <a:pt x="567" y="778"/>
                  </a:lnTo>
                  <a:lnTo>
                    <a:pt x="537" y="771"/>
                  </a:lnTo>
                  <a:cubicBezTo>
                    <a:pt x="535" y="770"/>
                    <a:pt x="534" y="769"/>
                    <a:pt x="534" y="767"/>
                  </a:cubicBezTo>
                  <a:lnTo>
                    <a:pt x="453" y="5"/>
                  </a:lnTo>
                  <a:cubicBezTo>
                    <a:pt x="453" y="4"/>
                    <a:pt x="454" y="2"/>
                    <a:pt x="454" y="2"/>
                  </a:cubicBezTo>
                  <a:cubicBezTo>
                    <a:pt x="455" y="0"/>
                    <a:pt x="457" y="0"/>
                    <a:pt x="458" y="0"/>
                  </a:cubicBezTo>
                  <a:lnTo>
                    <a:pt x="606" y="0"/>
                  </a:lnTo>
                  <a:lnTo>
                    <a:pt x="1109" y="339"/>
                  </a:lnTo>
                  <a:cubicBezTo>
                    <a:pt x="1110" y="340"/>
                    <a:pt x="1110" y="341"/>
                    <a:pt x="1111" y="342"/>
                  </a:cubicBezTo>
                  <a:lnTo>
                    <a:pt x="1115" y="369"/>
                  </a:lnTo>
                  <a:lnTo>
                    <a:pt x="1150" y="385"/>
                  </a:lnTo>
                  <a:lnTo>
                    <a:pt x="1173" y="417"/>
                  </a:lnTo>
                  <a:lnTo>
                    <a:pt x="1281" y="457"/>
                  </a:lnTo>
                  <a:cubicBezTo>
                    <a:pt x="1283" y="458"/>
                    <a:pt x="1285" y="460"/>
                    <a:pt x="1285" y="462"/>
                  </a:cubicBezTo>
                  <a:lnTo>
                    <a:pt x="1280" y="526"/>
                  </a:lnTo>
                  <a:lnTo>
                    <a:pt x="1293" y="533"/>
                  </a:lnTo>
                  <a:lnTo>
                    <a:pt x="1359" y="516"/>
                  </a:lnTo>
                  <a:lnTo>
                    <a:pt x="1360" y="516"/>
                  </a:lnTo>
                  <a:cubicBezTo>
                    <a:pt x="1361" y="516"/>
                    <a:pt x="1362" y="516"/>
                    <a:pt x="1363" y="517"/>
                  </a:cubicBezTo>
                  <a:cubicBezTo>
                    <a:pt x="1364" y="518"/>
                    <a:pt x="1365" y="519"/>
                    <a:pt x="1365" y="521"/>
                  </a:cubicBezTo>
                  <a:lnTo>
                    <a:pt x="1365" y="796"/>
                  </a:lnTo>
                  <a:cubicBezTo>
                    <a:pt x="1365" y="797"/>
                    <a:pt x="1364" y="799"/>
                    <a:pt x="1363" y="800"/>
                  </a:cubicBezTo>
                  <a:lnTo>
                    <a:pt x="1342" y="812"/>
                  </a:lnTo>
                  <a:lnTo>
                    <a:pt x="1305" y="858"/>
                  </a:lnTo>
                  <a:cubicBezTo>
                    <a:pt x="1304" y="859"/>
                    <a:pt x="1302" y="860"/>
                    <a:pt x="1301" y="860"/>
                  </a:cubicBezTo>
                  <a:lnTo>
                    <a:pt x="1125" y="860"/>
                  </a:lnTo>
                  <a:lnTo>
                    <a:pt x="1088" y="892"/>
                  </a:lnTo>
                  <a:cubicBezTo>
                    <a:pt x="1087" y="893"/>
                    <a:pt x="1086" y="894"/>
                    <a:pt x="1085" y="894"/>
                  </a:cubicBezTo>
                  <a:lnTo>
                    <a:pt x="1026" y="894"/>
                  </a:lnTo>
                  <a:lnTo>
                    <a:pt x="946" y="902"/>
                  </a:lnTo>
                  <a:lnTo>
                    <a:pt x="812" y="1007"/>
                  </a:lnTo>
                  <a:lnTo>
                    <a:pt x="694" y="1045"/>
                  </a:lnTo>
                  <a:lnTo>
                    <a:pt x="666" y="1123"/>
                  </a:lnTo>
                  <a:lnTo>
                    <a:pt x="601" y="1188"/>
                  </a:lnTo>
                  <a:lnTo>
                    <a:pt x="585" y="1283"/>
                  </a:lnTo>
                  <a:cubicBezTo>
                    <a:pt x="585" y="1284"/>
                    <a:pt x="585" y="1285"/>
                    <a:pt x="583" y="1286"/>
                  </a:cubicBezTo>
                  <a:cubicBezTo>
                    <a:pt x="583" y="1287"/>
                    <a:pt x="582" y="1287"/>
                    <a:pt x="581" y="1287"/>
                  </a:cubicBezTo>
                  <a:lnTo>
                    <a:pt x="533" y="1278"/>
                  </a:lnTo>
                  <a:lnTo>
                    <a:pt x="498" y="1295"/>
                  </a:lnTo>
                  <a:cubicBezTo>
                    <a:pt x="497" y="1295"/>
                    <a:pt x="497" y="1295"/>
                    <a:pt x="496" y="1295"/>
                  </a:cubicBezTo>
                  <a:cubicBezTo>
                    <a:pt x="495" y="1295"/>
                    <a:pt x="494" y="1295"/>
                    <a:pt x="494" y="1295"/>
                  </a:cubicBezTo>
                  <a:cubicBezTo>
                    <a:pt x="492" y="1294"/>
                    <a:pt x="491" y="1293"/>
                    <a:pt x="491" y="1291"/>
                  </a:cubicBezTo>
                  <a:lnTo>
                    <a:pt x="488" y="1254"/>
                  </a:lnTo>
                  <a:lnTo>
                    <a:pt x="462" y="1261"/>
                  </a:lnTo>
                  <a:lnTo>
                    <a:pt x="458" y="1279"/>
                  </a:lnTo>
                  <a:cubicBezTo>
                    <a:pt x="458" y="1280"/>
                    <a:pt x="457" y="1281"/>
                    <a:pt x="456" y="1282"/>
                  </a:cubicBezTo>
                  <a:lnTo>
                    <a:pt x="431" y="1299"/>
                  </a:lnTo>
                  <a:cubicBezTo>
                    <a:pt x="430" y="1299"/>
                    <a:pt x="429" y="1300"/>
                    <a:pt x="428" y="1300"/>
                  </a:cubicBezTo>
                  <a:cubicBezTo>
                    <a:pt x="427" y="1300"/>
                    <a:pt x="427" y="1299"/>
                    <a:pt x="426" y="1299"/>
                  </a:cubicBezTo>
                  <a:lnTo>
                    <a:pt x="386" y="1275"/>
                  </a:lnTo>
                  <a:lnTo>
                    <a:pt x="350" y="1299"/>
                  </a:lnTo>
                  <a:cubicBezTo>
                    <a:pt x="349" y="1299"/>
                    <a:pt x="349" y="1300"/>
                    <a:pt x="348" y="130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09" name="Freeform 204"/>
            <p:cNvSpPr>
              <a:spLocks noChangeArrowheads="1"/>
            </p:cNvSpPr>
            <p:nvPr/>
          </p:nvSpPr>
          <p:spPr bwMode="auto">
            <a:xfrm>
              <a:off x="3730625" y="2890838"/>
              <a:ext cx="365125" cy="403225"/>
            </a:xfrm>
            <a:custGeom>
              <a:avLst/>
              <a:gdLst/>
              <a:ahLst/>
              <a:cxnLst>
                <a:cxn ang="0">
                  <a:pos x="405" y="1118"/>
                </a:cxn>
                <a:cxn ang="0">
                  <a:pos x="341" y="1075"/>
                </a:cxn>
                <a:cxn ang="0">
                  <a:pos x="295" y="1004"/>
                </a:cxn>
                <a:cxn ang="0">
                  <a:pos x="263" y="1004"/>
                </a:cxn>
                <a:cxn ang="0">
                  <a:pos x="260" y="1003"/>
                </a:cxn>
                <a:cxn ang="0">
                  <a:pos x="215" y="958"/>
                </a:cxn>
                <a:cxn ang="0">
                  <a:pos x="59" y="970"/>
                </a:cxn>
                <a:cxn ang="0">
                  <a:pos x="39" y="1002"/>
                </a:cxn>
                <a:cxn ang="0">
                  <a:pos x="35" y="1004"/>
                </a:cxn>
                <a:cxn ang="0">
                  <a:pos x="33" y="1004"/>
                </a:cxn>
                <a:cxn ang="0">
                  <a:pos x="30" y="998"/>
                </a:cxn>
                <a:cxn ang="0">
                  <a:pos x="73" y="867"/>
                </a:cxn>
                <a:cxn ang="0">
                  <a:pos x="72" y="792"/>
                </a:cxn>
                <a:cxn ang="0">
                  <a:pos x="39" y="713"/>
                </a:cxn>
                <a:cxn ang="0">
                  <a:pos x="39" y="709"/>
                </a:cxn>
                <a:cxn ang="0">
                  <a:pos x="64" y="673"/>
                </a:cxn>
                <a:cxn ang="0">
                  <a:pos x="56" y="632"/>
                </a:cxn>
                <a:cxn ang="0">
                  <a:pos x="16" y="570"/>
                </a:cxn>
                <a:cxn ang="0">
                  <a:pos x="8" y="576"/>
                </a:cxn>
                <a:cxn ang="0">
                  <a:pos x="5" y="577"/>
                </a:cxn>
                <a:cxn ang="0">
                  <a:pos x="2" y="575"/>
                </a:cxn>
                <a:cxn ang="0">
                  <a:pos x="1" y="570"/>
                </a:cxn>
                <a:cxn ang="0">
                  <a:pos x="22" y="536"/>
                </a:cxn>
                <a:cxn ang="0">
                  <a:pos x="26" y="533"/>
                </a:cxn>
                <a:cxn ang="0">
                  <a:pos x="339" y="529"/>
                </a:cxn>
                <a:cxn ang="0">
                  <a:pos x="322" y="403"/>
                </a:cxn>
                <a:cxn ang="0">
                  <a:pos x="323" y="400"/>
                </a:cxn>
                <a:cxn ang="0">
                  <a:pos x="349" y="366"/>
                </a:cxn>
                <a:cxn ang="0">
                  <a:pos x="424" y="344"/>
                </a:cxn>
                <a:cxn ang="0">
                  <a:pos x="428" y="115"/>
                </a:cxn>
                <a:cxn ang="0">
                  <a:pos x="433" y="110"/>
                </a:cxn>
                <a:cxn ang="0">
                  <a:pos x="691" y="115"/>
                </a:cxn>
                <a:cxn ang="0">
                  <a:pos x="699" y="5"/>
                </a:cxn>
                <a:cxn ang="0">
                  <a:pos x="702" y="1"/>
                </a:cxn>
                <a:cxn ang="0">
                  <a:pos x="704" y="0"/>
                </a:cxn>
                <a:cxn ang="0">
                  <a:pos x="707" y="1"/>
                </a:cxn>
                <a:cxn ang="0">
                  <a:pos x="1012" y="213"/>
                </a:cxn>
                <a:cxn ang="0">
                  <a:pos x="1014" y="218"/>
                </a:cxn>
                <a:cxn ang="0">
                  <a:pos x="1009" y="221"/>
                </a:cxn>
                <a:cxn ang="0">
                  <a:pos x="866" y="221"/>
                </a:cxn>
                <a:cxn ang="0">
                  <a:pos x="946" y="974"/>
                </a:cxn>
                <a:cxn ang="0">
                  <a:pos x="976" y="982"/>
                </a:cxn>
                <a:cxn ang="0">
                  <a:pos x="980" y="988"/>
                </a:cxn>
                <a:cxn ang="0">
                  <a:pos x="963" y="1060"/>
                </a:cxn>
                <a:cxn ang="0">
                  <a:pos x="958" y="1063"/>
                </a:cxn>
                <a:cxn ang="0">
                  <a:pos x="577" y="1055"/>
                </a:cxn>
                <a:cxn ang="0">
                  <a:pos x="538" y="1088"/>
                </a:cxn>
                <a:cxn ang="0">
                  <a:pos x="535" y="1089"/>
                </a:cxn>
                <a:cxn ang="0">
                  <a:pos x="508" y="1084"/>
                </a:cxn>
                <a:cxn ang="0">
                  <a:pos x="505" y="1082"/>
                </a:cxn>
                <a:cxn ang="0">
                  <a:pos x="480" y="1031"/>
                </a:cxn>
                <a:cxn ang="0">
                  <a:pos x="469" y="1027"/>
                </a:cxn>
                <a:cxn ang="0">
                  <a:pos x="441" y="1086"/>
                </a:cxn>
                <a:cxn ang="0">
                  <a:pos x="411" y="1117"/>
                </a:cxn>
                <a:cxn ang="0">
                  <a:pos x="408" y="1118"/>
                </a:cxn>
                <a:cxn ang="0">
                  <a:pos x="405" y="1118"/>
                </a:cxn>
              </a:cxnLst>
              <a:rect l="0" t="0" r="r" b="b"/>
              <a:pathLst>
                <a:path w="1015" h="1119">
                  <a:moveTo>
                    <a:pt x="405" y="1118"/>
                  </a:moveTo>
                  <a:lnTo>
                    <a:pt x="341" y="1075"/>
                  </a:lnTo>
                  <a:lnTo>
                    <a:pt x="295" y="1004"/>
                  </a:lnTo>
                  <a:lnTo>
                    <a:pt x="263" y="1004"/>
                  </a:lnTo>
                  <a:cubicBezTo>
                    <a:pt x="262" y="1004"/>
                    <a:pt x="261" y="1004"/>
                    <a:pt x="260" y="1003"/>
                  </a:cubicBezTo>
                  <a:lnTo>
                    <a:pt x="215" y="958"/>
                  </a:lnTo>
                  <a:lnTo>
                    <a:pt x="59" y="970"/>
                  </a:lnTo>
                  <a:lnTo>
                    <a:pt x="39" y="1002"/>
                  </a:lnTo>
                  <a:cubicBezTo>
                    <a:pt x="38" y="1003"/>
                    <a:pt x="36" y="1004"/>
                    <a:pt x="35" y="1004"/>
                  </a:cubicBezTo>
                  <a:cubicBezTo>
                    <a:pt x="34" y="1004"/>
                    <a:pt x="33" y="1004"/>
                    <a:pt x="33" y="1004"/>
                  </a:cubicBezTo>
                  <a:cubicBezTo>
                    <a:pt x="31" y="1003"/>
                    <a:pt x="30" y="1000"/>
                    <a:pt x="30" y="998"/>
                  </a:cubicBezTo>
                  <a:lnTo>
                    <a:pt x="73" y="867"/>
                  </a:lnTo>
                  <a:lnTo>
                    <a:pt x="72" y="792"/>
                  </a:lnTo>
                  <a:lnTo>
                    <a:pt x="39" y="713"/>
                  </a:lnTo>
                  <a:cubicBezTo>
                    <a:pt x="38" y="712"/>
                    <a:pt x="39" y="710"/>
                    <a:pt x="39" y="709"/>
                  </a:cubicBezTo>
                  <a:lnTo>
                    <a:pt x="64" y="673"/>
                  </a:lnTo>
                  <a:lnTo>
                    <a:pt x="56" y="632"/>
                  </a:lnTo>
                  <a:lnTo>
                    <a:pt x="16" y="570"/>
                  </a:lnTo>
                  <a:lnTo>
                    <a:pt x="8" y="576"/>
                  </a:lnTo>
                  <a:cubicBezTo>
                    <a:pt x="7" y="577"/>
                    <a:pt x="6" y="577"/>
                    <a:pt x="5" y="577"/>
                  </a:cubicBezTo>
                  <a:cubicBezTo>
                    <a:pt x="4" y="577"/>
                    <a:pt x="3" y="576"/>
                    <a:pt x="2" y="575"/>
                  </a:cubicBezTo>
                  <a:cubicBezTo>
                    <a:pt x="0" y="574"/>
                    <a:pt x="0" y="571"/>
                    <a:pt x="1" y="570"/>
                  </a:cubicBezTo>
                  <a:lnTo>
                    <a:pt x="22" y="536"/>
                  </a:lnTo>
                  <a:cubicBezTo>
                    <a:pt x="23" y="534"/>
                    <a:pt x="25" y="534"/>
                    <a:pt x="26" y="533"/>
                  </a:cubicBezTo>
                  <a:lnTo>
                    <a:pt x="339" y="529"/>
                  </a:lnTo>
                  <a:lnTo>
                    <a:pt x="322" y="403"/>
                  </a:lnTo>
                  <a:cubicBezTo>
                    <a:pt x="322" y="402"/>
                    <a:pt x="323" y="401"/>
                    <a:pt x="323" y="400"/>
                  </a:cubicBezTo>
                  <a:lnTo>
                    <a:pt x="349" y="366"/>
                  </a:lnTo>
                  <a:lnTo>
                    <a:pt x="424" y="344"/>
                  </a:lnTo>
                  <a:lnTo>
                    <a:pt x="428" y="115"/>
                  </a:lnTo>
                  <a:cubicBezTo>
                    <a:pt x="428" y="112"/>
                    <a:pt x="430" y="110"/>
                    <a:pt x="433" y="110"/>
                  </a:cubicBezTo>
                  <a:lnTo>
                    <a:pt x="691" y="115"/>
                  </a:lnTo>
                  <a:lnTo>
                    <a:pt x="699" y="5"/>
                  </a:lnTo>
                  <a:cubicBezTo>
                    <a:pt x="699" y="3"/>
                    <a:pt x="701" y="2"/>
                    <a:pt x="702" y="1"/>
                  </a:cubicBezTo>
                  <a:cubicBezTo>
                    <a:pt x="703" y="1"/>
                    <a:pt x="703" y="0"/>
                    <a:pt x="704" y="0"/>
                  </a:cubicBezTo>
                  <a:cubicBezTo>
                    <a:pt x="705" y="0"/>
                    <a:pt x="706" y="1"/>
                    <a:pt x="707" y="1"/>
                  </a:cubicBezTo>
                  <a:lnTo>
                    <a:pt x="1012" y="213"/>
                  </a:lnTo>
                  <a:cubicBezTo>
                    <a:pt x="1013" y="214"/>
                    <a:pt x="1014" y="216"/>
                    <a:pt x="1014" y="218"/>
                  </a:cubicBezTo>
                  <a:cubicBezTo>
                    <a:pt x="1013" y="220"/>
                    <a:pt x="1011" y="221"/>
                    <a:pt x="1009" y="221"/>
                  </a:cubicBezTo>
                  <a:lnTo>
                    <a:pt x="866" y="221"/>
                  </a:lnTo>
                  <a:lnTo>
                    <a:pt x="946" y="974"/>
                  </a:lnTo>
                  <a:lnTo>
                    <a:pt x="976" y="982"/>
                  </a:lnTo>
                  <a:cubicBezTo>
                    <a:pt x="979" y="983"/>
                    <a:pt x="980" y="985"/>
                    <a:pt x="980" y="988"/>
                  </a:cubicBezTo>
                  <a:lnTo>
                    <a:pt x="963" y="1060"/>
                  </a:lnTo>
                  <a:cubicBezTo>
                    <a:pt x="962" y="1062"/>
                    <a:pt x="961" y="1063"/>
                    <a:pt x="958" y="1063"/>
                  </a:cubicBezTo>
                  <a:lnTo>
                    <a:pt x="577" y="1055"/>
                  </a:lnTo>
                  <a:lnTo>
                    <a:pt x="538" y="1088"/>
                  </a:lnTo>
                  <a:cubicBezTo>
                    <a:pt x="537" y="1088"/>
                    <a:pt x="536" y="1089"/>
                    <a:pt x="535" y="1089"/>
                  </a:cubicBezTo>
                  <a:lnTo>
                    <a:pt x="508" y="1084"/>
                  </a:lnTo>
                  <a:cubicBezTo>
                    <a:pt x="507" y="1084"/>
                    <a:pt x="506" y="1083"/>
                    <a:pt x="505" y="1082"/>
                  </a:cubicBezTo>
                  <a:lnTo>
                    <a:pt x="480" y="1031"/>
                  </a:lnTo>
                  <a:lnTo>
                    <a:pt x="469" y="1027"/>
                  </a:lnTo>
                  <a:lnTo>
                    <a:pt x="441" y="1086"/>
                  </a:lnTo>
                  <a:lnTo>
                    <a:pt x="411" y="1117"/>
                  </a:lnTo>
                  <a:cubicBezTo>
                    <a:pt x="410" y="1118"/>
                    <a:pt x="409" y="1118"/>
                    <a:pt x="408" y="1118"/>
                  </a:cubicBezTo>
                  <a:cubicBezTo>
                    <a:pt x="407" y="1118"/>
                    <a:pt x="406" y="1118"/>
                    <a:pt x="405" y="111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0" name="Freeform 205"/>
            <p:cNvSpPr>
              <a:spLocks noChangeArrowheads="1"/>
            </p:cNvSpPr>
            <p:nvPr/>
          </p:nvSpPr>
          <p:spPr bwMode="auto">
            <a:xfrm>
              <a:off x="3730625" y="2890838"/>
              <a:ext cx="365125" cy="403225"/>
            </a:xfrm>
            <a:custGeom>
              <a:avLst/>
              <a:gdLst/>
              <a:ahLst/>
              <a:cxnLst>
                <a:cxn ang="0">
                  <a:pos x="408" y="1118"/>
                </a:cxn>
                <a:cxn ang="0">
                  <a:pos x="405" y="1118"/>
                </a:cxn>
                <a:cxn ang="0">
                  <a:pos x="341" y="1075"/>
                </a:cxn>
                <a:cxn ang="0">
                  <a:pos x="295" y="1004"/>
                </a:cxn>
                <a:cxn ang="0">
                  <a:pos x="263" y="1004"/>
                </a:cxn>
                <a:cxn ang="0">
                  <a:pos x="260" y="1003"/>
                </a:cxn>
                <a:cxn ang="0">
                  <a:pos x="215" y="958"/>
                </a:cxn>
                <a:cxn ang="0">
                  <a:pos x="59" y="970"/>
                </a:cxn>
                <a:cxn ang="0">
                  <a:pos x="39" y="1002"/>
                </a:cxn>
                <a:cxn ang="0">
                  <a:pos x="35" y="1004"/>
                </a:cxn>
                <a:cxn ang="0">
                  <a:pos x="33" y="1004"/>
                </a:cxn>
                <a:cxn ang="0">
                  <a:pos x="30" y="998"/>
                </a:cxn>
                <a:cxn ang="0">
                  <a:pos x="73" y="867"/>
                </a:cxn>
                <a:cxn ang="0">
                  <a:pos x="72" y="792"/>
                </a:cxn>
                <a:cxn ang="0">
                  <a:pos x="39" y="713"/>
                </a:cxn>
                <a:cxn ang="0">
                  <a:pos x="39" y="709"/>
                </a:cxn>
                <a:cxn ang="0">
                  <a:pos x="64" y="673"/>
                </a:cxn>
                <a:cxn ang="0">
                  <a:pos x="56" y="632"/>
                </a:cxn>
                <a:cxn ang="0">
                  <a:pos x="16" y="570"/>
                </a:cxn>
                <a:cxn ang="0">
                  <a:pos x="8" y="576"/>
                </a:cxn>
                <a:cxn ang="0">
                  <a:pos x="5" y="577"/>
                </a:cxn>
                <a:cxn ang="0">
                  <a:pos x="2" y="575"/>
                </a:cxn>
                <a:cxn ang="0">
                  <a:pos x="1" y="570"/>
                </a:cxn>
                <a:cxn ang="0">
                  <a:pos x="22" y="536"/>
                </a:cxn>
                <a:cxn ang="0">
                  <a:pos x="26" y="533"/>
                </a:cxn>
                <a:cxn ang="0">
                  <a:pos x="339" y="529"/>
                </a:cxn>
                <a:cxn ang="0">
                  <a:pos x="322" y="403"/>
                </a:cxn>
                <a:cxn ang="0">
                  <a:pos x="323" y="400"/>
                </a:cxn>
                <a:cxn ang="0">
                  <a:pos x="349" y="366"/>
                </a:cxn>
                <a:cxn ang="0">
                  <a:pos x="424" y="344"/>
                </a:cxn>
                <a:cxn ang="0">
                  <a:pos x="428" y="115"/>
                </a:cxn>
                <a:cxn ang="0">
                  <a:pos x="433" y="110"/>
                </a:cxn>
                <a:cxn ang="0">
                  <a:pos x="691" y="115"/>
                </a:cxn>
                <a:cxn ang="0">
                  <a:pos x="699" y="5"/>
                </a:cxn>
                <a:cxn ang="0">
                  <a:pos x="702" y="1"/>
                </a:cxn>
                <a:cxn ang="0">
                  <a:pos x="704" y="0"/>
                </a:cxn>
                <a:cxn ang="0">
                  <a:pos x="707" y="1"/>
                </a:cxn>
                <a:cxn ang="0">
                  <a:pos x="1012" y="213"/>
                </a:cxn>
                <a:cxn ang="0">
                  <a:pos x="1014" y="218"/>
                </a:cxn>
                <a:cxn ang="0">
                  <a:pos x="1009" y="221"/>
                </a:cxn>
                <a:cxn ang="0">
                  <a:pos x="866" y="221"/>
                </a:cxn>
                <a:cxn ang="0">
                  <a:pos x="946" y="974"/>
                </a:cxn>
                <a:cxn ang="0">
                  <a:pos x="976" y="982"/>
                </a:cxn>
                <a:cxn ang="0">
                  <a:pos x="980" y="988"/>
                </a:cxn>
                <a:cxn ang="0">
                  <a:pos x="963" y="1060"/>
                </a:cxn>
                <a:cxn ang="0">
                  <a:pos x="958" y="1063"/>
                </a:cxn>
                <a:cxn ang="0">
                  <a:pos x="577" y="1055"/>
                </a:cxn>
                <a:cxn ang="0">
                  <a:pos x="538" y="1088"/>
                </a:cxn>
                <a:cxn ang="0">
                  <a:pos x="535" y="1089"/>
                </a:cxn>
                <a:cxn ang="0">
                  <a:pos x="508" y="1084"/>
                </a:cxn>
                <a:cxn ang="0">
                  <a:pos x="505" y="1082"/>
                </a:cxn>
                <a:cxn ang="0">
                  <a:pos x="480" y="1031"/>
                </a:cxn>
                <a:cxn ang="0">
                  <a:pos x="469" y="1027"/>
                </a:cxn>
                <a:cxn ang="0">
                  <a:pos x="441" y="1086"/>
                </a:cxn>
                <a:cxn ang="0">
                  <a:pos x="411" y="1117"/>
                </a:cxn>
                <a:cxn ang="0">
                  <a:pos x="408" y="1118"/>
                </a:cxn>
              </a:cxnLst>
              <a:rect l="0" t="0" r="r" b="b"/>
              <a:pathLst>
                <a:path w="1015" h="1119">
                  <a:moveTo>
                    <a:pt x="408" y="1118"/>
                  </a:moveTo>
                  <a:cubicBezTo>
                    <a:pt x="407" y="1118"/>
                    <a:pt x="406" y="1118"/>
                    <a:pt x="405" y="1118"/>
                  </a:cubicBezTo>
                  <a:lnTo>
                    <a:pt x="341" y="1075"/>
                  </a:lnTo>
                  <a:lnTo>
                    <a:pt x="295" y="1004"/>
                  </a:lnTo>
                  <a:lnTo>
                    <a:pt x="263" y="1004"/>
                  </a:lnTo>
                  <a:cubicBezTo>
                    <a:pt x="262" y="1004"/>
                    <a:pt x="261" y="1004"/>
                    <a:pt x="260" y="1003"/>
                  </a:cubicBezTo>
                  <a:lnTo>
                    <a:pt x="215" y="958"/>
                  </a:lnTo>
                  <a:lnTo>
                    <a:pt x="59" y="970"/>
                  </a:lnTo>
                  <a:lnTo>
                    <a:pt x="39" y="1002"/>
                  </a:lnTo>
                  <a:cubicBezTo>
                    <a:pt x="38" y="1003"/>
                    <a:pt x="36" y="1004"/>
                    <a:pt x="35" y="1004"/>
                  </a:cubicBezTo>
                  <a:cubicBezTo>
                    <a:pt x="34" y="1004"/>
                    <a:pt x="33" y="1004"/>
                    <a:pt x="33" y="1004"/>
                  </a:cubicBezTo>
                  <a:cubicBezTo>
                    <a:pt x="31" y="1003"/>
                    <a:pt x="30" y="1000"/>
                    <a:pt x="30" y="998"/>
                  </a:cubicBezTo>
                  <a:lnTo>
                    <a:pt x="73" y="867"/>
                  </a:lnTo>
                  <a:lnTo>
                    <a:pt x="72" y="792"/>
                  </a:lnTo>
                  <a:lnTo>
                    <a:pt x="39" y="713"/>
                  </a:lnTo>
                  <a:cubicBezTo>
                    <a:pt x="38" y="712"/>
                    <a:pt x="39" y="710"/>
                    <a:pt x="39" y="709"/>
                  </a:cubicBezTo>
                  <a:lnTo>
                    <a:pt x="64" y="673"/>
                  </a:lnTo>
                  <a:lnTo>
                    <a:pt x="56" y="632"/>
                  </a:lnTo>
                  <a:lnTo>
                    <a:pt x="16" y="570"/>
                  </a:lnTo>
                  <a:lnTo>
                    <a:pt x="8" y="576"/>
                  </a:lnTo>
                  <a:cubicBezTo>
                    <a:pt x="7" y="577"/>
                    <a:pt x="6" y="577"/>
                    <a:pt x="5" y="577"/>
                  </a:cubicBezTo>
                  <a:cubicBezTo>
                    <a:pt x="4" y="577"/>
                    <a:pt x="3" y="576"/>
                    <a:pt x="2" y="575"/>
                  </a:cubicBezTo>
                  <a:cubicBezTo>
                    <a:pt x="0" y="574"/>
                    <a:pt x="0" y="571"/>
                    <a:pt x="1" y="570"/>
                  </a:cubicBezTo>
                  <a:lnTo>
                    <a:pt x="22" y="536"/>
                  </a:lnTo>
                  <a:cubicBezTo>
                    <a:pt x="23" y="534"/>
                    <a:pt x="25" y="534"/>
                    <a:pt x="26" y="533"/>
                  </a:cubicBezTo>
                  <a:lnTo>
                    <a:pt x="339" y="529"/>
                  </a:lnTo>
                  <a:lnTo>
                    <a:pt x="322" y="403"/>
                  </a:lnTo>
                  <a:cubicBezTo>
                    <a:pt x="322" y="402"/>
                    <a:pt x="323" y="401"/>
                    <a:pt x="323" y="400"/>
                  </a:cubicBezTo>
                  <a:lnTo>
                    <a:pt x="349" y="366"/>
                  </a:lnTo>
                  <a:lnTo>
                    <a:pt x="424" y="344"/>
                  </a:lnTo>
                  <a:lnTo>
                    <a:pt x="428" y="115"/>
                  </a:lnTo>
                  <a:cubicBezTo>
                    <a:pt x="428" y="112"/>
                    <a:pt x="430" y="110"/>
                    <a:pt x="433" y="110"/>
                  </a:cubicBezTo>
                  <a:lnTo>
                    <a:pt x="691" y="115"/>
                  </a:lnTo>
                  <a:lnTo>
                    <a:pt x="699" y="5"/>
                  </a:lnTo>
                  <a:cubicBezTo>
                    <a:pt x="699" y="3"/>
                    <a:pt x="701" y="2"/>
                    <a:pt x="702" y="1"/>
                  </a:cubicBezTo>
                  <a:cubicBezTo>
                    <a:pt x="703" y="1"/>
                    <a:pt x="703" y="0"/>
                    <a:pt x="704" y="0"/>
                  </a:cubicBezTo>
                  <a:cubicBezTo>
                    <a:pt x="705" y="0"/>
                    <a:pt x="706" y="1"/>
                    <a:pt x="707" y="1"/>
                  </a:cubicBezTo>
                  <a:lnTo>
                    <a:pt x="1012" y="213"/>
                  </a:lnTo>
                  <a:cubicBezTo>
                    <a:pt x="1013" y="214"/>
                    <a:pt x="1014" y="216"/>
                    <a:pt x="1014" y="218"/>
                  </a:cubicBezTo>
                  <a:cubicBezTo>
                    <a:pt x="1013" y="220"/>
                    <a:pt x="1011" y="221"/>
                    <a:pt x="1009" y="221"/>
                  </a:cubicBezTo>
                  <a:lnTo>
                    <a:pt x="866" y="221"/>
                  </a:lnTo>
                  <a:lnTo>
                    <a:pt x="946" y="974"/>
                  </a:lnTo>
                  <a:lnTo>
                    <a:pt x="976" y="982"/>
                  </a:lnTo>
                  <a:cubicBezTo>
                    <a:pt x="979" y="983"/>
                    <a:pt x="980" y="985"/>
                    <a:pt x="980" y="988"/>
                  </a:cubicBezTo>
                  <a:lnTo>
                    <a:pt x="963" y="1060"/>
                  </a:lnTo>
                  <a:cubicBezTo>
                    <a:pt x="962" y="1062"/>
                    <a:pt x="961" y="1063"/>
                    <a:pt x="958" y="1063"/>
                  </a:cubicBezTo>
                  <a:lnTo>
                    <a:pt x="577" y="1055"/>
                  </a:lnTo>
                  <a:lnTo>
                    <a:pt x="538" y="1088"/>
                  </a:lnTo>
                  <a:cubicBezTo>
                    <a:pt x="537" y="1088"/>
                    <a:pt x="536" y="1089"/>
                    <a:pt x="535" y="1089"/>
                  </a:cubicBezTo>
                  <a:lnTo>
                    <a:pt x="508" y="1084"/>
                  </a:lnTo>
                  <a:cubicBezTo>
                    <a:pt x="507" y="1084"/>
                    <a:pt x="506" y="1083"/>
                    <a:pt x="505" y="1082"/>
                  </a:cubicBezTo>
                  <a:lnTo>
                    <a:pt x="480" y="1031"/>
                  </a:lnTo>
                  <a:lnTo>
                    <a:pt x="469" y="1027"/>
                  </a:lnTo>
                  <a:lnTo>
                    <a:pt x="441" y="1086"/>
                  </a:lnTo>
                  <a:lnTo>
                    <a:pt x="411" y="1117"/>
                  </a:lnTo>
                  <a:cubicBezTo>
                    <a:pt x="410" y="1118"/>
                    <a:pt x="409" y="1118"/>
                    <a:pt x="408" y="111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1" name="Freeform 206"/>
            <p:cNvSpPr>
              <a:spLocks noChangeArrowheads="1"/>
            </p:cNvSpPr>
            <p:nvPr/>
          </p:nvSpPr>
          <p:spPr bwMode="auto">
            <a:xfrm>
              <a:off x="3851275" y="2587625"/>
              <a:ext cx="360363" cy="292100"/>
            </a:xfrm>
            <a:custGeom>
              <a:avLst/>
              <a:gdLst/>
              <a:ahLst/>
              <a:cxnLst>
                <a:cxn ang="0">
                  <a:pos x="5" y="808"/>
                </a:cxn>
                <a:cxn ang="0">
                  <a:pos x="1" y="807"/>
                </a:cxn>
                <a:cxn ang="0">
                  <a:pos x="0" y="803"/>
                </a:cxn>
                <a:cxn ang="0">
                  <a:pos x="4" y="786"/>
                </a:cxn>
                <a:cxn ang="0">
                  <a:pos x="8" y="782"/>
                </a:cxn>
                <a:cxn ang="0">
                  <a:pos x="113" y="749"/>
                </a:cxn>
                <a:cxn ang="0">
                  <a:pos x="222" y="661"/>
                </a:cxn>
                <a:cxn ang="0">
                  <a:pos x="247" y="623"/>
                </a:cxn>
                <a:cxn ang="0">
                  <a:pos x="271" y="579"/>
                </a:cxn>
                <a:cxn ang="0">
                  <a:pos x="259" y="526"/>
                </a:cxn>
                <a:cxn ang="0">
                  <a:pos x="263" y="452"/>
                </a:cxn>
                <a:cxn ang="0">
                  <a:pos x="310" y="386"/>
                </a:cxn>
                <a:cxn ang="0">
                  <a:pos x="322" y="341"/>
                </a:cxn>
                <a:cxn ang="0">
                  <a:pos x="387" y="268"/>
                </a:cxn>
                <a:cxn ang="0">
                  <a:pos x="528" y="182"/>
                </a:cxn>
                <a:cxn ang="0">
                  <a:pos x="598" y="19"/>
                </a:cxn>
                <a:cxn ang="0">
                  <a:pos x="600" y="17"/>
                </a:cxn>
                <a:cxn ang="0">
                  <a:pos x="638" y="0"/>
                </a:cxn>
                <a:cxn ang="0">
                  <a:pos x="640" y="0"/>
                </a:cxn>
                <a:cxn ang="0">
                  <a:pos x="644" y="1"/>
                </a:cxn>
                <a:cxn ang="0">
                  <a:pos x="678" y="48"/>
                </a:cxn>
                <a:cxn ang="0">
                  <a:pos x="727" y="72"/>
                </a:cxn>
                <a:cxn ang="0">
                  <a:pos x="834" y="59"/>
                </a:cxn>
                <a:cxn ang="0">
                  <a:pos x="921" y="80"/>
                </a:cxn>
                <a:cxn ang="0">
                  <a:pos x="924" y="85"/>
                </a:cxn>
                <a:cxn ang="0">
                  <a:pos x="920" y="89"/>
                </a:cxn>
                <a:cxn ang="0">
                  <a:pos x="913" y="89"/>
                </a:cxn>
                <a:cxn ang="0">
                  <a:pos x="944" y="110"/>
                </a:cxn>
                <a:cxn ang="0">
                  <a:pos x="946" y="114"/>
                </a:cxn>
                <a:cxn ang="0">
                  <a:pos x="958" y="287"/>
                </a:cxn>
                <a:cxn ang="0">
                  <a:pos x="1000" y="336"/>
                </a:cxn>
                <a:cxn ang="0">
                  <a:pos x="1000" y="341"/>
                </a:cxn>
                <a:cxn ang="0">
                  <a:pos x="988" y="356"/>
                </a:cxn>
                <a:cxn ang="0">
                  <a:pos x="992" y="371"/>
                </a:cxn>
                <a:cxn ang="0">
                  <a:pos x="991" y="375"/>
                </a:cxn>
                <a:cxn ang="0">
                  <a:pos x="988" y="377"/>
                </a:cxn>
                <a:cxn ang="0">
                  <a:pos x="847" y="385"/>
                </a:cxn>
                <a:cxn ang="0">
                  <a:pos x="839" y="408"/>
                </a:cxn>
                <a:cxn ang="0">
                  <a:pos x="836" y="411"/>
                </a:cxn>
                <a:cxn ang="0">
                  <a:pos x="772" y="427"/>
                </a:cxn>
                <a:cxn ang="0">
                  <a:pos x="772" y="470"/>
                </a:cxn>
                <a:cxn ang="0">
                  <a:pos x="784" y="488"/>
                </a:cxn>
                <a:cxn ang="0">
                  <a:pos x="784" y="492"/>
                </a:cxn>
                <a:cxn ang="0">
                  <a:pos x="782" y="495"/>
                </a:cxn>
                <a:cxn ang="0">
                  <a:pos x="684" y="537"/>
                </a:cxn>
                <a:cxn ang="0">
                  <a:pos x="618" y="596"/>
                </a:cxn>
                <a:cxn ang="0">
                  <a:pos x="546" y="605"/>
                </a:cxn>
                <a:cxn ang="0">
                  <a:pos x="534" y="624"/>
                </a:cxn>
                <a:cxn ang="0">
                  <a:pos x="530" y="627"/>
                </a:cxn>
                <a:cxn ang="0">
                  <a:pos x="496" y="622"/>
                </a:cxn>
                <a:cxn ang="0">
                  <a:pos x="405" y="669"/>
                </a:cxn>
                <a:cxn ang="0">
                  <a:pos x="374" y="700"/>
                </a:cxn>
                <a:cxn ang="0">
                  <a:pos x="374" y="804"/>
                </a:cxn>
                <a:cxn ang="0">
                  <a:pos x="369" y="809"/>
                </a:cxn>
                <a:cxn ang="0">
                  <a:pos x="5" y="809"/>
                </a:cxn>
                <a:cxn ang="0">
                  <a:pos x="5" y="808"/>
                </a:cxn>
              </a:cxnLst>
              <a:rect l="0" t="0" r="r" b="b"/>
              <a:pathLst>
                <a:path w="1002" h="810">
                  <a:moveTo>
                    <a:pt x="5" y="808"/>
                  </a:moveTo>
                  <a:cubicBezTo>
                    <a:pt x="3" y="808"/>
                    <a:pt x="2" y="808"/>
                    <a:pt x="1" y="807"/>
                  </a:cubicBezTo>
                  <a:cubicBezTo>
                    <a:pt x="0" y="806"/>
                    <a:pt x="0" y="804"/>
                    <a:pt x="0" y="803"/>
                  </a:cubicBezTo>
                  <a:lnTo>
                    <a:pt x="4" y="786"/>
                  </a:lnTo>
                  <a:cubicBezTo>
                    <a:pt x="5" y="784"/>
                    <a:pt x="6" y="783"/>
                    <a:pt x="8" y="782"/>
                  </a:cubicBezTo>
                  <a:lnTo>
                    <a:pt x="113" y="749"/>
                  </a:lnTo>
                  <a:lnTo>
                    <a:pt x="222" y="661"/>
                  </a:lnTo>
                  <a:lnTo>
                    <a:pt x="247" y="623"/>
                  </a:lnTo>
                  <a:lnTo>
                    <a:pt x="271" y="579"/>
                  </a:lnTo>
                  <a:lnTo>
                    <a:pt x="259" y="526"/>
                  </a:lnTo>
                  <a:lnTo>
                    <a:pt x="263" y="452"/>
                  </a:lnTo>
                  <a:lnTo>
                    <a:pt x="310" y="386"/>
                  </a:lnTo>
                  <a:lnTo>
                    <a:pt x="322" y="341"/>
                  </a:lnTo>
                  <a:lnTo>
                    <a:pt x="387" y="268"/>
                  </a:lnTo>
                  <a:lnTo>
                    <a:pt x="528" y="182"/>
                  </a:lnTo>
                  <a:lnTo>
                    <a:pt x="598" y="19"/>
                  </a:lnTo>
                  <a:cubicBezTo>
                    <a:pt x="598" y="18"/>
                    <a:pt x="599" y="17"/>
                    <a:pt x="600" y="17"/>
                  </a:cubicBezTo>
                  <a:lnTo>
                    <a:pt x="638" y="0"/>
                  </a:lnTo>
                  <a:cubicBezTo>
                    <a:pt x="639" y="0"/>
                    <a:pt x="640" y="0"/>
                    <a:pt x="640" y="0"/>
                  </a:cubicBezTo>
                  <a:cubicBezTo>
                    <a:pt x="642" y="0"/>
                    <a:pt x="643" y="0"/>
                    <a:pt x="644" y="1"/>
                  </a:cubicBezTo>
                  <a:lnTo>
                    <a:pt x="678" y="48"/>
                  </a:lnTo>
                  <a:lnTo>
                    <a:pt x="727" y="72"/>
                  </a:lnTo>
                  <a:lnTo>
                    <a:pt x="834" y="59"/>
                  </a:lnTo>
                  <a:lnTo>
                    <a:pt x="921" y="80"/>
                  </a:lnTo>
                  <a:cubicBezTo>
                    <a:pt x="923" y="81"/>
                    <a:pt x="925" y="83"/>
                    <a:pt x="924" y="85"/>
                  </a:cubicBezTo>
                  <a:cubicBezTo>
                    <a:pt x="924" y="88"/>
                    <a:pt x="922" y="89"/>
                    <a:pt x="920" y="89"/>
                  </a:cubicBezTo>
                  <a:lnTo>
                    <a:pt x="913" y="89"/>
                  </a:lnTo>
                  <a:lnTo>
                    <a:pt x="944" y="110"/>
                  </a:lnTo>
                  <a:cubicBezTo>
                    <a:pt x="945" y="111"/>
                    <a:pt x="945" y="113"/>
                    <a:pt x="946" y="114"/>
                  </a:cubicBezTo>
                  <a:lnTo>
                    <a:pt x="958" y="287"/>
                  </a:lnTo>
                  <a:lnTo>
                    <a:pt x="1000" y="336"/>
                  </a:lnTo>
                  <a:cubicBezTo>
                    <a:pt x="1001" y="337"/>
                    <a:pt x="1001" y="340"/>
                    <a:pt x="1000" y="341"/>
                  </a:cubicBezTo>
                  <a:lnTo>
                    <a:pt x="988" y="356"/>
                  </a:lnTo>
                  <a:lnTo>
                    <a:pt x="992" y="371"/>
                  </a:lnTo>
                  <a:cubicBezTo>
                    <a:pt x="992" y="373"/>
                    <a:pt x="992" y="374"/>
                    <a:pt x="991" y="375"/>
                  </a:cubicBezTo>
                  <a:cubicBezTo>
                    <a:pt x="990" y="376"/>
                    <a:pt x="989" y="377"/>
                    <a:pt x="988" y="377"/>
                  </a:cubicBezTo>
                  <a:lnTo>
                    <a:pt x="847" y="385"/>
                  </a:lnTo>
                  <a:lnTo>
                    <a:pt x="839" y="408"/>
                  </a:lnTo>
                  <a:cubicBezTo>
                    <a:pt x="839" y="409"/>
                    <a:pt x="838" y="410"/>
                    <a:pt x="836" y="411"/>
                  </a:cubicBezTo>
                  <a:lnTo>
                    <a:pt x="772" y="427"/>
                  </a:lnTo>
                  <a:lnTo>
                    <a:pt x="772" y="470"/>
                  </a:lnTo>
                  <a:lnTo>
                    <a:pt x="784" y="488"/>
                  </a:lnTo>
                  <a:cubicBezTo>
                    <a:pt x="785" y="490"/>
                    <a:pt x="785" y="491"/>
                    <a:pt x="784" y="492"/>
                  </a:cubicBezTo>
                  <a:cubicBezTo>
                    <a:pt x="784" y="494"/>
                    <a:pt x="783" y="495"/>
                    <a:pt x="782" y="495"/>
                  </a:cubicBezTo>
                  <a:lnTo>
                    <a:pt x="684" y="537"/>
                  </a:lnTo>
                  <a:lnTo>
                    <a:pt x="618" y="596"/>
                  </a:lnTo>
                  <a:lnTo>
                    <a:pt x="546" y="605"/>
                  </a:lnTo>
                  <a:lnTo>
                    <a:pt x="534" y="624"/>
                  </a:lnTo>
                  <a:cubicBezTo>
                    <a:pt x="533" y="626"/>
                    <a:pt x="532" y="627"/>
                    <a:pt x="530" y="627"/>
                  </a:cubicBezTo>
                  <a:lnTo>
                    <a:pt x="496" y="622"/>
                  </a:lnTo>
                  <a:lnTo>
                    <a:pt x="405" y="669"/>
                  </a:lnTo>
                  <a:lnTo>
                    <a:pt x="374" y="700"/>
                  </a:lnTo>
                  <a:lnTo>
                    <a:pt x="374" y="804"/>
                  </a:lnTo>
                  <a:cubicBezTo>
                    <a:pt x="374" y="806"/>
                    <a:pt x="372" y="809"/>
                    <a:pt x="369" y="809"/>
                  </a:cubicBezTo>
                  <a:lnTo>
                    <a:pt x="5" y="809"/>
                  </a:lnTo>
                  <a:lnTo>
                    <a:pt x="5" y="80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2" name="Freeform 207"/>
            <p:cNvSpPr>
              <a:spLocks noChangeArrowheads="1"/>
            </p:cNvSpPr>
            <p:nvPr/>
          </p:nvSpPr>
          <p:spPr bwMode="auto">
            <a:xfrm>
              <a:off x="3851275" y="2587625"/>
              <a:ext cx="360363" cy="292100"/>
            </a:xfrm>
            <a:custGeom>
              <a:avLst/>
              <a:gdLst/>
              <a:ahLst/>
              <a:cxnLst>
                <a:cxn ang="0">
                  <a:pos x="5" y="808"/>
                </a:cxn>
                <a:cxn ang="0">
                  <a:pos x="1" y="807"/>
                </a:cxn>
                <a:cxn ang="0">
                  <a:pos x="0" y="803"/>
                </a:cxn>
                <a:cxn ang="0">
                  <a:pos x="4" y="786"/>
                </a:cxn>
                <a:cxn ang="0">
                  <a:pos x="8" y="782"/>
                </a:cxn>
                <a:cxn ang="0">
                  <a:pos x="113" y="749"/>
                </a:cxn>
                <a:cxn ang="0">
                  <a:pos x="222" y="661"/>
                </a:cxn>
                <a:cxn ang="0">
                  <a:pos x="247" y="623"/>
                </a:cxn>
                <a:cxn ang="0">
                  <a:pos x="271" y="579"/>
                </a:cxn>
                <a:cxn ang="0">
                  <a:pos x="259" y="526"/>
                </a:cxn>
                <a:cxn ang="0">
                  <a:pos x="263" y="452"/>
                </a:cxn>
                <a:cxn ang="0">
                  <a:pos x="310" y="386"/>
                </a:cxn>
                <a:cxn ang="0">
                  <a:pos x="322" y="341"/>
                </a:cxn>
                <a:cxn ang="0">
                  <a:pos x="387" y="268"/>
                </a:cxn>
                <a:cxn ang="0">
                  <a:pos x="528" y="182"/>
                </a:cxn>
                <a:cxn ang="0">
                  <a:pos x="598" y="19"/>
                </a:cxn>
                <a:cxn ang="0">
                  <a:pos x="600" y="17"/>
                </a:cxn>
                <a:cxn ang="0">
                  <a:pos x="638" y="0"/>
                </a:cxn>
                <a:cxn ang="0">
                  <a:pos x="640" y="0"/>
                </a:cxn>
                <a:cxn ang="0">
                  <a:pos x="644" y="1"/>
                </a:cxn>
                <a:cxn ang="0">
                  <a:pos x="678" y="48"/>
                </a:cxn>
                <a:cxn ang="0">
                  <a:pos x="727" y="72"/>
                </a:cxn>
                <a:cxn ang="0">
                  <a:pos x="834" y="59"/>
                </a:cxn>
                <a:cxn ang="0">
                  <a:pos x="921" y="80"/>
                </a:cxn>
                <a:cxn ang="0">
                  <a:pos x="924" y="85"/>
                </a:cxn>
                <a:cxn ang="0">
                  <a:pos x="920" y="89"/>
                </a:cxn>
                <a:cxn ang="0">
                  <a:pos x="913" y="89"/>
                </a:cxn>
                <a:cxn ang="0">
                  <a:pos x="944" y="110"/>
                </a:cxn>
                <a:cxn ang="0">
                  <a:pos x="946" y="114"/>
                </a:cxn>
                <a:cxn ang="0">
                  <a:pos x="958" y="287"/>
                </a:cxn>
                <a:cxn ang="0">
                  <a:pos x="1000" y="336"/>
                </a:cxn>
                <a:cxn ang="0">
                  <a:pos x="1000" y="341"/>
                </a:cxn>
                <a:cxn ang="0">
                  <a:pos x="988" y="356"/>
                </a:cxn>
                <a:cxn ang="0">
                  <a:pos x="992" y="371"/>
                </a:cxn>
                <a:cxn ang="0">
                  <a:pos x="991" y="375"/>
                </a:cxn>
                <a:cxn ang="0">
                  <a:pos x="988" y="377"/>
                </a:cxn>
                <a:cxn ang="0">
                  <a:pos x="847" y="385"/>
                </a:cxn>
                <a:cxn ang="0">
                  <a:pos x="839" y="408"/>
                </a:cxn>
                <a:cxn ang="0">
                  <a:pos x="836" y="411"/>
                </a:cxn>
                <a:cxn ang="0">
                  <a:pos x="772" y="427"/>
                </a:cxn>
                <a:cxn ang="0">
                  <a:pos x="772" y="470"/>
                </a:cxn>
                <a:cxn ang="0">
                  <a:pos x="784" y="488"/>
                </a:cxn>
                <a:cxn ang="0">
                  <a:pos x="784" y="492"/>
                </a:cxn>
                <a:cxn ang="0">
                  <a:pos x="782" y="495"/>
                </a:cxn>
                <a:cxn ang="0">
                  <a:pos x="684" y="537"/>
                </a:cxn>
                <a:cxn ang="0">
                  <a:pos x="618" y="596"/>
                </a:cxn>
                <a:cxn ang="0">
                  <a:pos x="546" y="605"/>
                </a:cxn>
                <a:cxn ang="0">
                  <a:pos x="534" y="624"/>
                </a:cxn>
                <a:cxn ang="0">
                  <a:pos x="530" y="627"/>
                </a:cxn>
                <a:cxn ang="0">
                  <a:pos x="496" y="622"/>
                </a:cxn>
                <a:cxn ang="0">
                  <a:pos x="405" y="669"/>
                </a:cxn>
                <a:cxn ang="0">
                  <a:pos x="374" y="700"/>
                </a:cxn>
                <a:cxn ang="0">
                  <a:pos x="374" y="804"/>
                </a:cxn>
                <a:cxn ang="0">
                  <a:pos x="369" y="809"/>
                </a:cxn>
                <a:cxn ang="0">
                  <a:pos x="5" y="809"/>
                </a:cxn>
                <a:cxn ang="0">
                  <a:pos x="5" y="808"/>
                </a:cxn>
              </a:cxnLst>
              <a:rect l="0" t="0" r="r" b="b"/>
              <a:pathLst>
                <a:path w="1002" h="810">
                  <a:moveTo>
                    <a:pt x="5" y="808"/>
                  </a:moveTo>
                  <a:cubicBezTo>
                    <a:pt x="3" y="808"/>
                    <a:pt x="2" y="808"/>
                    <a:pt x="1" y="807"/>
                  </a:cubicBezTo>
                  <a:cubicBezTo>
                    <a:pt x="0" y="806"/>
                    <a:pt x="0" y="804"/>
                    <a:pt x="0" y="803"/>
                  </a:cubicBezTo>
                  <a:lnTo>
                    <a:pt x="4" y="786"/>
                  </a:lnTo>
                  <a:cubicBezTo>
                    <a:pt x="5" y="784"/>
                    <a:pt x="6" y="783"/>
                    <a:pt x="8" y="782"/>
                  </a:cubicBezTo>
                  <a:lnTo>
                    <a:pt x="113" y="749"/>
                  </a:lnTo>
                  <a:lnTo>
                    <a:pt x="222" y="661"/>
                  </a:lnTo>
                  <a:lnTo>
                    <a:pt x="247" y="623"/>
                  </a:lnTo>
                  <a:lnTo>
                    <a:pt x="271" y="579"/>
                  </a:lnTo>
                  <a:lnTo>
                    <a:pt x="259" y="526"/>
                  </a:lnTo>
                  <a:lnTo>
                    <a:pt x="263" y="452"/>
                  </a:lnTo>
                  <a:lnTo>
                    <a:pt x="310" y="386"/>
                  </a:lnTo>
                  <a:lnTo>
                    <a:pt x="322" y="341"/>
                  </a:lnTo>
                  <a:lnTo>
                    <a:pt x="387" y="268"/>
                  </a:lnTo>
                  <a:lnTo>
                    <a:pt x="528" y="182"/>
                  </a:lnTo>
                  <a:lnTo>
                    <a:pt x="598" y="19"/>
                  </a:lnTo>
                  <a:cubicBezTo>
                    <a:pt x="598" y="18"/>
                    <a:pt x="599" y="17"/>
                    <a:pt x="600" y="17"/>
                  </a:cubicBezTo>
                  <a:lnTo>
                    <a:pt x="638" y="0"/>
                  </a:lnTo>
                  <a:cubicBezTo>
                    <a:pt x="639" y="0"/>
                    <a:pt x="640" y="0"/>
                    <a:pt x="640" y="0"/>
                  </a:cubicBezTo>
                  <a:cubicBezTo>
                    <a:pt x="642" y="0"/>
                    <a:pt x="643" y="0"/>
                    <a:pt x="644" y="1"/>
                  </a:cubicBezTo>
                  <a:lnTo>
                    <a:pt x="678" y="48"/>
                  </a:lnTo>
                  <a:lnTo>
                    <a:pt x="727" y="72"/>
                  </a:lnTo>
                  <a:lnTo>
                    <a:pt x="834" y="59"/>
                  </a:lnTo>
                  <a:lnTo>
                    <a:pt x="921" y="80"/>
                  </a:lnTo>
                  <a:cubicBezTo>
                    <a:pt x="923" y="81"/>
                    <a:pt x="925" y="83"/>
                    <a:pt x="924" y="85"/>
                  </a:cubicBezTo>
                  <a:cubicBezTo>
                    <a:pt x="924" y="88"/>
                    <a:pt x="922" y="89"/>
                    <a:pt x="920" y="89"/>
                  </a:cubicBezTo>
                  <a:lnTo>
                    <a:pt x="913" y="89"/>
                  </a:lnTo>
                  <a:lnTo>
                    <a:pt x="944" y="110"/>
                  </a:lnTo>
                  <a:cubicBezTo>
                    <a:pt x="945" y="111"/>
                    <a:pt x="945" y="113"/>
                    <a:pt x="946" y="114"/>
                  </a:cubicBezTo>
                  <a:lnTo>
                    <a:pt x="958" y="287"/>
                  </a:lnTo>
                  <a:lnTo>
                    <a:pt x="1000" y="336"/>
                  </a:lnTo>
                  <a:cubicBezTo>
                    <a:pt x="1001" y="337"/>
                    <a:pt x="1001" y="340"/>
                    <a:pt x="1000" y="341"/>
                  </a:cubicBezTo>
                  <a:lnTo>
                    <a:pt x="988" y="356"/>
                  </a:lnTo>
                  <a:lnTo>
                    <a:pt x="992" y="371"/>
                  </a:lnTo>
                  <a:cubicBezTo>
                    <a:pt x="992" y="373"/>
                    <a:pt x="992" y="374"/>
                    <a:pt x="991" y="375"/>
                  </a:cubicBezTo>
                  <a:cubicBezTo>
                    <a:pt x="990" y="376"/>
                    <a:pt x="989" y="377"/>
                    <a:pt x="988" y="377"/>
                  </a:cubicBezTo>
                  <a:lnTo>
                    <a:pt x="847" y="385"/>
                  </a:lnTo>
                  <a:lnTo>
                    <a:pt x="839" y="408"/>
                  </a:lnTo>
                  <a:cubicBezTo>
                    <a:pt x="839" y="409"/>
                    <a:pt x="838" y="410"/>
                    <a:pt x="836" y="411"/>
                  </a:cubicBezTo>
                  <a:lnTo>
                    <a:pt x="772" y="427"/>
                  </a:lnTo>
                  <a:lnTo>
                    <a:pt x="772" y="470"/>
                  </a:lnTo>
                  <a:lnTo>
                    <a:pt x="784" y="488"/>
                  </a:lnTo>
                  <a:cubicBezTo>
                    <a:pt x="785" y="490"/>
                    <a:pt x="785" y="491"/>
                    <a:pt x="784" y="492"/>
                  </a:cubicBezTo>
                  <a:cubicBezTo>
                    <a:pt x="784" y="494"/>
                    <a:pt x="783" y="495"/>
                    <a:pt x="782" y="495"/>
                  </a:cubicBezTo>
                  <a:lnTo>
                    <a:pt x="684" y="537"/>
                  </a:lnTo>
                  <a:lnTo>
                    <a:pt x="618" y="596"/>
                  </a:lnTo>
                  <a:lnTo>
                    <a:pt x="546" y="605"/>
                  </a:lnTo>
                  <a:lnTo>
                    <a:pt x="534" y="624"/>
                  </a:lnTo>
                  <a:cubicBezTo>
                    <a:pt x="533" y="626"/>
                    <a:pt x="532" y="627"/>
                    <a:pt x="530" y="627"/>
                  </a:cubicBezTo>
                  <a:lnTo>
                    <a:pt x="496" y="622"/>
                  </a:lnTo>
                  <a:lnTo>
                    <a:pt x="405" y="669"/>
                  </a:lnTo>
                  <a:lnTo>
                    <a:pt x="374" y="700"/>
                  </a:lnTo>
                  <a:lnTo>
                    <a:pt x="374" y="804"/>
                  </a:lnTo>
                  <a:cubicBezTo>
                    <a:pt x="374" y="806"/>
                    <a:pt x="372" y="809"/>
                    <a:pt x="369" y="809"/>
                  </a:cubicBezTo>
                  <a:lnTo>
                    <a:pt x="5" y="809"/>
                  </a:lnTo>
                  <a:lnTo>
                    <a:pt x="5" y="80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3" name="Freeform 208"/>
            <p:cNvSpPr>
              <a:spLocks noChangeArrowheads="1"/>
            </p:cNvSpPr>
            <p:nvPr/>
          </p:nvSpPr>
          <p:spPr bwMode="auto">
            <a:xfrm>
              <a:off x="4241800" y="3016250"/>
              <a:ext cx="482600" cy="374650"/>
            </a:xfrm>
            <a:custGeom>
              <a:avLst/>
              <a:gdLst/>
              <a:ahLst/>
              <a:cxnLst>
                <a:cxn ang="0">
                  <a:pos x="232" y="979"/>
                </a:cxn>
                <a:cxn ang="0">
                  <a:pos x="208" y="1006"/>
                </a:cxn>
                <a:cxn ang="0">
                  <a:pos x="197" y="1016"/>
                </a:cxn>
                <a:cxn ang="0">
                  <a:pos x="191" y="1015"/>
                </a:cxn>
                <a:cxn ang="0">
                  <a:pos x="170" y="984"/>
                </a:cxn>
                <a:cxn ang="0">
                  <a:pos x="170" y="953"/>
                </a:cxn>
                <a:cxn ang="0">
                  <a:pos x="106" y="947"/>
                </a:cxn>
                <a:cxn ang="0">
                  <a:pos x="0" y="789"/>
                </a:cxn>
                <a:cxn ang="0">
                  <a:pos x="9" y="749"/>
                </a:cxn>
                <a:cxn ang="0">
                  <a:pos x="103" y="717"/>
                </a:cxn>
                <a:cxn ang="0">
                  <a:pos x="282" y="715"/>
                </a:cxn>
                <a:cxn ang="0">
                  <a:pos x="338" y="658"/>
                </a:cxn>
                <a:cxn ang="0">
                  <a:pos x="342" y="381"/>
                </a:cxn>
                <a:cxn ang="0">
                  <a:pos x="654" y="213"/>
                </a:cxn>
                <a:cxn ang="0">
                  <a:pos x="1157" y="0"/>
                </a:cxn>
                <a:cxn ang="0">
                  <a:pos x="1252" y="39"/>
                </a:cxn>
                <a:cxn ang="0">
                  <a:pos x="1256" y="39"/>
                </a:cxn>
                <a:cxn ang="0">
                  <a:pos x="1259" y="187"/>
                </a:cxn>
                <a:cxn ang="0">
                  <a:pos x="1337" y="272"/>
                </a:cxn>
                <a:cxn ang="0">
                  <a:pos x="1313" y="316"/>
                </a:cxn>
                <a:cxn ang="0">
                  <a:pos x="1284" y="581"/>
                </a:cxn>
                <a:cxn ang="0">
                  <a:pos x="1120" y="801"/>
                </a:cxn>
                <a:cxn ang="0">
                  <a:pos x="1136" y="809"/>
                </a:cxn>
                <a:cxn ang="0">
                  <a:pos x="1100" y="814"/>
                </a:cxn>
                <a:cxn ang="0">
                  <a:pos x="1097" y="850"/>
                </a:cxn>
                <a:cxn ang="0">
                  <a:pos x="1028" y="910"/>
                </a:cxn>
                <a:cxn ang="0">
                  <a:pos x="1024" y="911"/>
                </a:cxn>
                <a:cxn ang="0">
                  <a:pos x="856" y="898"/>
                </a:cxn>
                <a:cxn ang="0">
                  <a:pos x="775" y="949"/>
                </a:cxn>
                <a:cxn ang="0">
                  <a:pos x="715" y="936"/>
                </a:cxn>
                <a:cxn ang="0">
                  <a:pos x="578" y="932"/>
                </a:cxn>
                <a:cxn ang="0">
                  <a:pos x="574" y="931"/>
                </a:cxn>
                <a:cxn ang="0">
                  <a:pos x="403" y="864"/>
                </a:cxn>
                <a:cxn ang="0">
                  <a:pos x="331" y="937"/>
                </a:cxn>
                <a:cxn ang="0">
                  <a:pos x="297" y="1033"/>
                </a:cxn>
                <a:cxn ang="0">
                  <a:pos x="292" y="1038"/>
                </a:cxn>
              </a:cxnLst>
              <a:rect l="0" t="0" r="r" b="b"/>
              <a:pathLst>
                <a:path w="1341" h="1039">
                  <a:moveTo>
                    <a:pt x="289" y="1036"/>
                  </a:moveTo>
                  <a:lnTo>
                    <a:pt x="232" y="979"/>
                  </a:lnTo>
                  <a:lnTo>
                    <a:pt x="201" y="989"/>
                  </a:lnTo>
                  <a:lnTo>
                    <a:pt x="208" y="1006"/>
                  </a:lnTo>
                  <a:cubicBezTo>
                    <a:pt x="209" y="1008"/>
                    <a:pt x="208" y="1011"/>
                    <a:pt x="205" y="1012"/>
                  </a:cubicBezTo>
                  <a:lnTo>
                    <a:pt x="197" y="1016"/>
                  </a:lnTo>
                  <a:cubicBezTo>
                    <a:pt x="196" y="1017"/>
                    <a:pt x="196" y="1017"/>
                    <a:pt x="195" y="1017"/>
                  </a:cubicBezTo>
                  <a:cubicBezTo>
                    <a:pt x="194" y="1017"/>
                    <a:pt x="192" y="1016"/>
                    <a:pt x="191" y="1015"/>
                  </a:cubicBezTo>
                  <a:lnTo>
                    <a:pt x="170" y="990"/>
                  </a:lnTo>
                  <a:cubicBezTo>
                    <a:pt x="169" y="988"/>
                    <a:pt x="169" y="986"/>
                    <a:pt x="170" y="984"/>
                  </a:cubicBezTo>
                  <a:lnTo>
                    <a:pt x="177" y="969"/>
                  </a:lnTo>
                  <a:lnTo>
                    <a:pt x="170" y="953"/>
                  </a:lnTo>
                  <a:lnTo>
                    <a:pt x="110" y="949"/>
                  </a:lnTo>
                  <a:cubicBezTo>
                    <a:pt x="108" y="949"/>
                    <a:pt x="107" y="948"/>
                    <a:pt x="106" y="947"/>
                  </a:cubicBezTo>
                  <a:lnTo>
                    <a:pt x="22" y="841"/>
                  </a:lnTo>
                  <a:lnTo>
                    <a:pt x="0" y="789"/>
                  </a:lnTo>
                  <a:lnTo>
                    <a:pt x="4" y="753"/>
                  </a:lnTo>
                  <a:cubicBezTo>
                    <a:pt x="4" y="751"/>
                    <a:pt x="6" y="749"/>
                    <a:pt x="9" y="749"/>
                  </a:cubicBezTo>
                  <a:lnTo>
                    <a:pt x="66" y="749"/>
                  </a:lnTo>
                  <a:lnTo>
                    <a:pt x="103" y="717"/>
                  </a:lnTo>
                  <a:cubicBezTo>
                    <a:pt x="104" y="716"/>
                    <a:pt x="105" y="715"/>
                    <a:pt x="106" y="715"/>
                  </a:cubicBezTo>
                  <a:lnTo>
                    <a:pt x="282" y="715"/>
                  </a:lnTo>
                  <a:lnTo>
                    <a:pt x="318" y="671"/>
                  </a:lnTo>
                  <a:lnTo>
                    <a:pt x="338" y="658"/>
                  </a:lnTo>
                  <a:lnTo>
                    <a:pt x="338" y="386"/>
                  </a:lnTo>
                  <a:cubicBezTo>
                    <a:pt x="338" y="384"/>
                    <a:pt x="340" y="382"/>
                    <a:pt x="342" y="381"/>
                  </a:cubicBezTo>
                  <a:lnTo>
                    <a:pt x="469" y="352"/>
                  </a:lnTo>
                  <a:lnTo>
                    <a:pt x="654" y="213"/>
                  </a:lnTo>
                  <a:lnTo>
                    <a:pt x="976" y="1"/>
                  </a:lnTo>
                  <a:lnTo>
                    <a:pt x="1157" y="0"/>
                  </a:lnTo>
                  <a:lnTo>
                    <a:pt x="1225" y="50"/>
                  </a:lnTo>
                  <a:lnTo>
                    <a:pt x="1252" y="39"/>
                  </a:lnTo>
                  <a:cubicBezTo>
                    <a:pt x="1253" y="39"/>
                    <a:pt x="1253" y="38"/>
                    <a:pt x="1254" y="38"/>
                  </a:cubicBezTo>
                  <a:cubicBezTo>
                    <a:pt x="1255" y="38"/>
                    <a:pt x="1256" y="39"/>
                    <a:pt x="1256" y="39"/>
                  </a:cubicBezTo>
                  <a:cubicBezTo>
                    <a:pt x="1258" y="40"/>
                    <a:pt x="1259" y="41"/>
                    <a:pt x="1259" y="43"/>
                  </a:cubicBezTo>
                  <a:lnTo>
                    <a:pt x="1259" y="187"/>
                  </a:lnTo>
                  <a:lnTo>
                    <a:pt x="1284" y="236"/>
                  </a:lnTo>
                  <a:lnTo>
                    <a:pt x="1337" y="272"/>
                  </a:lnTo>
                  <a:cubicBezTo>
                    <a:pt x="1339" y="273"/>
                    <a:pt x="1340" y="276"/>
                    <a:pt x="1338" y="278"/>
                  </a:cubicBezTo>
                  <a:lnTo>
                    <a:pt x="1313" y="316"/>
                  </a:lnTo>
                  <a:lnTo>
                    <a:pt x="1297" y="437"/>
                  </a:lnTo>
                  <a:lnTo>
                    <a:pt x="1284" y="581"/>
                  </a:lnTo>
                  <a:lnTo>
                    <a:pt x="1139" y="744"/>
                  </a:lnTo>
                  <a:lnTo>
                    <a:pt x="1120" y="801"/>
                  </a:lnTo>
                  <a:lnTo>
                    <a:pt x="1132" y="804"/>
                  </a:lnTo>
                  <a:cubicBezTo>
                    <a:pt x="1134" y="805"/>
                    <a:pt x="1136" y="807"/>
                    <a:pt x="1136" y="809"/>
                  </a:cubicBezTo>
                  <a:cubicBezTo>
                    <a:pt x="1135" y="812"/>
                    <a:pt x="1133" y="814"/>
                    <a:pt x="1131" y="814"/>
                  </a:cubicBezTo>
                  <a:lnTo>
                    <a:pt x="1100" y="814"/>
                  </a:lnTo>
                  <a:lnTo>
                    <a:pt x="1090" y="827"/>
                  </a:lnTo>
                  <a:lnTo>
                    <a:pt x="1097" y="850"/>
                  </a:lnTo>
                  <a:lnTo>
                    <a:pt x="1089" y="874"/>
                  </a:lnTo>
                  <a:lnTo>
                    <a:pt x="1028" y="910"/>
                  </a:lnTo>
                  <a:cubicBezTo>
                    <a:pt x="1027" y="911"/>
                    <a:pt x="1026" y="911"/>
                    <a:pt x="1025" y="911"/>
                  </a:cubicBezTo>
                  <a:lnTo>
                    <a:pt x="1024" y="911"/>
                  </a:lnTo>
                  <a:lnTo>
                    <a:pt x="965" y="894"/>
                  </a:lnTo>
                  <a:lnTo>
                    <a:pt x="856" y="898"/>
                  </a:lnTo>
                  <a:lnTo>
                    <a:pt x="778" y="948"/>
                  </a:lnTo>
                  <a:cubicBezTo>
                    <a:pt x="777" y="949"/>
                    <a:pt x="776" y="949"/>
                    <a:pt x="775" y="949"/>
                  </a:cubicBezTo>
                  <a:lnTo>
                    <a:pt x="775" y="949"/>
                  </a:lnTo>
                  <a:lnTo>
                    <a:pt x="715" y="936"/>
                  </a:lnTo>
                  <a:lnTo>
                    <a:pt x="660" y="899"/>
                  </a:lnTo>
                  <a:lnTo>
                    <a:pt x="578" y="932"/>
                  </a:lnTo>
                  <a:cubicBezTo>
                    <a:pt x="577" y="932"/>
                    <a:pt x="577" y="932"/>
                    <a:pt x="576" y="932"/>
                  </a:cubicBezTo>
                  <a:cubicBezTo>
                    <a:pt x="575" y="932"/>
                    <a:pt x="574" y="932"/>
                    <a:pt x="574" y="931"/>
                  </a:cubicBezTo>
                  <a:lnTo>
                    <a:pt x="469" y="856"/>
                  </a:lnTo>
                  <a:lnTo>
                    <a:pt x="403" y="864"/>
                  </a:lnTo>
                  <a:lnTo>
                    <a:pt x="347" y="888"/>
                  </a:lnTo>
                  <a:lnTo>
                    <a:pt x="331" y="937"/>
                  </a:lnTo>
                  <a:lnTo>
                    <a:pt x="297" y="972"/>
                  </a:lnTo>
                  <a:lnTo>
                    <a:pt x="297" y="1033"/>
                  </a:lnTo>
                  <a:cubicBezTo>
                    <a:pt x="297" y="1035"/>
                    <a:pt x="296" y="1037"/>
                    <a:pt x="294" y="1037"/>
                  </a:cubicBezTo>
                  <a:cubicBezTo>
                    <a:pt x="294" y="1038"/>
                    <a:pt x="293" y="1038"/>
                    <a:pt x="292" y="1038"/>
                  </a:cubicBezTo>
                  <a:cubicBezTo>
                    <a:pt x="291" y="1038"/>
                    <a:pt x="290" y="1037"/>
                    <a:pt x="289" y="103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4" name="Freeform 209"/>
            <p:cNvSpPr>
              <a:spLocks noChangeArrowheads="1"/>
            </p:cNvSpPr>
            <p:nvPr/>
          </p:nvSpPr>
          <p:spPr bwMode="auto">
            <a:xfrm>
              <a:off x="4241800" y="3016250"/>
              <a:ext cx="482600" cy="374650"/>
            </a:xfrm>
            <a:custGeom>
              <a:avLst/>
              <a:gdLst/>
              <a:ahLst/>
              <a:cxnLst>
                <a:cxn ang="0">
                  <a:pos x="289" y="1036"/>
                </a:cxn>
                <a:cxn ang="0">
                  <a:pos x="201" y="989"/>
                </a:cxn>
                <a:cxn ang="0">
                  <a:pos x="205" y="1012"/>
                </a:cxn>
                <a:cxn ang="0">
                  <a:pos x="195" y="1017"/>
                </a:cxn>
                <a:cxn ang="0">
                  <a:pos x="170" y="990"/>
                </a:cxn>
                <a:cxn ang="0">
                  <a:pos x="177" y="969"/>
                </a:cxn>
                <a:cxn ang="0">
                  <a:pos x="110" y="949"/>
                </a:cxn>
                <a:cxn ang="0">
                  <a:pos x="22" y="841"/>
                </a:cxn>
                <a:cxn ang="0">
                  <a:pos x="4" y="753"/>
                </a:cxn>
                <a:cxn ang="0">
                  <a:pos x="66" y="749"/>
                </a:cxn>
                <a:cxn ang="0">
                  <a:pos x="106" y="715"/>
                </a:cxn>
                <a:cxn ang="0">
                  <a:pos x="318" y="671"/>
                </a:cxn>
                <a:cxn ang="0">
                  <a:pos x="338" y="386"/>
                </a:cxn>
                <a:cxn ang="0">
                  <a:pos x="469" y="352"/>
                </a:cxn>
                <a:cxn ang="0">
                  <a:pos x="976" y="1"/>
                </a:cxn>
                <a:cxn ang="0">
                  <a:pos x="1225" y="50"/>
                </a:cxn>
                <a:cxn ang="0">
                  <a:pos x="1254" y="38"/>
                </a:cxn>
                <a:cxn ang="0">
                  <a:pos x="1259" y="43"/>
                </a:cxn>
                <a:cxn ang="0">
                  <a:pos x="1284" y="236"/>
                </a:cxn>
                <a:cxn ang="0">
                  <a:pos x="1338" y="278"/>
                </a:cxn>
                <a:cxn ang="0">
                  <a:pos x="1297" y="437"/>
                </a:cxn>
                <a:cxn ang="0">
                  <a:pos x="1139" y="744"/>
                </a:cxn>
                <a:cxn ang="0">
                  <a:pos x="1132" y="804"/>
                </a:cxn>
                <a:cxn ang="0">
                  <a:pos x="1131" y="814"/>
                </a:cxn>
                <a:cxn ang="0">
                  <a:pos x="1090" y="827"/>
                </a:cxn>
                <a:cxn ang="0">
                  <a:pos x="1089" y="874"/>
                </a:cxn>
                <a:cxn ang="0">
                  <a:pos x="1025" y="911"/>
                </a:cxn>
                <a:cxn ang="0">
                  <a:pos x="965" y="894"/>
                </a:cxn>
                <a:cxn ang="0">
                  <a:pos x="778" y="948"/>
                </a:cxn>
                <a:cxn ang="0">
                  <a:pos x="775" y="949"/>
                </a:cxn>
                <a:cxn ang="0">
                  <a:pos x="660" y="899"/>
                </a:cxn>
                <a:cxn ang="0">
                  <a:pos x="576" y="932"/>
                </a:cxn>
                <a:cxn ang="0">
                  <a:pos x="469" y="856"/>
                </a:cxn>
                <a:cxn ang="0">
                  <a:pos x="347" y="888"/>
                </a:cxn>
                <a:cxn ang="0">
                  <a:pos x="297" y="972"/>
                </a:cxn>
                <a:cxn ang="0">
                  <a:pos x="294" y="1037"/>
                </a:cxn>
              </a:cxnLst>
              <a:rect l="0" t="0" r="r" b="b"/>
              <a:pathLst>
                <a:path w="1341" h="1039">
                  <a:moveTo>
                    <a:pt x="292" y="1038"/>
                  </a:moveTo>
                  <a:cubicBezTo>
                    <a:pt x="291" y="1038"/>
                    <a:pt x="290" y="1037"/>
                    <a:pt x="289" y="1036"/>
                  </a:cubicBezTo>
                  <a:lnTo>
                    <a:pt x="232" y="979"/>
                  </a:lnTo>
                  <a:lnTo>
                    <a:pt x="201" y="989"/>
                  </a:lnTo>
                  <a:lnTo>
                    <a:pt x="208" y="1006"/>
                  </a:lnTo>
                  <a:cubicBezTo>
                    <a:pt x="209" y="1008"/>
                    <a:pt x="208" y="1011"/>
                    <a:pt x="205" y="1012"/>
                  </a:cubicBezTo>
                  <a:lnTo>
                    <a:pt x="197" y="1016"/>
                  </a:lnTo>
                  <a:cubicBezTo>
                    <a:pt x="196" y="1017"/>
                    <a:pt x="196" y="1017"/>
                    <a:pt x="195" y="1017"/>
                  </a:cubicBezTo>
                  <a:cubicBezTo>
                    <a:pt x="194" y="1017"/>
                    <a:pt x="192" y="1016"/>
                    <a:pt x="191" y="1015"/>
                  </a:cubicBezTo>
                  <a:lnTo>
                    <a:pt x="170" y="990"/>
                  </a:lnTo>
                  <a:cubicBezTo>
                    <a:pt x="169" y="988"/>
                    <a:pt x="169" y="986"/>
                    <a:pt x="170" y="984"/>
                  </a:cubicBezTo>
                  <a:lnTo>
                    <a:pt x="177" y="969"/>
                  </a:lnTo>
                  <a:lnTo>
                    <a:pt x="170" y="953"/>
                  </a:lnTo>
                  <a:lnTo>
                    <a:pt x="110" y="949"/>
                  </a:lnTo>
                  <a:cubicBezTo>
                    <a:pt x="108" y="949"/>
                    <a:pt x="107" y="948"/>
                    <a:pt x="106" y="947"/>
                  </a:cubicBezTo>
                  <a:lnTo>
                    <a:pt x="22" y="841"/>
                  </a:lnTo>
                  <a:lnTo>
                    <a:pt x="0" y="789"/>
                  </a:lnTo>
                  <a:lnTo>
                    <a:pt x="4" y="753"/>
                  </a:lnTo>
                  <a:cubicBezTo>
                    <a:pt x="4" y="751"/>
                    <a:pt x="6" y="749"/>
                    <a:pt x="9" y="749"/>
                  </a:cubicBezTo>
                  <a:lnTo>
                    <a:pt x="66" y="749"/>
                  </a:lnTo>
                  <a:lnTo>
                    <a:pt x="103" y="717"/>
                  </a:lnTo>
                  <a:cubicBezTo>
                    <a:pt x="104" y="716"/>
                    <a:pt x="105" y="715"/>
                    <a:pt x="106" y="715"/>
                  </a:cubicBezTo>
                  <a:lnTo>
                    <a:pt x="282" y="715"/>
                  </a:lnTo>
                  <a:lnTo>
                    <a:pt x="318" y="671"/>
                  </a:lnTo>
                  <a:lnTo>
                    <a:pt x="338" y="658"/>
                  </a:lnTo>
                  <a:lnTo>
                    <a:pt x="338" y="386"/>
                  </a:lnTo>
                  <a:cubicBezTo>
                    <a:pt x="338" y="384"/>
                    <a:pt x="340" y="382"/>
                    <a:pt x="342" y="381"/>
                  </a:cubicBezTo>
                  <a:lnTo>
                    <a:pt x="469" y="352"/>
                  </a:lnTo>
                  <a:lnTo>
                    <a:pt x="654" y="213"/>
                  </a:lnTo>
                  <a:lnTo>
                    <a:pt x="976" y="1"/>
                  </a:lnTo>
                  <a:lnTo>
                    <a:pt x="1157" y="0"/>
                  </a:lnTo>
                  <a:lnTo>
                    <a:pt x="1225" y="50"/>
                  </a:lnTo>
                  <a:lnTo>
                    <a:pt x="1252" y="39"/>
                  </a:lnTo>
                  <a:cubicBezTo>
                    <a:pt x="1253" y="39"/>
                    <a:pt x="1253" y="38"/>
                    <a:pt x="1254" y="38"/>
                  </a:cubicBezTo>
                  <a:cubicBezTo>
                    <a:pt x="1255" y="38"/>
                    <a:pt x="1256" y="39"/>
                    <a:pt x="1256" y="39"/>
                  </a:cubicBezTo>
                  <a:cubicBezTo>
                    <a:pt x="1258" y="40"/>
                    <a:pt x="1259" y="41"/>
                    <a:pt x="1259" y="43"/>
                  </a:cubicBezTo>
                  <a:lnTo>
                    <a:pt x="1259" y="187"/>
                  </a:lnTo>
                  <a:lnTo>
                    <a:pt x="1284" y="236"/>
                  </a:lnTo>
                  <a:lnTo>
                    <a:pt x="1337" y="272"/>
                  </a:lnTo>
                  <a:cubicBezTo>
                    <a:pt x="1339" y="273"/>
                    <a:pt x="1340" y="276"/>
                    <a:pt x="1338" y="278"/>
                  </a:cubicBezTo>
                  <a:lnTo>
                    <a:pt x="1313" y="316"/>
                  </a:lnTo>
                  <a:lnTo>
                    <a:pt x="1297" y="437"/>
                  </a:lnTo>
                  <a:lnTo>
                    <a:pt x="1284" y="581"/>
                  </a:lnTo>
                  <a:lnTo>
                    <a:pt x="1139" y="744"/>
                  </a:lnTo>
                  <a:lnTo>
                    <a:pt x="1120" y="801"/>
                  </a:lnTo>
                  <a:lnTo>
                    <a:pt x="1132" y="804"/>
                  </a:lnTo>
                  <a:cubicBezTo>
                    <a:pt x="1134" y="805"/>
                    <a:pt x="1136" y="807"/>
                    <a:pt x="1136" y="809"/>
                  </a:cubicBezTo>
                  <a:cubicBezTo>
                    <a:pt x="1135" y="812"/>
                    <a:pt x="1133" y="814"/>
                    <a:pt x="1131" y="814"/>
                  </a:cubicBezTo>
                  <a:lnTo>
                    <a:pt x="1100" y="814"/>
                  </a:lnTo>
                  <a:lnTo>
                    <a:pt x="1090" y="827"/>
                  </a:lnTo>
                  <a:lnTo>
                    <a:pt x="1097" y="850"/>
                  </a:lnTo>
                  <a:lnTo>
                    <a:pt x="1089" y="874"/>
                  </a:lnTo>
                  <a:lnTo>
                    <a:pt x="1028" y="910"/>
                  </a:lnTo>
                  <a:cubicBezTo>
                    <a:pt x="1027" y="911"/>
                    <a:pt x="1026" y="911"/>
                    <a:pt x="1025" y="911"/>
                  </a:cubicBezTo>
                  <a:lnTo>
                    <a:pt x="1024" y="911"/>
                  </a:lnTo>
                  <a:lnTo>
                    <a:pt x="965" y="894"/>
                  </a:lnTo>
                  <a:lnTo>
                    <a:pt x="856" y="898"/>
                  </a:lnTo>
                  <a:lnTo>
                    <a:pt x="778" y="948"/>
                  </a:lnTo>
                  <a:cubicBezTo>
                    <a:pt x="777" y="949"/>
                    <a:pt x="776" y="949"/>
                    <a:pt x="775" y="949"/>
                  </a:cubicBezTo>
                  <a:lnTo>
                    <a:pt x="775" y="949"/>
                  </a:lnTo>
                  <a:lnTo>
                    <a:pt x="715" y="936"/>
                  </a:lnTo>
                  <a:lnTo>
                    <a:pt x="660" y="899"/>
                  </a:lnTo>
                  <a:lnTo>
                    <a:pt x="578" y="932"/>
                  </a:lnTo>
                  <a:cubicBezTo>
                    <a:pt x="577" y="932"/>
                    <a:pt x="577" y="932"/>
                    <a:pt x="576" y="932"/>
                  </a:cubicBezTo>
                  <a:cubicBezTo>
                    <a:pt x="575" y="932"/>
                    <a:pt x="574" y="932"/>
                    <a:pt x="574" y="931"/>
                  </a:cubicBezTo>
                  <a:lnTo>
                    <a:pt x="469" y="856"/>
                  </a:lnTo>
                  <a:lnTo>
                    <a:pt x="403" y="864"/>
                  </a:lnTo>
                  <a:lnTo>
                    <a:pt x="347" y="888"/>
                  </a:lnTo>
                  <a:lnTo>
                    <a:pt x="331" y="937"/>
                  </a:lnTo>
                  <a:lnTo>
                    <a:pt x="297" y="972"/>
                  </a:lnTo>
                  <a:lnTo>
                    <a:pt x="297" y="1033"/>
                  </a:lnTo>
                  <a:cubicBezTo>
                    <a:pt x="297" y="1035"/>
                    <a:pt x="296" y="1037"/>
                    <a:pt x="294" y="1037"/>
                  </a:cubicBezTo>
                  <a:cubicBezTo>
                    <a:pt x="294" y="1038"/>
                    <a:pt x="293" y="1038"/>
                    <a:pt x="292" y="103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5" name="Freeform 210"/>
            <p:cNvSpPr>
              <a:spLocks noChangeArrowheads="1"/>
            </p:cNvSpPr>
            <p:nvPr/>
          </p:nvSpPr>
          <p:spPr bwMode="auto">
            <a:xfrm>
              <a:off x="4324350" y="3321050"/>
              <a:ext cx="352425" cy="296863"/>
            </a:xfrm>
            <a:custGeom>
              <a:avLst/>
              <a:gdLst/>
              <a:ahLst/>
              <a:cxnLst>
                <a:cxn ang="0">
                  <a:pos x="222" y="770"/>
                </a:cxn>
                <a:cxn ang="0">
                  <a:pos x="221" y="718"/>
                </a:cxn>
                <a:cxn ang="0">
                  <a:pos x="171" y="660"/>
                </a:cxn>
                <a:cxn ang="0">
                  <a:pos x="5" y="644"/>
                </a:cxn>
                <a:cxn ang="0">
                  <a:pos x="0" y="640"/>
                </a:cxn>
                <a:cxn ang="0">
                  <a:pos x="30" y="363"/>
                </a:cxn>
                <a:cxn ang="0">
                  <a:pos x="60" y="301"/>
                </a:cxn>
                <a:cxn ang="0">
                  <a:pos x="76" y="290"/>
                </a:cxn>
                <a:cxn ang="0">
                  <a:pos x="56" y="215"/>
                </a:cxn>
                <a:cxn ang="0">
                  <a:pos x="60" y="186"/>
                </a:cxn>
                <a:cxn ang="0">
                  <a:pos x="61" y="120"/>
                </a:cxn>
                <a:cxn ang="0">
                  <a:pos x="111" y="37"/>
                </a:cxn>
                <a:cxn ang="0">
                  <a:pos x="173" y="9"/>
                </a:cxn>
                <a:cxn ang="0">
                  <a:pos x="245" y="1"/>
                </a:cxn>
                <a:cxn ang="0">
                  <a:pos x="431" y="43"/>
                </a:cxn>
                <a:cxn ang="0">
                  <a:pos x="436" y="44"/>
                </a:cxn>
                <a:cxn ang="0">
                  <a:pos x="546" y="93"/>
                </a:cxn>
                <a:cxn ang="0">
                  <a:pos x="738" y="38"/>
                </a:cxn>
                <a:cxn ang="0">
                  <a:pos x="854" y="22"/>
                </a:cxn>
                <a:cxn ang="0">
                  <a:pos x="864" y="0"/>
                </a:cxn>
                <a:cxn ang="0">
                  <a:pos x="869" y="2"/>
                </a:cxn>
                <a:cxn ang="0">
                  <a:pos x="974" y="141"/>
                </a:cxn>
                <a:cxn ang="0">
                  <a:pos x="976" y="187"/>
                </a:cxn>
                <a:cxn ang="0">
                  <a:pos x="898" y="254"/>
                </a:cxn>
                <a:cxn ang="0">
                  <a:pos x="796" y="466"/>
                </a:cxn>
                <a:cxn ang="0">
                  <a:pos x="726" y="623"/>
                </a:cxn>
                <a:cxn ang="0">
                  <a:pos x="691" y="632"/>
                </a:cxn>
                <a:cxn ang="0">
                  <a:pos x="647" y="594"/>
                </a:cxn>
                <a:cxn ang="0">
                  <a:pos x="509" y="680"/>
                </a:cxn>
                <a:cxn ang="0">
                  <a:pos x="472" y="780"/>
                </a:cxn>
                <a:cxn ang="0">
                  <a:pos x="468" y="778"/>
                </a:cxn>
                <a:cxn ang="0">
                  <a:pos x="450" y="798"/>
                </a:cxn>
                <a:cxn ang="0">
                  <a:pos x="363" y="785"/>
                </a:cxn>
                <a:cxn ang="0">
                  <a:pos x="290" y="822"/>
                </a:cxn>
                <a:cxn ang="0">
                  <a:pos x="286" y="821"/>
                </a:cxn>
              </a:cxnLst>
              <a:rect l="0" t="0" r="r" b="b"/>
              <a:pathLst>
                <a:path w="977" h="823">
                  <a:moveTo>
                    <a:pt x="286" y="821"/>
                  </a:moveTo>
                  <a:lnTo>
                    <a:pt x="222" y="770"/>
                  </a:lnTo>
                  <a:cubicBezTo>
                    <a:pt x="221" y="770"/>
                    <a:pt x="221" y="768"/>
                    <a:pt x="221" y="767"/>
                  </a:cubicBezTo>
                  <a:lnTo>
                    <a:pt x="221" y="718"/>
                  </a:lnTo>
                  <a:lnTo>
                    <a:pt x="184" y="686"/>
                  </a:lnTo>
                  <a:lnTo>
                    <a:pt x="171" y="660"/>
                  </a:lnTo>
                  <a:lnTo>
                    <a:pt x="122" y="640"/>
                  </a:lnTo>
                  <a:lnTo>
                    <a:pt x="5" y="644"/>
                  </a:lnTo>
                  <a:cubicBezTo>
                    <a:pt x="4" y="644"/>
                    <a:pt x="3" y="644"/>
                    <a:pt x="2" y="643"/>
                  </a:cubicBezTo>
                  <a:cubicBezTo>
                    <a:pt x="1" y="642"/>
                    <a:pt x="0" y="641"/>
                    <a:pt x="0" y="640"/>
                  </a:cubicBezTo>
                  <a:lnTo>
                    <a:pt x="0" y="458"/>
                  </a:lnTo>
                  <a:lnTo>
                    <a:pt x="30" y="363"/>
                  </a:lnTo>
                  <a:lnTo>
                    <a:pt x="60" y="333"/>
                  </a:lnTo>
                  <a:lnTo>
                    <a:pt x="60" y="301"/>
                  </a:lnTo>
                  <a:cubicBezTo>
                    <a:pt x="60" y="300"/>
                    <a:pt x="61" y="298"/>
                    <a:pt x="62" y="297"/>
                  </a:cubicBezTo>
                  <a:lnTo>
                    <a:pt x="76" y="290"/>
                  </a:lnTo>
                  <a:lnTo>
                    <a:pt x="72" y="238"/>
                  </a:lnTo>
                  <a:lnTo>
                    <a:pt x="56" y="215"/>
                  </a:lnTo>
                  <a:cubicBezTo>
                    <a:pt x="56" y="214"/>
                    <a:pt x="55" y="213"/>
                    <a:pt x="55" y="212"/>
                  </a:cubicBezTo>
                  <a:lnTo>
                    <a:pt x="60" y="186"/>
                  </a:lnTo>
                  <a:lnTo>
                    <a:pt x="60" y="124"/>
                  </a:lnTo>
                  <a:cubicBezTo>
                    <a:pt x="60" y="122"/>
                    <a:pt x="60" y="121"/>
                    <a:pt x="61" y="120"/>
                  </a:cubicBezTo>
                  <a:lnTo>
                    <a:pt x="95" y="86"/>
                  </a:lnTo>
                  <a:lnTo>
                    <a:pt x="111" y="37"/>
                  </a:lnTo>
                  <a:cubicBezTo>
                    <a:pt x="111" y="36"/>
                    <a:pt x="112" y="35"/>
                    <a:pt x="113" y="35"/>
                  </a:cubicBezTo>
                  <a:lnTo>
                    <a:pt x="173" y="9"/>
                  </a:lnTo>
                  <a:lnTo>
                    <a:pt x="242" y="0"/>
                  </a:lnTo>
                  <a:cubicBezTo>
                    <a:pt x="243" y="0"/>
                    <a:pt x="244" y="1"/>
                    <a:pt x="245" y="1"/>
                  </a:cubicBezTo>
                  <a:lnTo>
                    <a:pt x="349" y="76"/>
                  </a:lnTo>
                  <a:lnTo>
                    <a:pt x="431" y="43"/>
                  </a:lnTo>
                  <a:cubicBezTo>
                    <a:pt x="432" y="43"/>
                    <a:pt x="432" y="43"/>
                    <a:pt x="433" y="43"/>
                  </a:cubicBezTo>
                  <a:cubicBezTo>
                    <a:pt x="434" y="43"/>
                    <a:pt x="435" y="43"/>
                    <a:pt x="436" y="44"/>
                  </a:cubicBezTo>
                  <a:lnTo>
                    <a:pt x="491" y="82"/>
                  </a:lnTo>
                  <a:lnTo>
                    <a:pt x="546" y="93"/>
                  </a:lnTo>
                  <a:lnTo>
                    <a:pt x="625" y="43"/>
                  </a:lnTo>
                  <a:lnTo>
                    <a:pt x="738" y="38"/>
                  </a:lnTo>
                  <a:lnTo>
                    <a:pt x="797" y="55"/>
                  </a:lnTo>
                  <a:lnTo>
                    <a:pt x="854" y="22"/>
                  </a:lnTo>
                  <a:lnTo>
                    <a:pt x="861" y="3"/>
                  </a:lnTo>
                  <a:cubicBezTo>
                    <a:pt x="861" y="2"/>
                    <a:pt x="863" y="1"/>
                    <a:pt x="864" y="0"/>
                  </a:cubicBezTo>
                  <a:lnTo>
                    <a:pt x="865" y="0"/>
                  </a:lnTo>
                  <a:cubicBezTo>
                    <a:pt x="866" y="0"/>
                    <a:pt x="868" y="1"/>
                    <a:pt x="869" y="2"/>
                  </a:cubicBezTo>
                  <a:lnTo>
                    <a:pt x="949" y="117"/>
                  </a:lnTo>
                  <a:lnTo>
                    <a:pt x="974" y="141"/>
                  </a:lnTo>
                  <a:cubicBezTo>
                    <a:pt x="975" y="142"/>
                    <a:pt x="976" y="143"/>
                    <a:pt x="976" y="145"/>
                  </a:cubicBezTo>
                  <a:lnTo>
                    <a:pt x="976" y="187"/>
                  </a:lnTo>
                  <a:cubicBezTo>
                    <a:pt x="976" y="188"/>
                    <a:pt x="975" y="190"/>
                    <a:pt x="974" y="191"/>
                  </a:cubicBezTo>
                  <a:lnTo>
                    <a:pt x="898" y="254"/>
                  </a:lnTo>
                  <a:lnTo>
                    <a:pt x="840" y="426"/>
                  </a:lnTo>
                  <a:lnTo>
                    <a:pt x="796" y="466"/>
                  </a:lnTo>
                  <a:lnTo>
                    <a:pt x="729" y="620"/>
                  </a:lnTo>
                  <a:cubicBezTo>
                    <a:pt x="729" y="622"/>
                    <a:pt x="728" y="623"/>
                    <a:pt x="726" y="623"/>
                  </a:cubicBezTo>
                  <a:lnTo>
                    <a:pt x="692" y="632"/>
                  </a:lnTo>
                  <a:cubicBezTo>
                    <a:pt x="692" y="632"/>
                    <a:pt x="692" y="632"/>
                    <a:pt x="691" y="632"/>
                  </a:cubicBezTo>
                  <a:cubicBezTo>
                    <a:pt x="690" y="632"/>
                    <a:pt x="689" y="631"/>
                    <a:pt x="688" y="630"/>
                  </a:cubicBezTo>
                  <a:lnTo>
                    <a:pt x="647" y="594"/>
                  </a:lnTo>
                  <a:lnTo>
                    <a:pt x="567" y="598"/>
                  </a:lnTo>
                  <a:lnTo>
                    <a:pt x="509" y="680"/>
                  </a:lnTo>
                  <a:lnTo>
                    <a:pt x="475" y="777"/>
                  </a:lnTo>
                  <a:cubicBezTo>
                    <a:pt x="475" y="778"/>
                    <a:pt x="474" y="779"/>
                    <a:pt x="472" y="780"/>
                  </a:cubicBezTo>
                  <a:lnTo>
                    <a:pt x="471" y="780"/>
                  </a:lnTo>
                  <a:cubicBezTo>
                    <a:pt x="470" y="780"/>
                    <a:pt x="468" y="779"/>
                    <a:pt x="468" y="778"/>
                  </a:cubicBezTo>
                  <a:lnTo>
                    <a:pt x="460" y="771"/>
                  </a:lnTo>
                  <a:lnTo>
                    <a:pt x="450" y="798"/>
                  </a:lnTo>
                  <a:cubicBezTo>
                    <a:pt x="449" y="800"/>
                    <a:pt x="447" y="801"/>
                    <a:pt x="445" y="801"/>
                  </a:cubicBezTo>
                  <a:lnTo>
                    <a:pt x="363" y="785"/>
                  </a:lnTo>
                  <a:lnTo>
                    <a:pt x="348" y="803"/>
                  </a:lnTo>
                  <a:lnTo>
                    <a:pt x="290" y="822"/>
                  </a:lnTo>
                  <a:lnTo>
                    <a:pt x="289" y="822"/>
                  </a:lnTo>
                  <a:cubicBezTo>
                    <a:pt x="288" y="822"/>
                    <a:pt x="287" y="822"/>
                    <a:pt x="286" y="82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6" name="Freeform 211"/>
            <p:cNvSpPr>
              <a:spLocks noChangeArrowheads="1"/>
            </p:cNvSpPr>
            <p:nvPr/>
          </p:nvSpPr>
          <p:spPr bwMode="auto">
            <a:xfrm>
              <a:off x="4324350" y="3321050"/>
              <a:ext cx="352425" cy="296863"/>
            </a:xfrm>
            <a:custGeom>
              <a:avLst/>
              <a:gdLst/>
              <a:ahLst/>
              <a:cxnLst>
                <a:cxn ang="0">
                  <a:pos x="286" y="821"/>
                </a:cxn>
                <a:cxn ang="0">
                  <a:pos x="221" y="767"/>
                </a:cxn>
                <a:cxn ang="0">
                  <a:pos x="184" y="686"/>
                </a:cxn>
                <a:cxn ang="0">
                  <a:pos x="122" y="640"/>
                </a:cxn>
                <a:cxn ang="0">
                  <a:pos x="2" y="643"/>
                </a:cxn>
                <a:cxn ang="0">
                  <a:pos x="0" y="458"/>
                </a:cxn>
                <a:cxn ang="0">
                  <a:pos x="60" y="333"/>
                </a:cxn>
                <a:cxn ang="0">
                  <a:pos x="62" y="297"/>
                </a:cxn>
                <a:cxn ang="0">
                  <a:pos x="72" y="238"/>
                </a:cxn>
                <a:cxn ang="0">
                  <a:pos x="55" y="212"/>
                </a:cxn>
                <a:cxn ang="0">
                  <a:pos x="60" y="124"/>
                </a:cxn>
                <a:cxn ang="0">
                  <a:pos x="95" y="86"/>
                </a:cxn>
                <a:cxn ang="0">
                  <a:pos x="113" y="35"/>
                </a:cxn>
                <a:cxn ang="0">
                  <a:pos x="242" y="0"/>
                </a:cxn>
                <a:cxn ang="0">
                  <a:pos x="349" y="76"/>
                </a:cxn>
                <a:cxn ang="0">
                  <a:pos x="433" y="43"/>
                </a:cxn>
                <a:cxn ang="0">
                  <a:pos x="491" y="82"/>
                </a:cxn>
                <a:cxn ang="0">
                  <a:pos x="625" y="43"/>
                </a:cxn>
                <a:cxn ang="0">
                  <a:pos x="797" y="55"/>
                </a:cxn>
                <a:cxn ang="0">
                  <a:pos x="861" y="3"/>
                </a:cxn>
                <a:cxn ang="0">
                  <a:pos x="865" y="0"/>
                </a:cxn>
                <a:cxn ang="0">
                  <a:pos x="949" y="117"/>
                </a:cxn>
                <a:cxn ang="0">
                  <a:pos x="976" y="145"/>
                </a:cxn>
                <a:cxn ang="0">
                  <a:pos x="974" y="191"/>
                </a:cxn>
                <a:cxn ang="0">
                  <a:pos x="840" y="426"/>
                </a:cxn>
                <a:cxn ang="0">
                  <a:pos x="729" y="620"/>
                </a:cxn>
                <a:cxn ang="0">
                  <a:pos x="692" y="632"/>
                </a:cxn>
                <a:cxn ang="0">
                  <a:pos x="688" y="630"/>
                </a:cxn>
                <a:cxn ang="0">
                  <a:pos x="567" y="598"/>
                </a:cxn>
                <a:cxn ang="0">
                  <a:pos x="475" y="777"/>
                </a:cxn>
                <a:cxn ang="0">
                  <a:pos x="471" y="780"/>
                </a:cxn>
                <a:cxn ang="0">
                  <a:pos x="460" y="771"/>
                </a:cxn>
                <a:cxn ang="0">
                  <a:pos x="445" y="801"/>
                </a:cxn>
                <a:cxn ang="0">
                  <a:pos x="348" y="803"/>
                </a:cxn>
                <a:cxn ang="0">
                  <a:pos x="289" y="822"/>
                </a:cxn>
              </a:cxnLst>
              <a:rect l="0" t="0" r="r" b="b"/>
              <a:pathLst>
                <a:path w="977" h="823">
                  <a:moveTo>
                    <a:pt x="289" y="822"/>
                  </a:moveTo>
                  <a:cubicBezTo>
                    <a:pt x="288" y="822"/>
                    <a:pt x="287" y="822"/>
                    <a:pt x="286" y="821"/>
                  </a:cubicBezTo>
                  <a:lnTo>
                    <a:pt x="222" y="770"/>
                  </a:lnTo>
                  <a:cubicBezTo>
                    <a:pt x="221" y="770"/>
                    <a:pt x="221" y="768"/>
                    <a:pt x="221" y="767"/>
                  </a:cubicBezTo>
                  <a:lnTo>
                    <a:pt x="221" y="718"/>
                  </a:lnTo>
                  <a:lnTo>
                    <a:pt x="184" y="686"/>
                  </a:lnTo>
                  <a:lnTo>
                    <a:pt x="171" y="660"/>
                  </a:lnTo>
                  <a:lnTo>
                    <a:pt x="122" y="640"/>
                  </a:lnTo>
                  <a:lnTo>
                    <a:pt x="5" y="644"/>
                  </a:lnTo>
                  <a:cubicBezTo>
                    <a:pt x="4" y="644"/>
                    <a:pt x="3" y="644"/>
                    <a:pt x="2" y="643"/>
                  </a:cubicBezTo>
                  <a:cubicBezTo>
                    <a:pt x="1" y="642"/>
                    <a:pt x="0" y="641"/>
                    <a:pt x="0" y="640"/>
                  </a:cubicBezTo>
                  <a:lnTo>
                    <a:pt x="0" y="458"/>
                  </a:lnTo>
                  <a:lnTo>
                    <a:pt x="30" y="363"/>
                  </a:lnTo>
                  <a:lnTo>
                    <a:pt x="60" y="333"/>
                  </a:lnTo>
                  <a:lnTo>
                    <a:pt x="60" y="301"/>
                  </a:lnTo>
                  <a:cubicBezTo>
                    <a:pt x="60" y="300"/>
                    <a:pt x="61" y="298"/>
                    <a:pt x="62" y="297"/>
                  </a:cubicBezTo>
                  <a:lnTo>
                    <a:pt x="76" y="290"/>
                  </a:lnTo>
                  <a:lnTo>
                    <a:pt x="72" y="238"/>
                  </a:lnTo>
                  <a:lnTo>
                    <a:pt x="56" y="215"/>
                  </a:lnTo>
                  <a:cubicBezTo>
                    <a:pt x="56" y="214"/>
                    <a:pt x="55" y="213"/>
                    <a:pt x="55" y="212"/>
                  </a:cubicBezTo>
                  <a:lnTo>
                    <a:pt x="60" y="186"/>
                  </a:lnTo>
                  <a:lnTo>
                    <a:pt x="60" y="124"/>
                  </a:lnTo>
                  <a:cubicBezTo>
                    <a:pt x="60" y="122"/>
                    <a:pt x="60" y="121"/>
                    <a:pt x="61" y="120"/>
                  </a:cubicBezTo>
                  <a:lnTo>
                    <a:pt x="95" y="86"/>
                  </a:lnTo>
                  <a:lnTo>
                    <a:pt x="111" y="37"/>
                  </a:lnTo>
                  <a:cubicBezTo>
                    <a:pt x="111" y="36"/>
                    <a:pt x="112" y="35"/>
                    <a:pt x="113" y="35"/>
                  </a:cubicBezTo>
                  <a:lnTo>
                    <a:pt x="173" y="9"/>
                  </a:lnTo>
                  <a:lnTo>
                    <a:pt x="242" y="0"/>
                  </a:lnTo>
                  <a:cubicBezTo>
                    <a:pt x="243" y="0"/>
                    <a:pt x="244" y="1"/>
                    <a:pt x="245" y="1"/>
                  </a:cubicBezTo>
                  <a:lnTo>
                    <a:pt x="349" y="76"/>
                  </a:lnTo>
                  <a:lnTo>
                    <a:pt x="431" y="43"/>
                  </a:lnTo>
                  <a:cubicBezTo>
                    <a:pt x="432" y="43"/>
                    <a:pt x="432" y="43"/>
                    <a:pt x="433" y="43"/>
                  </a:cubicBezTo>
                  <a:cubicBezTo>
                    <a:pt x="434" y="43"/>
                    <a:pt x="435" y="43"/>
                    <a:pt x="436" y="44"/>
                  </a:cubicBezTo>
                  <a:lnTo>
                    <a:pt x="491" y="82"/>
                  </a:lnTo>
                  <a:lnTo>
                    <a:pt x="546" y="93"/>
                  </a:lnTo>
                  <a:lnTo>
                    <a:pt x="625" y="43"/>
                  </a:lnTo>
                  <a:lnTo>
                    <a:pt x="738" y="38"/>
                  </a:lnTo>
                  <a:lnTo>
                    <a:pt x="797" y="55"/>
                  </a:lnTo>
                  <a:lnTo>
                    <a:pt x="854" y="22"/>
                  </a:lnTo>
                  <a:lnTo>
                    <a:pt x="861" y="3"/>
                  </a:lnTo>
                  <a:cubicBezTo>
                    <a:pt x="861" y="2"/>
                    <a:pt x="863" y="1"/>
                    <a:pt x="864" y="0"/>
                  </a:cubicBezTo>
                  <a:lnTo>
                    <a:pt x="865" y="0"/>
                  </a:lnTo>
                  <a:cubicBezTo>
                    <a:pt x="866" y="0"/>
                    <a:pt x="868" y="1"/>
                    <a:pt x="869" y="2"/>
                  </a:cubicBezTo>
                  <a:lnTo>
                    <a:pt x="949" y="117"/>
                  </a:lnTo>
                  <a:lnTo>
                    <a:pt x="974" y="141"/>
                  </a:lnTo>
                  <a:cubicBezTo>
                    <a:pt x="975" y="142"/>
                    <a:pt x="976" y="143"/>
                    <a:pt x="976" y="145"/>
                  </a:cubicBezTo>
                  <a:lnTo>
                    <a:pt x="976" y="187"/>
                  </a:lnTo>
                  <a:cubicBezTo>
                    <a:pt x="976" y="188"/>
                    <a:pt x="975" y="190"/>
                    <a:pt x="974" y="191"/>
                  </a:cubicBezTo>
                  <a:lnTo>
                    <a:pt x="898" y="254"/>
                  </a:lnTo>
                  <a:lnTo>
                    <a:pt x="840" y="426"/>
                  </a:lnTo>
                  <a:lnTo>
                    <a:pt x="796" y="466"/>
                  </a:lnTo>
                  <a:lnTo>
                    <a:pt x="729" y="620"/>
                  </a:lnTo>
                  <a:cubicBezTo>
                    <a:pt x="729" y="622"/>
                    <a:pt x="728" y="623"/>
                    <a:pt x="726" y="623"/>
                  </a:cubicBezTo>
                  <a:lnTo>
                    <a:pt x="692" y="632"/>
                  </a:lnTo>
                  <a:cubicBezTo>
                    <a:pt x="692" y="632"/>
                    <a:pt x="692" y="632"/>
                    <a:pt x="691" y="632"/>
                  </a:cubicBezTo>
                  <a:cubicBezTo>
                    <a:pt x="690" y="632"/>
                    <a:pt x="689" y="631"/>
                    <a:pt x="688" y="630"/>
                  </a:cubicBezTo>
                  <a:lnTo>
                    <a:pt x="647" y="594"/>
                  </a:lnTo>
                  <a:lnTo>
                    <a:pt x="567" y="598"/>
                  </a:lnTo>
                  <a:lnTo>
                    <a:pt x="509" y="680"/>
                  </a:lnTo>
                  <a:lnTo>
                    <a:pt x="475" y="777"/>
                  </a:lnTo>
                  <a:cubicBezTo>
                    <a:pt x="475" y="778"/>
                    <a:pt x="474" y="779"/>
                    <a:pt x="472" y="780"/>
                  </a:cubicBezTo>
                  <a:lnTo>
                    <a:pt x="471" y="780"/>
                  </a:lnTo>
                  <a:cubicBezTo>
                    <a:pt x="470" y="780"/>
                    <a:pt x="468" y="779"/>
                    <a:pt x="468" y="778"/>
                  </a:cubicBezTo>
                  <a:lnTo>
                    <a:pt x="460" y="771"/>
                  </a:lnTo>
                  <a:lnTo>
                    <a:pt x="450" y="798"/>
                  </a:lnTo>
                  <a:cubicBezTo>
                    <a:pt x="449" y="800"/>
                    <a:pt x="447" y="801"/>
                    <a:pt x="445" y="801"/>
                  </a:cubicBezTo>
                  <a:lnTo>
                    <a:pt x="363" y="785"/>
                  </a:lnTo>
                  <a:lnTo>
                    <a:pt x="348" y="803"/>
                  </a:lnTo>
                  <a:lnTo>
                    <a:pt x="290" y="822"/>
                  </a:lnTo>
                  <a:lnTo>
                    <a:pt x="289" y="82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7" name="Freeform 212"/>
            <p:cNvSpPr>
              <a:spLocks noChangeArrowheads="1"/>
            </p:cNvSpPr>
            <p:nvPr/>
          </p:nvSpPr>
          <p:spPr bwMode="auto">
            <a:xfrm>
              <a:off x="3735388" y="3354388"/>
              <a:ext cx="98425" cy="58737"/>
            </a:xfrm>
            <a:custGeom>
              <a:avLst/>
              <a:gdLst/>
              <a:ahLst/>
              <a:cxnLst>
                <a:cxn ang="0">
                  <a:pos x="145" y="161"/>
                </a:cxn>
                <a:cxn ang="0">
                  <a:pos x="141" y="160"/>
                </a:cxn>
                <a:cxn ang="0">
                  <a:pos x="120" y="139"/>
                </a:cxn>
                <a:cxn ang="0">
                  <a:pos x="110" y="94"/>
                </a:cxn>
                <a:cxn ang="0">
                  <a:pos x="111" y="90"/>
                </a:cxn>
                <a:cxn ang="0">
                  <a:pos x="82" y="98"/>
                </a:cxn>
                <a:cxn ang="0">
                  <a:pos x="81" y="98"/>
                </a:cxn>
                <a:cxn ang="0">
                  <a:pos x="78" y="97"/>
                </a:cxn>
                <a:cxn ang="0">
                  <a:pos x="2" y="33"/>
                </a:cxn>
                <a:cxn ang="0">
                  <a:pos x="0" y="28"/>
                </a:cxn>
                <a:cxn ang="0">
                  <a:pos x="5" y="25"/>
                </a:cxn>
                <a:cxn ang="0">
                  <a:pos x="90" y="25"/>
                </a:cxn>
                <a:cxn ang="0">
                  <a:pos x="143" y="4"/>
                </a:cxn>
                <a:cxn ang="0">
                  <a:pos x="259" y="0"/>
                </a:cxn>
                <a:cxn ang="0">
                  <a:pos x="264" y="3"/>
                </a:cxn>
                <a:cxn ang="0">
                  <a:pos x="272" y="33"/>
                </a:cxn>
                <a:cxn ang="0">
                  <a:pos x="270" y="38"/>
                </a:cxn>
                <a:cxn ang="0">
                  <a:pos x="252" y="53"/>
                </a:cxn>
                <a:cxn ang="0">
                  <a:pos x="264" y="92"/>
                </a:cxn>
                <a:cxn ang="0">
                  <a:pos x="263" y="96"/>
                </a:cxn>
                <a:cxn ang="0">
                  <a:pos x="260" y="98"/>
                </a:cxn>
                <a:cxn ang="0">
                  <a:pos x="188" y="115"/>
                </a:cxn>
                <a:cxn ang="0">
                  <a:pos x="148" y="160"/>
                </a:cxn>
                <a:cxn ang="0">
                  <a:pos x="145" y="161"/>
                </a:cxn>
              </a:cxnLst>
              <a:rect l="0" t="0" r="r" b="b"/>
              <a:pathLst>
                <a:path w="274" h="162">
                  <a:moveTo>
                    <a:pt x="145" y="161"/>
                  </a:moveTo>
                  <a:cubicBezTo>
                    <a:pt x="143" y="161"/>
                    <a:pt x="142" y="161"/>
                    <a:pt x="141" y="160"/>
                  </a:cubicBezTo>
                  <a:lnTo>
                    <a:pt x="120" y="139"/>
                  </a:lnTo>
                  <a:lnTo>
                    <a:pt x="110" y="94"/>
                  </a:lnTo>
                  <a:cubicBezTo>
                    <a:pt x="110" y="93"/>
                    <a:pt x="110" y="92"/>
                    <a:pt x="111" y="90"/>
                  </a:cubicBezTo>
                  <a:lnTo>
                    <a:pt x="82" y="98"/>
                  </a:lnTo>
                  <a:lnTo>
                    <a:pt x="81" y="98"/>
                  </a:lnTo>
                  <a:cubicBezTo>
                    <a:pt x="80" y="98"/>
                    <a:pt x="79" y="97"/>
                    <a:pt x="78" y="97"/>
                  </a:cubicBezTo>
                  <a:lnTo>
                    <a:pt x="2" y="33"/>
                  </a:lnTo>
                  <a:cubicBezTo>
                    <a:pt x="0" y="32"/>
                    <a:pt x="0" y="30"/>
                    <a:pt x="0" y="28"/>
                  </a:cubicBezTo>
                  <a:cubicBezTo>
                    <a:pt x="1" y="26"/>
                    <a:pt x="3" y="25"/>
                    <a:pt x="5" y="25"/>
                  </a:cubicBezTo>
                  <a:lnTo>
                    <a:pt x="90" y="25"/>
                  </a:lnTo>
                  <a:lnTo>
                    <a:pt x="143" y="4"/>
                  </a:lnTo>
                  <a:lnTo>
                    <a:pt x="259" y="0"/>
                  </a:lnTo>
                  <a:cubicBezTo>
                    <a:pt x="261" y="0"/>
                    <a:pt x="263" y="1"/>
                    <a:pt x="264" y="3"/>
                  </a:cubicBezTo>
                  <a:lnTo>
                    <a:pt x="272" y="33"/>
                  </a:lnTo>
                  <a:cubicBezTo>
                    <a:pt x="273" y="34"/>
                    <a:pt x="272" y="36"/>
                    <a:pt x="270" y="38"/>
                  </a:cubicBezTo>
                  <a:lnTo>
                    <a:pt x="252" y="53"/>
                  </a:lnTo>
                  <a:lnTo>
                    <a:pt x="264" y="92"/>
                  </a:lnTo>
                  <a:cubicBezTo>
                    <a:pt x="264" y="93"/>
                    <a:pt x="264" y="94"/>
                    <a:pt x="263" y="96"/>
                  </a:cubicBezTo>
                  <a:cubicBezTo>
                    <a:pt x="263" y="97"/>
                    <a:pt x="261" y="97"/>
                    <a:pt x="260" y="98"/>
                  </a:cubicBezTo>
                  <a:lnTo>
                    <a:pt x="188" y="115"/>
                  </a:lnTo>
                  <a:lnTo>
                    <a:pt x="148" y="160"/>
                  </a:lnTo>
                  <a:cubicBezTo>
                    <a:pt x="147" y="161"/>
                    <a:pt x="146" y="161"/>
                    <a:pt x="145" y="16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8" name="Freeform 213"/>
            <p:cNvSpPr>
              <a:spLocks noChangeArrowheads="1"/>
            </p:cNvSpPr>
            <p:nvPr/>
          </p:nvSpPr>
          <p:spPr bwMode="auto">
            <a:xfrm>
              <a:off x="3735388" y="3354388"/>
              <a:ext cx="98425" cy="58737"/>
            </a:xfrm>
            <a:custGeom>
              <a:avLst/>
              <a:gdLst/>
              <a:ahLst/>
              <a:cxnLst>
                <a:cxn ang="0">
                  <a:pos x="145" y="161"/>
                </a:cxn>
                <a:cxn ang="0">
                  <a:pos x="141" y="160"/>
                </a:cxn>
                <a:cxn ang="0">
                  <a:pos x="120" y="139"/>
                </a:cxn>
                <a:cxn ang="0">
                  <a:pos x="110" y="94"/>
                </a:cxn>
                <a:cxn ang="0">
                  <a:pos x="111" y="90"/>
                </a:cxn>
                <a:cxn ang="0">
                  <a:pos x="82" y="98"/>
                </a:cxn>
                <a:cxn ang="0">
                  <a:pos x="81" y="98"/>
                </a:cxn>
                <a:cxn ang="0">
                  <a:pos x="78" y="97"/>
                </a:cxn>
                <a:cxn ang="0">
                  <a:pos x="2" y="33"/>
                </a:cxn>
                <a:cxn ang="0">
                  <a:pos x="0" y="28"/>
                </a:cxn>
                <a:cxn ang="0">
                  <a:pos x="5" y="25"/>
                </a:cxn>
                <a:cxn ang="0">
                  <a:pos x="90" y="25"/>
                </a:cxn>
                <a:cxn ang="0">
                  <a:pos x="143" y="4"/>
                </a:cxn>
                <a:cxn ang="0">
                  <a:pos x="259" y="0"/>
                </a:cxn>
                <a:cxn ang="0">
                  <a:pos x="264" y="3"/>
                </a:cxn>
                <a:cxn ang="0">
                  <a:pos x="272" y="33"/>
                </a:cxn>
                <a:cxn ang="0">
                  <a:pos x="270" y="38"/>
                </a:cxn>
                <a:cxn ang="0">
                  <a:pos x="252" y="53"/>
                </a:cxn>
                <a:cxn ang="0">
                  <a:pos x="264" y="92"/>
                </a:cxn>
                <a:cxn ang="0">
                  <a:pos x="263" y="96"/>
                </a:cxn>
                <a:cxn ang="0">
                  <a:pos x="260" y="98"/>
                </a:cxn>
                <a:cxn ang="0">
                  <a:pos x="188" y="115"/>
                </a:cxn>
                <a:cxn ang="0">
                  <a:pos x="148" y="160"/>
                </a:cxn>
                <a:cxn ang="0">
                  <a:pos x="145" y="161"/>
                </a:cxn>
              </a:cxnLst>
              <a:rect l="0" t="0" r="r" b="b"/>
              <a:pathLst>
                <a:path w="274" h="162">
                  <a:moveTo>
                    <a:pt x="145" y="161"/>
                  </a:moveTo>
                  <a:cubicBezTo>
                    <a:pt x="143" y="161"/>
                    <a:pt x="142" y="161"/>
                    <a:pt x="141" y="160"/>
                  </a:cubicBezTo>
                  <a:lnTo>
                    <a:pt x="120" y="139"/>
                  </a:lnTo>
                  <a:lnTo>
                    <a:pt x="110" y="94"/>
                  </a:lnTo>
                  <a:cubicBezTo>
                    <a:pt x="110" y="93"/>
                    <a:pt x="110" y="92"/>
                    <a:pt x="111" y="90"/>
                  </a:cubicBezTo>
                  <a:lnTo>
                    <a:pt x="82" y="98"/>
                  </a:lnTo>
                  <a:lnTo>
                    <a:pt x="81" y="98"/>
                  </a:lnTo>
                  <a:cubicBezTo>
                    <a:pt x="80" y="98"/>
                    <a:pt x="79" y="97"/>
                    <a:pt x="78" y="97"/>
                  </a:cubicBezTo>
                  <a:lnTo>
                    <a:pt x="2" y="33"/>
                  </a:lnTo>
                  <a:cubicBezTo>
                    <a:pt x="0" y="32"/>
                    <a:pt x="0" y="30"/>
                    <a:pt x="0" y="28"/>
                  </a:cubicBezTo>
                  <a:cubicBezTo>
                    <a:pt x="1" y="26"/>
                    <a:pt x="3" y="25"/>
                    <a:pt x="5" y="25"/>
                  </a:cubicBezTo>
                  <a:lnTo>
                    <a:pt x="90" y="25"/>
                  </a:lnTo>
                  <a:lnTo>
                    <a:pt x="143" y="4"/>
                  </a:lnTo>
                  <a:lnTo>
                    <a:pt x="259" y="0"/>
                  </a:lnTo>
                  <a:cubicBezTo>
                    <a:pt x="261" y="0"/>
                    <a:pt x="263" y="1"/>
                    <a:pt x="264" y="3"/>
                  </a:cubicBezTo>
                  <a:lnTo>
                    <a:pt x="272" y="33"/>
                  </a:lnTo>
                  <a:cubicBezTo>
                    <a:pt x="273" y="34"/>
                    <a:pt x="272" y="36"/>
                    <a:pt x="270" y="38"/>
                  </a:cubicBezTo>
                  <a:lnTo>
                    <a:pt x="252" y="53"/>
                  </a:lnTo>
                  <a:lnTo>
                    <a:pt x="264" y="92"/>
                  </a:lnTo>
                  <a:cubicBezTo>
                    <a:pt x="264" y="93"/>
                    <a:pt x="264" y="94"/>
                    <a:pt x="263" y="96"/>
                  </a:cubicBezTo>
                  <a:cubicBezTo>
                    <a:pt x="263" y="97"/>
                    <a:pt x="261" y="97"/>
                    <a:pt x="260" y="98"/>
                  </a:cubicBezTo>
                  <a:lnTo>
                    <a:pt x="188" y="115"/>
                  </a:lnTo>
                  <a:lnTo>
                    <a:pt x="148" y="160"/>
                  </a:lnTo>
                  <a:cubicBezTo>
                    <a:pt x="147" y="161"/>
                    <a:pt x="146" y="161"/>
                    <a:pt x="145" y="16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19" name="Freeform 214"/>
            <p:cNvSpPr>
              <a:spLocks noChangeArrowheads="1"/>
            </p:cNvSpPr>
            <p:nvPr/>
          </p:nvSpPr>
          <p:spPr bwMode="auto">
            <a:xfrm>
              <a:off x="5111750" y="3767138"/>
              <a:ext cx="60325" cy="55562"/>
            </a:xfrm>
            <a:custGeom>
              <a:avLst/>
              <a:gdLst/>
              <a:ahLst/>
              <a:cxnLst>
                <a:cxn ang="0">
                  <a:pos x="44" y="152"/>
                </a:cxn>
                <a:cxn ang="0">
                  <a:pos x="28" y="132"/>
                </a:cxn>
                <a:cxn ang="0">
                  <a:pos x="22" y="146"/>
                </a:cxn>
                <a:cxn ang="0">
                  <a:pos x="18" y="149"/>
                </a:cxn>
                <a:cxn ang="0">
                  <a:pos x="18" y="149"/>
                </a:cxn>
                <a:cxn ang="0">
                  <a:pos x="14" y="147"/>
                </a:cxn>
                <a:cxn ang="0">
                  <a:pos x="1" y="117"/>
                </a:cxn>
                <a:cxn ang="0">
                  <a:pos x="1" y="112"/>
                </a:cxn>
                <a:cxn ang="0">
                  <a:pos x="61" y="24"/>
                </a:cxn>
                <a:cxn ang="0">
                  <a:pos x="64" y="21"/>
                </a:cxn>
                <a:cxn ang="0">
                  <a:pos x="93" y="25"/>
                </a:cxn>
                <a:cxn ang="0">
                  <a:pos x="125" y="1"/>
                </a:cxn>
                <a:cxn ang="0">
                  <a:pos x="128" y="0"/>
                </a:cxn>
                <a:cxn ang="0">
                  <a:pos x="129" y="1"/>
                </a:cxn>
                <a:cxn ang="0">
                  <a:pos x="132" y="3"/>
                </a:cxn>
                <a:cxn ang="0">
                  <a:pos x="166" y="79"/>
                </a:cxn>
                <a:cxn ang="0">
                  <a:pos x="166" y="83"/>
                </a:cxn>
                <a:cxn ang="0">
                  <a:pos x="149" y="117"/>
                </a:cxn>
                <a:cxn ang="0">
                  <a:pos x="145" y="120"/>
                </a:cxn>
                <a:cxn ang="0">
                  <a:pos x="93" y="120"/>
                </a:cxn>
                <a:cxn ang="0">
                  <a:pos x="82" y="146"/>
                </a:cxn>
                <a:cxn ang="0">
                  <a:pos x="78" y="149"/>
                </a:cxn>
                <a:cxn ang="0">
                  <a:pos x="48" y="154"/>
                </a:cxn>
                <a:cxn ang="0">
                  <a:pos x="44" y="152"/>
                </a:cxn>
              </a:cxnLst>
              <a:rect l="0" t="0" r="r" b="b"/>
              <a:pathLst>
                <a:path w="168" h="155">
                  <a:moveTo>
                    <a:pt x="44" y="152"/>
                  </a:moveTo>
                  <a:lnTo>
                    <a:pt x="28" y="132"/>
                  </a:lnTo>
                  <a:lnTo>
                    <a:pt x="22" y="146"/>
                  </a:lnTo>
                  <a:cubicBezTo>
                    <a:pt x="22" y="148"/>
                    <a:pt x="20" y="149"/>
                    <a:pt x="18" y="149"/>
                  </a:cubicBezTo>
                  <a:lnTo>
                    <a:pt x="18" y="149"/>
                  </a:lnTo>
                  <a:cubicBezTo>
                    <a:pt x="16" y="149"/>
                    <a:pt x="14" y="148"/>
                    <a:pt x="14" y="147"/>
                  </a:cubicBezTo>
                  <a:lnTo>
                    <a:pt x="1" y="117"/>
                  </a:lnTo>
                  <a:cubicBezTo>
                    <a:pt x="0" y="115"/>
                    <a:pt x="0" y="114"/>
                    <a:pt x="1" y="112"/>
                  </a:cubicBezTo>
                  <a:lnTo>
                    <a:pt x="61" y="24"/>
                  </a:lnTo>
                  <a:cubicBezTo>
                    <a:pt x="61" y="22"/>
                    <a:pt x="63" y="21"/>
                    <a:pt x="64" y="21"/>
                  </a:cubicBezTo>
                  <a:lnTo>
                    <a:pt x="93" y="25"/>
                  </a:lnTo>
                  <a:lnTo>
                    <a:pt x="125" y="1"/>
                  </a:lnTo>
                  <a:cubicBezTo>
                    <a:pt x="126" y="1"/>
                    <a:pt x="127" y="0"/>
                    <a:pt x="128" y="0"/>
                  </a:cubicBezTo>
                  <a:cubicBezTo>
                    <a:pt x="128" y="0"/>
                    <a:pt x="129" y="0"/>
                    <a:pt x="129" y="1"/>
                  </a:cubicBezTo>
                  <a:cubicBezTo>
                    <a:pt x="131" y="1"/>
                    <a:pt x="132" y="2"/>
                    <a:pt x="132" y="3"/>
                  </a:cubicBezTo>
                  <a:lnTo>
                    <a:pt x="166" y="79"/>
                  </a:lnTo>
                  <a:cubicBezTo>
                    <a:pt x="167" y="81"/>
                    <a:pt x="167" y="82"/>
                    <a:pt x="166" y="83"/>
                  </a:cubicBezTo>
                  <a:lnTo>
                    <a:pt x="149" y="117"/>
                  </a:lnTo>
                  <a:cubicBezTo>
                    <a:pt x="148" y="119"/>
                    <a:pt x="147" y="120"/>
                    <a:pt x="145" y="120"/>
                  </a:cubicBezTo>
                  <a:lnTo>
                    <a:pt x="93" y="120"/>
                  </a:lnTo>
                  <a:lnTo>
                    <a:pt x="82" y="146"/>
                  </a:lnTo>
                  <a:cubicBezTo>
                    <a:pt x="81" y="148"/>
                    <a:pt x="80" y="149"/>
                    <a:pt x="78" y="149"/>
                  </a:cubicBezTo>
                  <a:lnTo>
                    <a:pt x="48" y="154"/>
                  </a:lnTo>
                  <a:cubicBezTo>
                    <a:pt x="46" y="154"/>
                    <a:pt x="45" y="153"/>
                    <a:pt x="44" y="15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0" name="Freeform 215"/>
            <p:cNvSpPr>
              <a:spLocks noChangeArrowheads="1"/>
            </p:cNvSpPr>
            <p:nvPr/>
          </p:nvSpPr>
          <p:spPr bwMode="auto">
            <a:xfrm>
              <a:off x="5111750" y="3767138"/>
              <a:ext cx="60325" cy="55562"/>
            </a:xfrm>
            <a:custGeom>
              <a:avLst/>
              <a:gdLst/>
              <a:ahLst/>
              <a:cxnLst>
                <a:cxn ang="0">
                  <a:pos x="48" y="154"/>
                </a:cxn>
                <a:cxn ang="0">
                  <a:pos x="44" y="152"/>
                </a:cxn>
                <a:cxn ang="0">
                  <a:pos x="28" y="132"/>
                </a:cxn>
                <a:cxn ang="0">
                  <a:pos x="22" y="146"/>
                </a:cxn>
                <a:cxn ang="0">
                  <a:pos x="18" y="149"/>
                </a:cxn>
                <a:cxn ang="0">
                  <a:pos x="18" y="149"/>
                </a:cxn>
                <a:cxn ang="0">
                  <a:pos x="14" y="147"/>
                </a:cxn>
                <a:cxn ang="0">
                  <a:pos x="1" y="117"/>
                </a:cxn>
                <a:cxn ang="0">
                  <a:pos x="1" y="112"/>
                </a:cxn>
                <a:cxn ang="0">
                  <a:pos x="61" y="24"/>
                </a:cxn>
                <a:cxn ang="0">
                  <a:pos x="64" y="21"/>
                </a:cxn>
                <a:cxn ang="0">
                  <a:pos x="93" y="25"/>
                </a:cxn>
                <a:cxn ang="0">
                  <a:pos x="125" y="1"/>
                </a:cxn>
                <a:cxn ang="0">
                  <a:pos x="128" y="0"/>
                </a:cxn>
                <a:cxn ang="0">
                  <a:pos x="129" y="1"/>
                </a:cxn>
                <a:cxn ang="0">
                  <a:pos x="132" y="3"/>
                </a:cxn>
                <a:cxn ang="0">
                  <a:pos x="166" y="79"/>
                </a:cxn>
                <a:cxn ang="0">
                  <a:pos x="166" y="83"/>
                </a:cxn>
                <a:cxn ang="0">
                  <a:pos x="149" y="117"/>
                </a:cxn>
                <a:cxn ang="0">
                  <a:pos x="145" y="120"/>
                </a:cxn>
                <a:cxn ang="0">
                  <a:pos x="93" y="120"/>
                </a:cxn>
                <a:cxn ang="0">
                  <a:pos x="82" y="146"/>
                </a:cxn>
                <a:cxn ang="0">
                  <a:pos x="78" y="149"/>
                </a:cxn>
                <a:cxn ang="0">
                  <a:pos x="48" y="154"/>
                </a:cxn>
              </a:cxnLst>
              <a:rect l="0" t="0" r="r" b="b"/>
              <a:pathLst>
                <a:path w="168" h="155">
                  <a:moveTo>
                    <a:pt x="48" y="154"/>
                  </a:moveTo>
                  <a:cubicBezTo>
                    <a:pt x="46" y="154"/>
                    <a:pt x="45" y="153"/>
                    <a:pt x="44" y="152"/>
                  </a:cubicBezTo>
                  <a:lnTo>
                    <a:pt x="28" y="132"/>
                  </a:lnTo>
                  <a:lnTo>
                    <a:pt x="22" y="146"/>
                  </a:lnTo>
                  <a:cubicBezTo>
                    <a:pt x="22" y="148"/>
                    <a:pt x="20" y="149"/>
                    <a:pt x="18" y="149"/>
                  </a:cubicBezTo>
                  <a:lnTo>
                    <a:pt x="18" y="149"/>
                  </a:lnTo>
                  <a:cubicBezTo>
                    <a:pt x="16" y="149"/>
                    <a:pt x="14" y="148"/>
                    <a:pt x="14" y="147"/>
                  </a:cubicBezTo>
                  <a:lnTo>
                    <a:pt x="1" y="117"/>
                  </a:lnTo>
                  <a:cubicBezTo>
                    <a:pt x="0" y="115"/>
                    <a:pt x="0" y="114"/>
                    <a:pt x="1" y="112"/>
                  </a:cubicBezTo>
                  <a:lnTo>
                    <a:pt x="61" y="24"/>
                  </a:lnTo>
                  <a:cubicBezTo>
                    <a:pt x="61" y="22"/>
                    <a:pt x="63" y="21"/>
                    <a:pt x="64" y="21"/>
                  </a:cubicBezTo>
                  <a:lnTo>
                    <a:pt x="93" y="25"/>
                  </a:lnTo>
                  <a:lnTo>
                    <a:pt x="125" y="1"/>
                  </a:lnTo>
                  <a:cubicBezTo>
                    <a:pt x="126" y="1"/>
                    <a:pt x="127" y="0"/>
                    <a:pt x="128" y="0"/>
                  </a:cubicBezTo>
                  <a:cubicBezTo>
                    <a:pt x="128" y="0"/>
                    <a:pt x="129" y="0"/>
                    <a:pt x="129" y="1"/>
                  </a:cubicBezTo>
                  <a:cubicBezTo>
                    <a:pt x="131" y="1"/>
                    <a:pt x="132" y="2"/>
                    <a:pt x="132" y="3"/>
                  </a:cubicBezTo>
                  <a:lnTo>
                    <a:pt x="166" y="79"/>
                  </a:lnTo>
                  <a:cubicBezTo>
                    <a:pt x="167" y="81"/>
                    <a:pt x="167" y="82"/>
                    <a:pt x="166" y="83"/>
                  </a:cubicBezTo>
                  <a:lnTo>
                    <a:pt x="149" y="117"/>
                  </a:lnTo>
                  <a:cubicBezTo>
                    <a:pt x="148" y="119"/>
                    <a:pt x="147" y="120"/>
                    <a:pt x="145" y="120"/>
                  </a:cubicBezTo>
                  <a:lnTo>
                    <a:pt x="93" y="120"/>
                  </a:lnTo>
                  <a:lnTo>
                    <a:pt x="82" y="146"/>
                  </a:lnTo>
                  <a:cubicBezTo>
                    <a:pt x="81" y="148"/>
                    <a:pt x="80" y="149"/>
                    <a:pt x="78" y="149"/>
                  </a:cubicBezTo>
                  <a:lnTo>
                    <a:pt x="48" y="15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1" name="Freeform 216"/>
            <p:cNvSpPr>
              <a:spLocks noChangeArrowheads="1"/>
            </p:cNvSpPr>
            <p:nvPr/>
          </p:nvSpPr>
          <p:spPr bwMode="auto">
            <a:xfrm>
              <a:off x="4432300" y="3724275"/>
              <a:ext cx="12700" cy="14288"/>
            </a:xfrm>
            <a:custGeom>
              <a:avLst/>
              <a:gdLst/>
              <a:ahLst/>
              <a:cxnLst>
                <a:cxn ang="0">
                  <a:pos x="9" y="36"/>
                </a:cxn>
                <a:cxn ang="0">
                  <a:pos x="1" y="19"/>
                </a:cxn>
                <a:cxn ang="0">
                  <a:pos x="1" y="14"/>
                </a:cxn>
                <a:cxn ang="0">
                  <a:pos x="14" y="1"/>
                </a:cxn>
                <a:cxn ang="0">
                  <a:pos x="17" y="0"/>
                </a:cxn>
                <a:cxn ang="0">
                  <a:pos x="21" y="1"/>
                </a:cxn>
                <a:cxn ang="0">
                  <a:pos x="33" y="14"/>
                </a:cxn>
                <a:cxn ang="0">
                  <a:pos x="33" y="20"/>
                </a:cxn>
                <a:cxn ang="0">
                  <a:pos x="17" y="37"/>
                </a:cxn>
                <a:cxn ang="0">
                  <a:pos x="13" y="39"/>
                </a:cxn>
                <a:cxn ang="0">
                  <a:pos x="13" y="39"/>
                </a:cxn>
                <a:cxn ang="0">
                  <a:pos x="9" y="36"/>
                </a:cxn>
              </a:cxnLst>
              <a:rect l="0" t="0" r="r" b="b"/>
              <a:pathLst>
                <a:path w="36" h="40">
                  <a:moveTo>
                    <a:pt x="9" y="36"/>
                  </a:moveTo>
                  <a:lnTo>
                    <a:pt x="1" y="19"/>
                  </a:lnTo>
                  <a:cubicBezTo>
                    <a:pt x="0" y="17"/>
                    <a:pt x="0" y="15"/>
                    <a:pt x="1" y="14"/>
                  </a:cubicBezTo>
                  <a:lnTo>
                    <a:pt x="14" y="1"/>
                  </a:lnTo>
                  <a:cubicBezTo>
                    <a:pt x="15" y="0"/>
                    <a:pt x="16" y="0"/>
                    <a:pt x="17" y="0"/>
                  </a:cubicBezTo>
                  <a:cubicBezTo>
                    <a:pt x="19" y="0"/>
                    <a:pt x="20" y="0"/>
                    <a:pt x="21" y="1"/>
                  </a:cubicBezTo>
                  <a:lnTo>
                    <a:pt x="33" y="14"/>
                  </a:lnTo>
                  <a:cubicBezTo>
                    <a:pt x="35" y="16"/>
                    <a:pt x="35" y="19"/>
                    <a:pt x="33" y="20"/>
                  </a:cubicBezTo>
                  <a:lnTo>
                    <a:pt x="17" y="37"/>
                  </a:lnTo>
                  <a:cubicBezTo>
                    <a:pt x="16" y="38"/>
                    <a:pt x="14" y="39"/>
                    <a:pt x="13" y="39"/>
                  </a:cubicBezTo>
                  <a:lnTo>
                    <a:pt x="13" y="39"/>
                  </a:lnTo>
                  <a:cubicBezTo>
                    <a:pt x="11" y="38"/>
                    <a:pt x="10" y="37"/>
                    <a:pt x="9" y="3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2" name="Freeform 217"/>
            <p:cNvSpPr>
              <a:spLocks noChangeArrowheads="1"/>
            </p:cNvSpPr>
            <p:nvPr/>
          </p:nvSpPr>
          <p:spPr bwMode="auto">
            <a:xfrm>
              <a:off x="4432300" y="3724275"/>
              <a:ext cx="12700" cy="14288"/>
            </a:xfrm>
            <a:custGeom>
              <a:avLst/>
              <a:gdLst/>
              <a:ahLst/>
              <a:cxnLst>
                <a:cxn ang="0">
                  <a:pos x="13" y="39"/>
                </a:cxn>
                <a:cxn ang="0">
                  <a:pos x="9" y="36"/>
                </a:cxn>
                <a:cxn ang="0">
                  <a:pos x="1" y="19"/>
                </a:cxn>
                <a:cxn ang="0">
                  <a:pos x="1" y="14"/>
                </a:cxn>
                <a:cxn ang="0">
                  <a:pos x="14" y="1"/>
                </a:cxn>
                <a:cxn ang="0">
                  <a:pos x="17" y="0"/>
                </a:cxn>
                <a:cxn ang="0">
                  <a:pos x="21" y="1"/>
                </a:cxn>
                <a:cxn ang="0">
                  <a:pos x="33" y="14"/>
                </a:cxn>
                <a:cxn ang="0">
                  <a:pos x="33" y="20"/>
                </a:cxn>
                <a:cxn ang="0">
                  <a:pos x="17" y="37"/>
                </a:cxn>
                <a:cxn ang="0">
                  <a:pos x="13" y="39"/>
                </a:cxn>
              </a:cxnLst>
              <a:rect l="0" t="0" r="r" b="b"/>
              <a:pathLst>
                <a:path w="36" h="40">
                  <a:moveTo>
                    <a:pt x="13" y="39"/>
                  </a:moveTo>
                  <a:cubicBezTo>
                    <a:pt x="11" y="38"/>
                    <a:pt x="10" y="37"/>
                    <a:pt x="9" y="36"/>
                  </a:cubicBezTo>
                  <a:lnTo>
                    <a:pt x="1" y="19"/>
                  </a:lnTo>
                  <a:cubicBezTo>
                    <a:pt x="0" y="17"/>
                    <a:pt x="0" y="15"/>
                    <a:pt x="1" y="14"/>
                  </a:cubicBezTo>
                  <a:lnTo>
                    <a:pt x="14" y="1"/>
                  </a:lnTo>
                  <a:cubicBezTo>
                    <a:pt x="15" y="0"/>
                    <a:pt x="16" y="0"/>
                    <a:pt x="17" y="0"/>
                  </a:cubicBezTo>
                  <a:cubicBezTo>
                    <a:pt x="19" y="0"/>
                    <a:pt x="20" y="0"/>
                    <a:pt x="21" y="1"/>
                  </a:cubicBezTo>
                  <a:lnTo>
                    <a:pt x="33" y="14"/>
                  </a:lnTo>
                  <a:cubicBezTo>
                    <a:pt x="35" y="16"/>
                    <a:pt x="35" y="19"/>
                    <a:pt x="33" y="20"/>
                  </a:cubicBezTo>
                  <a:lnTo>
                    <a:pt x="17" y="37"/>
                  </a:lnTo>
                  <a:cubicBezTo>
                    <a:pt x="16" y="38"/>
                    <a:pt x="14" y="39"/>
                    <a:pt x="13" y="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3" name="Freeform 218"/>
            <p:cNvSpPr>
              <a:spLocks noChangeArrowheads="1"/>
            </p:cNvSpPr>
            <p:nvPr/>
          </p:nvSpPr>
          <p:spPr bwMode="auto">
            <a:xfrm>
              <a:off x="3711575" y="3232150"/>
              <a:ext cx="193675" cy="136525"/>
            </a:xfrm>
            <a:custGeom>
              <a:avLst/>
              <a:gdLst/>
              <a:ahLst/>
              <a:cxnLst>
                <a:cxn ang="0">
                  <a:pos x="326" y="348"/>
                </a:cxn>
                <a:cxn ang="0">
                  <a:pos x="213" y="352"/>
                </a:cxn>
                <a:cxn ang="0">
                  <a:pos x="159" y="373"/>
                </a:cxn>
                <a:cxn ang="0">
                  <a:pos x="73" y="373"/>
                </a:cxn>
                <a:cxn ang="0">
                  <a:pos x="68" y="369"/>
                </a:cxn>
                <a:cxn ang="0">
                  <a:pos x="68" y="314"/>
                </a:cxn>
                <a:cxn ang="0">
                  <a:pos x="72" y="309"/>
                </a:cxn>
                <a:cxn ang="0">
                  <a:pos x="148" y="296"/>
                </a:cxn>
                <a:cxn ang="0">
                  <a:pos x="211" y="267"/>
                </a:cxn>
                <a:cxn ang="0">
                  <a:pos x="213" y="267"/>
                </a:cxn>
                <a:cxn ang="0">
                  <a:pos x="214" y="267"/>
                </a:cxn>
                <a:cxn ang="0">
                  <a:pos x="293" y="296"/>
                </a:cxn>
                <a:cxn ang="0">
                  <a:pos x="318" y="281"/>
                </a:cxn>
                <a:cxn ang="0">
                  <a:pos x="318" y="277"/>
                </a:cxn>
                <a:cxn ang="0">
                  <a:pos x="277" y="284"/>
                </a:cxn>
                <a:cxn ang="0">
                  <a:pos x="217" y="251"/>
                </a:cxn>
                <a:cxn ang="0">
                  <a:pos x="177" y="271"/>
                </a:cxn>
                <a:cxn ang="0">
                  <a:pos x="90" y="272"/>
                </a:cxn>
                <a:cxn ang="0">
                  <a:pos x="86" y="270"/>
                </a:cxn>
                <a:cxn ang="0">
                  <a:pos x="22" y="177"/>
                </a:cxn>
                <a:cxn ang="0">
                  <a:pos x="3" y="170"/>
                </a:cxn>
                <a:cxn ang="0">
                  <a:pos x="0" y="166"/>
                </a:cxn>
                <a:cxn ang="0">
                  <a:pos x="3" y="161"/>
                </a:cxn>
                <a:cxn ang="0">
                  <a:pos x="62" y="132"/>
                </a:cxn>
                <a:cxn ang="0">
                  <a:pos x="86" y="87"/>
                </a:cxn>
                <a:cxn ang="0">
                  <a:pos x="85" y="51"/>
                </a:cxn>
                <a:cxn ang="0">
                  <a:pos x="107" y="15"/>
                </a:cxn>
                <a:cxn ang="0">
                  <a:pos x="111" y="13"/>
                </a:cxn>
                <a:cxn ang="0">
                  <a:pos x="272" y="0"/>
                </a:cxn>
                <a:cxn ang="0">
                  <a:pos x="275" y="1"/>
                </a:cxn>
                <a:cxn ang="0">
                  <a:pos x="320" y="47"/>
                </a:cxn>
                <a:cxn ang="0">
                  <a:pos x="352" y="47"/>
                </a:cxn>
                <a:cxn ang="0">
                  <a:pos x="356" y="49"/>
                </a:cxn>
                <a:cxn ang="0">
                  <a:pos x="403" y="121"/>
                </a:cxn>
                <a:cxn ang="0">
                  <a:pos x="465" y="162"/>
                </a:cxn>
                <a:cxn ang="0">
                  <a:pos x="467" y="165"/>
                </a:cxn>
                <a:cxn ang="0">
                  <a:pos x="484" y="241"/>
                </a:cxn>
                <a:cxn ang="0">
                  <a:pos x="476" y="262"/>
                </a:cxn>
                <a:cxn ang="0">
                  <a:pos x="529" y="319"/>
                </a:cxn>
                <a:cxn ang="0">
                  <a:pos x="535" y="368"/>
                </a:cxn>
                <a:cxn ang="0">
                  <a:pos x="534" y="372"/>
                </a:cxn>
                <a:cxn ang="0">
                  <a:pos x="530" y="373"/>
                </a:cxn>
                <a:cxn ang="0">
                  <a:pos x="446" y="378"/>
                </a:cxn>
                <a:cxn ang="0">
                  <a:pos x="445" y="378"/>
                </a:cxn>
                <a:cxn ang="0">
                  <a:pos x="326" y="348"/>
                </a:cxn>
              </a:cxnLst>
              <a:rect l="0" t="0" r="r" b="b"/>
              <a:pathLst>
                <a:path w="536" h="379">
                  <a:moveTo>
                    <a:pt x="326" y="348"/>
                  </a:moveTo>
                  <a:lnTo>
                    <a:pt x="213" y="352"/>
                  </a:lnTo>
                  <a:lnTo>
                    <a:pt x="159" y="373"/>
                  </a:lnTo>
                  <a:lnTo>
                    <a:pt x="73" y="373"/>
                  </a:lnTo>
                  <a:cubicBezTo>
                    <a:pt x="70" y="373"/>
                    <a:pt x="68" y="371"/>
                    <a:pt x="68" y="369"/>
                  </a:cubicBezTo>
                  <a:lnTo>
                    <a:pt x="68" y="314"/>
                  </a:lnTo>
                  <a:cubicBezTo>
                    <a:pt x="68" y="311"/>
                    <a:pt x="70" y="309"/>
                    <a:pt x="72" y="309"/>
                  </a:cubicBezTo>
                  <a:lnTo>
                    <a:pt x="148" y="296"/>
                  </a:lnTo>
                  <a:lnTo>
                    <a:pt x="211" y="267"/>
                  </a:lnTo>
                  <a:cubicBezTo>
                    <a:pt x="211" y="267"/>
                    <a:pt x="212" y="267"/>
                    <a:pt x="213" y="267"/>
                  </a:cubicBezTo>
                  <a:lnTo>
                    <a:pt x="214" y="267"/>
                  </a:lnTo>
                  <a:lnTo>
                    <a:pt x="293" y="296"/>
                  </a:lnTo>
                  <a:lnTo>
                    <a:pt x="318" y="281"/>
                  </a:lnTo>
                  <a:lnTo>
                    <a:pt x="318" y="277"/>
                  </a:lnTo>
                  <a:lnTo>
                    <a:pt x="277" y="284"/>
                  </a:lnTo>
                  <a:lnTo>
                    <a:pt x="217" y="251"/>
                  </a:lnTo>
                  <a:lnTo>
                    <a:pt x="177" y="271"/>
                  </a:lnTo>
                  <a:lnTo>
                    <a:pt x="90" y="272"/>
                  </a:lnTo>
                  <a:cubicBezTo>
                    <a:pt x="88" y="272"/>
                    <a:pt x="87" y="271"/>
                    <a:pt x="86" y="270"/>
                  </a:cubicBezTo>
                  <a:lnTo>
                    <a:pt x="22" y="177"/>
                  </a:lnTo>
                  <a:lnTo>
                    <a:pt x="3" y="170"/>
                  </a:lnTo>
                  <a:cubicBezTo>
                    <a:pt x="2" y="169"/>
                    <a:pt x="0" y="168"/>
                    <a:pt x="0" y="166"/>
                  </a:cubicBezTo>
                  <a:cubicBezTo>
                    <a:pt x="0" y="164"/>
                    <a:pt x="1" y="162"/>
                    <a:pt x="3" y="161"/>
                  </a:cubicBezTo>
                  <a:lnTo>
                    <a:pt x="62" y="132"/>
                  </a:lnTo>
                  <a:lnTo>
                    <a:pt x="86" y="87"/>
                  </a:lnTo>
                  <a:lnTo>
                    <a:pt x="85" y="51"/>
                  </a:lnTo>
                  <a:lnTo>
                    <a:pt x="107" y="15"/>
                  </a:lnTo>
                  <a:cubicBezTo>
                    <a:pt x="108" y="14"/>
                    <a:pt x="109" y="13"/>
                    <a:pt x="111" y="13"/>
                  </a:cubicBezTo>
                  <a:lnTo>
                    <a:pt x="272" y="0"/>
                  </a:lnTo>
                  <a:cubicBezTo>
                    <a:pt x="273" y="0"/>
                    <a:pt x="274" y="1"/>
                    <a:pt x="275" y="1"/>
                  </a:cubicBezTo>
                  <a:lnTo>
                    <a:pt x="320" y="47"/>
                  </a:lnTo>
                  <a:lnTo>
                    <a:pt x="352" y="47"/>
                  </a:lnTo>
                  <a:cubicBezTo>
                    <a:pt x="354" y="47"/>
                    <a:pt x="356" y="47"/>
                    <a:pt x="356" y="49"/>
                  </a:cubicBezTo>
                  <a:lnTo>
                    <a:pt x="403" y="121"/>
                  </a:lnTo>
                  <a:lnTo>
                    <a:pt x="465" y="162"/>
                  </a:lnTo>
                  <a:cubicBezTo>
                    <a:pt x="466" y="162"/>
                    <a:pt x="467" y="163"/>
                    <a:pt x="467" y="165"/>
                  </a:cubicBezTo>
                  <a:lnTo>
                    <a:pt x="484" y="241"/>
                  </a:lnTo>
                  <a:lnTo>
                    <a:pt x="476" y="262"/>
                  </a:lnTo>
                  <a:lnTo>
                    <a:pt x="529" y="319"/>
                  </a:lnTo>
                  <a:lnTo>
                    <a:pt x="535" y="368"/>
                  </a:lnTo>
                  <a:cubicBezTo>
                    <a:pt x="535" y="370"/>
                    <a:pt x="535" y="371"/>
                    <a:pt x="534" y="372"/>
                  </a:cubicBezTo>
                  <a:cubicBezTo>
                    <a:pt x="533" y="373"/>
                    <a:pt x="532" y="373"/>
                    <a:pt x="530" y="373"/>
                  </a:cubicBezTo>
                  <a:lnTo>
                    <a:pt x="446" y="378"/>
                  </a:lnTo>
                  <a:cubicBezTo>
                    <a:pt x="445" y="378"/>
                    <a:pt x="445" y="378"/>
                    <a:pt x="445" y="378"/>
                  </a:cubicBezTo>
                  <a:lnTo>
                    <a:pt x="326" y="34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4" name="Freeform 219"/>
            <p:cNvSpPr>
              <a:spLocks noChangeArrowheads="1"/>
            </p:cNvSpPr>
            <p:nvPr/>
          </p:nvSpPr>
          <p:spPr bwMode="auto">
            <a:xfrm>
              <a:off x="3711575" y="3232150"/>
              <a:ext cx="193675" cy="136525"/>
            </a:xfrm>
            <a:custGeom>
              <a:avLst/>
              <a:gdLst/>
              <a:ahLst/>
              <a:cxnLst>
                <a:cxn ang="0">
                  <a:pos x="445" y="378"/>
                </a:cxn>
                <a:cxn ang="0">
                  <a:pos x="326" y="348"/>
                </a:cxn>
                <a:cxn ang="0">
                  <a:pos x="213" y="352"/>
                </a:cxn>
                <a:cxn ang="0">
                  <a:pos x="159" y="373"/>
                </a:cxn>
                <a:cxn ang="0">
                  <a:pos x="73" y="373"/>
                </a:cxn>
                <a:cxn ang="0">
                  <a:pos x="68" y="369"/>
                </a:cxn>
                <a:cxn ang="0">
                  <a:pos x="68" y="314"/>
                </a:cxn>
                <a:cxn ang="0">
                  <a:pos x="72" y="309"/>
                </a:cxn>
                <a:cxn ang="0">
                  <a:pos x="148" y="296"/>
                </a:cxn>
                <a:cxn ang="0">
                  <a:pos x="211" y="267"/>
                </a:cxn>
                <a:cxn ang="0">
                  <a:pos x="213" y="267"/>
                </a:cxn>
                <a:cxn ang="0">
                  <a:pos x="214" y="267"/>
                </a:cxn>
                <a:cxn ang="0">
                  <a:pos x="293" y="296"/>
                </a:cxn>
                <a:cxn ang="0">
                  <a:pos x="318" y="281"/>
                </a:cxn>
                <a:cxn ang="0">
                  <a:pos x="318" y="277"/>
                </a:cxn>
                <a:cxn ang="0">
                  <a:pos x="277" y="284"/>
                </a:cxn>
                <a:cxn ang="0">
                  <a:pos x="217" y="251"/>
                </a:cxn>
                <a:cxn ang="0">
                  <a:pos x="177" y="271"/>
                </a:cxn>
                <a:cxn ang="0">
                  <a:pos x="90" y="272"/>
                </a:cxn>
                <a:cxn ang="0">
                  <a:pos x="86" y="270"/>
                </a:cxn>
                <a:cxn ang="0">
                  <a:pos x="22" y="177"/>
                </a:cxn>
                <a:cxn ang="0">
                  <a:pos x="3" y="170"/>
                </a:cxn>
                <a:cxn ang="0">
                  <a:pos x="0" y="166"/>
                </a:cxn>
                <a:cxn ang="0">
                  <a:pos x="3" y="161"/>
                </a:cxn>
                <a:cxn ang="0">
                  <a:pos x="62" y="132"/>
                </a:cxn>
                <a:cxn ang="0">
                  <a:pos x="86" y="87"/>
                </a:cxn>
                <a:cxn ang="0">
                  <a:pos x="85" y="51"/>
                </a:cxn>
                <a:cxn ang="0">
                  <a:pos x="107" y="15"/>
                </a:cxn>
                <a:cxn ang="0">
                  <a:pos x="111" y="13"/>
                </a:cxn>
                <a:cxn ang="0">
                  <a:pos x="272" y="0"/>
                </a:cxn>
                <a:cxn ang="0">
                  <a:pos x="275" y="1"/>
                </a:cxn>
                <a:cxn ang="0">
                  <a:pos x="320" y="47"/>
                </a:cxn>
                <a:cxn ang="0">
                  <a:pos x="352" y="47"/>
                </a:cxn>
                <a:cxn ang="0">
                  <a:pos x="356" y="49"/>
                </a:cxn>
                <a:cxn ang="0">
                  <a:pos x="403" y="121"/>
                </a:cxn>
                <a:cxn ang="0">
                  <a:pos x="465" y="162"/>
                </a:cxn>
                <a:cxn ang="0">
                  <a:pos x="467" y="165"/>
                </a:cxn>
                <a:cxn ang="0">
                  <a:pos x="484" y="241"/>
                </a:cxn>
                <a:cxn ang="0">
                  <a:pos x="476" y="262"/>
                </a:cxn>
                <a:cxn ang="0">
                  <a:pos x="529" y="319"/>
                </a:cxn>
                <a:cxn ang="0">
                  <a:pos x="535" y="368"/>
                </a:cxn>
                <a:cxn ang="0">
                  <a:pos x="534" y="372"/>
                </a:cxn>
                <a:cxn ang="0">
                  <a:pos x="530" y="373"/>
                </a:cxn>
                <a:cxn ang="0">
                  <a:pos x="446" y="378"/>
                </a:cxn>
                <a:cxn ang="0">
                  <a:pos x="445" y="378"/>
                </a:cxn>
              </a:cxnLst>
              <a:rect l="0" t="0" r="r" b="b"/>
              <a:pathLst>
                <a:path w="536" h="379">
                  <a:moveTo>
                    <a:pt x="445" y="378"/>
                  </a:moveTo>
                  <a:lnTo>
                    <a:pt x="326" y="348"/>
                  </a:lnTo>
                  <a:lnTo>
                    <a:pt x="213" y="352"/>
                  </a:lnTo>
                  <a:lnTo>
                    <a:pt x="159" y="373"/>
                  </a:lnTo>
                  <a:lnTo>
                    <a:pt x="73" y="373"/>
                  </a:lnTo>
                  <a:cubicBezTo>
                    <a:pt x="70" y="373"/>
                    <a:pt x="68" y="371"/>
                    <a:pt x="68" y="369"/>
                  </a:cubicBezTo>
                  <a:lnTo>
                    <a:pt x="68" y="314"/>
                  </a:lnTo>
                  <a:cubicBezTo>
                    <a:pt x="68" y="311"/>
                    <a:pt x="70" y="309"/>
                    <a:pt x="72" y="309"/>
                  </a:cubicBezTo>
                  <a:lnTo>
                    <a:pt x="148" y="296"/>
                  </a:lnTo>
                  <a:lnTo>
                    <a:pt x="211" y="267"/>
                  </a:lnTo>
                  <a:cubicBezTo>
                    <a:pt x="211" y="267"/>
                    <a:pt x="212" y="267"/>
                    <a:pt x="213" y="267"/>
                  </a:cubicBezTo>
                  <a:lnTo>
                    <a:pt x="214" y="267"/>
                  </a:lnTo>
                  <a:lnTo>
                    <a:pt x="293" y="296"/>
                  </a:lnTo>
                  <a:lnTo>
                    <a:pt x="318" y="281"/>
                  </a:lnTo>
                  <a:lnTo>
                    <a:pt x="318" y="277"/>
                  </a:lnTo>
                  <a:lnTo>
                    <a:pt x="277" y="284"/>
                  </a:lnTo>
                  <a:lnTo>
                    <a:pt x="217" y="251"/>
                  </a:lnTo>
                  <a:lnTo>
                    <a:pt x="177" y="271"/>
                  </a:lnTo>
                  <a:lnTo>
                    <a:pt x="90" y="272"/>
                  </a:lnTo>
                  <a:cubicBezTo>
                    <a:pt x="88" y="272"/>
                    <a:pt x="87" y="271"/>
                    <a:pt x="86" y="270"/>
                  </a:cubicBezTo>
                  <a:lnTo>
                    <a:pt x="22" y="177"/>
                  </a:lnTo>
                  <a:lnTo>
                    <a:pt x="3" y="170"/>
                  </a:lnTo>
                  <a:cubicBezTo>
                    <a:pt x="2" y="169"/>
                    <a:pt x="0" y="168"/>
                    <a:pt x="0" y="166"/>
                  </a:cubicBezTo>
                  <a:cubicBezTo>
                    <a:pt x="0" y="164"/>
                    <a:pt x="1" y="162"/>
                    <a:pt x="3" y="161"/>
                  </a:cubicBezTo>
                  <a:lnTo>
                    <a:pt x="62" y="132"/>
                  </a:lnTo>
                  <a:lnTo>
                    <a:pt x="86" y="87"/>
                  </a:lnTo>
                  <a:lnTo>
                    <a:pt x="85" y="51"/>
                  </a:lnTo>
                  <a:lnTo>
                    <a:pt x="107" y="15"/>
                  </a:lnTo>
                  <a:cubicBezTo>
                    <a:pt x="108" y="14"/>
                    <a:pt x="109" y="13"/>
                    <a:pt x="111" y="13"/>
                  </a:cubicBezTo>
                  <a:lnTo>
                    <a:pt x="272" y="0"/>
                  </a:lnTo>
                  <a:cubicBezTo>
                    <a:pt x="273" y="0"/>
                    <a:pt x="274" y="1"/>
                    <a:pt x="275" y="1"/>
                  </a:cubicBezTo>
                  <a:lnTo>
                    <a:pt x="320" y="47"/>
                  </a:lnTo>
                  <a:lnTo>
                    <a:pt x="352" y="47"/>
                  </a:lnTo>
                  <a:cubicBezTo>
                    <a:pt x="354" y="47"/>
                    <a:pt x="356" y="47"/>
                    <a:pt x="356" y="49"/>
                  </a:cubicBezTo>
                  <a:lnTo>
                    <a:pt x="403" y="121"/>
                  </a:lnTo>
                  <a:lnTo>
                    <a:pt x="465" y="162"/>
                  </a:lnTo>
                  <a:cubicBezTo>
                    <a:pt x="466" y="162"/>
                    <a:pt x="467" y="163"/>
                    <a:pt x="467" y="165"/>
                  </a:cubicBezTo>
                  <a:lnTo>
                    <a:pt x="484" y="241"/>
                  </a:lnTo>
                  <a:lnTo>
                    <a:pt x="476" y="262"/>
                  </a:lnTo>
                  <a:lnTo>
                    <a:pt x="529" y="319"/>
                  </a:lnTo>
                  <a:lnTo>
                    <a:pt x="535" y="368"/>
                  </a:lnTo>
                  <a:cubicBezTo>
                    <a:pt x="535" y="370"/>
                    <a:pt x="535" y="371"/>
                    <a:pt x="534" y="372"/>
                  </a:cubicBezTo>
                  <a:cubicBezTo>
                    <a:pt x="533" y="373"/>
                    <a:pt x="532" y="373"/>
                    <a:pt x="530" y="373"/>
                  </a:cubicBezTo>
                  <a:lnTo>
                    <a:pt x="446" y="378"/>
                  </a:lnTo>
                  <a:lnTo>
                    <a:pt x="445" y="37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5" name="Freeform 220"/>
            <p:cNvSpPr>
              <a:spLocks noChangeArrowheads="1"/>
            </p:cNvSpPr>
            <p:nvPr/>
          </p:nvSpPr>
          <p:spPr bwMode="auto">
            <a:xfrm>
              <a:off x="3840163" y="3440113"/>
              <a:ext cx="93662" cy="93662"/>
            </a:xfrm>
            <a:custGeom>
              <a:avLst/>
              <a:gdLst/>
              <a:ahLst/>
              <a:cxnLst>
                <a:cxn ang="0">
                  <a:pos x="151" y="258"/>
                </a:cxn>
                <a:cxn ang="0">
                  <a:pos x="79" y="224"/>
                </a:cxn>
                <a:cxn ang="0">
                  <a:pos x="36" y="181"/>
                </a:cxn>
                <a:cxn ang="0">
                  <a:pos x="6" y="142"/>
                </a:cxn>
                <a:cxn ang="0">
                  <a:pos x="5" y="139"/>
                </a:cxn>
                <a:cxn ang="0">
                  <a:pos x="7" y="136"/>
                </a:cxn>
                <a:cxn ang="0">
                  <a:pos x="17" y="129"/>
                </a:cxn>
                <a:cxn ang="0">
                  <a:pos x="0" y="73"/>
                </a:cxn>
                <a:cxn ang="0">
                  <a:pos x="1" y="69"/>
                </a:cxn>
                <a:cxn ang="0">
                  <a:pos x="5" y="67"/>
                </a:cxn>
                <a:cxn ang="0">
                  <a:pos x="24" y="67"/>
                </a:cxn>
                <a:cxn ang="0">
                  <a:pos x="74" y="5"/>
                </a:cxn>
                <a:cxn ang="0">
                  <a:pos x="77" y="4"/>
                </a:cxn>
                <a:cxn ang="0">
                  <a:pos x="175" y="0"/>
                </a:cxn>
                <a:cxn ang="0">
                  <a:pos x="178" y="2"/>
                </a:cxn>
                <a:cxn ang="0">
                  <a:pos x="238" y="86"/>
                </a:cxn>
                <a:cxn ang="0">
                  <a:pos x="238" y="90"/>
                </a:cxn>
                <a:cxn ang="0">
                  <a:pos x="224" y="132"/>
                </a:cxn>
                <a:cxn ang="0">
                  <a:pos x="249" y="122"/>
                </a:cxn>
                <a:cxn ang="0">
                  <a:pos x="251" y="122"/>
                </a:cxn>
                <a:cxn ang="0">
                  <a:pos x="254" y="123"/>
                </a:cxn>
                <a:cxn ang="0">
                  <a:pos x="255" y="127"/>
                </a:cxn>
                <a:cxn ang="0">
                  <a:pos x="255" y="135"/>
                </a:cxn>
                <a:cxn ang="0">
                  <a:pos x="260" y="151"/>
                </a:cxn>
                <a:cxn ang="0">
                  <a:pos x="257" y="157"/>
                </a:cxn>
                <a:cxn ang="0">
                  <a:pos x="234" y="164"/>
                </a:cxn>
                <a:cxn ang="0">
                  <a:pos x="234" y="190"/>
                </a:cxn>
                <a:cxn ang="0">
                  <a:pos x="233" y="194"/>
                </a:cxn>
                <a:cxn ang="0">
                  <a:pos x="156" y="257"/>
                </a:cxn>
                <a:cxn ang="0">
                  <a:pos x="153" y="258"/>
                </a:cxn>
                <a:cxn ang="0">
                  <a:pos x="151" y="258"/>
                </a:cxn>
              </a:cxnLst>
              <a:rect l="0" t="0" r="r" b="b"/>
              <a:pathLst>
                <a:path w="261" h="259">
                  <a:moveTo>
                    <a:pt x="151" y="258"/>
                  </a:moveTo>
                  <a:lnTo>
                    <a:pt x="79" y="224"/>
                  </a:lnTo>
                  <a:lnTo>
                    <a:pt x="36" y="181"/>
                  </a:lnTo>
                  <a:lnTo>
                    <a:pt x="6" y="142"/>
                  </a:lnTo>
                  <a:cubicBezTo>
                    <a:pt x="5" y="141"/>
                    <a:pt x="4" y="140"/>
                    <a:pt x="5" y="139"/>
                  </a:cubicBezTo>
                  <a:cubicBezTo>
                    <a:pt x="5" y="138"/>
                    <a:pt x="6" y="136"/>
                    <a:pt x="7" y="136"/>
                  </a:cubicBezTo>
                  <a:lnTo>
                    <a:pt x="17" y="129"/>
                  </a:lnTo>
                  <a:lnTo>
                    <a:pt x="0" y="73"/>
                  </a:lnTo>
                  <a:cubicBezTo>
                    <a:pt x="0" y="72"/>
                    <a:pt x="0" y="70"/>
                    <a:pt x="1" y="69"/>
                  </a:cubicBezTo>
                  <a:cubicBezTo>
                    <a:pt x="2" y="68"/>
                    <a:pt x="4" y="67"/>
                    <a:pt x="5" y="67"/>
                  </a:cubicBezTo>
                  <a:lnTo>
                    <a:pt x="24" y="67"/>
                  </a:lnTo>
                  <a:lnTo>
                    <a:pt x="74" y="5"/>
                  </a:lnTo>
                  <a:cubicBezTo>
                    <a:pt x="74" y="4"/>
                    <a:pt x="76" y="4"/>
                    <a:pt x="77" y="4"/>
                  </a:cubicBezTo>
                  <a:lnTo>
                    <a:pt x="175" y="0"/>
                  </a:lnTo>
                  <a:cubicBezTo>
                    <a:pt x="176" y="0"/>
                    <a:pt x="177" y="0"/>
                    <a:pt x="178" y="2"/>
                  </a:cubicBezTo>
                  <a:lnTo>
                    <a:pt x="238" y="86"/>
                  </a:lnTo>
                  <a:cubicBezTo>
                    <a:pt x="239" y="87"/>
                    <a:pt x="239" y="89"/>
                    <a:pt x="238" y="90"/>
                  </a:cubicBezTo>
                  <a:lnTo>
                    <a:pt x="224" y="132"/>
                  </a:lnTo>
                  <a:lnTo>
                    <a:pt x="249" y="122"/>
                  </a:lnTo>
                  <a:cubicBezTo>
                    <a:pt x="250" y="122"/>
                    <a:pt x="250" y="122"/>
                    <a:pt x="251" y="122"/>
                  </a:cubicBezTo>
                  <a:cubicBezTo>
                    <a:pt x="252" y="122"/>
                    <a:pt x="253" y="122"/>
                    <a:pt x="254" y="123"/>
                  </a:cubicBezTo>
                  <a:cubicBezTo>
                    <a:pt x="255" y="124"/>
                    <a:pt x="255" y="125"/>
                    <a:pt x="255" y="127"/>
                  </a:cubicBezTo>
                  <a:lnTo>
                    <a:pt x="255" y="135"/>
                  </a:lnTo>
                  <a:lnTo>
                    <a:pt x="260" y="151"/>
                  </a:lnTo>
                  <a:cubicBezTo>
                    <a:pt x="260" y="153"/>
                    <a:pt x="259" y="156"/>
                    <a:pt x="257" y="157"/>
                  </a:cubicBezTo>
                  <a:lnTo>
                    <a:pt x="234" y="164"/>
                  </a:lnTo>
                  <a:lnTo>
                    <a:pt x="234" y="190"/>
                  </a:lnTo>
                  <a:cubicBezTo>
                    <a:pt x="234" y="192"/>
                    <a:pt x="234" y="193"/>
                    <a:pt x="233" y="194"/>
                  </a:cubicBezTo>
                  <a:lnTo>
                    <a:pt x="156" y="257"/>
                  </a:lnTo>
                  <a:cubicBezTo>
                    <a:pt x="155" y="258"/>
                    <a:pt x="154" y="258"/>
                    <a:pt x="153" y="258"/>
                  </a:cubicBezTo>
                  <a:cubicBezTo>
                    <a:pt x="153" y="258"/>
                    <a:pt x="152" y="258"/>
                    <a:pt x="151" y="25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6" name="Freeform 221"/>
            <p:cNvSpPr>
              <a:spLocks noChangeArrowheads="1"/>
            </p:cNvSpPr>
            <p:nvPr/>
          </p:nvSpPr>
          <p:spPr bwMode="auto">
            <a:xfrm>
              <a:off x="3840163" y="3440113"/>
              <a:ext cx="93662" cy="93662"/>
            </a:xfrm>
            <a:custGeom>
              <a:avLst/>
              <a:gdLst/>
              <a:ahLst/>
              <a:cxnLst>
                <a:cxn ang="0">
                  <a:pos x="153" y="258"/>
                </a:cxn>
                <a:cxn ang="0">
                  <a:pos x="151" y="258"/>
                </a:cxn>
                <a:cxn ang="0">
                  <a:pos x="79" y="224"/>
                </a:cxn>
                <a:cxn ang="0">
                  <a:pos x="36" y="181"/>
                </a:cxn>
                <a:cxn ang="0">
                  <a:pos x="6" y="142"/>
                </a:cxn>
                <a:cxn ang="0">
                  <a:pos x="5" y="139"/>
                </a:cxn>
                <a:cxn ang="0">
                  <a:pos x="7" y="136"/>
                </a:cxn>
                <a:cxn ang="0">
                  <a:pos x="17" y="129"/>
                </a:cxn>
                <a:cxn ang="0">
                  <a:pos x="0" y="73"/>
                </a:cxn>
                <a:cxn ang="0">
                  <a:pos x="1" y="69"/>
                </a:cxn>
                <a:cxn ang="0">
                  <a:pos x="5" y="67"/>
                </a:cxn>
                <a:cxn ang="0">
                  <a:pos x="24" y="67"/>
                </a:cxn>
                <a:cxn ang="0">
                  <a:pos x="74" y="5"/>
                </a:cxn>
                <a:cxn ang="0">
                  <a:pos x="77" y="4"/>
                </a:cxn>
                <a:cxn ang="0">
                  <a:pos x="175" y="0"/>
                </a:cxn>
                <a:cxn ang="0">
                  <a:pos x="178" y="2"/>
                </a:cxn>
                <a:cxn ang="0">
                  <a:pos x="238" y="86"/>
                </a:cxn>
                <a:cxn ang="0">
                  <a:pos x="238" y="90"/>
                </a:cxn>
                <a:cxn ang="0">
                  <a:pos x="224" y="132"/>
                </a:cxn>
                <a:cxn ang="0">
                  <a:pos x="249" y="122"/>
                </a:cxn>
                <a:cxn ang="0">
                  <a:pos x="251" y="122"/>
                </a:cxn>
                <a:cxn ang="0">
                  <a:pos x="254" y="123"/>
                </a:cxn>
                <a:cxn ang="0">
                  <a:pos x="255" y="127"/>
                </a:cxn>
                <a:cxn ang="0">
                  <a:pos x="255" y="135"/>
                </a:cxn>
                <a:cxn ang="0">
                  <a:pos x="260" y="151"/>
                </a:cxn>
                <a:cxn ang="0">
                  <a:pos x="257" y="157"/>
                </a:cxn>
                <a:cxn ang="0">
                  <a:pos x="234" y="164"/>
                </a:cxn>
                <a:cxn ang="0">
                  <a:pos x="234" y="190"/>
                </a:cxn>
                <a:cxn ang="0">
                  <a:pos x="233" y="194"/>
                </a:cxn>
                <a:cxn ang="0">
                  <a:pos x="156" y="257"/>
                </a:cxn>
                <a:cxn ang="0">
                  <a:pos x="153" y="258"/>
                </a:cxn>
              </a:cxnLst>
              <a:rect l="0" t="0" r="r" b="b"/>
              <a:pathLst>
                <a:path w="261" h="259">
                  <a:moveTo>
                    <a:pt x="153" y="258"/>
                  </a:moveTo>
                  <a:cubicBezTo>
                    <a:pt x="153" y="258"/>
                    <a:pt x="152" y="258"/>
                    <a:pt x="151" y="258"/>
                  </a:cubicBezTo>
                  <a:lnTo>
                    <a:pt x="79" y="224"/>
                  </a:lnTo>
                  <a:lnTo>
                    <a:pt x="36" y="181"/>
                  </a:lnTo>
                  <a:lnTo>
                    <a:pt x="6" y="142"/>
                  </a:lnTo>
                  <a:cubicBezTo>
                    <a:pt x="5" y="141"/>
                    <a:pt x="4" y="140"/>
                    <a:pt x="5" y="139"/>
                  </a:cubicBezTo>
                  <a:cubicBezTo>
                    <a:pt x="5" y="138"/>
                    <a:pt x="6" y="136"/>
                    <a:pt x="7" y="136"/>
                  </a:cubicBezTo>
                  <a:lnTo>
                    <a:pt x="17" y="129"/>
                  </a:lnTo>
                  <a:lnTo>
                    <a:pt x="0" y="73"/>
                  </a:lnTo>
                  <a:cubicBezTo>
                    <a:pt x="0" y="72"/>
                    <a:pt x="0" y="70"/>
                    <a:pt x="1" y="69"/>
                  </a:cubicBezTo>
                  <a:cubicBezTo>
                    <a:pt x="2" y="68"/>
                    <a:pt x="4" y="67"/>
                    <a:pt x="5" y="67"/>
                  </a:cubicBezTo>
                  <a:lnTo>
                    <a:pt x="24" y="67"/>
                  </a:lnTo>
                  <a:lnTo>
                    <a:pt x="74" y="5"/>
                  </a:lnTo>
                  <a:cubicBezTo>
                    <a:pt x="74" y="4"/>
                    <a:pt x="76" y="4"/>
                    <a:pt x="77" y="4"/>
                  </a:cubicBezTo>
                  <a:lnTo>
                    <a:pt x="175" y="0"/>
                  </a:lnTo>
                  <a:cubicBezTo>
                    <a:pt x="176" y="0"/>
                    <a:pt x="177" y="0"/>
                    <a:pt x="178" y="2"/>
                  </a:cubicBezTo>
                  <a:lnTo>
                    <a:pt x="238" y="86"/>
                  </a:lnTo>
                  <a:cubicBezTo>
                    <a:pt x="239" y="87"/>
                    <a:pt x="239" y="89"/>
                    <a:pt x="238" y="90"/>
                  </a:cubicBezTo>
                  <a:lnTo>
                    <a:pt x="224" y="132"/>
                  </a:lnTo>
                  <a:lnTo>
                    <a:pt x="249" y="122"/>
                  </a:lnTo>
                  <a:cubicBezTo>
                    <a:pt x="250" y="122"/>
                    <a:pt x="250" y="122"/>
                    <a:pt x="251" y="122"/>
                  </a:cubicBezTo>
                  <a:cubicBezTo>
                    <a:pt x="252" y="122"/>
                    <a:pt x="253" y="122"/>
                    <a:pt x="254" y="123"/>
                  </a:cubicBezTo>
                  <a:cubicBezTo>
                    <a:pt x="255" y="124"/>
                    <a:pt x="255" y="125"/>
                    <a:pt x="255" y="127"/>
                  </a:cubicBezTo>
                  <a:lnTo>
                    <a:pt x="255" y="135"/>
                  </a:lnTo>
                  <a:lnTo>
                    <a:pt x="260" y="151"/>
                  </a:lnTo>
                  <a:cubicBezTo>
                    <a:pt x="260" y="153"/>
                    <a:pt x="259" y="156"/>
                    <a:pt x="257" y="157"/>
                  </a:cubicBezTo>
                  <a:lnTo>
                    <a:pt x="234" y="164"/>
                  </a:lnTo>
                  <a:lnTo>
                    <a:pt x="234" y="190"/>
                  </a:lnTo>
                  <a:cubicBezTo>
                    <a:pt x="234" y="192"/>
                    <a:pt x="234" y="193"/>
                    <a:pt x="233" y="194"/>
                  </a:cubicBezTo>
                  <a:lnTo>
                    <a:pt x="156" y="257"/>
                  </a:lnTo>
                  <a:cubicBezTo>
                    <a:pt x="155" y="258"/>
                    <a:pt x="154" y="258"/>
                    <a:pt x="153" y="25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7" name="Freeform 222"/>
            <p:cNvSpPr>
              <a:spLocks noChangeArrowheads="1"/>
            </p:cNvSpPr>
            <p:nvPr/>
          </p:nvSpPr>
          <p:spPr bwMode="auto">
            <a:xfrm>
              <a:off x="3852863" y="3514725"/>
              <a:ext cx="12700" cy="6350"/>
            </a:xfrm>
            <a:custGeom>
              <a:avLst/>
              <a:gdLst/>
              <a:ahLst/>
              <a:cxnLst>
                <a:cxn ang="0">
                  <a:pos x="10" y="16"/>
                </a:cxn>
                <a:cxn ang="0">
                  <a:pos x="2" y="8"/>
                </a:cxn>
                <a:cxn ang="0">
                  <a:pos x="1" y="3"/>
                </a:cxn>
                <a:cxn ang="0">
                  <a:pos x="5" y="0"/>
                </a:cxn>
                <a:cxn ang="0">
                  <a:pos x="30" y="0"/>
                </a:cxn>
                <a:cxn ang="0">
                  <a:pos x="35" y="3"/>
                </a:cxn>
                <a:cxn ang="0">
                  <a:pos x="33" y="9"/>
                </a:cxn>
                <a:cxn ang="0">
                  <a:pos x="16" y="17"/>
                </a:cxn>
                <a:cxn ang="0">
                  <a:pos x="13" y="18"/>
                </a:cxn>
                <a:cxn ang="0">
                  <a:pos x="10" y="16"/>
                </a:cxn>
              </a:cxnLst>
              <a:rect l="0" t="0" r="r" b="b"/>
              <a:pathLst>
                <a:path w="37" h="19">
                  <a:moveTo>
                    <a:pt x="10" y="16"/>
                  </a:moveTo>
                  <a:lnTo>
                    <a:pt x="2" y="8"/>
                  </a:lnTo>
                  <a:cubicBezTo>
                    <a:pt x="0" y="6"/>
                    <a:pt x="0" y="4"/>
                    <a:pt x="1" y="3"/>
                  </a:cubicBezTo>
                  <a:cubicBezTo>
                    <a:pt x="1" y="1"/>
                    <a:pt x="3" y="0"/>
                    <a:pt x="5" y="0"/>
                  </a:cubicBezTo>
                  <a:lnTo>
                    <a:pt x="30" y="0"/>
                  </a:lnTo>
                  <a:cubicBezTo>
                    <a:pt x="33" y="0"/>
                    <a:pt x="34" y="1"/>
                    <a:pt x="35" y="3"/>
                  </a:cubicBezTo>
                  <a:cubicBezTo>
                    <a:pt x="36" y="6"/>
                    <a:pt x="34" y="8"/>
                    <a:pt x="33" y="9"/>
                  </a:cubicBezTo>
                  <a:lnTo>
                    <a:pt x="16" y="17"/>
                  </a:lnTo>
                  <a:cubicBezTo>
                    <a:pt x="15" y="18"/>
                    <a:pt x="14" y="18"/>
                    <a:pt x="13" y="18"/>
                  </a:cubicBezTo>
                  <a:cubicBezTo>
                    <a:pt x="12" y="18"/>
                    <a:pt x="11" y="17"/>
                    <a:pt x="10" y="1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8" name="Freeform 223"/>
            <p:cNvSpPr>
              <a:spLocks noChangeArrowheads="1"/>
            </p:cNvSpPr>
            <p:nvPr/>
          </p:nvSpPr>
          <p:spPr bwMode="auto">
            <a:xfrm>
              <a:off x="3852863" y="3514725"/>
              <a:ext cx="12700" cy="6350"/>
            </a:xfrm>
            <a:custGeom>
              <a:avLst/>
              <a:gdLst/>
              <a:ahLst/>
              <a:cxnLst>
                <a:cxn ang="0">
                  <a:pos x="13" y="18"/>
                </a:cxn>
                <a:cxn ang="0">
                  <a:pos x="10" y="16"/>
                </a:cxn>
                <a:cxn ang="0">
                  <a:pos x="2" y="8"/>
                </a:cxn>
                <a:cxn ang="0">
                  <a:pos x="1" y="3"/>
                </a:cxn>
                <a:cxn ang="0">
                  <a:pos x="5" y="0"/>
                </a:cxn>
                <a:cxn ang="0">
                  <a:pos x="30" y="0"/>
                </a:cxn>
                <a:cxn ang="0">
                  <a:pos x="35" y="3"/>
                </a:cxn>
                <a:cxn ang="0">
                  <a:pos x="33" y="9"/>
                </a:cxn>
                <a:cxn ang="0">
                  <a:pos x="16" y="17"/>
                </a:cxn>
                <a:cxn ang="0">
                  <a:pos x="13" y="18"/>
                </a:cxn>
              </a:cxnLst>
              <a:rect l="0" t="0" r="r" b="b"/>
              <a:pathLst>
                <a:path w="37" h="19">
                  <a:moveTo>
                    <a:pt x="13" y="18"/>
                  </a:moveTo>
                  <a:cubicBezTo>
                    <a:pt x="12" y="18"/>
                    <a:pt x="11" y="17"/>
                    <a:pt x="10" y="16"/>
                  </a:cubicBezTo>
                  <a:lnTo>
                    <a:pt x="2" y="8"/>
                  </a:lnTo>
                  <a:cubicBezTo>
                    <a:pt x="0" y="6"/>
                    <a:pt x="0" y="4"/>
                    <a:pt x="1" y="3"/>
                  </a:cubicBezTo>
                  <a:cubicBezTo>
                    <a:pt x="1" y="1"/>
                    <a:pt x="3" y="0"/>
                    <a:pt x="5" y="0"/>
                  </a:cubicBezTo>
                  <a:lnTo>
                    <a:pt x="30" y="0"/>
                  </a:lnTo>
                  <a:cubicBezTo>
                    <a:pt x="33" y="0"/>
                    <a:pt x="34" y="1"/>
                    <a:pt x="35" y="3"/>
                  </a:cubicBezTo>
                  <a:cubicBezTo>
                    <a:pt x="36" y="6"/>
                    <a:pt x="34" y="8"/>
                    <a:pt x="33" y="9"/>
                  </a:cubicBezTo>
                  <a:lnTo>
                    <a:pt x="16" y="17"/>
                  </a:lnTo>
                  <a:cubicBezTo>
                    <a:pt x="15" y="18"/>
                    <a:pt x="14" y="18"/>
                    <a:pt x="13" y="1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29" name="Freeform 224"/>
            <p:cNvSpPr>
              <a:spLocks noChangeArrowheads="1"/>
            </p:cNvSpPr>
            <p:nvPr/>
          </p:nvSpPr>
          <p:spPr bwMode="auto">
            <a:xfrm>
              <a:off x="5472113" y="3379788"/>
              <a:ext cx="314325" cy="411162"/>
            </a:xfrm>
            <a:custGeom>
              <a:avLst/>
              <a:gdLst/>
              <a:ahLst/>
              <a:cxnLst>
                <a:cxn ang="0">
                  <a:pos x="51" y="1143"/>
                </a:cxn>
                <a:cxn ang="0">
                  <a:pos x="48" y="1141"/>
                </a:cxn>
                <a:cxn ang="0">
                  <a:pos x="1" y="1077"/>
                </a:cxn>
                <a:cxn ang="0">
                  <a:pos x="0" y="767"/>
                </a:cxn>
                <a:cxn ang="0">
                  <a:pos x="78" y="671"/>
                </a:cxn>
                <a:cxn ang="0">
                  <a:pos x="244" y="585"/>
                </a:cxn>
                <a:cxn ang="0">
                  <a:pos x="344" y="576"/>
                </a:cxn>
                <a:cxn ang="0">
                  <a:pos x="574" y="353"/>
                </a:cxn>
                <a:cxn ang="0">
                  <a:pos x="585" y="332"/>
                </a:cxn>
                <a:cxn ang="0">
                  <a:pos x="514" y="340"/>
                </a:cxn>
                <a:cxn ang="0">
                  <a:pos x="258" y="247"/>
                </a:cxn>
                <a:cxn ang="0">
                  <a:pos x="163" y="148"/>
                </a:cxn>
                <a:cxn ang="0">
                  <a:pos x="161" y="145"/>
                </a:cxn>
                <a:cxn ang="0">
                  <a:pos x="161" y="90"/>
                </a:cxn>
                <a:cxn ang="0">
                  <a:pos x="187" y="41"/>
                </a:cxn>
                <a:cxn ang="0">
                  <a:pos x="191" y="39"/>
                </a:cxn>
                <a:cxn ang="0">
                  <a:pos x="191" y="39"/>
                </a:cxn>
                <a:cxn ang="0">
                  <a:pos x="195" y="40"/>
                </a:cxn>
                <a:cxn ang="0">
                  <a:pos x="295" y="131"/>
                </a:cxn>
                <a:cxn ang="0">
                  <a:pos x="335" y="127"/>
                </a:cxn>
                <a:cxn ang="0">
                  <a:pos x="397" y="90"/>
                </a:cxn>
                <a:cxn ang="0">
                  <a:pos x="399" y="89"/>
                </a:cxn>
                <a:cxn ang="0">
                  <a:pos x="400" y="89"/>
                </a:cxn>
                <a:cxn ang="0">
                  <a:pos x="466" y="106"/>
                </a:cxn>
                <a:cxn ang="0">
                  <a:pos x="528" y="69"/>
                </a:cxn>
                <a:cxn ang="0">
                  <a:pos x="686" y="47"/>
                </a:cxn>
                <a:cxn ang="0">
                  <a:pos x="762" y="34"/>
                </a:cxn>
                <a:cxn ang="0">
                  <a:pos x="807" y="1"/>
                </a:cxn>
                <a:cxn ang="0">
                  <a:pos x="810" y="0"/>
                </a:cxn>
                <a:cxn ang="0">
                  <a:pos x="812" y="1"/>
                </a:cxn>
                <a:cxn ang="0">
                  <a:pos x="854" y="18"/>
                </a:cxn>
                <a:cxn ang="0">
                  <a:pos x="857" y="23"/>
                </a:cxn>
                <a:cxn ang="0">
                  <a:pos x="848" y="61"/>
                </a:cxn>
                <a:cxn ang="0">
                  <a:pos x="853" y="123"/>
                </a:cxn>
                <a:cxn ang="0">
                  <a:pos x="847" y="134"/>
                </a:cxn>
                <a:cxn ang="0">
                  <a:pos x="866" y="140"/>
                </a:cxn>
                <a:cxn ang="0">
                  <a:pos x="870" y="145"/>
                </a:cxn>
                <a:cxn ang="0">
                  <a:pos x="865" y="149"/>
                </a:cxn>
                <a:cxn ang="0">
                  <a:pos x="831" y="153"/>
                </a:cxn>
                <a:cxn ang="0">
                  <a:pos x="814" y="243"/>
                </a:cxn>
                <a:cxn ang="0">
                  <a:pos x="767" y="321"/>
                </a:cxn>
                <a:cxn ang="0">
                  <a:pos x="745" y="343"/>
                </a:cxn>
                <a:cxn ang="0">
                  <a:pos x="666" y="532"/>
                </a:cxn>
                <a:cxn ang="0">
                  <a:pos x="614" y="584"/>
                </a:cxn>
                <a:cxn ang="0">
                  <a:pos x="564" y="668"/>
                </a:cxn>
                <a:cxn ang="0">
                  <a:pos x="411" y="817"/>
                </a:cxn>
                <a:cxn ang="0">
                  <a:pos x="338" y="855"/>
                </a:cxn>
                <a:cxn ang="0">
                  <a:pos x="169" y="1014"/>
                </a:cxn>
                <a:cxn ang="0">
                  <a:pos x="140" y="1019"/>
                </a:cxn>
                <a:cxn ang="0">
                  <a:pos x="137" y="1046"/>
                </a:cxn>
                <a:cxn ang="0">
                  <a:pos x="55" y="1141"/>
                </a:cxn>
                <a:cxn ang="0">
                  <a:pos x="52" y="1143"/>
                </a:cxn>
                <a:cxn ang="0">
                  <a:pos x="51" y="1143"/>
                </a:cxn>
              </a:cxnLst>
              <a:rect l="0" t="0" r="r" b="b"/>
              <a:pathLst>
                <a:path w="871" h="1144">
                  <a:moveTo>
                    <a:pt x="51" y="1143"/>
                  </a:moveTo>
                  <a:cubicBezTo>
                    <a:pt x="50" y="1143"/>
                    <a:pt x="49" y="1142"/>
                    <a:pt x="48" y="1141"/>
                  </a:cubicBezTo>
                  <a:lnTo>
                    <a:pt x="1" y="1077"/>
                  </a:lnTo>
                  <a:lnTo>
                    <a:pt x="0" y="767"/>
                  </a:lnTo>
                  <a:lnTo>
                    <a:pt x="78" y="671"/>
                  </a:lnTo>
                  <a:lnTo>
                    <a:pt x="244" y="585"/>
                  </a:lnTo>
                  <a:lnTo>
                    <a:pt x="344" y="576"/>
                  </a:lnTo>
                  <a:lnTo>
                    <a:pt x="574" y="353"/>
                  </a:lnTo>
                  <a:lnTo>
                    <a:pt x="585" y="332"/>
                  </a:lnTo>
                  <a:lnTo>
                    <a:pt x="514" y="340"/>
                  </a:lnTo>
                  <a:lnTo>
                    <a:pt x="258" y="247"/>
                  </a:lnTo>
                  <a:lnTo>
                    <a:pt x="163" y="148"/>
                  </a:lnTo>
                  <a:cubicBezTo>
                    <a:pt x="162" y="147"/>
                    <a:pt x="161" y="146"/>
                    <a:pt x="161" y="145"/>
                  </a:cubicBezTo>
                  <a:lnTo>
                    <a:pt x="161" y="90"/>
                  </a:lnTo>
                  <a:lnTo>
                    <a:pt x="187" y="41"/>
                  </a:lnTo>
                  <a:cubicBezTo>
                    <a:pt x="188" y="40"/>
                    <a:pt x="189" y="39"/>
                    <a:pt x="191" y="39"/>
                  </a:cubicBezTo>
                  <a:lnTo>
                    <a:pt x="191" y="39"/>
                  </a:lnTo>
                  <a:cubicBezTo>
                    <a:pt x="192" y="39"/>
                    <a:pt x="194" y="39"/>
                    <a:pt x="195" y="40"/>
                  </a:cubicBezTo>
                  <a:lnTo>
                    <a:pt x="295" y="131"/>
                  </a:lnTo>
                  <a:lnTo>
                    <a:pt x="335" y="127"/>
                  </a:lnTo>
                  <a:lnTo>
                    <a:pt x="397" y="90"/>
                  </a:lnTo>
                  <a:cubicBezTo>
                    <a:pt x="397" y="90"/>
                    <a:pt x="398" y="89"/>
                    <a:pt x="399" y="89"/>
                  </a:cubicBezTo>
                  <a:lnTo>
                    <a:pt x="400" y="89"/>
                  </a:lnTo>
                  <a:lnTo>
                    <a:pt x="466" y="106"/>
                  </a:lnTo>
                  <a:lnTo>
                    <a:pt x="528" y="69"/>
                  </a:lnTo>
                  <a:lnTo>
                    <a:pt x="686" y="47"/>
                  </a:lnTo>
                  <a:lnTo>
                    <a:pt x="762" y="34"/>
                  </a:lnTo>
                  <a:lnTo>
                    <a:pt x="807" y="1"/>
                  </a:lnTo>
                  <a:cubicBezTo>
                    <a:pt x="808" y="1"/>
                    <a:pt x="809" y="0"/>
                    <a:pt x="810" y="0"/>
                  </a:cubicBezTo>
                  <a:cubicBezTo>
                    <a:pt x="810" y="0"/>
                    <a:pt x="811" y="1"/>
                    <a:pt x="812" y="1"/>
                  </a:cubicBezTo>
                  <a:lnTo>
                    <a:pt x="854" y="18"/>
                  </a:lnTo>
                  <a:cubicBezTo>
                    <a:pt x="856" y="19"/>
                    <a:pt x="857" y="21"/>
                    <a:pt x="857" y="23"/>
                  </a:cubicBezTo>
                  <a:lnTo>
                    <a:pt x="848" y="61"/>
                  </a:lnTo>
                  <a:lnTo>
                    <a:pt x="853" y="123"/>
                  </a:lnTo>
                  <a:lnTo>
                    <a:pt x="847" y="134"/>
                  </a:lnTo>
                  <a:lnTo>
                    <a:pt x="866" y="140"/>
                  </a:lnTo>
                  <a:cubicBezTo>
                    <a:pt x="869" y="141"/>
                    <a:pt x="870" y="143"/>
                    <a:pt x="870" y="145"/>
                  </a:cubicBezTo>
                  <a:cubicBezTo>
                    <a:pt x="869" y="147"/>
                    <a:pt x="868" y="149"/>
                    <a:pt x="865" y="149"/>
                  </a:cubicBezTo>
                  <a:lnTo>
                    <a:pt x="831" y="153"/>
                  </a:lnTo>
                  <a:lnTo>
                    <a:pt x="814" y="243"/>
                  </a:lnTo>
                  <a:lnTo>
                    <a:pt x="767" y="321"/>
                  </a:lnTo>
                  <a:lnTo>
                    <a:pt x="745" y="343"/>
                  </a:lnTo>
                  <a:lnTo>
                    <a:pt x="666" y="532"/>
                  </a:lnTo>
                  <a:lnTo>
                    <a:pt x="614" y="584"/>
                  </a:lnTo>
                  <a:lnTo>
                    <a:pt x="564" y="668"/>
                  </a:lnTo>
                  <a:lnTo>
                    <a:pt x="411" y="817"/>
                  </a:lnTo>
                  <a:lnTo>
                    <a:pt x="338" y="855"/>
                  </a:lnTo>
                  <a:lnTo>
                    <a:pt x="169" y="1014"/>
                  </a:lnTo>
                  <a:lnTo>
                    <a:pt x="140" y="1019"/>
                  </a:lnTo>
                  <a:lnTo>
                    <a:pt x="137" y="1046"/>
                  </a:lnTo>
                  <a:lnTo>
                    <a:pt x="55" y="1141"/>
                  </a:lnTo>
                  <a:cubicBezTo>
                    <a:pt x="54" y="1142"/>
                    <a:pt x="53" y="1143"/>
                    <a:pt x="52" y="1143"/>
                  </a:cubicBezTo>
                  <a:lnTo>
                    <a:pt x="51" y="114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0" name="Freeform 225"/>
            <p:cNvSpPr>
              <a:spLocks noChangeArrowheads="1"/>
            </p:cNvSpPr>
            <p:nvPr/>
          </p:nvSpPr>
          <p:spPr bwMode="auto">
            <a:xfrm>
              <a:off x="5472113" y="3379788"/>
              <a:ext cx="314325" cy="411162"/>
            </a:xfrm>
            <a:custGeom>
              <a:avLst/>
              <a:gdLst/>
              <a:ahLst/>
              <a:cxnLst>
                <a:cxn ang="0">
                  <a:pos x="51" y="1143"/>
                </a:cxn>
                <a:cxn ang="0">
                  <a:pos x="48" y="1141"/>
                </a:cxn>
                <a:cxn ang="0">
                  <a:pos x="1" y="1077"/>
                </a:cxn>
                <a:cxn ang="0">
                  <a:pos x="0" y="767"/>
                </a:cxn>
                <a:cxn ang="0">
                  <a:pos x="78" y="671"/>
                </a:cxn>
                <a:cxn ang="0">
                  <a:pos x="244" y="585"/>
                </a:cxn>
                <a:cxn ang="0">
                  <a:pos x="344" y="576"/>
                </a:cxn>
                <a:cxn ang="0">
                  <a:pos x="574" y="353"/>
                </a:cxn>
                <a:cxn ang="0">
                  <a:pos x="585" y="332"/>
                </a:cxn>
                <a:cxn ang="0">
                  <a:pos x="514" y="340"/>
                </a:cxn>
                <a:cxn ang="0">
                  <a:pos x="258" y="247"/>
                </a:cxn>
                <a:cxn ang="0">
                  <a:pos x="163" y="148"/>
                </a:cxn>
                <a:cxn ang="0">
                  <a:pos x="161" y="145"/>
                </a:cxn>
                <a:cxn ang="0">
                  <a:pos x="161" y="90"/>
                </a:cxn>
                <a:cxn ang="0">
                  <a:pos x="187" y="41"/>
                </a:cxn>
                <a:cxn ang="0">
                  <a:pos x="191" y="39"/>
                </a:cxn>
                <a:cxn ang="0">
                  <a:pos x="191" y="39"/>
                </a:cxn>
                <a:cxn ang="0">
                  <a:pos x="195" y="40"/>
                </a:cxn>
                <a:cxn ang="0">
                  <a:pos x="295" y="131"/>
                </a:cxn>
                <a:cxn ang="0">
                  <a:pos x="335" y="127"/>
                </a:cxn>
                <a:cxn ang="0">
                  <a:pos x="397" y="90"/>
                </a:cxn>
                <a:cxn ang="0">
                  <a:pos x="399" y="89"/>
                </a:cxn>
                <a:cxn ang="0">
                  <a:pos x="400" y="89"/>
                </a:cxn>
                <a:cxn ang="0">
                  <a:pos x="466" y="106"/>
                </a:cxn>
                <a:cxn ang="0">
                  <a:pos x="528" y="69"/>
                </a:cxn>
                <a:cxn ang="0">
                  <a:pos x="686" y="47"/>
                </a:cxn>
                <a:cxn ang="0">
                  <a:pos x="762" y="34"/>
                </a:cxn>
                <a:cxn ang="0">
                  <a:pos x="807" y="1"/>
                </a:cxn>
                <a:cxn ang="0">
                  <a:pos x="810" y="0"/>
                </a:cxn>
                <a:cxn ang="0">
                  <a:pos x="812" y="1"/>
                </a:cxn>
                <a:cxn ang="0">
                  <a:pos x="854" y="18"/>
                </a:cxn>
                <a:cxn ang="0">
                  <a:pos x="857" y="23"/>
                </a:cxn>
                <a:cxn ang="0">
                  <a:pos x="848" y="61"/>
                </a:cxn>
                <a:cxn ang="0">
                  <a:pos x="853" y="123"/>
                </a:cxn>
                <a:cxn ang="0">
                  <a:pos x="847" y="134"/>
                </a:cxn>
                <a:cxn ang="0">
                  <a:pos x="866" y="140"/>
                </a:cxn>
                <a:cxn ang="0">
                  <a:pos x="870" y="145"/>
                </a:cxn>
                <a:cxn ang="0">
                  <a:pos x="865" y="149"/>
                </a:cxn>
                <a:cxn ang="0">
                  <a:pos x="831" y="153"/>
                </a:cxn>
                <a:cxn ang="0">
                  <a:pos x="814" y="243"/>
                </a:cxn>
                <a:cxn ang="0">
                  <a:pos x="767" y="321"/>
                </a:cxn>
                <a:cxn ang="0">
                  <a:pos x="745" y="343"/>
                </a:cxn>
                <a:cxn ang="0">
                  <a:pos x="666" y="532"/>
                </a:cxn>
                <a:cxn ang="0">
                  <a:pos x="614" y="584"/>
                </a:cxn>
                <a:cxn ang="0">
                  <a:pos x="564" y="668"/>
                </a:cxn>
                <a:cxn ang="0">
                  <a:pos x="411" y="817"/>
                </a:cxn>
                <a:cxn ang="0">
                  <a:pos x="338" y="855"/>
                </a:cxn>
                <a:cxn ang="0">
                  <a:pos x="169" y="1014"/>
                </a:cxn>
                <a:cxn ang="0">
                  <a:pos x="140" y="1019"/>
                </a:cxn>
                <a:cxn ang="0">
                  <a:pos x="137" y="1046"/>
                </a:cxn>
                <a:cxn ang="0">
                  <a:pos x="55" y="1141"/>
                </a:cxn>
                <a:cxn ang="0">
                  <a:pos x="52" y="1143"/>
                </a:cxn>
                <a:cxn ang="0">
                  <a:pos x="51" y="1143"/>
                </a:cxn>
              </a:cxnLst>
              <a:rect l="0" t="0" r="r" b="b"/>
              <a:pathLst>
                <a:path w="871" h="1144">
                  <a:moveTo>
                    <a:pt x="51" y="1143"/>
                  </a:moveTo>
                  <a:cubicBezTo>
                    <a:pt x="50" y="1143"/>
                    <a:pt x="49" y="1142"/>
                    <a:pt x="48" y="1141"/>
                  </a:cubicBezTo>
                  <a:lnTo>
                    <a:pt x="1" y="1077"/>
                  </a:lnTo>
                  <a:lnTo>
                    <a:pt x="0" y="767"/>
                  </a:lnTo>
                  <a:lnTo>
                    <a:pt x="78" y="671"/>
                  </a:lnTo>
                  <a:lnTo>
                    <a:pt x="244" y="585"/>
                  </a:lnTo>
                  <a:lnTo>
                    <a:pt x="344" y="576"/>
                  </a:lnTo>
                  <a:lnTo>
                    <a:pt x="574" y="353"/>
                  </a:lnTo>
                  <a:lnTo>
                    <a:pt x="585" y="332"/>
                  </a:lnTo>
                  <a:lnTo>
                    <a:pt x="514" y="340"/>
                  </a:lnTo>
                  <a:lnTo>
                    <a:pt x="258" y="247"/>
                  </a:lnTo>
                  <a:lnTo>
                    <a:pt x="163" y="148"/>
                  </a:lnTo>
                  <a:cubicBezTo>
                    <a:pt x="162" y="147"/>
                    <a:pt x="161" y="146"/>
                    <a:pt x="161" y="145"/>
                  </a:cubicBezTo>
                  <a:lnTo>
                    <a:pt x="161" y="90"/>
                  </a:lnTo>
                  <a:lnTo>
                    <a:pt x="187" y="41"/>
                  </a:lnTo>
                  <a:cubicBezTo>
                    <a:pt x="188" y="40"/>
                    <a:pt x="189" y="39"/>
                    <a:pt x="191" y="39"/>
                  </a:cubicBezTo>
                  <a:lnTo>
                    <a:pt x="191" y="39"/>
                  </a:lnTo>
                  <a:cubicBezTo>
                    <a:pt x="192" y="39"/>
                    <a:pt x="194" y="39"/>
                    <a:pt x="195" y="40"/>
                  </a:cubicBezTo>
                  <a:lnTo>
                    <a:pt x="295" y="131"/>
                  </a:lnTo>
                  <a:lnTo>
                    <a:pt x="335" y="127"/>
                  </a:lnTo>
                  <a:lnTo>
                    <a:pt x="397" y="90"/>
                  </a:lnTo>
                  <a:cubicBezTo>
                    <a:pt x="397" y="90"/>
                    <a:pt x="398" y="89"/>
                    <a:pt x="399" y="89"/>
                  </a:cubicBezTo>
                  <a:lnTo>
                    <a:pt x="400" y="89"/>
                  </a:lnTo>
                  <a:lnTo>
                    <a:pt x="466" y="106"/>
                  </a:lnTo>
                  <a:lnTo>
                    <a:pt x="528" y="69"/>
                  </a:lnTo>
                  <a:lnTo>
                    <a:pt x="686" y="47"/>
                  </a:lnTo>
                  <a:lnTo>
                    <a:pt x="762" y="34"/>
                  </a:lnTo>
                  <a:lnTo>
                    <a:pt x="807" y="1"/>
                  </a:lnTo>
                  <a:cubicBezTo>
                    <a:pt x="808" y="1"/>
                    <a:pt x="809" y="0"/>
                    <a:pt x="810" y="0"/>
                  </a:cubicBezTo>
                  <a:cubicBezTo>
                    <a:pt x="810" y="0"/>
                    <a:pt x="811" y="1"/>
                    <a:pt x="812" y="1"/>
                  </a:cubicBezTo>
                  <a:lnTo>
                    <a:pt x="854" y="18"/>
                  </a:lnTo>
                  <a:cubicBezTo>
                    <a:pt x="856" y="19"/>
                    <a:pt x="857" y="21"/>
                    <a:pt x="857" y="23"/>
                  </a:cubicBezTo>
                  <a:lnTo>
                    <a:pt x="848" y="61"/>
                  </a:lnTo>
                  <a:lnTo>
                    <a:pt x="853" y="123"/>
                  </a:lnTo>
                  <a:lnTo>
                    <a:pt x="847" y="134"/>
                  </a:lnTo>
                  <a:lnTo>
                    <a:pt x="866" y="140"/>
                  </a:lnTo>
                  <a:cubicBezTo>
                    <a:pt x="869" y="141"/>
                    <a:pt x="870" y="143"/>
                    <a:pt x="870" y="145"/>
                  </a:cubicBezTo>
                  <a:cubicBezTo>
                    <a:pt x="869" y="147"/>
                    <a:pt x="868" y="149"/>
                    <a:pt x="865" y="149"/>
                  </a:cubicBezTo>
                  <a:lnTo>
                    <a:pt x="831" y="153"/>
                  </a:lnTo>
                  <a:lnTo>
                    <a:pt x="814" y="243"/>
                  </a:lnTo>
                  <a:lnTo>
                    <a:pt x="767" y="321"/>
                  </a:lnTo>
                  <a:lnTo>
                    <a:pt x="745" y="343"/>
                  </a:lnTo>
                  <a:lnTo>
                    <a:pt x="666" y="532"/>
                  </a:lnTo>
                  <a:lnTo>
                    <a:pt x="614" y="584"/>
                  </a:lnTo>
                  <a:lnTo>
                    <a:pt x="564" y="668"/>
                  </a:lnTo>
                  <a:lnTo>
                    <a:pt x="411" y="817"/>
                  </a:lnTo>
                  <a:lnTo>
                    <a:pt x="338" y="855"/>
                  </a:lnTo>
                  <a:lnTo>
                    <a:pt x="169" y="1014"/>
                  </a:lnTo>
                  <a:lnTo>
                    <a:pt x="140" y="1019"/>
                  </a:lnTo>
                  <a:lnTo>
                    <a:pt x="137" y="1046"/>
                  </a:lnTo>
                  <a:lnTo>
                    <a:pt x="55" y="1141"/>
                  </a:lnTo>
                  <a:cubicBezTo>
                    <a:pt x="54" y="1142"/>
                    <a:pt x="53" y="1143"/>
                    <a:pt x="52" y="1143"/>
                  </a:cubicBezTo>
                  <a:lnTo>
                    <a:pt x="51" y="114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1" name="Freeform 226"/>
            <p:cNvSpPr>
              <a:spLocks noChangeArrowheads="1"/>
            </p:cNvSpPr>
            <p:nvPr/>
          </p:nvSpPr>
          <p:spPr bwMode="auto">
            <a:xfrm>
              <a:off x="4732338" y="4413250"/>
              <a:ext cx="498475" cy="436563"/>
            </a:xfrm>
            <a:custGeom>
              <a:avLst/>
              <a:gdLst/>
              <a:ahLst/>
              <a:cxnLst>
                <a:cxn ang="0">
                  <a:pos x="195" y="1167"/>
                </a:cxn>
                <a:cxn ang="0">
                  <a:pos x="175" y="1142"/>
                </a:cxn>
                <a:cxn ang="0">
                  <a:pos x="166" y="1104"/>
                </a:cxn>
                <a:cxn ang="0">
                  <a:pos x="119" y="1027"/>
                </a:cxn>
                <a:cxn ang="0">
                  <a:pos x="126" y="998"/>
                </a:cxn>
                <a:cxn ang="0">
                  <a:pos x="129" y="998"/>
                </a:cxn>
                <a:cxn ang="0">
                  <a:pos x="154" y="983"/>
                </a:cxn>
                <a:cxn ang="0">
                  <a:pos x="82" y="801"/>
                </a:cxn>
                <a:cxn ang="0">
                  <a:pos x="3" y="600"/>
                </a:cxn>
                <a:cxn ang="0">
                  <a:pos x="56" y="570"/>
                </a:cxn>
                <a:cxn ang="0">
                  <a:pos x="101" y="596"/>
                </a:cxn>
                <a:cxn ang="0">
                  <a:pos x="115" y="634"/>
                </a:cxn>
                <a:cxn ang="0">
                  <a:pos x="289" y="593"/>
                </a:cxn>
                <a:cxn ang="0">
                  <a:pos x="292" y="236"/>
                </a:cxn>
                <a:cxn ang="0">
                  <a:pos x="297" y="238"/>
                </a:cxn>
                <a:cxn ang="0">
                  <a:pos x="369" y="325"/>
                </a:cxn>
                <a:cxn ang="0">
                  <a:pos x="428" y="431"/>
                </a:cxn>
                <a:cxn ang="0">
                  <a:pos x="573" y="301"/>
                </a:cxn>
                <a:cxn ang="0">
                  <a:pos x="618" y="295"/>
                </a:cxn>
                <a:cxn ang="0">
                  <a:pos x="759" y="313"/>
                </a:cxn>
                <a:cxn ang="0">
                  <a:pos x="924" y="102"/>
                </a:cxn>
                <a:cxn ang="0">
                  <a:pos x="1203" y="8"/>
                </a:cxn>
                <a:cxn ang="0">
                  <a:pos x="1271" y="49"/>
                </a:cxn>
                <a:cxn ang="0">
                  <a:pos x="1305" y="342"/>
                </a:cxn>
                <a:cxn ang="0">
                  <a:pos x="1295" y="354"/>
                </a:cxn>
                <a:cxn ang="0">
                  <a:pos x="1290" y="355"/>
                </a:cxn>
                <a:cxn ang="0">
                  <a:pos x="1244" y="346"/>
                </a:cxn>
                <a:cxn ang="0">
                  <a:pos x="1228" y="457"/>
                </a:cxn>
                <a:cxn ang="0">
                  <a:pos x="1281" y="464"/>
                </a:cxn>
                <a:cxn ang="0">
                  <a:pos x="1309" y="422"/>
                </a:cxn>
                <a:cxn ang="0">
                  <a:pos x="1381" y="424"/>
                </a:cxn>
                <a:cxn ang="0">
                  <a:pos x="1343" y="589"/>
                </a:cxn>
                <a:cxn ang="0">
                  <a:pos x="1148" y="852"/>
                </a:cxn>
                <a:cxn ang="0">
                  <a:pos x="905" y="1090"/>
                </a:cxn>
                <a:cxn ang="0">
                  <a:pos x="784" y="1138"/>
                </a:cxn>
                <a:cxn ang="0">
                  <a:pos x="718" y="1134"/>
                </a:cxn>
                <a:cxn ang="0">
                  <a:pos x="703" y="1155"/>
                </a:cxn>
                <a:cxn ang="0">
                  <a:pos x="456" y="1171"/>
                </a:cxn>
                <a:cxn ang="0">
                  <a:pos x="305" y="1209"/>
                </a:cxn>
                <a:cxn ang="0">
                  <a:pos x="300" y="1210"/>
                </a:cxn>
              </a:cxnLst>
              <a:rect l="0" t="0" r="r" b="b"/>
              <a:pathLst>
                <a:path w="1383" h="1211">
                  <a:moveTo>
                    <a:pt x="199" y="1172"/>
                  </a:moveTo>
                  <a:cubicBezTo>
                    <a:pt x="197" y="1171"/>
                    <a:pt x="195" y="1169"/>
                    <a:pt x="195" y="1167"/>
                  </a:cubicBezTo>
                  <a:lnTo>
                    <a:pt x="195" y="1142"/>
                  </a:lnTo>
                  <a:lnTo>
                    <a:pt x="175" y="1142"/>
                  </a:lnTo>
                  <a:cubicBezTo>
                    <a:pt x="172" y="1142"/>
                    <a:pt x="170" y="1141"/>
                    <a:pt x="170" y="1138"/>
                  </a:cubicBezTo>
                  <a:lnTo>
                    <a:pt x="166" y="1104"/>
                  </a:lnTo>
                  <a:lnTo>
                    <a:pt x="120" y="1030"/>
                  </a:lnTo>
                  <a:cubicBezTo>
                    <a:pt x="119" y="1029"/>
                    <a:pt x="119" y="1028"/>
                    <a:pt x="119" y="1027"/>
                  </a:cubicBezTo>
                  <a:lnTo>
                    <a:pt x="123" y="1002"/>
                  </a:lnTo>
                  <a:cubicBezTo>
                    <a:pt x="124" y="1000"/>
                    <a:pt x="125" y="999"/>
                    <a:pt x="126" y="998"/>
                  </a:cubicBezTo>
                  <a:cubicBezTo>
                    <a:pt x="126" y="998"/>
                    <a:pt x="127" y="998"/>
                    <a:pt x="128" y="998"/>
                  </a:cubicBezTo>
                  <a:lnTo>
                    <a:pt x="129" y="998"/>
                  </a:lnTo>
                  <a:lnTo>
                    <a:pt x="143" y="1001"/>
                  </a:lnTo>
                  <a:lnTo>
                    <a:pt x="154" y="983"/>
                  </a:lnTo>
                  <a:lnTo>
                    <a:pt x="149" y="922"/>
                  </a:lnTo>
                  <a:lnTo>
                    <a:pt x="82" y="801"/>
                  </a:lnTo>
                  <a:lnTo>
                    <a:pt x="1" y="606"/>
                  </a:lnTo>
                  <a:cubicBezTo>
                    <a:pt x="0" y="604"/>
                    <a:pt x="1" y="602"/>
                    <a:pt x="3" y="600"/>
                  </a:cubicBezTo>
                  <a:lnTo>
                    <a:pt x="54" y="571"/>
                  </a:lnTo>
                  <a:cubicBezTo>
                    <a:pt x="54" y="571"/>
                    <a:pt x="55" y="570"/>
                    <a:pt x="56" y="570"/>
                  </a:cubicBezTo>
                  <a:cubicBezTo>
                    <a:pt x="57" y="570"/>
                    <a:pt x="58" y="571"/>
                    <a:pt x="59" y="571"/>
                  </a:cubicBezTo>
                  <a:lnTo>
                    <a:pt x="101" y="596"/>
                  </a:lnTo>
                  <a:cubicBezTo>
                    <a:pt x="102" y="597"/>
                    <a:pt x="103" y="598"/>
                    <a:pt x="103" y="599"/>
                  </a:cubicBezTo>
                  <a:lnTo>
                    <a:pt x="115" y="634"/>
                  </a:lnTo>
                  <a:lnTo>
                    <a:pt x="226" y="634"/>
                  </a:lnTo>
                  <a:lnTo>
                    <a:pt x="289" y="593"/>
                  </a:lnTo>
                  <a:lnTo>
                    <a:pt x="289" y="241"/>
                  </a:lnTo>
                  <a:cubicBezTo>
                    <a:pt x="289" y="239"/>
                    <a:pt x="290" y="237"/>
                    <a:pt x="292" y="236"/>
                  </a:cubicBezTo>
                  <a:lnTo>
                    <a:pt x="293" y="236"/>
                  </a:lnTo>
                  <a:cubicBezTo>
                    <a:pt x="295" y="236"/>
                    <a:pt x="296" y="237"/>
                    <a:pt x="297" y="238"/>
                  </a:cubicBezTo>
                  <a:lnTo>
                    <a:pt x="368" y="322"/>
                  </a:lnTo>
                  <a:cubicBezTo>
                    <a:pt x="369" y="323"/>
                    <a:pt x="369" y="324"/>
                    <a:pt x="369" y="325"/>
                  </a:cubicBezTo>
                  <a:lnTo>
                    <a:pt x="365" y="423"/>
                  </a:lnTo>
                  <a:lnTo>
                    <a:pt x="428" y="431"/>
                  </a:lnTo>
                  <a:lnTo>
                    <a:pt x="482" y="414"/>
                  </a:lnTo>
                  <a:lnTo>
                    <a:pt x="573" y="301"/>
                  </a:lnTo>
                  <a:cubicBezTo>
                    <a:pt x="573" y="300"/>
                    <a:pt x="574" y="300"/>
                    <a:pt x="576" y="300"/>
                  </a:cubicBezTo>
                  <a:lnTo>
                    <a:pt x="618" y="295"/>
                  </a:lnTo>
                  <a:lnTo>
                    <a:pt x="697" y="325"/>
                  </a:lnTo>
                  <a:lnTo>
                    <a:pt x="759" y="313"/>
                  </a:lnTo>
                  <a:lnTo>
                    <a:pt x="784" y="248"/>
                  </a:lnTo>
                  <a:lnTo>
                    <a:pt x="924" y="102"/>
                  </a:lnTo>
                  <a:lnTo>
                    <a:pt x="1078" y="0"/>
                  </a:lnTo>
                  <a:lnTo>
                    <a:pt x="1203" y="8"/>
                  </a:lnTo>
                  <a:lnTo>
                    <a:pt x="1269" y="46"/>
                  </a:lnTo>
                  <a:cubicBezTo>
                    <a:pt x="1270" y="47"/>
                    <a:pt x="1271" y="48"/>
                    <a:pt x="1271" y="49"/>
                  </a:cubicBezTo>
                  <a:lnTo>
                    <a:pt x="1301" y="198"/>
                  </a:lnTo>
                  <a:lnTo>
                    <a:pt x="1305" y="342"/>
                  </a:lnTo>
                  <a:cubicBezTo>
                    <a:pt x="1305" y="344"/>
                    <a:pt x="1305" y="345"/>
                    <a:pt x="1304" y="346"/>
                  </a:cubicBezTo>
                  <a:lnTo>
                    <a:pt x="1295" y="354"/>
                  </a:lnTo>
                  <a:cubicBezTo>
                    <a:pt x="1294" y="355"/>
                    <a:pt x="1293" y="355"/>
                    <a:pt x="1292" y="355"/>
                  </a:cubicBezTo>
                  <a:cubicBezTo>
                    <a:pt x="1291" y="355"/>
                    <a:pt x="1290" y="355"/>
                    <a:pt x="1290" y="355"/>
                  </a:cubicBezTo>
                  <a:lnTo>
                    <a:pt x="1259" y="335"/>
                  </a:lnTo>
                  <a:lnTo>
                    <a:pt x="1244" y="346"/>
                  </a:lnTo>
                  <a:lnTo>
                    <a:pt x="1212" y="415"/>
                  </a:lnTo>
                  <a:lnTo>
                    <a:pt x="1228" y="457"/>
                  </a:lnTo>
                  <a:lnTo>
                    <a:pt x="1259" y="465"/>
                  </a:lnTo>
                  <a:lnTo>
                    <a:pt x="1281" y="464"/>
                  </a:lnTo>
                  <a:lnTo>
                    <a:pt x="1305" y="424"/>
                  </a:lnTo>
                  <a:cubicBezTo>
                    <a:pt x="1306" y="423"/>
                    <a:pt x="1307" y="422"/>
                    <a:pt x="1309" y="422"/>
                  </a:cubicBezTo>
                  <a:lnTo>
                    <a:pt x="1377" y="422"/>
                  </a:lnTo>
                  <a:cubicBezTo>
                    <a:pt x="1378" y="422"/>
                    <a:pt x="1380" y="423"/>
                    <a:pt x="1381" y="424"/>
                  </a:cubicBezTo>
                  <a:cubicBezTo>
                    <a:pt x="1381" y="425"/>
                    <a:pt x="1382" y="427"/>
                    <a:pt x="1381" y="428"/>
                  </a:cubicBezTo>
                  <a:lnTo>
                    <a:pt x="1343" y="589"/>
                  </a:lnTo>
                  <a:lnTo>
                    <a:pt x="1257" y="667"/>
                  </a:lnTo>
                  <a:lnTo>
                    <a:pt x="1148" y="852"/>
                  </a:lnTo>
                  <a:lnTo>
                    <a:pt x="1020" y="997"/>
                  </a:lnTo>
                  <a:lnTo>
                    <a:pt x="905" y="1090"/>
                  </a:lnTo>
                  <a:lnTo>
                    <a:pt x="788" y="1112"/>
                  </a:lnTo>
                  <a:lnTo>
                    <a:pt x="784" y="1138"/>
                  </a:lnTo>
                  <a:cubicBezTo>
                    <a:pt x="784" y="1141"/>
                    <a:pt x="782" y="1142"/>
                    <a:pt x="780" y="1142"/>
                  </a:cubicBezTo>
                  <a:lnTo>
                    <a:pt x="718" y="1134"/>
                  </a:lnTo>
                  <a:lnTo>
                    <a:pt x="707" y="1153"/>
                  </a:lnTo>
                  <a:cubicBezTo>
                    <a:pt x="707" y="1154"/>
                    <a:pt x="705" y="1155"/>
                    <a:pt x="703" y="1155"/>
                  </a:cubicBezTo>
                  <a:lnTo>
                    <a:pt x="512" y="1138"/>
                  </a:lnTo>
                  <a:lnTo>
                    <a:pt x="456" y="1171"/>
                  </a:lnTo>
                  <a:lnTo>
                    <a:pt x="335" y="1181"/>
                  </a:lnTo>
                  <a:lnTo>
                    <a:pt x="305" y="1209"/>
                  </a:lnTo>
                  <a:cubicBezTo>
                    <a:pt x="304" y="1210"/>
                    <a:pt x="303" y="1210"/>
                    <a:pt x="302" y="1210"/>
                  </a:cubicBezTo>
                  <a:cubicBezTo>
                    <a:pt x="302" y="1210"/>
                    <a:pt x="301" y="1210"/>
                    <a:pt x="300" y="1210"/>
                  </a:cubicBezTo>
                  <a:lnTo>
                    <a:pt x="199" y="117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2" name="Freeform 227"/>
            <p:cNvSpPr>
              <a:spLocks noChangeArrowheads="1"/>
            </p:cNvSpPr>
            <p:nvPr/>
          </p:nvSpPr>
          <p:spPr bwMode="auto">
            <a:xfrm>
              <a:off x="4732338" y="4413250"/>
              <a:ext cx="498475" cy="436563"/>
            </a:xfrm>
            <a:custGeom>
              <a:avLst/>
              <a:gdLst/>
              <a:ahLst/>
              <a:cxnLst>
                <a:cxn ang="0">
                  <a:pos x="199" y="1172"/>
                </a:cxn>
                <a:cxn ang="0">
                  <a:pos x="195" y="1142"/>
                </a:cxn>
                <a:cxn ang="0">
                  <a:pos x="170" y="1138"/>
                </a:cxn>
                <a:cxn ang="0">
                  <a:pos x="120" y="1030"/>
                </a:cxn>
                <a:cxn ang="0">
                  <a:pos x="123" y="1002"/>
                </a:cxn>
                <a:cxn ang="0">
                  <a:pos x="128" y="998"/>
                </a:cxn>
                <a:cxn ang="0">
                  <a:pos x="143" y="1001"/>
                </a:cxn>
                <a:cxn ang="0">
                  <a:pos x="149" y="922"/>
                </a:cxn>
                <a:cxn ang="0">
                  <a:pos x="1" y="606"/>
                </a:cxn>
                <a:cxn ang="0">
                  <a:pos x="54" y="571"/>
                </a:cxn>
                <a:cxn ang="0">
                  <a:pos x="59" y="571"/>
                </a:cxn>
                <a:cxn ang="0">
                  <a:pos x="103" y="599"/>
                </a:cxn>
                <a:cxn ang="0">
                  <a:pos x="226" y="634"/>
                </a:cxn>
                <a:cxn ang="0">
                  <a:pos x="289" y="241"/>
                </a:cxn>
                <a:cxn ang="0">
                  <a:pos x="293" y="236"/>
                </a:cxn>
                <a:cxn ang="0">
                  <a:pos x="368" y="322"/>
                </a:cxn>
                <a:cxn ang="0">
                  <a:pos x="365" y="423"/>
                </a:cxn>
                <a:cxn ang="0">
                  <a:pos x="482" y="414"/>
                </a:cxn>
                <a:cxn ang="0">
                  <a:pos x="576" y="300"/>
                </a:cxn>
                <a:cxn ang="0">
                  <a:pos x="697" y="325"/>
                </a:cxn>
                <a:cxn ang="0">
                  <a:pos x="784" y="248"/>
                </a:cxn>
                <a:cxn ang="0">
                  <a:pos x="1078" y="0"/>
                </a:cxn>
                <a:cxn ang="0">
                  <a:pos x="1269" y="46"/>
                </a:cxn>
                <a:cxn ang="0">
                  <a:pos x="1301" y="198"/>
                </a:cxn>
                <a:cxn ang="0">
                  <a:pos x="1304" y="346"/>
                </a:cxn>
                <a:cxn ang="0">
                  <a:pos x="1292" y="355"/>
                </a:cxn>
                <a:cxn ang="0">
                  <a:pos x="1259" y="335"/>
                </a:cxn>
                <a:cxn ang="0">
                  <a:pos x="1212" y="415"/>
                </a:cxn>
                <a:cxn ang="0">
                  <a:pos x="1259" y="465"/>
                </a:cxn>
                <a:cxn ang="0">
                  <a:pos x="1305" y="424"/>
                </a:cxn>
                <a:cxn ang="0">
                  <a:pos x="1377" y="422"/>
                </a:cxn>
                <a:cxn ang="0">
                  <a:pos x="1381" y="428"/>
                </a:cxn>
                <a:cxn ang="0">
                  <a:pos x="1257" y="667"/>
                </a:cxn>
                <a:cxn ang="0">
                  <a:pos x="1020" y="997"/>
                </a:cxn>
                <a:cxn ang="0">
                  <a:pos x="788" y="1112"/>
                </a:cxn>
                <a:cxn ang="0">
                  <a:pos x="780" y="1142"/>
                </a:cxn>
                <a:cxn ang="0">
                  <a:pos x="707" y="1153"/>
                </a:cxn>
                <a:cxn ang="0">
                  <a:pos x="512" y="1138"/>
                </a:cxn>
                <a:cxn ang="0">
                  <a:pos x="335" y="1181"/>
                </a:cxn>
                <a:cxn ang="0">
                  <a:pos x="302" y="1210"/>
                </a:cxn>
              </a:cxnLst>
              <a:rect l="0" t="0" r="r" b="b"/>
              <a:pathLst>
                <a:path w="1383" h="1211">
                  <a:moveTo>
                    <a:pt x="300" y="1210"/>
                  </a:moveTo>
                  <a:lnTo>
                    <a:pt x="199" y="1172"/>
                  </a:lnTo>
                  <a:cubicBezTo>
                    <a:pt x="197" y="1171"/>
                    <a:pt x="195" y="1169"/>
                    <a:pt x="195" y="1167"/>
                  </a:cubicBezTo>
                  <a:lnTo>
                    <a:pt x="195" y="1142"/>
                  </a:lnTo>
                  <a:lnTo>
                    <a:pt x="175" y="1142"/>
                  </a:lnTo>
                  <a:cubicBezTo>
                    <a:pt x="172" y="1142"/>
                    <a:pt x="170" y="1141"/>
                    <a:pt x="170" y="1138"/>
                  </a:cubicBezTo>
                  <a:lnTo>
                    <a:pt x="166" y="1104"/>
                  </a:lnTo>
                  <a:lnTo>
                    <a:pt x="120" y="1030"/>
                  </a:lnTo>
                  <a:cubicBezTo>
                    <a:pt x="119" y="1029"/>
                    <a:pt x="119" y="1028"/>
                    <a:pt x="119" y="1027"/>
                  </a:cubicBezTo>
                  <a:lnTo>
                    <a:pt x="123" y="1002"/>
                  </a:lnTo>
                  <a:cubicBezTo>
                    <a:pt x="124" y="1000"/>
                    <a:pt x="125" y="999"/>
                    <a:pt x="126" y="998"/>
                  </a:cubicBezTo>
                  <a:cubicBezTo>
                    <a:pt x="126" y="998"/>
                    <a:pt x="127" y="998"/>
                    <a:pt x="128" y="998"/>
                  </a:cubicBezTo>
                  <a:lnTo>
                    <a:pt x="129" y="998"/>
                  </a:lnTo>
                  <a:lnTo>
                    <a:pt x="143" y="1001"/>
                  </a:lnTo>
                  <a:lnTo>
                    <a:pt x="154" y="983"/>
                  </a:lnTo>
                  <a:lnTo>
                    <a:pt x="149" y="922"/>
                  </a:lnTo>
                  <a:lnTo>
                    <a:pt x="82" y="801"/>
                  </a:lnTo>
                  <a:lnTo>
                    <a:pt x="1" y="606"/>
                  </a:lnTo>
                  <a:cubicBezTo>
                    <a:pt x="0" y="604"/>
                    <a:pt x="1" y="602"/>
                    <a:pt x="3" y="600"/>
                  </a:cubicBezTo>
                  <a:lnTo>
                    <a:pt x="54" y="571"/>
                  </a:lnTo>
                  <a:cubicBezTo>
                    <a:pt x="54" y="571"/>
                    <a:pt x="55" y="570"/>
                    <a:pt x="56" y="570"/>
                  </a:cubicBezTo>
                  <a:cubicBezTo>
                    <a:pt x="57" y="570"/>
                    <a:pt x="58" y="571"/>
                    <a:pt x="59" y="571"/>
                  </a:cubicBezTo>
                  <a:lnTo>
                    <a:pt x="101" y="596"/>
                  </a:lnTo>
                  <a:cubicBezTo>
                    <a:pt x="102" y="597"/>
                    <a:pt x="103" y="598"/>
                    <a:pt x="103" y="599"/>
                  </a:cubicBezTo>
                  <a:lnTo>
                    <a:pt x="115" y="634"/>
                  </a:lnTo>
                  <a:lnTo>
                    <a:pt x="226" y="634"/>
                  </a:lnTo>
                  <a:lnTo>
                    <a:pt x="289" y="593"/>
                  </a:lnTo>
                  <a:lnTo>
                    <a:pt x="289" y="241"/>
                  </a:lnTo>
                  <a:cubicBezTo>
                    <a:pt x="289" y="239"/>
                    <a:pt x="290" y="237"/>
                    <a:pt x="292" y="236"/>
                  </a:cubicBezTo>
                  <a:lnTo>
                    <a:pt x="293" y="236"/>
                  </a:lnTo>
                  <a:cubicBezTo>
                    <a:pt x="295" y="236"/>
                    <a:pt x="296" y="237"/>
                    <a:pt x="297" y="238"/>
                  </a:cubicBezTo>
                  <a:lnTo>
                    <a:pt x="368" y="322"/>
                  </a:lnTo>
                  <a:cubicBezTo>
                    <a:pt x="369" y="323"/>
                    <a:pt x="369" y="324"/>
                    <a:pt x="369" y="325"/>
                  </a:cubicBezTo>
                  <a:lnTo>
                    <a:pt x="365" y="423"/>
                  </a:lnTo>
                  <a:lnTo>
                    <a:pt x="428" y="431"/>
                  </a:lnTo>
                  <a:lnTo>
                    <a:pt x="482" y="414"/>
                  </a:lnTo>
                  <a:lnTo>
                    <a:pt x="573" y="301"/>
                  </a:lnTo>
                  <a:cubicBezTo>
                    <a:pt x="573" y="300"/>
                    <a:pt x="574" y="300"/>
                    <a:pt x="576" y="300"/>
                  </a:cubicBezTo>
                  <a:lnTo>
                    <a:pt x="618" y="295"/>
                  </a:lnTo>
                  <a:lnTo>
                    <a:pt x="697" y="325"/>
                  </a:lnTo>
                  <a:lnTo>
                    <a:pt x="759" y="313"/>
                  </a:lnTo>
                  <a:lnTo>
                    <a:pt x="784" y="248"/>
                  </a:lnTo>
                  <a:lnTo>
                    <a:pt x="924" y="102"/>
                  </a:lnTo>
                  <a:lnTo>
                    <a:pt x="1078" y="0"/>
                  </a:lnTo>
                  <a:lnTo>
                    <a:pt x="1203" y="8"/>
                  </a:lnTo>
                  <a:lnTo>
                    <a:pt x="1269" y="46"/>
                  </a:lnTo>
                  <a:cubicBezTo>
                    <a:pt x="1270" y="47"/>
                    <a:pt x="1271" y="48"/>
                    <a:pt x="1271" y="49"/>
                  </a:cubicBezTo>
                  <a:lnTo>
                    <a:pt x="1301" y="198"/>
                  </a:lnTo>
                  <a:lnTo>
                    <a:pt x="1305" y="342"/>
                  </a:lnTo>
                  <a:cubicBezTo>
                    <a:pt x="1305" y="344"/>
                    <a:pt x="1305" y="345"/>
                    <a:pt x="1304" y="346"/>
                  </a:cubicBezTo>
                  <a:lnTo>
                    <a:pt x="1295" y="354"/>
                  </a:lnTo>
                  <a:cubicBezTo>
                    <a:pt x="1294" y="355"/>
                    <a:pt x="1293" y="355"/>
                    <a:pt x="1292" y="355"/>
                  </a:cubicBezTo>
                  <a:cubicBezTo>
                    <a:pt x="1291" y="355"/>
                    <a:pt x="1290" y="355"/>
                    <a:pt x="1290" y="355"/>
                  </a:cubicBezTo>
                  <a:lnTo>
                    <a:pt x="1259" y="335"/>
                  </a:lnTo>
                  <a:lnTo>
                    <a:pt x="1244" y="346"/>
                  </a:lnTo>
                  <a:lnTo>
                    <a:pt x="1212" y="415"/>
                  </a:lnTo>
                  <a:lnTo>
                    <a:pt x="1228" y="457"/>
                  </a:lnTo>
                  <a:lnTo>
                    <a:pt x="1259" y="465"/>
                  </a:lnTo>
                  <a:lnTo>
                    <a:pt x="1281" y="464"/>
                  </a:lnTo>
                  <a:lnTo>
                    <a:pt x="1305" y="424"/>
                  </a:lnTo>
                  <a:cubicBezTo>
                    <a:pt x="1306" y="423"/>
                    <a:pt x="1307" y="422"/>
                    <a:pt x="1309" y="422"/>
                  </a:cubicBezTo>
                  <a:lnTo>
                    <a:pt x="1377" y="422"/>
                  </a:lnTo>
                  <a:cubicBezTo>
                    <a:pt x="1378" y="422"/>
                    <a:pt x="1380" y="423"/>
                    <a:pt x="1381" y="424"/>
                  </a:cubicBezTo>
                  <a:cubicBezTo>
                    <a:pt x="1381" y="425"/>
                    <a:pt x="1382" y="427"/>
                    <a:pt x="1381" y="428"/>
                  </a:cubicBezTo>
                  <a:lnTo>
                    <a:pt x="1343" y="589"/>
                  </a:lnTo>
                  <a:lnTo>
                    <a:pt x="1257" y="667"/>
                  </a:lnTo>
                  <a:lnTo>
                    <a:pt x="1148" y="852"/>
                  </a:lnTo>
                  <a:lnTo>
                    <a:pt x="1020" y="997"/>
                  </a:lnTo>
                  <a:lnTo>
                    <a:pt x="905" y="1090"/>
                  </a:lnTo>
                  <a:lnTo>
                    <a:pt x="788" y="1112"/>
                  </a:lnTo>
                  <a:lnTo>
                    <a:pt x="784" y="1138"/>
                  </a:lnTo>
                  <a:cubicBezTo>
                    <a:pt x="784" y="1141"/>
                    <a:pt x="782" y="1142"/>
                    <a:pt x="780" y="1142"/>
                  </a:cubicBezTo>
                  <a:lnTo>
                    <a:pt x="718" y="1134"/>
                  </a:lnTo>
                  <a:lnTo>
                    <a:pt x="707" y="1153"/>
                  </a:lnTo>
                  <a:cubicBezTo>
                    <a:pt x="707" y="1154"/>
                    <a:pt x="705" y="1155"/>
                    <a:pt x="703" y="1155"/>
                  </a:cubicBezTo>
                  <a:lnTo>
                    <a:pt x="512" y="1138"/>
                  </a:lnTo>
                  <a:lnTo>
                    <a:pt x="456" y="1171"/>
                  </a:lnTo>
                  <a:lnTo>
                    <a:pt x="335" y="1181"/>
                  </a:lnTo>
                  <a:lnTo>
                    <a:pt x="305" y="1209"/>
                  </a:lnTo>
                  <a:cubicBezTo>
                    <a:pt x="304" y="1210"/>
                    <a:pt x="303" y="1210"/>
                    <a:pt x="302" y="1210"/>
                  </a:cubicBezTo>
                  <a:cubicBezTo>
                    <a:pt x="302" y="1210"/>
                    <a:pt x="301" y="1210"/>
                    <a:pt x="300" y="121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3" name="Freeform 228"/>
            <p:cNvSpPr>
              <a:spLocks noChangeArrowheads="1"/>
            </p:cNvSpPr>
            <p:nvPr/>
          </p:nvSpPr>
          <p:spPr bwMode="auto">
            <a:xfrm>
              <a:off x="5053013" y="4627563"/>
              <a:ext cx="73025" cy="71437"/>
            </a:xfrm>
            <a:custGeom>
              <a:avLst/>
              <a:gdLst/>
              <a:ahLst/>
              <a:cxnLst>
                <a:cxn ang="0">
                  <a:pos x="88" y="199"/>
                </a:cxn>
                <a:cxn ang="0">
                  <a:pos x="41" y="178"/>
                </a:cxn>
                <a:cxn ang="0">
                  <a:pos x="1" y="112"/>
                </a:cxn>
                <a:cxn ang="0">
                  <a:pos x="1" y="107"/>
                </a:cxn>
                <a:cxn ang="0">
                  <a:pos x="43" y="36"/>
                </a:cxn>
                <a:cxn ang="0">
                  <a:pos x="109" y="0"/>
                </a:cxn>
                <a:cxn ang="0">
                  <a:pos x="154" y="4"/>
                </a:cxn>
                <a:cxn ang="0">
                  <a:pos x="157" y="6"/>
                </a:cxn>
                <a:cxn ang="0">
                  <a:pos x="200" y="74"/>
                </a:cxn>
                <a:cxn ang="0">
                  <a:pos x="200" y="78"/>
                </a:cxn>
                <a:cxn ang="0">
                  <a:pos x="170" y="150"/>
                </a:cxn>
                <a:cxn ang="0">
                  <a:pos x="92" y="199"/>
                </a:cxn>
                <a:cxn ang="0">
                  <a:pos x="90" y="199"/>
                </a:cxn>
                <a:cxn ang="0">
                  <a:pos x="88" y="199"/>
                </a:cxn>
              </a:cxnLst>
              <a:rect l="0" t="0" r="r" b="b"/>
              <a:pathLst>
                <a:path w="201" h="200">
                  <a:moveTo>
                    <a:pt x="88" y="199"/>
                  </a:moveTo>
                  <a:lnTo>
                    <a:pt x="41" y="178"/>
                  </a:lnTo>
                  <a:lnTo>
                    <a:pt x="1" y="112"/>
                  </a:lnTo>
                  <a:cubicBezTo>
                    <a:pt x="0" y="111"/>
                    <a:pt x="0" y="109"/>
                    <a:pt x="1" y="107"/>
                  </a:cubicBezTo>
                  <a:lnTo>
                    <a:pt x="43" y="36"/>
                  </a:lnTo>
                  <a:lnTo>
                    <a:pt x="109" y="0"/>
                  </a:lnTo>
                  <a:lnTo>
                    <a:pt x="154" y="4"/>
                  </a:lnTo>
                  <a:cubicBezTo>
                    <a:pt x="155" y="4"/>
                    <a:pt x="156" y="5"/>
                    <a:pt x="157" y="6"/>
                  </a:cubicBezTo>
                  <a:lnTo>
                    <a:pt x="200" y="74"/>
                  </a:lnTo>
                  <a:cubicBezTo>
                    <a:pt x="200" y="75"/>
                    <a:pt x="200" y="76"/>
                    <a:pt x="200" y="78"/>
                  </a:cubicBezTo>
                  <a:lnTo>
                    <a:pt x="170" y="150"/>
                  </a:lnTo>
                  <a:lnTo>
                    <a:pt x="92" y="199"/>
                  </a:lnTo>
                  <a:cubicBezTo>
                    <a:pt x="91" y="199"/>
                    <a:pt x="91" y="199"/>
                    <a:pt x="90" y="199"/>
                  </a:cubicBezTo>
                  <a:cubicBezTo>
                    <a:pt x="89" y="199"/>
                    <a:pt x="88" y="199"/>
                    <a:pt x="88" y="19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4" name="Freeform 229"/>
            <p:cNvSpPr>
              <a:spLocks noChangeArrowheads="1"/>
            </p:cNvSpPr>
            <p:nvPr/>
          </p:nvSpPr>
          <p:spPr bwMode="auto">
            <a:xfrm>
              <a:off x="5053013" y="4627563"/>
              <a:ext cx="73025" cy="71437"/>
            </a:xfrm>
            <a:custGeom>
              <a:avLst/>
              <a:gdLst/>
              <a:ahLst/>
              <a:cxnLst>
                <a:cxn ang="0">
                  <a:pos x="90" y="199"/>
                </a:cxn>
                <a:cxn ang="0">
                  <a:pos x="88" y="199"/>
                </a:cxn>
                <a:cxn ang="0">
                  <a:pos x="41" y="178"/>
                </a:cxn>
                <a:cxn ang="0">
                  <a:pos x="1" y="112"/>
                </a:cxn>
                <a:cxn ang="0">
                  <a:pos x="1" y="107"/>
                </a:cxn>
                <a:cxn ang="0">
                  <a:pos x="43" y="36"/>
                </a:cxn>
                <a:cxn ang="0">
                  <a:pos x="109" y="0"/>
                </a:cxn>
                <a:cxn ang="0">
                  <a:pos x="154" y="4"/>
                </a:cxn>
                <a:cxn ang="0">
                  <a:pos x="157" y="6"/>
                </a:cxn>
                <a:cxn ang="0">
                  <a:pos x="200" y="74"/>
                </a:cxn>
                <a:cxn ang="0">
                  <a:pos x="200" y="78"/>
                </a:cxn>
                <a:cxn ang="0">
                  <a:pos x="170" y="150"/>
                </a:cxn>
                <a:cxn ang="0">
                  <a:pos x="92" y="199"/>
                </a:cxn>
                <a:cxn ang="0">
                  <a:pos x="90" y="199"/>
                </a:cxn>
              </a:cxnLst>
              <a:rect l="0" t="0" r="r" b="b"/>
              <a:pathLst>
                <a:path w="201" h="200">
                  <a:moveTo>
                    <a:pt x="90" y="199"/>
                  </a:moveTo>
                  <a:cubicBezTo>
                    <a:pt x="89" y="199"/>
                    <a:pt x="88" y="199"/>
                    <a:pt x="88" y="199"/>
                  </a:cubicBezTo>
                  <a:lnTo>
                    <a:pt x="41" y="178"/>
                  </a:lnTo>
                  <a:lnTo>
                    <a:pt x="1" y="112"/>
                  </a:lnTo>
                  <a:cubicBezTo>
                    <a:pt x="0" y="111"/>
                    <a:pt x="0" y="109"/>
                    <a:pt x="1" y="107"/>
                  </a:cubicBezTo>
                  <a:lnTo>
                    <a:pt x="43" y="36"/>
                  </a:lnTo>
                  <a:lnTo>
                    <a:pt x="109" y="0"/>
                  </a:lnTo>
                  <a:lnTo>
                    <a:pt x="154" y="4"/>
                  </a:lnTo>
                  <a:cubicBezTo>
                    <a:pt x="155" y="4"/>
                    <a:pt x="156" y="5"/>
                    <a:pt x="157" y="6"/>
                  </a:cubicBezTo>
                  <a:lnTo>
                    <a:pt x="200" y="74"/>
                  </a:lnTo>
                  <a:cubicBezTo>
                    <a:pt x="200" y="75"/>
                    <a:pt x="200" y="76"/>
                    <a:pt x="200" y="78"/>
                  </a:cubicBezTo>
                  <a:lnTo>
                    <a:pt x="170" y="150"/>
                  </a:lnTo>
                  <a:lnTo>
                    <a:pt x="92" y="199"/>
                  </a:lnTo>
                  <a:cubicBezTo>
                    <a:pt x="91" y="199"/>
                    <a:pt x="91" y="199"/>
                    <a:pt x="90" y="19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5" name="Freeform 230"/>
            <p:cNvSpPr>
              <a:spLocks noChangeArrowheads="1"/>
            </p:cNvSpPr>
            <p:nvPr/>
          </p:nvSpPr>
          <p:spPr bwMode="auto">
            <a:xfrm>
              <a:off x="4994275" y="4208463"/>
              <a:ext cx="238125" cy="225425"/>
            </a:xfrm>
            <a:custGeom>
              <a:avLst/>
              <a:gdLst/>
              <a:ahLst/>
              <a:cxnLst>
                <a:cxn ang="0">
                  <a:pos x="536" y="626"/>
                </a:cxn>
                <a:cxn ang="0">
                  <a:pos x="473" y="588"/>
                </a:cxn>
                <a:cxn ang="0">
                  <a:pos x="352" y="581"/>
                </a:cxn>
                <a:cxn ang="0">
                  <a:pos x="232" y="525"/>
                </a:cxn>
                <a:cxn ang="0">
                  <a:pos x="229" y="522"/>
                </a:cxn>
                <a:cxn ang="0">
                  <a:pos x="217" y="447"/>
                </a:cxn>
                <a:cxn ang="0">
                  <a:pos x="74" y="334"/>
                </a:cxn>
                <a:cxn ang="0">
                  <a:pos x="1" y="197"/>
                </a:cxn>
                <a:cxn ang="0">
                  <a:pos x="1" y="192"/>
                </a:cxn>
                <a:cxn ang="0">
                  <a:pos x="5" y="190"/>
                </a:cxn>
                <a:cxn ang="0">
                  <a:pos x="143" y="207"/>
                </a:cxn>
                <a:cxn ang="0">
                  <a:pos x="222" y="124"/>
                </a:cxn>
                <a:cxn ang="0">
                  <a:pos x="285" y="94"/>
                </a:cxn>
                <a:cxn ang="0">
                  <a:pos x="297" y="33"/>
                </a:cxn>
                <a:cxn ang="0">
                  <a:pos x="300" y="30"/>
                </a:cxn>
                <a:cxn ang="0">
                  <a:pos x="385" y="0"/>
                </a:cxn>
                <a:cxn ang="0">
                  <a:pos x="433" y="4"/>
                </a:cxn>
                <a:cxn ang="0">
                  <a:pos x="438" y="9"/>
                </a:cxn>
                <a:cxn ang="0">
                  <a:pos x="438" y="30"/>
                </a:cxn>
                <a:cxn ang="0">
                  <a:pos x="522" y="38"/>
                </a:cxn>
                <a:cxn ang="0">
                  <a:pos x="634" y="81"/>
                </a:cxn>
                <a:cxn ang="0">
                  <a:pos x="636" y="84"/>
                </a:cxn>
                <a:cxn ang="0">
                  <a:pos x="662" y="168"/>
                </a:cxn>
                <a:cxn ang="0">
                  <a:pos x="662" y="237"/>
                </a:cxn>
                <a:cxn ang="0">
                  <a:pos x="636" y="303"/>
                </a:cxn>
                <a:cxn ang="0">
                  <a:pos x="653" y="389"/>
                </a:cxn>
                <a:cxn ang="0">
                  <a:pos x="590" y="544"/>
                </a:cxn>
                <a:cxn ang="0">
                  <a:pos x="550" y="583"/>
                </a:cxn>
                <a:cxn ang="0">
                  <a:pos x="543" y="623"/>
                </a:cxn>
                <a:cxn ang="0">
                  <a:pos x="541" y="627"/>
                </a:cxn>
                <a:cxn ang="0">
                  <a:pos x="539" y="627"/>
                </a:cxn>
                <a:cxn ang="0">
                  <a:pos x="536" y="626"/>
                </a:cxn>
              </a:cxnLst>
              <a:rect l="0" t="0" r="r" b="b"/>
              <a:pathLst>
                <a:path w="663" h="628">
                  <a:moveTo>
                    <a:pt x="536" y="626"/>
                  </a:moveTo>
                  <a:lnTo>
                    <a:pt x="473" y="588"/>
                  </a:lnTo>
                  <a:lnTo>
                    <a:pt x="352" y="581"/>
                  </a:lnTo>
                  <a:lnTo>
                    <a:pt x="232" y="525"/>
                  </a:lnTo>
                  <a:cubicBezTo>
                    <a:pt x="230" y="524"/>
                    <a:pt x="229" y="523"/>
                    <a:pt x="229" y="522"/>
                  </a:cubicBezTo>
                  <a:lnTo>
                    <a:pt x="217" y="447"/>
                  </a:lnTo>
                  <a:lnTo>
                    <a:pt x="74" y="334"/>
                  </a:lnTo>
                  <a:lnTo>
                    <a:pt x="1" y="197"/>
                  </a:lnTo>
                  <a:cubicBezTo>
                    <a:pt x="0" y="196"/>
                    <a:pt x="0" y="194"/>
                    <a:pt x="1" y="192"/>
                  </a:cubicBezTo>
                  <a:cubicBezTo>
                    <a:pt x="2" y="191"/>
                    <a:pt x="3" y="190"/>
                    <a:pt x="5" y="190"/>
                  </a:cubicBezTo>
                  <a:lnTo>
                    <a:pt x="143" y="207"/>
                  </a:lnTo>
                  <a:lnTo>
                    <a:pt x="222" y="124"/>
                  </a:lnTo>
                  <a:lnTo>
                    <a:pt x="285" y="94"/>
                  </a:lnTo>
                  <a:lnTo>
                    <a:pt x="297" y="33"/>
                  </a:lnTo>
                  <a:cubicBezTo>
                    <a:pt x="297" y="32"/>
                    <a:pt x="298" y="30"/>
                    <a:pt x="300" y="30"/>
                  </a:cubicBezTo>
                  <a:lnTo>
                    <a:pt x="385" y="0"/>
                  </a:lnTo>
                  <a:lnTo>
                    <a:pt x="433" y="4"/>
                  </a:lnTo>
                  <a:cubicBezTo>
                    <a:pt x="436" y="5"/>
                    <a:pt x="438" y="6"/>
                    <a:pt x="438" y="9"/>
                  </a:cubicBezTo>
                  <a:lnTo>
                    <a:pt x="438" y="30"/>
                  </a:lnTo>
                  <a:lnTo>
                    <a:pt x="522" y="38"/>
                  </a:lnTo>
                  <a:lnTo>
                    <a:pt x="634" y="81"/>
                  </a:lnTo>
                  <a:cubicBezTo>
                    <a:pt x="635" y="81"/>
                    <a:pt x="636" y="82"/>
                    <a:pt x="636" y="84"/>
                  </a:cubicBezTo>
                  <a:lnTo>
                    <a:pt x="662" y="168"/>
                  </a:lnTo>
                  <a:lnTo>
                    <a:pt x="662" y="237"/>
                  </a:lnTo>
                  <a:lnTo>
                    <a:pt x="636" y="303"/>
                  </a:lnTo>
                  <a:lnTo>
                    <a:pt x="653" y="389"/>
                  </a:lnTo>
                  <a:lnTo>
                    <a:pt x="590" y="544"/>
                  </a:lnTo>
                  <a:lnTo>
                    <a:pt x="550" y="583"/>
                  </a:lnTo>
                  <a:lnTo>
                    <a:pt x="543" y="623"/>
                  </a:lnTo>
                  <a:cubicBezTo>
                    <a:pt x="543" y="625"/>
                    <a:pt x="542" y="626"/>
                    <a:pt x="541" y="627"/>
                  </a:cubicBezTo>
                  <a:cubicBezTo>
                    <a:pt x="540" y="627"/>
                    <a:pt x="539" y="627"/>
                    <a:pt x="539" y="627"/>
                  </a:cubicBezTo>
                  <a:cubicBezTo>
                    <a:pt x="538" y="627"/>
                    <a:pt x="537" y="627"/>
                    <a:pt x="536" y="62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6" name="Freeform 231"/>
            <p:cNvSpPr>
              <a:spLocks noChangeArrowheads="1"/>
            </p:cNvSpPr>
            <p:nvPr/>
          </p:nvSpPr>
          <p:spPr bwMode="auto">
            <a:xfrm>
              <a:off x="4994275" y="4208463"/>
              <a:ext cx="238125" cy="225425"/>
            </a:xfrm>
            <a:custGeom>
              <a:avLst/>
              <a:gdLst/>
              <a:ahLst/>
              <a:cxnLst>
                <a:cxn ang="0">
                  <a:pos x="539" y="627"/>
                </a:cxn>
                <a:cxn ang="0">
                  <a:pos x="536" y="626"/>
                </a:cxn>
                <a:cxn ang="0">
                  <a:pos x="473" y="588"/>
                </a:cxn>
                <a:cxn ang="0">
                  <a:pos x="352" y="581"/>
                </a:cxn>
                <a:cxn ang="0">
                  <a:pos x="232" y="525"/>
                </a:cxn>
                <a:cxn ang="0">
                  <a:pos x="229" y="522"/>
                </a:cxn>
                <a:cxn ang="0">
                  <a:pos x="217" y="447"/>
                </a:cxn>
                <a:cxn ang="0">
                  <a:pos x="74" y="334"/>
                </a:cxn>
                <a:cxn ang="0">
                  <a:pos x="1" y="197"/>
                </a:cxn>
                <a:cxn ang="0">
                  <a:pos x="1" y="192"/>
                </a:cxn>
                <a:cxn ang="0">
                  <a:pos x="5" y="190"/>
                </a:cxn>
                <a:cxn ang="0">
                  <a:pos x="143" y="207"/>
                </a:cxn>
                <a:cxn ang="0">
                  <a:pos x="222" y="124"/>
                </a:cxn>
                <a:cxn ang="0">
                  <a:pos x="285" y="94"/>
                </a:cxn>
                <a:cxn ang="0">
                  <a:pos x="297" y="33"/>
                </a:cxn>
                <a:cxn ang="0">
                  <a:pos x="300" y="30"/>
                </a:cxn>
                <a:cxn ang="0">
                  <a:pos x="385" y="0"/>
                </a:cxn>
                <a:cxn ang="0">
                  <a:pos x="433" y="4"/>
                </a:cxn>
                <a:cxn ang="0">
                  <a:pos x="438" y="9"/>
                </a:cxn>
                <a:cxn ang="0">
                  <a:pos x="438" y="30"/>
                </a:cxn>
                <a:cxn ang="0">
                  <a:pos x="522" y="38"/>
                </a:cxn>
                <a:cxn ang="0">
                  <a:pos x="634" y="81"/>
                </a:cxn>
                <a:cxn ang="0">
                  <a:pos x="636" y="84"/>
                </a:cxn>
                <a:cxn ang="0">
                  <a:pos x="662" y="168"/>
                </a:cxn>
                <a:cxn ang="0">
                  <a:pos x="662" y="237"/>
                </a:cxn>
                <a:cxn ang="0">
                  <a:pos x="636" y="303"/>
                </a:cxn>
                <a:cxn ang="0">
                  <a:pos x="653" y="389"/>
                </a:cxn>
                <a:cxn ang="0">
                  <a:pos x="590" y="544"/>
                </a:cxn>
                <a:cxn ang="0">
                  <a:pos x="550" y="583"/>
                </a:cxn>
                <a:cxn ang="0">
                  <a:pos x="543" y="623"/>
                </a:cxn>
                <a:cxn ang="0">
                  <a:pos x="541" y="627"/>
                </a:cxn>
                <a:cxn ang="0">
                  <a:pos x="539" y="627"/>
                </a:cxn>
              </a:cxnLst>
              <a:rect l="0" t="0" r="r" b="b"/>
              <a:pathLst>
                <a:path w="663" h="628">
                  <a:moveTo>
                    <a:pt x="539" y="627"/>
                  </a:moveTo>
                  <a:cubicBezTo>
                    <a:pt x="538" y="627"/>
                    <a:pt x="537" y="627"/>
                    <a:pt x="536" y="626"/>
                  </a:cubicBezTo>
                  <a:lnTo>
                    <a:pt x="473" y="588"/>
                  </a:lnTo>
                  <a:lnTo>
                    <a:pt x="352" y="581"/>
                  </a:lnTo>
                  <a:lnTo>
                    <a:pt x="232" y="525"/>
                  </a:lnTo>
                  <a:cubicBezTo>
                    <a:pt x="230" y="524"/>
                    <a:pt x="229" y="523"/>
                    <a:pt x="229" y="522"/>
                  </a:cubicBezTo>
                  <a:lnTo>
                    <a:pt x="217" y="447"/>
                  </a:lnTo>
                  <a:lnTo>
                    <a:pt x="74" y="334"/>
                  </a:lnTo>
                  <a:lnTo>
                    <a:pt x="1" y="197"/>
                  </a:lnTo>
                  <a:cubicBezTo>
                    <a:pt x="0" y="196"/>
                    <a:pt x="0" y="194"/>
                    <a:pt x="1" y="192"/>
                  </a:cubicBezTo>
                  <a:cubicBezTo>
                    <a:pt x="2" y="191"/>
                    <a:pt x="3" y="190"/>
                    <a:pt x="5" y="190"/>
                  </a:cubicBezTo>
                  <a:lnTo>
                    <a:pt x="143" y="207"/>
                  </a:lnTo>
                  <a:lnTo>
                    <a:pt x="222" y="124"/>
                  </a:lnTo>
                  <a:lnTo>
                    <a:pt x="285" y="94"/>
                  </a:lnTo>
                  <a:lnTo>
                    <a:pt x="297" y="33"/>
                  </a:lnTo>
                  <a:cubicBezTo>
                    <a:pt x="297" y="32"/>
                    <a:pt x="298" y="30"/>
                    <a:pt x="300" y="30"/>
                  </a:cubicBezTo>
                  <a:lnTo>
                    <a:pt x="385" y="0"/>
                  </a:lnTo>
                  <a:lnTo>
                    <a:pt x="433" y="4"/>
                  </a:lnTo>
                  <a:cubicBezTo>
                    <a:pt x="436" y="5"/>
                    <a:pt x="438" y="6"/>
                    <a:pt x="438" y="9"/>
                  </a:cubicBezTo>
                  <a:lnTo>
                    <a:pt x="438" y="30"/>
                  </a:lnTo>
                  <a:lnTo>
                    <a:pt x="522" y="38"/>
                  </a:lnTo>
                  <a:lnTo>
                    <a:pt x="634" y="81"/>
                  </a:lnTo>
                  <a:cubicBezTo>
                    <a:pt x="635" y="81"/>
                    <a:pt x="636" y="82"/>
                    <a:pt x="636" y="84"/>
                  </a:cubicBezTo>
                  <a:lnTo>
                    <a:pt x="662" y="168"/>
                  </a:lnTo>
                  <a:lnTo>
                    <a:pt x="662" y="237"/>
                  </a:lnTo>
                  <a:lnTo>
                    <a:pt x="636" y="303"/>
                  </a:lnTo>
                  <a:lnTo>
                    <a:pt x="653" y="389"/>
                  </a:lnTo>
                  <a:lnTo>
                    <a:pt x="590" y="544"/>
                  </a:lnTo>
                  <a:lnTo>
                    <a:pt x="550" y="583"/>
                  </a:lnTo>
                  <a:lnTo>
                    <a:pt x="543" y="623"/>
                  </a:lnTo>
                  <a:cubicBezTo>
                    <a:pt x="543" y="625"/>
                    <a:pt x="542" y="626"/>
                    <a:pt x="541" y="627"/>
                  </a:cubicBezTo>
                  <a:cubicBezTo>
                    <a:pt x="540" y="627"/>
                    <a:pt x="539" y="627"/>
                    <a:pt x="539" y="62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7" name="Freeform 232"/>
            <p:cNvSpPr>
              <a:spLocks noChangeArrowheads="1"/>
            </p:cNvSpPr>
            <p:nvPr/>
          </p:nvSpPr>
          <p:spPr bwMode="auto">
            <a:xfrm>
              <a:off x="4587875" y="4248150"/>
              <a:ext cx="411163" cy="398463"/>
            </a:xfrm>
            <a:custGeom>
              <a:avLst/>
              <a:gdLst/>
              <a:ahLst/>
              <a:cxnLst>
                <a:cxn ang="0">
                  <a:pos x="513" y="1105"/>
                </a:cxn>
                <a:cxn ang="0">
                  <a:pos x="509" y="1102"/>
                </a:cxn>
                <a:cxn ang="0">
                  <a:pos x="497" y="1065"/>
                </a:cxn>
                <a:cxn ang="0">
                  <a:pos x="458" y="1042"/>
                </a:cxn>
                <a:cxn ang="0">
                  <a:pos x="410" y="1071"/>
                </a:cxn>
                <a:cxn ang="0">
                  <a:pos x="407" y="1071"/>
                </a:cxn>
                <a:cxn ang="0">
                  <a:pos x="404" y="1070"/>
                </a:cxn>
                <a:cxn ang="0">
                  <a:pos x="341" y="1019"/>
                </a:cxn>
                <a:cxn ang="0">
                  <a:pos x="297" y="955"/>
                </a:cxn>
                <a:cxn ang="0">
                  <a:pos x="267" y="797"/>
                </a:cxn>
                <a:cxn ang="0">
                  <a:pos x="259" y="729"/>
                </a:cxn>
                <a:cxn ang="0">
                  <a:pos x="233" y="653"/>
                </a:cxn>
                <a:cxn ang="0">
                  <a:pos x="229" y="508"/>
                </a:cxn>
                <a:cxn ang="0">
                  <a:pos x="85" y="235"/>
                </a:cxn>
                <a:cxn ang="0">
                  <a:pos x="5" y="117"/>
                </a:cxn>
                <a:cxn ang="0">
                  <a:pos x="0" y="47"/>
                </a:cxn>
                <a:cxn ang="0">
                  <a:pos x="2" y="43"/>
                </a:cxn>
                <a:cxn ang="0">
                  <a:pos x="40" y="18"/>
                </a:cxn>
                <a:cxn ang="0">
                  <a:pos x="43" y="17"/>
                </a:cxn>
                <a:cxn ang="0">
                  <a:pos x="46" y="18"/>
                </a:cxn>
                <a:cxn ang="0">
                  <a:pos x="52" y="24"/>
                </a:cxn>
                <a:cxn ang="0">
                  <a:pos x="91" y="1"/>
                </a:cxn>
                <a:cxn ang="0">
                  <a:pos x="132" y="0"/>
                </a:cxn>
                <a:cxn ang="0">
                  <a:pos x="194" y="43"/>
                </a:cxn>
                <a:cxn ang="0">
                  <a:pos x="560" y="38"/>
                </a:cxn>
                <a:cxn ang="0">
                  <a:pos x="630" y="81"/>
                </a:cxn>
                <a:cxn ang="0">
                  <a:pos x="712" y="80"/>
                </a:cxn>
                <a:cxn ang="0">
                  <a:pos x="827" y="102"/>
                </a:cxn>
                <a:cxn ang="0">
                  <a:pos x="973" y="64"/>
                </a:cxn>
                <a:cxn ang="0">
                  <a:pos x="1049" y="47"/>
                </a:cxn>
                <a:cxn ang="0">
                  <a:pos x="1106" y="55"/>
                </a:cxn>
                <a:cxn ang="0">
                  <a:pos x="1138" y="82"/>
                </a:cxn>
                <a:cxn ang="0">
                  <a:pos x="1139" y="87"/>
                </a:cxn>
                <a:cxn ang="0">
                  <a:pos x="1135" y="90"/>
                </a:cxn>
                <a:cxn ang="0">
                  <a:pos x="1105" y="90"/>
                </a:cxn>
                <a:cxn ang="0">
                  <a:pos x="1052" y="115"/>
                </a:cxn>
                <a:cxn ang="0">
                  <a:pos x="1003" y="161"/>
                </a:cxn>
                <a:cxn ang="0">
                  <a:pos x="999" y="162"/>
                </a:cxn>
                <a:cxn ang="0">
                  <a:pos x="998" y="162"/>
                </a:cxn>
                <a:cxn ang="0">
                  <a:pos x="995" y="159"/>
                </a:cxn>
                <a:cxn ang="0">
                  <a:pos x="979" y="119"/>
                </a:cxn>
                <a:cxn ang="0">
                  <a:pos x="940" y="115"/>
                </a:cxn>
                <a:cxn ang="0">
                  <a:pos x="784" y="148"/>
                </a:cxn>
                <a:cxn ang="0">
                  <a:pos x="784" y="453"/>
                </a:cxn>
                <a:cxn ang="0">
                  <a:pos x="779" y="458"/>
                </a:cxn>
                <a:cxn ang="0">
                  <a:pos x="700" y="458"/>
                </a:cxn>
                <a:cxn ang="0">
                  <a:pos x="700" y="1058"/>
                </a:cxn>
                <a:cxn ang="0">
                  <a:pos x="698" y="1062"/>
                </a:cxn>
                <a:cxn ang="0">
                  <a:pos x="630" y="1104"/>
                </a:cxn>
                <a:cxn ang="0">
                  <a:pos x="628" y="1105"/>
                </a:cxn>
                <a:cxn ang="0">
                  <a:pos x="513" y="1105"/>
                </a:cxn>
              </a:cxnLst>
              <a:rect l="0" t="0" r="r" b="b"/>
              <a:pathLst>
                <a:path w="1141" h="1106">
                  <a:moveTo>
                    <a:pt x="513" y="1105"/>
                  </a:moveTo>
                  <a:cubicBezTo>
                    <a:pt x="511" y="1105"/>
                    <a:pt x="509" y="1104"/>
                    <a:pt x="509" y="1102"/>
                  </a:cubicBezTo>
                  <a:lnTo>
                    <a:pt x="497" y="1065"/>
                  </a:lnTo>
                  <a:lnTo>
                    <a:pt x="458" y="1042"/>
                  </a:lnTo>
                  <a:lnTo>
                    <a:pt x="410" y="1071"/>
                  </a:lnTo>
                  <a:cubicBezTo>
                    <a:pt x="409" y="1071"/>
                    <a:pt x="408" y="1071"/>
                    <a:pt x="407" y="1071"/>
                  </a:cubicBezTo>
                  <a:cubicBezTo>
                    <a:pt x="406" y="1071"/>
                    <a:pt x="405" y="1071"/>
                    <a:pt x="404" y="1070"/>
                  </a:cubicBezTo>
                  <a:lnTo>
                    <a:pt x="341" y="1019"/>
                  </a:lnTo>
                  <a:lnTo>
                    <a:pt x="297" y="955"/>
                  </a:lnTo>
                  <a:lnTo>
                    <a:pt x="267" y="797"/>
                  </a:lnTo>
                  <a:lnTo>
                    <a:pt x="259" y="729"/>
                  </a:lnTo>
                  <a:lnTo>
                    <a:pt x="233" y="653"/>
                  </a:lnTo>
                  <a:lnTo>
                    <a:pt x="229" y="508"/>
                  </a:lnTo>
                  <a:lnTo>
                    <a:pt x="85" y="235"/>
                  </a:lnTo>
                  <a:lnTo>
                    <a:pt x="5" y="117"/>
                  </a:lnTo>
                  <a:lnTo>
                    <a:pt x="0" y="47"/>
                  </a:lnTo>
                  <a:cubicBezTo>
                    <a:pt x="0" y="46"/>
                    <a:pt x="1" y="44"/>
                    <a:pt x="2" y="43"/>
                  </a:cubicBezTo>
                  <a:lnTo>
                    <a:pt x="40" y="18"/>
                  </a:lnTo>
                  <a:cubicBezTo>
                    <a:pt x="41" y="17"/>
                    <a:pt x="42" y="17"/>
                    <a:pt x="43" y="17"/>
                  </a:cubicBezTo>
                  <a:cubicBezTo>
                    <a:pt x="44" y="17"/>
                    <a:pt x="45" y="17"/>
                    <a:pt x="46" y="18"/>
                  </a:cubicBezTo>
                  <a:lnTo>
                    <a:pt x="52" y="24"/>
                  </a:lnTo>
                  <a:lnTo>
                    <a:pt x="91" y="1"/>
                  </a:lnTo>
                  <a:lnTo>
                    <a:pt x="132" y="0"/>
                  </a:lnTo>
                  <a:lnTo>
                    <a:pt x="194" y="43"/>
                  </a:lnTo>
                  <a:lnTo>
                    <a:pt x="560" y="38"/>
                  </a:lnTo>
                  <a:lnTo>
                    <a:pt x="630" y="81"/>
                  </a:lnTo>
                  <a:lnTo>
                    <a:pt x="712" y="80"/>
                  </a:lnTo>
                  <a:lnTo>
                    <a:pt x="827" y="102"/>
                  </a:lnTo>
                  <a:lnTo>
                    <a:pt x="973" y="64"/>
                  </a:lnTo>
                  <a:lnTo>
                    <a:pt x="1049" y="47"/>
                  </a:lnTo>
                  <a:lnTo>
                    <a:pt x="1106" y="55"/>
                  </a:lnTo>
                  <a:lnTo>
                    <a:pt x="1138" y="82"/>
                  </a:lnTo>
                  <a:cubicBezTo>
                    <a:pt x="1139" y="83"/>
                    <a:pt x="1140" y="85"/>
                    <a:pt x="1139" y="87"/>
                  </a:cubicBezTo>
                  <a:cubicBezTo>
                    <a:pt x="1139" y="89"/>
                    <a:pt x="1137" y="90"/>
                    <a:pt x="1135" y="90"/>
                  </a:cubicBezTo>
                  <a:lnTo>
                    <a:pt x="1105" y="90"/>
                  </a:lnTo>
                  <a:lnTo>
                    <a:pt x="1052" y="115"/>
                  </a:lnTo>
                  <a:lnTo>
                    <a:pt x="1003" y="161"/>
                  </a:lnTo>
                  <a:cubicBezTo>
                    <a:pt x="1002" y="161"/>
                    <a:pt x="1001" y="162"/>
                    <a:pt x="999" y="162"/>
                  </a:cubicBezTo>
                  <a:cubicBezTo>
                    <a:pt x="999" y="162"/>
                    <a:pt x="999" y="162"/>
                    <a:pt x="998" y="162"/>
                  </a:cubicBezTo>
                  <a:cubicBezTo>
                    <a:pt x="997" y="161"/>
                    <a:pt x="996" y="160"/>
                    <a:pt x="995" y="159"/>
                  </a:cubicBezTo>
                  <a:lnTo>
                    <a:pt x="979" y="119"/>
                  </a:lnTo>
                  <a:lnTo>
                    <a:pt x="940" y="115"/>
                  </a:lnTo>
                  <a:lnTo>
                    <a:pt x="784" y="148"/>
                  </a:lnTo>
                  <a:lnTo>
                    <a:pt x="784" y="453"/>
                  </a:lnTo>
                  <a:cubicBezTo>
                    <a:pt x="784" y="456"/>
                    <a:pt x="782" y="458"/>
                    <a:pt x="779" y="458"/>
                  </a:cubicBezTo>
                  <a:lnTo>
                    <a:pt x="700" y="458"/>
                  </a:lnTo>
                  <a:lnTo>
                    <a:pt x="700" y="1058"/>
                  </a:lnTo>
                  <a:cubicBezTo>
                    <a:pt x="700" y="1060"/>
                    <a:pt x="699" y="1061"/>
                    <a:pt x="698" y="1062"/>
                  </a:cubicBezTo>
                  <a:lnTo>
                    <a:pt x="630" y="1104"/>
                  </a:lnTo>
                  <a:cubicBezTo>
                    <a:pt x="629" y="1105"/>
                    <a:pt x="629" y="1105"/>
                    <a:pt x="628" y="1105"/>
                  </a:cubicBezTo>
                  <a:lnTo>
                    <a:pt x="513" y="110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8" name="Freeform 233"/>
            <p:cNvSpPr>
              <a:spLocks noChangeArrowheads="1"/>
            </p:cNvSpPr>
            <p:nvPr/>
          </p:nvSpPr>
          <p:spPr bwMode="auto">
            <a:xfrm>
              <a:off x="4587875" y="4248150"/>
              <a:ext cx="411163" cy="398463"/>
            </a:xfrm>
            <a:custGeom>
              <a:avLst/>
              <a:gdLst/>
              <a:ahLst/>
              <a:cxnLst>
                <a:cxn ang="0">
                  <a:pos x="513" y="1105"/>
                </a:cxn>
                <a:cxn ang="0">
                  <a:pos x="509" y="1102"/>
                </a:cxn>
                <a:cxn ang="0">
                  <a:pos x="497" y="1065"/>
                </a:cxn>
                <a:cxn ang="0">
                  <a:pos x="458" y="1042"/>
                </a:cxn>
                <a:cxn ang="0">
                  <a:pos x="410" y="1071"/>
                </a:cxn>
                <a:cxn ang="0">
                  <a:pos x="407" y="1071"/>
                </a:cxn>
                <a:cxn ang="0">
                  <a:pos x="404" y="1070"/>
                </a:cxn>
                <a:cxn ang="0">
                  <a:pos x="341" y="1019"/>
                </a:cxn>
                <a:cxn ang="0">
                  <a:pos x="297" y="955"/>
                </a:cxn>
                <a:cxn ang="0">
                  <a:pos x="267" y="797"/>
                </a:cxn>
                <a:cxn ang="0">
                  <a:pos x="259" y="729"/>
                </a:cxn>
                <a:cxn ang="0">
                  <a:pos x="233" y="653"/>
                </a:cxn>
                <a:cxn ang="0">
                  <a:pos x="229" y="508"/>
                </a:cxn>
                <a:cxn ang="0">
                  <a:pos x="85" y="235"/>
                </a:cxn>
                <a:cxn ang="0">
                  <a:pos x="5" y="117"/>
                </a:cxn>
                <a:cxn ang="0">
                  <a:pos x="0" y="47"/>
                </a:cxn>
                <a:cxn ang="0">
                  <a:pos x="2" y="43"/>
                </a:cxn>
                <a:cxn ang="0">
                  <a:pos x="40" y="18"/>
                </a:cxn>
                <a:cxn ang="0">
                  <a:pos x="43" y="17"/>
                </a:cxn>
                <a:cxn ang="0">
                  <a:pos x="46" y="18"/>
                </a:cxn>
                <a:cxn ang="0">
                  <a:pos x="52" y="24"/>
                </a:cxn>
                <a:cxn ang="0">
                  <a:pos x="91" y="1"/>
                </a:cxn>
                <a:cxn ang="0">
                  <a:pos x="132" y="0"/>
                </a:cxn>
                <a:cxn ang="0">
                  <a:pos x="194" y="43"/>
                </a:cxn>
                <a:cxn ang="0">
                  <a:pos x="560" y="38"/>
                </a:cxn>
                <a:cxn ang="0">
                  <a:pos x="630" y="81"/>
                </a:cxn>
                <a:cxn ang="0">
                  <a:pos x="712" y="80"/>
                </a:cxn>
                <a:cxn ang="0">
                  <a:pos x="827" y="102"/>
                </a:cxn>
                <a:cxn ang="0">
                  <a:pos x="973" y="64"/>
                </a:cxn>
                <a:cxn ang="0">
                  <a:pos x="1049" y="47"/>
                </a:cxn>
                <a:cxn ang="0">
                  <a:pos x="1106" y="55"/>
                </a:cxn>
                <a:cxn ang="0">
                  <a:pos x="1138" y="82"/>
                </a:cxn>
                <a:cxn ang="0">
                  <a:pos x="1139" y="87"/>
                </a:cxn>
                <a:cxn ang="0">
                  <a:pos x="1135" y="90"/>
                </a:cxn>
                <a:cxn ang="0">
                  <a:pos x="1105" y="90"/>
                </a:cxn>
                <a:cxn ang="0">
                  <a:pos x="1052" y="115"/>
                </a:cxn>
                <a:cxn ang="0">
                  <a:pos x="1003" y="161"/>
                </a:cxn>
                <a:cxn ang="0">
                  <a:pos x="999" y="162"/>
                </a:cxn>
                <a:cxn ang="0">
                  <a:pos x="998" y="162"/>
                </a:cxn>
                <a:cxn ang="0">
                  <a:pos x="995" y="159"/>
                </a:cxn>
                <a:cxn ang="0">
                  <a:pos x="979" y="119"/>
                </a:cxn>
                <a:cxn ang="0">
                  <a:pos x="940" y="115"/>
                </a:cxn>
                <a:cxn ang="0">
                  <a:pos x="784" y="148"/>
                </a:cxn>
                <a:cxn ang="0">
                  <a:pos x="784" y="453"/>
                </a:cxn>
                <a:cxn ang="0">
                  <a:pos x="779" y="458"/>
                </a:cxn>
                <a:cxn ang="0">
                  <a:pos x="700" y="458"/>
                </a:cxn>
                <a:cxn ang="0">
                  <a:pos x="700" y="1058"/>
                </a:cxn>
                <a:cxn ang="0">
                  <a:pos x="698" y="1062"/>
                </a:cxn>
                <a:cxn ang="0">
                  <a:pos x="630" y="1104"/>
                </a:cxn>
                <a:cxn ang="0">
                  <a:pos x="628" y="1105"/>
                </a:cxn>
                <a:cxn ang="0">
                  <a:pos x="513" y="1105"/>
                </a:cxn>
              </a:cxnLst>
              <a:rect l="0" t="0" r="r" b="b"/>
              <a:pathLst>
                <a:path w="1141" h="1106">
                  <a:moveTo>
                    <a:pt x="513" y="1105"/>
                  </a:moveTo>
                  <a:cubicBezTo>
                    <a:pt x="511" y="1105"/>
                    <a:pt x="509" y="1104"/>
                    <a:pt x="509" y="1102"/>
                  </a:cubicBezTo>
                  <a:lnTo>
                    <a:pt x="497" y="1065"/>
                  </a:lnTo>
                  <a:lnTo>
                    <a:pt x="458" y="1042"/>
                  </a:lnTo>
                  <a:lnTo>
                    <a:pt x="410" y="1071"/>
                  </a:lnTo>
                  <a:cubicBezTo>
                    <a:pt x="409" y="1071"/>
                    <a:pt x="408" y="1071"/>
                    <a:pt x="407" y="1071"/>
                  </a:cubicBezTo>
                  <a:cubicBezTo>
                    <a:pt x="406" y="1071"/>
                    <a:pt x="405" y="1071"/>
                    <a:pt x="404" y="1070"/>
                  </a:cubicBezTo>
                  <a:lnTo>
                    <a:pt x="341" y="1019"/>
                  </a:lnTo>
                  <a:lnTo>
                    <a:pt x="297" y="955"/>
                  </a:lnTo>
                  <a:lnTo>
                    <a:pt x="267" y="797"/>
                  </a:lnTo>
                  <a:lnTo>
                    <a:pt x="259" y="729"/>
                  </a:lnTo>
                  <a:lnTo>
                    <a:pt x="233" y="653"/>
                  </a:lnTo>
                  <a:lnTo>
                    <a:pt x="229" y="508"/>
                  </a:lnTo>
                  <a:lnTo>
                    <a:pt x="85" y="235"/>
                  </a:lnTo>
                  <a:lnTo>
                    <a:pt x="5" y="117"/>
                  </a:lnTo>
                  <a:lnTo>
                    <a:pt x="0" y="47"/>
                  </a:lnTo>
                  <a:cubicBezTo>
                    <a:pt x="0" y="46"/>
                    <a:pt x="1" y="44"/>
                    <a:pt x="2" y="43"/>
                  </a:cubicBezTo>
                  <a:lnTo>
                    <a:pt x="40" y="18"/>
                  </a:lnTo>
                  <a:cubicBezTo>
                    <a:pt x="41" y="17"/>
                    <a:pt x="42" y="17"/>
                    <a:pt x="43" y="17"/>
                  </a:cubicBezTo>
                  <a:cubicBezTo>
                    <a:pt x="44" y="17"/>
                    <a:pt x="45" y="17"/>
                    <a:pt x="46" y="18"/>
                  </a:cubicBezTo>
                  <a:lnTo>
                    <a:pt x="52" y="24"/>
                  </a:lnTo>
                  <a:lnTo>
                    <a:pt x="91" y="1"/>
                  </a:lnTo>
                  <a:lnTo>
                    <a:pt x="132" y="0"/>
                  </a:lnTo>
                  <a:lnTo>
                    <a:pt x="194" y="43"/>
                  </a:lnTo>
                  <a:lnTo>
                    <a:pt x="560" y="38"/>
                  </a:lnTo>
                  <a:lnTo>
                    <a:pt x="630" y="81"/>
                  </a:lnTo>
                  <a:lnTo>
                    <a:pt x="712" y="80"/>
                  </a:lnTo>
                  <a:lnTo>
                    <a:pt x="827" y="102"/>
                  </a:lnTo>
                  <a:lnTo>
                    <a:pt x="973" y="64"/>
                  </a:lnTo>
                  <a:lnTo>
                    <a:pt x="1049" y="47"/>
                  </a:lnTo>
                  <a:lnTo>
                    <a:pt x="1106" y="55"/>
                  </a:lnTo>
                  <a:lnTo>
                    <a:pt x="1138" y="82"/>
                  </a:lnTo>
                  <a:cubicBezTo>
                    <a:pt x="1139" y="83"/>
                    <a:pt x="1140" y="85"/>
                    <a:pt x="1139" y="87"/>
                  </a:cubicBezTo>
                  <a:cubicBezTo>
                    <a:pt x="1139" y="89"/>
                    <a:pt x="1137" y="90"/>
                    <a:pt x="1135" y="90"/>
                  </a:cubicBezTo>
                  <a:lnTo>
                    <a:pt x="1105" y="90"/>
                  </a:lnTo>
                  <a:lnTo>
                    <a:pt x="1052" y="115"/>
                  </a:lnTo>
                  <a:lnTo>
                    <a:pt x="1003" y="161"/>
                  </a:lnTo>
                  <a:cubicBezTo>
                    <a:pt x="1002" y="161"/>
                    <a:pt x="1001" y="162"/>
                    <a:pt x="999" y="162"/>
                  </a:cubicBezTo>
                  <a:cubicBezTo>
                    <a:pt x="999" y="162"/>
                    <a:pt x="999" y="162"/>
                    <a:pt x="998" y="162"/>
                  </a:cubicBezTo>
                  <a:cubicBezTo>
                    <a:pt x="997" y="161"/>
                    <a:pt x="996" y="160"/>
                    <a:pt x="995" y="159"/>
                  </a:cubicBezTo>
                  <a:lnTo>
                    <a:pt x="979" y="119"/>
                  </a:lnTo>
                  <a:lnTo>
                    <a:pt x="940" y="115"/>
                  </a:lnTo>
                  <a:lnTo>
                    <a:pt x="784" y="148"/>
                  </a:lnTo>
                  <a:lnTo>
                    <a:pt x="784" y="453"/>
                  </a:lnTo>
                  <a:cubicBezTo>
                    <a:pt x="784" y="456"/>
                    <a:pt x="782" y="458"/>
                    <a:pt x="779" y="458"/>
                  </a:cubicBezTo>
                  <a:lnTo>
                    <a:pt x="700" y="458"/>
                  </a:lnTo>
                  <a:lnTo>
                    <a:pt x="700" y="1058"/>
                  </a:lnTo>
                  <a:cubicBezTo>
                    <a:pt x="700" y="1060"/>
                    <a:pt x="699" y="1061"/>
                    <a:pt x="698" y="1062"/>
                  </a:cubicBezTo>
                  <a:lnTo>
                    <a:pt x="630" y="1104"/>
                  </a:lnTo>
                  <a:cubicBezTo>
                    <a:pt x="629" y="1105"/>
                    <a:pt x="629" y="1105"/>
                    <a:pt x="628" y="1105"/>
                  </a:cubicBezTo>
                  <a:lnTo>
                    <a:pt x="513" y="110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39" name="Freeform 234"/>
            <p:cNvSpPr>
              <a:spLocks noChangeArrowheads="1"/>
            </p:cNvSpPr>
            <p:nvPr/>
          </p:nvSpPr>
          <p:spPr bwMode="auto">
            <a:xfrm>
              <a:off x="3730625" y="2874963"/>
              <a:ext cx="255588" cy="223837"/>
            </a:xfrm>
            <a:custGeom>
              <a:avLst/>
              <a:gdLst/>
              <a:ahLst/>
              <a:cxnLst>
                <a:cxn ang="0">
                  <a:pos x="3" y="618"/>
                </a:cxn>
                <a:cxn ang="0">
                  <a:pos x="1" y="613"/>
                </a:cxn>
                <a:cxn ang="0">
                  <a:pos x="22" y="503"/>
                </a:cxn>
                <a:cxn ang="0">
                  <a:pos x="24" y="500"/>
                </a:cxn>
                <a:cxn ang="0">
                  <a:pos x="44" y="492"/>
                </a:cxn>
                <a:cxn ang="0">
                  <a:pos x="107" y="350"/>
                </a:cxn>
                <a:cxn ang="0">
                  <a:pos x="179" y="248"/>
                </a:cxn>
                <a:cxn ang="0">
                  <a:pos x="212" y="155"/>
                </a:cxn>
                <a:cxn ang="0">
                  <a:pos x="294" y="86"/>
                </a:cxn>
                <a:cxn ang="0">
                  <a:pos x="336" y="3"/>
                </a:cxn>
                <a:cxn ang="0">
                  <a:pos x="340" y="0"/>
                </a:cxn>
                <a:cxn ang="0">
                  <a:pos x="704" y="0"/>
                </a:cxn>
                <a:cxn ang="0">
                  <a:pos x="709" y="5"/>
                </a:cxn>
                <a:cxn ang="0">
                  <a:pos x="709" y="47"/>
                </a:cxn>
                <a:cxn ang="0">
                  <a:pos x="700" y="162"/>
                </a:cxn>
                <a:cxn ang="0">
                  <a:pos x="696" y="166"/>
                </a:cxn>
                <a:cxn ang="0">
                  <a:pos x="437" y="162"/>
                </a:cxn>
                <a:cxn ang="0">
                  <a:pos x="433" y="390"/>
                </a:cxn>
                <a:cxn ang="0">
                  <a:pos x="430" y="394"/>
                </a:cxn>
                <a:cxn ang="0">
                  <a:pos x="354" y="416"/>
                </a:cxn>
                <a:cxn ang="0">
                  <a:pos x="332" y="446"/>
                </a:cxn>
                <a:cxn ang="0">
                  <a:pos x="349" y="575"/>
                </a:cxn>
                <a:cxn ang="0">
                  <a:pos x="348" y="579"/>
                </a:cxn>
                <a:cxn ang="0">
                  <a:pos x="344" y="581"/>
                </a:cxn>
                <a:cxn ang="0">
                  <a:pos x="29" y="585"/>
                </a:cxn>
                <a:cxn ang="0">
                  <a:pos x="9" y="617"/>
                </a:cxn>
                <a:cxn ang="0">
                  <a:pos x="5" y="619"/>
                </a:cxn>
                <a:cxn ang="0">
                  <a:pos x="3" y="618"/>
                </a:cxn>
              </a:cxnLst>
              <a:rect l="0" t="0" r="r" b="b"/>
              <a:pathLst>
                <a:path w="710" h="620">
                  <a:moveTo>
                    <a:pt x="3" y="618"/>
                  </a:moveTo>
                  <a:cubicBezTo>
                    <a:pt x="1" y="618"/>
                    <a:pt x="0" y="615"/>
                    <a:pt x="1" y="613"/>
                  </a:cubicBezTo>
                  <a:lnTo>
                    <a:pt x="22" y="503"/>
                  </a:lnTo>
                  <a:cubicBezTo>
                    <a:pt x="22" y="502"/>
                    <a:pt x="23" y="500"/>
                    <a:pt x="24" y="500"/>
                  </a:cubicBezTo>
                  <a:lnTo>
                    <a:pt x="44" y="492"/>
                  </a:lnTo>
                  <a:lnTo>
                    <a:pt x="107" y="350"/>
                  </a:lnTo>
                  <a:lnTo>
                    <a:pt x="179" y="248"/>
                  </a:lnTo>
                  <a:lnTo>
                    <a:pt x="212" y="155"/>
                  </a:lnTo>
                  <a:lnTo>
                    <a:pt x="294" y="86"/>
                  </a:lnTo>
                  <a:lnTo>
                    <a:pt x="336" y="3"/>
                  </a:lnTo>
                  <a:cubicBezTo>
                    <a:pt x="336" y="1"/>
                    <a:pt x="338" y="0"/>
                    <a:pt x="340" y="0"/>
                  </a:cubicBezTo>
                  <a:lnTo>
                    <a:pt x="704" y="0"/>
                  </a:lnTo>
                  <a:cubicBezTo>
                    <a:pt x="707" y="0"/>
                    <a:pt x="709" y="2"/>
                    <a:pt x="709" y="5"/>
                  </a:cubicBezTo>
                  <a:lnTo>
                    <a:pt x="709" y="47"/>
                  </a:lnTo>
                  <a:lnTo>
                    <a:pt x="700" y="162"/>
                  </a:lnTo>
                  <a:cubicBezTo>
                    <a:pt x="700" y="164"/>
                    <a:pt x="698" y="166"/>
                    <a:pt x="696" y="166"/>
                  </a:cubicBezTo>
                  <a:lnTo>
                    <a:pt x="437" y="162"/>
                  </a:lnTo>
                  <a:lnTo>
                    <a:pt x="433" y="390"/>
                  </a:lnTo>
                  <a:cubicBezTo>
                    <a:pt x="433" y="392"/>
                    <a:pt x="432" y="394"/>
                    <a:pt x="430" y="394"/>
                  </a:cubicBezTo>
                  <a:lnTo>
                    <a:pt x="354" y="416"/>
                  </a:lnTo>
                  <a:lnTo>
                    <a:pt x="332" y="446"/>
                  </a:lnTo>
                  <a:lnTo>
                    <a:pt x="349" y="575"/>
                  </a:lnTo>
                  <a:cubicBezTo>
                    <a:pt x="349" y="577"/>
                    <a:pt x="348" y="578"/>
                    <a:pt x="348" y="579"/>
                  </a:cubicBezTo>
                  <a:cubicBezTo>
                    <a:pt x="347" y="580"/>
                    <a:pt x="345" y="581"/>
                    <a:pt x="344" y="581"/>
                  </a:cubicBezTo>
                  <a:lnTo>
                    <a:pt x="29" y="585"/>
                  </a:lnTo>
                  <a:lnTo>
                    <a:pt x="9" y="617"/>
                  </a:lnTo>
                  <a:cubicBezTo>
                    <a:pt x="8" y="618"/>
                    <a:pt x="7" y="619"/>
                    <a:pt x="5" y="619"/>
                  </a:cubicBezTo>
                  <a:cubicBezTo>
                    <a:pt x="5" y="619"/>
                    <a:pt x="4" y="619"/>
                    <a:pt x="3" y="61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0" name="Freeform 235"/>
            <p:cNvSpPr>
              <a:spLocks noChangeArrowheads="1"/>
            </p:cNvSpPr>
            <p:nvPr/>
          </p:nvSpPr>
          <p:spPr bwMode="auto">
            <a:xfrm>
              <a:off x="3730625" y="2874963"/>
              <a:ext cx="255588" cy="223837"/>
            </a:xfrm>
            <a:custGeom>
              <a:avLst/>
              <a:gdLst/>
              <a:ahLst/>
              <a:cxnLst>
                <a:cxn ang="0">
                  <a:pos x="5" y="619"/>
                </a:cxn>
                <a:cxn ang="0">
                  <a:pos x="3" y="618"/>
                </a:cxn>
                <a:cxn ang="0">
                  <a:pos x="1" y="613"/>
                </a:cxn>
                <a:cxn ang="0">
                  <a:pos x="22" y="503"/>
                </a:cxn>
                <a:cxn ang="0">
                  <a:pos x="24" y="500"/>
                </a:cxn>
                <a:cxn ang="0">
                  <a:pos x="44" y="492"/>
                </a:cxn>
                <a:cxn ang="0">
                  <a:pos x="107" y="350"/>
                </a:cxn>
                <a:cxn ang="0">
                  <a:pos x="179" y="248"/>
                </a:cxn>
                <a:cxn ang="0">
                  <a:pos x="212" y="155"/>
                </a:cxn>
                <a:cxn ang="0">
                  <a:pos x="294" y="86"/>
                </a:cxn>
                <a:cxn ang="0">
                  <a:pos x="336" y="3"/>
                </a:cxn>
                <a:cxn ang="0">
                  <a:pos x="340" y="0"/>
                </a:cxn>
                <a:cxn ang="0">
                  <a:pos x="704" y="0"/>
                </a:cxn>
                <a:cxn ang="0">
                  <a:pos x="709" y="5"/>
                </a:cxn>
                <a:cxn ang="0">
                  <a:pos x="709" y="47"/>
                </a:cxn>
                <a:cxn ang="0">
                  <a:pos x="700" y="162"/>
                </a:cxn>
                <a:cxn ang="0">
                  <a:pos x="696" y="166"/>
                </a:cxn>
                <a:cxn ang="0">
                  <a:pos x="437" y="162"/>
                </a:cxn>
                <a:cxn ang="0">
                  <a:pos x="433" y="390"/>
                </a:cxn>
                <a:cxn ang="0">
                  <a:pos x="430" y="394"/>
                </a:cxn>
                <a:cxn ang="0">
                  <a:pos x="354" y="416"/>
                </a:cxn>
                <a:cxn ang="0">
                  <a:pos x="332" y="446"/>
                </a:cxn>
                <a:cxn ang="0">
                  <a:pos x="349" y="575"/>
                </a:cxn>
                <a:cxn ang="0">
                  <a:pos x="348" y="579"/>
                </a:cxn>
                <a:cxn ang="0">
                  <a:pos x="344" y="581"/>
                </a:cxn>
                <a:cxn ang="0">
                  <a:pos x="29" y="585"/>
                </a:cxn>
                <a:cxn ang="0">
                  <a:pos x="9" y="617"/>
                </a:cxn>
                <a:cxn ang="0">
                  <a:pos x="5" y="619"/>
                </a:cxn>
              </a:cxnLst>
              <a:rect l="0" t="0" r="r" b="b"/>
              <a:pathLst>
                <a:path w="710" h="620">
                  <a:moveTo>
                    <a:pt x="5" y="619"/>
                  </a:moveTo>
                  <a:cubicBezTo>
                    <a:pt x="5" y="619"/>
                    <a:pt x="4" y="619"/>
                    <a:pt x="3" y="618"/>
                  </a:cubicBezTo>
                  <a:cubicBezTo>
                    <a:pt x="1" y="618"/>
                    <a:pt x="0" y="615"/>
                    <a:pt x="1" y="613"/>
                  </a:cubicBezTo>
                  <a:lnTo>
                    <a:pt x="22" y="503"/>
                  </a:lnTo>
                  <a:cubicBezTo>
                    <a:pt x="22" y="502"/>
                    <a:pt x="23" y="500"/>
                    <a:pt x="24" y="500"/>
                  </a:cubicBezTo>
                  <a:lnTo>
                    <a:pt x="44" y="492"/>
                  </a:lnTo>
                  <a:lnTo>
                    <a:pt x="107" y="350"/>
                  </a:lnTo>
                  <a:lnTo>
                    <a:pt x="179" y="248"/>
                  </a:lnTo>
                  <a:lnTo>
                    <a:pt x="212" y="155"/>
                  </a:lnTo>
                  <a:lnTo>
                    <a:pt x="294" y="86"/>
                  </a:lnTo>
                  <a:lnTo>
                    <a:pt x="336" y="3"/>
                  </a:lnTo>
                  <a:cubicBezTo>
                    <a:pt x="336" y="1"/>
                    <a:pt x="338" y="0"/>
                    <a:pt x="340" y="0"/>
                  </a:cubicBezTo>
                  <a:lnTo>
                    <a:pt x="704" y="0"/>
                  </a:lnTo>
                  <a:cubicBezTo>
                    <a:pt x="707" y="0"/>
                    <a:pt x="709" y="2"/>
                    <a:pt x="709" y="5"/>
                  </a:cubicBezTo>
                  <a:lnTo>
                    <a:pt x="709" y="47"/>
                  </a:lnTo>
                  <a:lnTo>
                    <a:pt x="700" y="162"/>
                  </a:lnTo>
                  <a:cubicBezTo>
                    <a:pt x="700" y="164"/>
                    <a:pt x="698" y="166"/>
                    <a:pt x="696" y="166"/>
                  </a:cubicBezTo>
                  <a:lnTo>
                    <a:pt x="437" y="162"/>
                  </a:lnTo>
                  <a:lnTo>
                    <a:pt x="433" y="390"/>
                  </a:lnTo>
                  <a:cubicBezTo>
                    <a:pt x="433" y="392"/>
                    <a:pt x="432" y="394"/>
                    <a:pt x="430" y="394"/>
                  </a:cubicBezTo>
                  <a:lnTo>
                    <a:pt x="354" y="416"/>
                  </a:lnTo>
                  <a:lnTo>
                    <a:pt x="332" y="446"/>
                  </a:lnTo>
                  <a:lnTo>
                    <a:pt x="349" y="575"/>
                  </a:lnTo>
                  <a:cubicBezTo>
                    <a:pt x="349" y="577"/>
                    <a:pt x="348" y="578"/>
                    <a:pt x="348" y="579"/>
                  </a:cubicBezTo>
                  <a:cubicBezTo>
                    <a:pt x="347" y="580"/>
                    <a:pt x="345" y="581"/>
                    <a:pt x="344" y="581"/>
                  </a:cubicBezTo>
                  <a:lnTo>
                    <a:pt x="29" y="585"/>
                  </a:lnTo>
                  <a:lnTo>
                    <a:pt x="9" y="617"/>
                  </a:lnTo>
                  <a:cubicBezTo>
                    <a:pt x="8" y="618"/>
                    <a:pt x="7" y="619"/>
                    <a:pt x="5" y="61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1" name="Freeform 236"/>
            <p:cNvSpPr>
              <a:spLocks noChangeArrowheads="1"/>
            </p:cNvSpPr>
            <p:nvPr/>
          </p:nvSpPr>
          <p:spPr bwMode="auto">
            <a:xfrm>
              <a:off x="4897438" y="3028950"/>
              <a:ext cx="501650" cy="604838"/>
            </a:xfrm>
            <a:custGeom>
              <a:avLst/>
              <a:gdLst/>
              <a:ahLst/>
              <a:cxnLst>
                <a:cxn ang="0">
                  <a:pos x="657" y="1593"/>
                </a:cxn>
                <a:cxn ang="0">
                  <a:pos x="632" y="1609"/>
                </a:cxn>
                <a:cxn ang="0">
                  <a:pos x="563" y="1616"/>
                </a:cxn>
                <a:cxn ang="0">
                  <a:pos x="558" y="1617"/>
                </a:cxn>
                <a:cxn ang="0">
                  <a:pos x="476" y="1548"/>
                </a:cxn>
                <a:cxn ang="0">
                  <a:pos x="400" y="1469"/>
                </a:cxn>
                <a:cxn ang="0">
                  <a:pos x="286" y="1346"/>
                </a:cxn>
                <a:cxn ang="0">
                  <a:pos x="276" y="1303"/>
                </a:cxn>
                <a:cxn ang="0">
                  <a:pos x="195" y="1276"/>
                </a:cxn>
                <a:cxn ang="0">
                  <a:pos x="139" y="1236"/>
                </a:cxn>
                <a:cxn ang="0">
                  <a:pos x="136" y="1132"/>
                </a:cxn>
                <a:cxn ang="0">
                  <a:pos x="69" y="1051"/>
                </a:cxn>
                <a:cxn ang="0">
                  <a:pos x="43" y="955"/>
                </a:cxn>
                <a:cxn ang="0">
                  <a:pos x="5" y="915"/>
                </a:cxn>
                <a:cxn ang="0">
                  <a:pos x="0" y="910"/>
                </a:cxn>
                <a:cxn ang="0">
                  <a:pos x="21" y="808"/>
                </a:cxn>
                <a:cxn ang="0">
                  <a:pos x="34" y="758"/>
                </a:cxn>
                <a:cxn ang="0">
                  <a:pos x="89" y="655"/>
                </a:cxn>
                <a:cxn ang="0">
                  <a:pos x="178" y="640"/>
                </a:cxn>
                <a:cxn ang="0">
                  <a:pos x="182" y="271"/>
                </a:cxn>
                <a:cxn ang="0">
                  <a:pos x="263" y="102"/>
                </a:cxn>
                <a:cxn ang="0">
                  <a:pos x="785" y="98"/>
                </a:cxn>
                <a:cxn ang="0">
                  <a:pos x="797" y="81"/>
                </a:cxn>
                <a:cxn ang="0">
                  <a:pos x="814" y="83"/>
                </a:cxn>
                <a:cxn ang="0">
                  <a:pos x="809" y="98"/>
                </a:cxn>
                <a:cxn ang="0">
                  <a:pos x="981" y="115"/>
                </a:cxn>
                <a:cxn ang="0">
                  <a:pos x="1026" y="83"/>
                </a:cxn>
                <a:cxn ang="0">
                  <a:pos x="1069" y="69"/>
                </a:cxn>
                <a:cxn ang="0">
                  <a:pos x="1094" y="22"/>
                </a:cxn>
                <a:cxn ang="0">
                  <a:pos x="1146" y="1"/>
                </a:cxn>
                <a:cxn ang="0">
                  <a:pos x="1152" y="2"/>
                </a:cxn>
                <a:cxn ang="0">
                  <a:pos x="1259" y="102"/>
                </a:cxn>
                <a:cxn ang="0">
                  <a:pos x="1288" y="176"/>
                </a:cxn>
                <a:cxn ang="0">
                  <a:pos x="1389" y="446"/>
                </a:cxn>
                <a:cxn ang="0">
                  <a:pos x="1382" y="488"/>
                </a:cxn>
                <a:cxn ang="0">
                  <a:pos x="1271" y="537"/>
                </a:cxn>
                <a:cxn ang="0">
                  <a:pos x="1230" y="800"/>
                </a:cxn>
                <a:cxn ang="0">
                  <a:pos x="1110" y="998"/>
                </a:cxn>
                <a:cxn ang="0">
                  <a:pos x="1096" y="1062"/>
                </a:cxn>
                <a:cxn ang="0">
                  <a:pos x="1030" y="1254"/>
                </a:cxn>
                <a:cxn ang="0">
                  <a:pos x="1003" y="1278"/>
                </a:cxn>
                <a:cxn ang="0">
                  <a:pos x="943" y="1314"/>
                </a:cxn>
                <a:cxn ang="0">
                  <a:pos x="1034" y="1382"/>
                </a:cxn>
                <a:cxn ang="0">
                  <a:pos x="1118" y="1503"/>
                </a:cxn>
                <a:cxn ang="0">
                  <a:pos x="1179" y="1528"/>
                </a:cxn>
                <a:cxn ang="0">
                  <a:pos x="1174" y="1596"/>
                </a:cxn>
                <a:cxn ang="0">
                  <a:pos x="1016" y="1637"/>
                </a:cxn>
                <a:cxn ang="0">
                  <a:pos x="759" y="1677"/>
                </a:cxn>
              </a:cxnLst>
              <a:rect l="0" t="0" r="r" b="b"/>
              <a:pathLst>
                <a:path w="1392" h="1678">
                  <a:moveTo>
                    <a:pt x="756" y="1676"/>
                  </a:moveTo>
                  <a:lnTo>
                    <a:pt x="657" y="1593"/>
                  </a:lnTo>
                  <a:lnTo>
                    <a:pt x="634" y="1608"/>
                  </a:lnTo>
                  <a:cubicBezTo>
                    <a:pt x="634" y="1609"/>
                    <a:pt x="633" y="1609"/>
                    <a:pt x="632" y="1609"/>
                  </a:cubicBezTo>
                  <a:lnTo>
                    <a:pt x="582" y="1601"/>
                  </a:lnTo>
                  <a:lnTo>
                    <a:pt x="563" y="1616"/>
                  </a:lnTo>
                  <a:cubicBezTo>
                    <a:pt x="562" y="1617"/>
                    <a:pt x="561" y="1617"/>
                    <a:pt x="560" y="1617"/>
                  </a:cubicBezTo>
                  <a:cubicBezTo>
                    <a:pt x="559" y="1617"/>
                    <a:pt x="558" y="1617"/>
                    <a:pt x="558" y="1617"/>
                  </a:cubicBezTo>
                  <a:lnTo>
                    <a:pt x="520" y="1600"/>
                  </a:lnTo>
                  <a:lnTo>
                    <a:pt x="476" y="1548"/>
                  </a:lnTo>
                  <a:lnTo>
                    <a:pt x="454" y="1505"/>
                  </a:lnTo>
                  <a:lnTo>
                    <a:pt x="400" y="1469"/>
                  </a:lnTo>
                  <a:lnTo>
                    <a:pt x="369" y="1403"/>
                  </a:lnTo>
                  <a:lnTo>
                    <a:pt x="286" y="1346"/>
                  </a:lnTo>
                  <a:cubicBezTo>
                    <a:pt x="285" y="1345"/>
                    <a:pt x="284" y="1344"/>
                    <a:pt x="284" y="1343"/>
                  </a:cubicBezTo>
                  <a:lnTo>
                    <a:pt x="276" y="1303"/>
                  </a:lnTo>
                  <a:lnTo>
                    <a:pt x="198" y="1279"/>
                  </a:lnTo>
                  <a:cubicBezTo>
                    <a:pt x="197" y="1278"/>
                    <a:pt x="196" y="1277"/>
                    <a:pt x="195" y="1276"/>
                  </a:cubicBezTo>
                  <a:lnTo>
                    <a:pt x="188" y="1257"/>
                  </a:lnTo>
                  <a:lnTo>
                    <a:pt x="139" y="1236"/>
                  </a:lnTo>
                  <a:cubicBezTo>
                    <a:pt x="137" y="1236"/>
                    <a:pt x="136" y="1234"/>
                    <a:pt x="136" y="1232"/>
                  </a:cubicBezTo>
                  <a:lnTo>
                    <a:pt x="136" y="1132"/>
                  </a:lnTo>
                  <a:lnTo>
                    <a:pt x="69" y="1057"/>
                  </a:lnTo>
                  <a:cubicBezTo>
                    <a:pt x="67" y="1056"/>
                    <a:pt x="67" y="1053"/>
                    <a:pt x="69" y="1051"/>
                  </a:cubicBezTo>
                  <a:lnTo>
                    <a:pt x="84" y="1033"/>
                  </a:lnTo>
                  <a:lnTo>
                    <a:pt x="43" y="955"/>
                  </a:lnTo>
                  <a:lnTo>
                    <a:pt x="35" y="911"/>
                  </a:lnTo>
                  <a:lnTo>
                    <a:pt x="5" y="915"/>
                  </a:lnTo>
                  <a:cubicBezTo>
                    <a:pt x="4" y="915"/>
                    <a:pt x="3" y="915"/>
                    <a:pt x="2" y="914"/>
                  </a:cubicBezTo>
                  <a:cubicBezTo>
                    <a:pt x="1" y="913"/>
                    <a:pt x="0" y="912"/>
                    <a:pt x="0" y="910"/>
                  </a:cubicBezTo>
                  <a:lnTo>
                    <a:pt x="0" y="885"/>
                  </a:lnTo>
                  <a:lnTo>
                    <a:pt x="21" y="808"/>
                  </a:lnTo>
                  <a:lnTo>
                    <a:pt x="35" y="789"/>
                  </a:lnTo>
                  <a:lnTo>
                    <a:pt x="34" y="758"/>
                  </a:lnTo>
                  <a:lnTo>
                    <a:pt x="77" y="700"/>
                  </a:lnTo>
                  <a:lnTo>
                    <a:pt x="89" y="655"/>
                  </a:lnTo>
                  <a:cubicBezTo>
                    <a:pt x="90" y="653"/>
                    <a:pt x="91" y="652"/>
                    <a:pt x="93" y="652"/>
                  </a:cubicBezTo>
                  <a:lnTo>
                    <a:pt x="178" y="640"/>
                  </a:lnTo>
                  <a:lnTo>
                    <a:pt x="178" y="276"/>
                  </a:lnTo>
                  <a:cubicBezTo>
                    <a:pt x="178" y="273"/>
                    <a:pt x="180" y="271"/>
                    <a:pt x="182" y="271"/>
                  </a:cubicBezTo>
                  <a:lnTo>
                    <a:pt x="263" y="267"/>
                  </a:lnTo>
                  <a:lnTo>
                    <a:pt x="263" y="102"/>
                  </a:lnTo>
                  <a:cubicBezTo>
                    <a:pt x="263" y="100"/>
                    <a:pt x="265" y="98"/>
                    <a:pt x="267" y="98"/>
                  </a:cubicBezTo>
                  <a:lnTo>
                    <a:pt x="785" y="98"/>
                  </a:lnTo>
                  <a:lnTo>
                    <a:pt x="793" y="83"/>
                  </a:lnTo>
                  <a:cubicBezTo>
                    <a:pt x="793" y="82"/>
                    <a:pt x="795" y="81"/>
                    <a:pt x="797" y="81"/>
                  </a:cubicBezTo>
                  <a:lnTo>
                    <a:pt x="810" y="81"/>
                  </a:lnTo>
                  <a:cubicBezTo>
                    <a:pt x="811" y="81"/>
                    <a:pt x="813" y="82"/>
                    <a:pt x="814" y="83"/>
                  </a:cubicBezTo>
                  <a:cubicBezTo>
                    <a:pt x="814" y="84"/>
                    <a:pt x="814" y="86"/>
                    <a:pt x="814" y="88"/>
                  </a:cubicBezTo>
                  <a:lnTo>
                    <a:pt x="809" y="98"/>
                  </a:lnTo>
                  <a:lnTo>
                    <a:pt x="945" y="102"/>
                  </a:lnTo>
                  <a:lnTo>
                    <a:pt x="981" y="115"/>
                  </a:lnTo>
                  <a:lnTo>
                    <a:pt x="1010" y="115"/>
                  </a:lnTo>
                  <a:lnTo>
                    <a:pt x="1026" y="83"/>
                  </a:lnTo>
                  <a:cubicBezTo>
                    <a:pt x="1026" y="82"/>
                    <a:pt x="1027" y="81"/>
                    <a:pt x="1029" y="81"/>
                  </a:cubicBezTo>
                  <a:lnTo>
                    <a:pt x="1069" y="69"/>
                  </a:lnTo>
                  <a:lnTo>
                    <a:pt x="1089" y="24"/>
                  </a:lnTo>
                  <a:cubicBezTo>
                    <a:pt x="1090" y="23"/>
                    <a:pt x="1092" y="22"/>
                    <a:pt x="1094" y="22"/>
                  </a:cubicBezTo>
                  <a:lnTo>
                    <a:pt x="1114" y="26"/>
                  </a:lnTo>
                  <a:lnTo>
                    <a:pt x="1146" y="1"/>
                  </a:lnTo>
                  <a:cubicBezTo>
                    <a:pt x="1147" y="1"/>
                    <a:pt x="1148" y="0"/>
                    <a:pt x="1149" y="0"/>
                  </a:cubicBezTo>
                  <a:cubicBezTo>
                    <a:pt x="1150" y="0"/>
                    <a:pt x="1151" y="1"/>
                    <a:pt x="1152" y="2"/>
                  </a:cubicBezTo>
                  <a:lnTo>
                    <a:pt x="1258" y="99"/>
                  </a:lnTo>
                  <a:cubicBezTo>
                    <a:pt x="1258" y="100"/>
                    <a:pt x="1259" y="101"/>
                    <a:pt x="1259" y="102"/>
                  </a:cubicBezTo>
                  <a:lnTo>
                    <a:pt x="1264" y="149"/>
                  </a:lnTo>
                  <a:lnTo>
                    <a:pt x="1288" y="176"/>
                  </a:lnTo>
                  <a:lnTo>
                    <a:pt x="1301" y="371"/>
                  </a:lnTo>
                  <a:lnTo>
                    <a:pt x="1389" y="446"/>
                  </a:lnTo>
                  <a:cubicBezTo>
                    <a:pt x="1390" y="447"/>
                    <a:pt x="1391" y="449"/>
                    <a:pt x="1390" y="450"/>
                  </a:cubicBezTo>
                  <a:lnTo>
                    <a:pt x="1382" y="488"/>
                  </a:lnTo>
                  <a:cubicBezTo>
                    <a:pt x="1382" y="490"/>
                    <a:pt x="1381" y="491"/>
                    <a:pt x="1379" y="492"/>
                  </a:cubicBezTo>
                  <a:lnTo>
                    <a:pt x="1271" y="537"/>
                  </a:lnTo>
                  <a:lnTo>
                    <a:pt x="1225" y="725"/>
                  </a:lnTo>
                  <a:lnTo>
                    <a:pt x="1230" y="800"/>
                  </a:lnTo>
                  <a:lnTo>
                    <a:pt x="1204" y="891"/>
                  </a:lnTo>
                  <a:lnTo>
                    <a:pt x="1110" y="998"/>
                  </a:lnTo>
                  <a:lnTo>
                    <a:pt x="1098" y="1060"/>
                  </a:lnTo>
                  <a:cubicBezTo>
                    <a:pt x="1098" y="1061"/>
                    <a:pt x="1097" y="1062"/>
                    <a:pt x="1096" y="1062"/>
                  </a:cubicBezTo>
                  <a:lnTo>
                    <a:pt x="1043" y="1099"/>
                  </a:lnTo>
                  <a:lnTo>
                    <a:pt x="1030" y="1254"/>
                  </a:lnTo>
                  <a:cubicBezTo>
                    <a:pt x="1030" y="1255"/>
                    <a:pt x="1030" y="1256"/>
                    <a:pt x="1029" y="1257"/>
                  </a:cubicBezTo>
                  <a:lnTo>
                    <a:pt x="1003" y="1278"/>
                  </a:lnTo>
                  <a:lnTo>
                    <a:pt x="957" y="1279"/>
                  </a:lnTo>
                  <a:lnTo>
                    <a:pt x="943" y="1314"/>
                  </a:lnTo>
                  <a:lnTo>
                    <a:pt x="1006" y="1338"/>
                  </a:lnTo>
                  <a:lnTo>
                    <a:pt x="1034" y="1382"/>
                  </a:lnTo>
                  <a:lnTo>
                    <a:pt x="1084" y="1414"/>
                  </a:lnTo>
                  <a:lnTo>
                    <a:pt x="1118" y="1503"/>
                  </a:lnTo>
                  <a:lnTo>
                    <a:pt x="1176" y="1524"/>
                  </a:lnTo>
                  <a:cubicBezTo>
                    <a:pt x="1177" y="1524"/>
                    <a:pt x="1179" y="1526"/>
                    <a:pt x="1179" y="1528"/>
                  </a:cubicBezTo>
                  <a:lnTo>
                    <a:pt x="1179" y="1592"/>
                  </a:lnTo>
                  <a:cubicBezTo>
                    <a:pt x="1179" y="1594"/>
                    <a:pt x="1177" y="1596"/>
                    <a:pt x="1174" y="1596"/>
                  </a:cubicBezTo>
                  <a:lnTo>
                    <a:pt x="1057" y="1596"/>
                  </a:lnTo>
                  <a:lnTo>
                    <a:pt x="1016" y="1637"/>
                  </a:lnTo>
                  <a:lnTo>
                    <a:pt x="973" y="1663"/>
                  </a:lnTo>
                  <a:lnTo>
                    <a:pt x="759" y="1677"/>
                  </a:lnTo>
                  <a:cubicBezTo>
                    <a:pt x="758" y="1677"/>
                    <a:pt x="757" y="1676"/>
                    <a:pt x="756" y="167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2" name="Freeform 237"/>
            <p:cNvSpPr>
              <a:spLocks noChangeArrowheads="1"/>
            </p:cNvSpPr>
            <p:nvPr/>
          </p:nvSpPr>
          <p:spPr bwMode="auto">
            <a:xfrm>
              <a:off x="4897438" y="3028950"/>
              <a:ext cx="501650" cy="604838"/>
            </a:xfrm>
            <a:custGeom>
              <a:avLst/>
              <a:gdLst/>
              <a:ahLst/>
              <a:cxnLst>
                <a:cxn ang="0">
                  <a:pos x="756" y="1676"/>
                </a:cxn>
                <a:cxn ang="0">
                  <a:pos x="634" y="1608"/>
                </a:cxn>
                <a:cxn ang="0">
                  <a:pos x="582" y="1601"/>
                </a:cxn>
                <a:cxn ang="0">
                  <a:pos x="560" y="1617"/>
                </a:cxn>
                <a:cxn ang="0">
                  <a:pos x="520" y="1600"/>
                </a:cxn>
                <a:cxn ang="0">
                  <a:pos x="454" y="1505"/>
                </a:cxn>
                <a:cxn ang="0">
                  <a:pos x="369" y="1403"/>
                </a:cxn>
                <a:cxn ang="0">
                  <a:pos x="284" y="1343"/>
                </a:cxn>
                <a:cxn ang="0">
                  <a:pos x="198" y="1279"/>
                </a:cxn>
                <a:cxn ang="0">
                  <a:pos x="188" y="1257"/>
                </a:cxn>
                <a:cxn ang="0">
                  <a:pos x="136" y="1232"/>
                </a:cxn>
                <a:cxn ang="0">
                  <a:pos x="69" y="1057"/>
                </a:cxn>
                <a:cxn ang="0">
                  <a:pos x="84" y="1033"/>
                </a:cxn>
                <a:cxn ang="0">
                  <a:pos x="35" y="911"/>
                </a:cxn>
                <a:cxn ang="0">
                  <a:pos x="2" y="914"/>
                </a:cxn>
                <a:cxn ang="0">
                  <a:pos x="0" y="885"/>
                </a:cxn>
                <a:cxn ang="0">
                  <a:pos x="35" y="789"/>
                </a:cxn>
                <a:cxn ang="0">
                  <a:pos x="77" y="700"/>
                </a:cxn>
                <a:cxn ang="0">
                  <a:pos x="93" y="652"/>
                </a:cxn>
                <a:cxn ang="0">
                  <a:pos x="178" y="276"/>
                </a:cxn>
                <a:cxn ang="0">
                  <a:pos x="263" y="267"/>
                </a:cxn>
                <a:cxn ang="0">
                  <a:pos x="267" y="98"/>
                </a:cxn>
                <a:cxn ang="0">
                  <a:pos x="793" y="83"/>
                </a:cxn>
                <a:cxn ang="0">
                  <a:pos x="810" y="81"/>
                </a:cxn>
                <a:cxn ang="0">
                  <a:pos x="814" y="88"/>
                </a:cxn>
                <a:cxn ang="0">
                  <a:pos x="945" y="102"/>
                </a:cxn>
                <a:cxn ang="0">
                  <a:pos x="1010" y="115"/>
                </a:cxn>
                <a:cxn ang="0">
                  <a:pos x="1029" y="81"/>
                </a:cxn>
                <a:cxn ang="0">
                  <a:pos x="1089" y="24"/>
                </a:cxn>
                <a:cxn ang="0">
                  <a:pos x="1114" y="26"/>
                </a:cxn>
                <a:cxn ang="0">
                  <a:pos x="1149" y="0"/>
                </a:cxn>
                <a:cxn ang="0">
                  <a:pos x="1258" y="99"/>
                </a:cxn>
                <a:cxn ang="0">
                  <a:pos x="1264" y="149"/>
                </a:cxn>
                <a:cxn ang="0">
                  <a:pos x="1301" y="371"/>
                </a:cxn>
                <a:cxn ang="0">
                  <a:pos x="1390" y="450"/>
                </a:cxn>
                <a:cxn ang="0">
                  <a:pos x="1379" y="492"/>
                </a:cxn>
                <a:cxn ang="0">
                  <a:pos x="1225" y="725"/>
                </a:cxn>
                <a:cxn ang="0">
                  <a:pos x="1204" y="891"/>
                </a:cxn>
                <a:cxn ang="0">
                  <a:pos x="1098" y="1060"/>
                </a:cxn>
                <a:cxn ang="0">
                  <a:pos x="1043" y="1099"/>
                </a:cxn>
                <a:cxn ang="0">
                  <a:pos x="1029" y="1257"/>
                </a:cxn>
                <a:cxn ang="0">
                  <a:pos x="957" y="1279"/>
                </a:cxn>
                <a:cxn ang="0">
                  <a:pos x="1006" y="1338"/>
                </a:cxn>
                <a:cxn ang="0">
                  <a:pos x="1084" y="1414"/>
                </a:cxn>
                <a:cxn ang="0">
                  <a:pos x="1176" y="1524"/>
                </a:cxn>
                <a:cxn ang="0">
                  <a:pos x="1179" y="1592"/>
                </a:cxn>
                <a:cxn ang="0">
                  <a:pos x="1057" y="1596"/>
                </a:cxn>
                <a:cxn ang="0">
                  <a:pos x="973" y="1663"/>
                </a:cxn>
              </a:cxnLst>
              <a:rect l="0" t="0" r="r" b="b"/>
              <a:pathLst>
                <a:path w="1392" h="1678">
                  <a:moveTo>
                    <a:pt x="759" y="1677"/>
                  </a:moveTo>
                  <a:cubicBezTo>
                    <a:pt x="758" y="1677"/>
                    <a:pt x="757" y="1676"/>
                    <a:pt x="756" y="1676"/>
                  </a:cubicBezTo>
                  <a:lnTo>
                    <a:pt x="657" y="1593"/>
                  </a:lnTo>
                  <a:lnTo>
                    <a:pt x="634" y="1608"/>
                  </a:lnTo>
                  <a:cubicBezTo>
                    <a:pt x="634" y="1609"/>
                    <a:pt x="633" y="1609"/>
                    <a:pt x="632" y="1609"/>
                  </a:cubicBezTo>
                  <a:lnTo>
                    <a:pt x="582" y="1601"/>
                  </a:lnTo>
                  <a:lnTo>
                    <a:pt x="563" y="1616"/>
                  </a:lnTo>
                  <a:cubicBezTo>
                    <a:pt x="562" y="1617"/>
                    <a:pt x="561" y="1617"/>
                    <a:pt x="560" y="1617"/>
                  </a:cubicBezTo>
                  <a:cubicBezTo>
                    <a:pt x="559" y="1617"/>
                    <a:pt x="558" y="1617"/>
                    <a:pt x="558" y="1617"/>
                  </a:cubicBezTo>
                  <a:lnTo>
                    <a:pt x="520" y="1600"/>
                  </a:lnTo>
                  <a:lnTo>
                    <a:pt x="476" y="1548"/>
                  </a:lnTo>
                  <a:lnTo>
                    <a:pt x="454" y="1505"/>
                  </a:lnTo>
                  <a:lnTo>
                    <a:pt x="400" y="1469"/>
                  </a:lnTo>
                  <a:lnTo>
                    <a:pt x="369" y="1403"/>
                  </a:lnTo>
                  <a:lnTo>
                    <a:pt x="286" y="1346"/>
                  </a:lnTo>
                  <a:cubicBezTo>
                    <a:pt x="285" y="1345"/>
                    <a:pt x="284" y="1344"/>
                    <a:pt x="284" y="1343"/>
                  </a:cubicBezTo>
                  <a:lnTo>
                    <a:pt x="276" y="1303"/>
                  </a:lnTo>
                  <a:lnTo>
                    <a:pt x="198" y="1279"/>
                  </a:lnTo>
                  <a:cubicBezTo>
                    <a:pt x="197" y="1278"/>
                    <a:pt x="196" y="1277"/>
                    <a:pt x="195" y="1276"/>
                  </a:cubicBezTo>
                  <a:lnTo>
                    <a:pt x="188" y="1257"/>
                  </a:lnTo>
                  <a:lnTo>
                    <a:pt x="139" y="1236"/>
                  </a:lnTo>
                  <a:cubicBezTo>
                    <a:pt x="137" y="1236"/>
                    <a:pt x="136" y="1234"/>
                    <a:pt x="136" y="1232"/>
                  </a:cubicBezTo>
                  <a:lnTo>
                    <a:pt x="136" y="1132"/>
                  </a:lnTo>
                  <a:lnTo>
                    <a:pt x="69" y="1057"/>
                  </a:lnTo>
                  <a:cubicBezTo>
                    <a:pt x="67" y="1056"/>
                    <a:pt x="67" y="1053"/>
                    <a:pt x="69" y="1051"/>
                  </a:cubicBezTo>
                  <a:lnTo>
                    <a:pt x="84" y="1033"/>
                  </a:lnTo>
                  <a:lnTo>
                    <a:pt x="43" y="955"/>
                  </a:lnTo>
                  <a:lnTo>
                    <a:pt x="35" y="911"/>
                  </a:lnTo>
                  <a:lnTo>
                    <a:pt x="5" y="915"/>
                  </a:lnTo>
                  <a:cubicBezTo>
                    <a:pt x="4" y="915"/>
                    <a:pt x="3" y="915"/>
                    <a:pt x="2" y="914"/>
                  </a:cubicBezTo>
                  <a:cubicBezTo>
                    <a:pt x="1" y="913"/>
                    <a:pt x="0" y="912"/>
                    <a:pt x="0" y="910"/>
                  </a:cubicBezTo>
                  <a:lnTo>
                    <a:pt x="0" y="885"/>
                  </a:lnTo>
                  <a:lnTo>
                    <a:pt x="21" y="808"/>
                  </a:lnTo>
                  <a:lnTo>
                    <a:pt x="35" y="789"/>
                  </a:lnTo>
                  <a:lnTo>
                    <a:pt x="34" y="758"/>
                  </a:lnTo>
                  <a:lnTo>
                    <a:pt x="77" y="700"/>
                  </a:lnTo>
                  <a:lnTo>
                    <a:pt x="89" y="655"/>
                  </a:lnTo>
                  <a:cubicBezTo>
                    <a:pt x="90" y="653"/>
                    <a:pt x="91" y="652"/>
                    <a:pt x="93" y="652"/>
                  </a:cubicBezTo>
                  <a:lnTo>
                    <a:pt x="178" y="640"/>
                  </a:lnTo>
                  <a:lnTo>
                    <a:pt x="178" y="276"/>
                  </a:lnTo>
                  <a:cubicBezTo>
                    <a:pt x="178" y="273"/>
                    <a:pt x="180" y="271"/>
                    <a:pt x="182" y="271"/>
                  </a:cubicBezTo>
                  <a:lnTo>
                    <a:pt x="263" y="267"/>
                  </a:lnTo>
                  <a:lnTo>
                    <a:pt x="263" y="102"/>
                  </a:lnTo>
                  <a:cubicBezTo>
                    <a:pt x="263" y="100"/>
                    <a:pt x="265" y="98"/>
                    <a:pt x="267" y="98"/>
                  </a:cubicBezTo>
                  <a:lnTo>
                    <a:pt x="785" y="98"/>
                  </a:lnTo>
                  <a:lnTo>
                    <a:pt x="793" y="83"/>
                  </a:lnTo>
                  <a:cubicBezTo>
                    <a:pt x="793" y="82"/>
                    <a:pt x="795" y="81"/>
                    <a:pt x="797" y="81"/>
                  </a:cubicBezTo>
                  <a:lnTo>
                    <a:pt x="810" y="81"/>
                  </a:lnTo>
                  <a:cubicBezTo>
                    <a:pt x="811" y="81"/>
                    <a:pt x="813" y="82"/>
                    <a:pt x="814" y="83"/>
                  </a:cubicBezTo>
                  <a:cubicBezTo>
                    <a:pt x="814" y="84"/>
                    <a:pt x="814" y="86"/>
                    <a:pt x="814" y="88"/>
                  </a:cubicBezTo>
                  <a:lnTo>
                    <a:pt x="809" y="98"/>
                  </a:lnTo>
                  <a:lnTo>
                    <a:pt x="945" y="102"/>
                  </a:lnTo>
                  <a:lnTo>
                    <a:pt x="981" y="115"/>
                  </a:lnTo>
                  <a:lnTo>
                    <a:pt x="1010" y="115"/>
                  </a:lnTo>
                  <a:lnTo>
                    <a:pt x="1026" y="83"/>
                  </a:lnTo>
                  <a:cubicBezTo>
                    <a:pt x="1026" y="82"/>
                    <a:pt x="1027" y="81"/>
                    <a:pt x="1029" y="81"/>
                  </a:cubicBezTo>
                  <a:lnTo>
                    <a:pt x="1069" y="69"/>
                  </a:lnTo>
                  <a:lnTo>
                    <a:pt x="1089" y="24"/>
                  </a:lnTo>
                  <a:cubicBezTo>
                    <a:pt x="1090" y="23"/>
                    <a:pt x="1092" y="22"/>
                    <a:pt x="1094" y="22"/>
                  </a:cubicBezTo>
                  <a:lnTo>
                    <a:pt x="1114" y="26"/>
                  </a:lnTo>
                  <a:lnTo>
                    <a:pt x="1146" y="1"/>
                  </a:lnTo>
                  <a:cubicBezTo>
                    <a:pt x="1147" y="1"/>
                    <a:pt x="1148" y="0"/>
                    <a:pt x="1149" y="0"/>
                  </a:cubicBezTo>
                  <a:cubicBezTo>
                    <a:pt x="1150" y="0"/>
                    <a:pt x="1151" y="1"/>
                    <a:pt x="1152" y="2"/>
                  </a:cubicBezTo>
                  <a:lnTo>
                    <a:pt x="1258" y="99"/>
                  </a:lnTo>
                  <a:cubicBezTo>
                    <a:pt x="1258" y="100"/>
                    <a:pt x="1259" y="101"/>
                    <a:pt x="1259" y="102"/>
                  </a:cubicBezTo>
                  <a:lnTo>
                    <a:pt x="1264" y="149"/>
                  </a:lnTo>
                  <a:lnTo>
                    <a:pt x="1288" y="176"/>
                  </a:lnTo>
                  <a:lnTo>
                    <a:pt x="1301" y="371"/>
                  </a:lnTo>
                  <a:lnTo>
                    <a:pt x="1389" y="446"/>
                  </a:lnTo>
                  <a:cubicBezTo>
                    <a:pt x="1390" y="447"/>
                    <a:pt x="1391" y="449"/>
                    <a:pt x="1390" y="450"/>
                  </a:cubicBezTo>
                  <a:lnTo>
                    <a:pt x="1382" y="488"/>
                  </a:lnTo>
                  <a:cubicBezTo>
                    <a:pt x="1382" y="490"/>
                    <a:pt x="1381" y="491"/>
                    <a:pt x="1379" y="492"/>
                  </a:cubicBezTo>
                  <a:lnTo>
                    <a:pt x="1271" y="537"/>
                  </a:lnTo>
                  <a:lnTo>
                    <a:pt x="1225" y="725"/>
                  </a:lnTo>
                  <a:lnTo>
                    <a:pt x="1230" y="800"/>
                  </a:lnTo>
                  <a:lnTo>
                    <a:pt x="1204" y="891"/>
                  </a:lnTo>
                  <a:lnTo>
                    <a:pt x="1110" y="998"/>
                  </a:lnTo>
                  <a:lnTo>
                    <a:pt x="1098" y="1060"/>
                  </a:lnTo>
                  <a:cubicBezTo>
                    <a:pt x="1098" y="1061"/>
                    <a:pt x="1097" y="1062"/>
                    <a:pt x="1096" y="1062"/>
                  </a:cubicBezTo>
                  <a:lnTo>
                    <a:pt x="1043" y="1099"/>
                  </a:lnTo>
                  <a:lnTo>
                    <a:pt x="1030" y="1254"/>
                  </a:lnTo>
                  <a:cubicBezTo>
                    <a:pt x="1030" y="1255"/>
                    <a:pt x="1030" y="1256"/>
                    <a:pt x="1029" y="1257"/>
                  </a:cubicBezTo>
                  <a:lnTo>
                    <a:pt x="1003" y="1278"/>
                  </a:lnTo>
                  <a:lnTo>
                    <a:pt x="957" y="1279"/>
                  </a:lnTo>
                  <a:lnTo>
                    <a:pt x="943" y="1314"/>
                  </a:lnTo>
                  <a:lnTo>
                    <a:pt x="1006" y="1338"/>
                  </a:lnTo>
                  <a:lnTo>
                    <a:pt x="1034" y="1382"/>
                  </a:lnTo>
                  <a:lnTo>
                    <a:pt x="1084" y="1414"/>
                  </a:lnTo>
                  <a:lnTo>
                    <a:pt x="1118" y="1503"/>
                  </a:lnTo>
                  <a:lnTo>
                    <a:pt x="1176" y="1524"/>
                  </a:lnTo>
                  <a:cubicBezTo>
                    <a:pt x="1177" y="1524"/>
                    <a:pt x="1179" y="1526"/>
                    <a:pt x="1179" y="1528"/>
                  </a:cubicBezTo>
                  <a:lnTo>
                    <a:pt x="1179" y="1592"/>
                  </a:lnTo>
                  <a:cubicBezTo>
                    <a:pt x="1179" y="1594"/>
                    <a:pt x="1177" y="1596"/>
                    <a:pt x="1174" y="1596"/>
                  </a:cubicBezTo>
                  <a:lnTo>
                    <a:pt x="1057" y="1596"/>
                  </a:lnTo>
                  <a:lnTo>
                    <a:pt x="1016" y="1637"/>
                  </a:lnTo>
                  <a:lnTo>
                    <a:pt x="973" y="1663"/>
                  </a:lnTo>
                  <a:lnTo>
                    <a:pt x="759" y="167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3" name="Freeform 238"/>
            <p:cNvSpPr>
              <a:spLocks noChangeArrowheads="1"/>
            </p:cNvSpPr>
            <p:nvPr/>
          </p:nvSpPr>
          <p:spPr bwMode="auto">
            <a:xfrm>
              <a:off x="5165725" y="4530725"/>
              <a:ext cx="41275" cy="53975"/>
            </a:xfrm>
            <a:custGeom>
              <a:avLst/>
              <a:gdLst/>
              <a:ahLst/>
              <a:cxnLst>
                <a:cxn ang="0">
                  <a:pos x="56" y="149"/>
                </a:cxn>
                <a:cxn ang="0">
                  <a:pos x="21" y="140"/>
                </a:cxn>
                <a:cxn ang="0">
                  <a:pos x="18" y="137"/>
                </a:cxn>
                <a:cxn ang="0">
                  <a:pos x="1" y="91"/>
                </a:cxn>
                <a:cxn ang="0">
                  <a:pos x="1" y="87"/>
                </a:cxn>
                <a:cxn ang="0">
                  <a:pos x="35" y="15"/>
                </a:cxn>
                <a:cxn ang="0">
                  <a:pos x="53" y="1"/>
                </a:cxn>
                <a:cxn ang="0">
                  <a:pos x="56" y="0"/>
                </a:cxn>
                <a:cxn ang="0">
                  <a:pos x="59" y="1"/>
                </a:cxn>
                <a:cxn ang="0">
                  <a:pos x="89" y="20"/>
                </a:cxn>
                <a:cxn ang="0">
                  <a:pos x="95" y="14"/>
                </a:cxn>
                <a:cxn ang="0">
                  <a:pos x="99" y="13"/>
                </a:cxn>
                <a:cxn ang="0">
                  <a:pos x="100" y="13"/>
                </a:cxn>
                <a:cxn ang="0">
                  <a:pos x="103" y="17"/>
                </a:cxn>
                <a:cxn ang="0">
                  <a:pos x="112" y="101"/>
                </a:cxn>
                <a:cxn ang="0">
                  <a:pos x="86" y="147"/>
                </a:cxn>
                <a:cxn ang="0">
                  <a:pos x="82" y="149"/>
                </a:cxn>
                <a:cxn ang="0">
                  <a:pos x="56" y="149"/>
                </a:cxn>
              </a:cxnLst>
              <a:rect l="0" t="0" r="r" b="b"/>
              <a:pathLst>
                <a:path w="113" h="150">
                  <a:moveTo>
                    <a:pt x="56" y="149"/>
                  </a:moveTo>
                  <a:lnTo>
                    <a:pt x="21" y="140"/>
                  </a:lnTo>
                  <a:cubicBezTo>
                    <a:pt x="20" y="140"/>
                    <a:pt x="19" y="139"/>
                    <a:pt x="18" y="137"/>
                  </a:cubicBezTo>
                  <a:lnTo>
                    <a:pt x="1" y="91"/>
                  </a:lnTo>
                  <a:cubicBezTo>
                    <a:pt x="0" y="90"/>
                    <a:pt x="1" y="88"/>
                    <a:pt x="1" y="87"/>
                  </a:cubicBezTo>
                  <a:lnTo>
                    <a:pt x="35" y="15"/>
                  </a:lnTo>
                  <a:lnTo>
                    <a:pt x="53" y="1"/>
                  </a:lnTo>
                  <a:cubicBezTo>
                    <a:pt x="54" y="0"/>
                    <a:pt x="55" y="0"/>
                    <a:pt x="56" y="0"/>
                  </a:cubicBezTo>
                  <a:cubicBezTo>
                    <a:pt x="57" y="0"/>
                    <a:pt x="58" y="0"/>
                    <a:pt x="59" y="1"/>
                  </a:cubicBezTo>
                  <a:lnTo>
                    <a:pt x="89" y="20"/>
                  </a:lnTo>
                  <a:lnTo>
                    <a:pt x="95" y="14"/>
                  </a:lnTo>
                  <a:cubicBezTo>
                    <a:pt x="96" y="13"/>
                    <a:pt x="97" y="13"/>
                    <a:pt x="99" y="13"/>
                  </a:cubicBezTo>
                  <a:lnTo>
                    <a:pt x="100" y="13"/>
                  </a:lnTo>
                  <a:cubicBezTo>
                    <a:pt x="102" y="14"/>
                    <a:pt x="103" y="15"/>
                    <a:pt x="103" y="17"/>
                  </a:cubicBezTo>
                  <a:lnTo>
                    <a:pt x="112" y="101"/>
                  </a:lnTo>
                  <a:lnTo>
                    <a:pt x="86" y="147"/>
                  </a:lnTo>
                  <a:cubicBezTo>
                    <a:pt x="85" y="148"/>
                    <a:pt x="83" y="149"/>
                    <a:pt x="82" y="149"/>
                  </a:cubicBezTo>
                  <a:lnTo>
                    <a:pt x="56" y="14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4" name="Freeform 239"/>
            <p:cNvSpPr>
              <a:spLocks noChangeArrowheads="1"/>
            </p:cNvSpPr>
            <p:nvPr/>
          </p:nvSpPr>
          <p:spPr bwMode="auto">
            <a:xfrm>
              <a:off x="5165725" y="4530725"/>
              <a:ext cx="41275" cy="53975"/>
            </a:xfrm>
            <a:custGeom>
              <a:avLst/>
              <a:gdLst/>
              <a:ahLst/>
              <a:cxnLst>
                <a:cxn ang="0">
                  <a:pos x="56" y="149"/>
                </a:cxn>
                <a:cxn ang="0">
                  <a:pos x="21" y="140"/>
                </a:cxn>
                <a:cxn ang="0">
                  <a:pos x="18" y="137"/>
                </a:cxn>
                <a:cxn ang="0">
                  <a:pos x="1" y="91"/>
                </a:cxn>
                <a:cxn ang="0">
                  <a:pos x="1" y="87"/>
                </a:cxn>
                <a:cxn ang="0">
                  <a:pos x="35" y="15"/>
                </a:cxn>
                <a:cxn ang="0">
                  <a:pos x="53" y="1"/>
                </a:cxn>
                <a:cxn ang="0">
                  <a:pos x="56" y="0"/>
                </a:cxn>
                <a:cxn ang="0">
                  <a:pos x="59" y="1"/>
                </a:cxn>
                <a:cxn ang="0">
                  <a:pos x="89" y="20"/>
                </a:cxn>
                <a:cxn ang="0">
                  <a:pos x="95" y="14"/>
                </a:cxn>
                <a:cxn ang="0">
                  <a:pos x="99" y="13"/>
                </a:cxn>
                <a:cxn ang="0">
                  <a:pos x="100" y="13"/>
                </a:cxn>
                <a:cxn ang="0">
                  <a:pos x="103" y="17"/>
                </a:cxn>
                <a:cxn ang="0">
                  <a:pos x="112" y="101"/>
                </a:cxn>
                <a:cxn ang="0">
                  <a:pos x="86" y="147"/>
                </a:cxn>
                <a:cxn ang="0">
                  <a:pos x="82" y="149"/>
                </a:cxn>
                <a:cxn ang="0">
                  <a:pos x="56" y="149"/>
                </a:cxn>
              </a:cxnLst>
              <a:rect l="0" t="0" r="r" b="b"/>
              <a:pathLst>
                <a:path w="113" h="150">
                  <a:moveTo>
                    <a:pt x="56" y="149"/>
                  </a:moveTo>
                  <a:lnTo>
                    <a:pt x="21" y="140"/>
                  </a:lnTo>
                  <a:cubicBezTo>
                    <a:pt x="20" y="140"/>
                    <a:pt x="19" y="139"/>
                    <a:pt x="18" y="137"/>
                  </a:cubicBezTo>
                  <a:lnTo>
                    <a:pt x="1" y="91"/>
                  </a:lnTo>
                  <a:cubicBezTo>
                    <a:pt x="0" y="90"/>
                    <a:pt x="1" y="88"/>
                    <a:pt x="1" y="87"/>
                  </a:cubicBezTo>
                  <a:lnTo>
                    <a:pt x="35" y="15"/>
                  </a:lnTo>
                  <a:lnTo>
                    <a:pt x="53" y="1"/>
                  </a:lnTo>
                  <a:cubicBezTo>
                    <a:pt x="54" y="0"/>
                    <a:pt x="55" y="0"/>
                    <a:pt x="56" y="0"/>
                  </a:cubicBezTo>
                  <a:cubicBezTo>
                    <a:pt x="57" y="0"/>
                    <a:pt x="58" y="0"/>
                    <a:pt x="59" y="1"/>
                  </a:cubicBezTo>
                  <a:lnTo>
                    <a:pt x="89" y="20"/>
                  </a:lnTo>
                  <a:lnTo>
                    <a:pt x="95" y="14"/>
                  </a:lnTo>
                  <a:cubicBezTo>
                    <a:pt x="96" y="13"/>
                    <a:pt x="97" y="13"/>
                    <a:pt x="99" y="13"/>
                  </a:cubicBezTo>
                  <a:lnTo>
                    <a:pt x="100" y="13"/>
                  </a:lnTo>
                  <a:cubicBezTo>
                    <a:pt x="102" y="14"/>
                    <a:pt x="103" y="15"/>
                    <a:pt x="103" y="17"/>
                  </a:cubicBezTo>
                  <a:lnTo>
                    <a:pt x="112" y="101"/>
                  </a:lnTo>
                  <a:lnTo>
                    <a:pt x="86" y="147"/>
                  </a:lnTo>
                  <a:cubicBezTo>
                    <a:pt x="85" y="148"/>
                    <a:pt x="83" y="149"/>
                    <a:pt x="82" y="149"/>
                  </a:cubicBezTo>
                  <a:lnTo>
                    <a:pt x="56" y="14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5" name="Freeform 240"/>
            <p:cNvSpPr>
              <a:spLocks noChangeArrowheads="1"/>
            </p:cNvSpPr>
            <p:nvPr/>
          </p:nvSpPr>
          <p:spPr bwMode="auto">
            <a:xfrm>
              <a:off x="4233863" y="3402013"/>
              <a:ext cx="68262" cy="157162"/>
            </a:xfrm>
            <a:custGeom>
              <a:avLst/>
              <a:gdLst/>
              <a:ahLst/>
              <a:cxnLst>
                <a:cxn ang="0">
                  <a:pos x="128" y="437"/>
                </a:cxn>
                <a:cxn ang="0">
                  <a:pos x="124" y="435"/>
                </a:cxn>
                <a:cxn ang="0">
                  <a:pos x="73" y="371"/>
                </a:cxn>
                <a:cxn ang="0">
                  <a:pos x="56" y="157"/>
                </a:cxn>
                <a:cxn ang="0">
                  <a:pos x="43" y="86"/>
                </a:cxn>
                <a:cxn ang="0">
                  <a:pos x="6" y="50"/>
                </a:cxn>
                <a:cxn ang="0">
                  <a:pos x="5" y="46"/>
                </a:cxn>
                <a:cxn ang="0">
                  <a:pos x="13" y="19"/>
                </a:cxn>
                <a:cxn ang="0">
                  <a:pos x="2" y="8"/>
                </a:cxn>
                <a:cxn ang="0">
                  <a:pos x="1" y="2"/>
                </a:cxn>
                <a:cxn ang="0">
                  <a:pos x="5" y="0"/>
                </a:cxn>
                <a:cxn ang="0">
                  <a:pos x="6" y="0"/>
                </a:cxn>
                <a:cxn ang="0">
                  <a:pos x="61" y="17"/>
                </a:cxn>
                <a:cxn ang="0">
                  <a:pos x="94" y="13"/>
                </a:cxn>
                <a:cxn ang="0">
                  <a:pos x="97" y="14"/>
                </a:cxn>
                <a:cxn ang="0">
                  <a:pos x="99" y="18"/>
                </a:cxn>
                <a:cxn ang="0">
                  <a:pos x="91" y="70"/>
                </a:cxn>
                <a:cxn ang="0">
                  <a:pos x="135" y="107"/>
                </a:cxn>
                <a:cxn ang="0">
                  <a:pos x="166" y="211"/>
                </a:cxn>
                <a:cxn ang="0">
                  <a:pos x="166" y="381"/>
                </a:cxn>
                <a:cxn ang="0">
                  <a:pos x="187" y="417"/>
                </a:cxn>
                <a:cxn ang="0">
                  <a:pos x="187" y="421"/>
                </a:cxn>
                <a:cxn ang="0">
                  <a:pos x="184" y="424"/>
                </a:cxn>
                <a:cxn ang="0">
                  <a:pos x="129" y="436"/>
                </a:cxn>
                <a:cxn ang="0">
                  <a:pos x="128" y="437"/>
                </a:cxn>
              </a:cxnLst>
              <a:rect l="0" t="0" r="r" b="b"/>
              <a:pathLst>
                <a:path w="189" h="438">
                  <a:moveTo>
                    <a:pt x="128" y="437"/>
                  </a:moveTo>
                  <a:cubicBezTo>
                    <a:pt x="127" y="437"/>
                    <a:pt x="125" y="436"/>
                    <a:pt x="124" y="435"/>
                  </a:cubicBezTo>
                  <a:lnTo>
                    <a:pt x="73" y="371"/>
                  </a:lnTo>
                  <a:lnTo>
                    <a:pt x="56" y="157"/>
                  </a:lnTo>
                  <a:lnTo>
                    <a:pt x="43" y="86"/>
                  </a:lnTo>
                  <a:lnTo>
                    <a:pt x="6" y="50"/>
                  </a:lnTo>
                  <a:cubicBezTo>
                    <a:pt x="5" y="49"/>
                    <a:pt x="4" y="47"/>
                    <a:pt x="5" y="46"/>
                  </a:cubicBezTo>
                  <a:lnTo>
                    <a:pt x="13" y="19"/>
                  </a:lnTo>
                  <a:lnTo>
                    <a:pt x="2" y="8"/>
                  </a:lnTo>
                  <a:cubicBezTo>
                    <a:pt x="0" y="6"/>
                    <a:pt x="0" y="4"/>
                    <a:pt x="1" y="2"/>
                  </a:cubicBezTo>
                  <a:cubicBezTo>
                    <a:pt x="2" y="1"/>
                    <a:pt x="3" y="0"/>
                    <a:pt x="5" y="0"/>
                  </a:cubicBezTo>
                  <a:cubicBezTo>
                    <a:pt x="6" y="0"/>
                    <a:pt x="6" y="0"/>
                    <a:pt x="6" y="0"/>
                  </a:cubicBezTo>
                  <a:lnTo>
                    <a:pt x="61" y="17"/>
                  </a:lnTo>
                  <a:lnTo>
                    <a:pt x="94" y="13"/>
                  </a:lnTo>
                  <a:cubicBezTo>
                    <a:pt x="95" y="13"/>
                    <a:pt x="96" y="13"/>
                    <a:pt x="97" y="14"/>
                  </a:cubicBezTo>
                  <a:cubicBezTo>
                    <a:pt x="98" y="15"/>
                    <a:pt x="99" y="17"/>
                    <a:pt x="99" y="18"/>
                  </a:cubicBezTo>
                  <a:lnTo>
                    <a:pt x="91" y="70"/>
                  </a:lnTo>
                  <a:lnTo>
                    <a:pt x="135" y="107"/>
                  </a:lnTo>
                  <a:lnTo>
                    <a:pt x="166" y="211"/>
                  </a:lnTo>
                  <a:lnTo>
                    <a:pt x="166" y="381"/>
                  </a:lnTo>
                  <a:lnTo>
                    <a:pt x="187" y="417"/>
                  </a:lnTo>
                  <a:cubicBezTo>
                    <a:pt x="188" y="418"/>
                    <a:pt x="188" y="420"/>
                    <a:pt x="187" y="421"/>
                  </a:cubicBezTo>
                  <a:cubicBezTo>
                    <a:pt x="187" y="422"/>
                    <a:pt x="185" y="423"/>
                    <a:pt x="184" y="424"/>
                  </a:cubicBezTo>
                  <a:lnTo>
                    <a:pt x="129" y="436"/>
                  </a:lnTo>
                  <a:cubicBezTo>
                    <a:pt x="129" y="437"/>
                    <a:pt x="128" y="437"/>
                    <a:pt x="128" y="43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6" name="Freeform 241"/>
            <p:cNvSpPr>
              <a:spLocks noChangeArrowheads="1"/>
            </p:cNvSpPr>
            <p:nvPr/>
          </p:nvSpPr>
          <p:spPr bwMode="auto">
            <a:xfrm>
              <a:off x="4233863" y="3402013"/>
              <a:ext cx="68262" cy="157162"/>
            </a:xfrm>
            <a:custGeom>
              <a:avLst/>
              <a:gdLst/>
              <a:ahLst/>
              <a:cxnLst>
                <a:cxn ang="0">
                  <a:pos x="128" y="437"/>
                </a:cxn>
                <a:cxn ang="0">
                  <a:pos x="124" y="435"/>
                </a:cxn>
                <a:cxn ang="0">
                  <a:pos x="73" y="371"/>
                </a:cxn>
                <a:cxn ang="0">
                  <a:pos x="56" y="157"/>
                </a:cxn>
                <a:cxn ang="0">
                  <a:pos x="43" y="86"/>
                </a:cxn>
                <a:cxn ang="0">
                  <a:pos x="6" y="50"/>
                </a:cxn>
                <a:cxn ang="0">
                  <a:pos x="5" y="46"/>
                </a:cxn>
                <a:cxn ang="0">
                  <a:pos x="13" y="19"/>
                </a:cxn>
                <a:cxn ang="0">
                  <a:pos x="2" y="8"/>
                </a:cxn>
                <a:cxn ang="0">
                  <a:pos x="1" y="2"/>
                </a:cxn>
                <a:cxn ang="0">
                  <a:pos x="5" y="0"/>
                </a:cxn>
                <a:cxn ang="0">
                  <a:pos x="6" y="0"/>
                </a:cxn>
                <a:cxn ang="0">
                  <a:pos x="61" y="17"/>
                </a:cxn>
                <a:cxn ang="0">
                  <a:pos x="94" y="13"/>
                </a:cxn>
                <a:cxn ang="0">
                  <a:pos x="97" y="14"/>
                </a:cxn>
                <a:cxn ang="0">
                  <a:pos x="99" y="18"/>
                </a:cxn>
                <a:cxn ang="0">
                  <a:pos x="91" y="70"/>
                </a:cxn>
                <a:cxn ang="0">
                  <a:pos x="135" y="107"/>
                </a:cxn>
                <a:cxn ang="0">
                  <a:pos x="166" y="211"/>
                </a:cxn>
                <a:cxn ang="0">
                  <a:pos x="166" y="381"/>
                </a:cxn>
                <a:cxn ang="0">
                  <a:pos x="187" y="417"/>
                </a:cxn>
                <a:cxn ang="0">
                  <a:pos x="187" y="421"/>
                </a:cxn>
                <a:cxn ang="0">
                  <a:pos x="184" y="424"/>
                </a:cxn>
                <a:cxn ang="0">
                  <a:pos x="129" y="436"/>
                </a:cxn>
                <a:cxn ang="0">
                  <a:pos x="128" y="437"/>
                </a:cxn>
              </a:cxnLst>
              <a:rect l="0" t="0" r="r" b="b"/>
              <a:pathLst>
                <a:path w="189" h="438">
                  <a:moveTo>
                    <a:pt x="128" y="437"/>
                  </a:moveTo>
                  <a:cubicBezTo>
                    <a:pt x="127" y="437"/>
                    <a:pt x="125" y="436"/>
                    <a:pt x="124" y="435"/>
                  </a:cubicBezTo>
                  <a:lnTo>
                    <a:pt x="73" y="371"/>
                  </a:lnTo>
                  <a:lnTo>
                    <a:pt x="56" y="157"/>
                  </a:lnTo>
                  <a:lnTo>
                    <a:pt x="43" y="86"/>
                  </a:lnTo>
                  <a:lnTo>
                    <a:pt x="6" y="50"/>
                  </a:lnTo>
                  <a:cubicBezTo>
                    <a:pt x="5" y="49"/>
                    <a:pt x="4" y="47"/>
                    <a:pt x="5" y="46"/>
                  </a:cubicBezTo>
                  <a:lnTo>
                    <a:pt x="13" y="19"/>
                  </a:lnTo>
                  <a:lnTo>
                    <a:pt x="2" y="8"/>
                  </a:lnTo>
                  <a:cubicBezTo>
                    <a:pt x="0" y="6"/>
                    <a:pt x="0" y="4"/>
                    <a:pt x="1" y="2"/>
                  </a:cubicBezTo>
                  <a:cubicBezTo>
                    <a:pt x="2" y="1"/>
                    <a:pt x="3" y="0"/>
                    <a:pt x="5" y="0"/>
                  </a:cubicBezTo>
                  <a:cubicBezTo>
                    <a:pt x="6" y="0"/>
                    <a:pt x="6" y="0"/>
                    <a:pt x="6" y="0"/>
                  </a:cubicBezTo>
                  <a:lnTo>
                    <a:pt x="61" y="17"/>
                  </a:lnTo>
                  <a:lnTo>
                    <a:pt x="94" y="13"/>
                  </a:lnTo>
                  <a:cubicBezTo>
                    <a:pt x="95" y="13"/>
                    <a:pt x="96" y="13"/>
                    <a:pt x="97" y="14"/>
                  </a:cubicBezTo>
                  <a:cubicBezTo>
                    <a:pt x="98" y="15"/>
                    <a:pt x="99" y="17"/>
                    <a:pt x="99" y="18"/>
                  </a:cubicBezTo>
                  <a:lnTo>
                    <a:pt x="91" y="70"/>
                  </a:lnTo>
                  <a:lnTo>
                    <a:pt x="135" y="107"/>
                  </a:lnTo>
                  <a:lnTo>
                    <a:pt x="166" y="211"/>
                  </a:lnTo>
                  <a:lnTo>
                    <a:pt x="166" y="381"/>
                  </a:lnTo>
                  <a:lnTo>
                    <a:pt x="187" y="417"/>
                  </a:lnTo>
                  <a:cubicBezTo>
                    <a:pt x="188" y="418"/>
                    <a:pt x="188" y="420"/>
                    <a:pt x="187" y="421"/>
                  </a:cubicBezTo>
                  <a:cubicBezTo>
                    <a:pt x="187" y="422"/>
                    <a:pt x="185" y="423"/>
                    <a:pt x="184" y="424"/>
                  </a:cubicBezTo>
                  <a:lnTo>
                    <a:pt x="129" y="436"/>
                  </a:lnTo>
                  <a:cubicBezTo>
                    <a:pt x="129" y="437"/>
                    <a:pt x="128" y="437"/>
                    <a:pt x="128" y="43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7" name="Freeform 242"/>
            <p:cNvSpPr>
              <a:spLocks noChangeArrowheads="1"/>
            </p:cNvSpPr>
            <p:nvPr/>
          </p:nvSpPr>
          <p:spPr bwMode="auto">
            <a:xfrm>
              <a:off x="4460875" y="2535238"/>
              <a:ext cx="120650" cy="255587"/>
            </a:xfrm>
            <a:custGeom>
              <a:avLst/>
              <a:gdLst/>
              <a:ahLst/>
              <a:cxnLst>
                <a:cxn ang="0">
                  <a:pos x="173" y="711"/>
                </a:cxn>
                <a:cxn ang="0">
                  <a:pos x="170" y="707"/>
                </a:cxn>
                <a:cxn ang="0">
                  <a:pos x="137" y="536"/>
                </a:cxn>
                <a:cxn ang="0">
                  <a:pos x="71" y="499"/>
                </a:cxn>
                <a:cxn ang="0">
                  <a:pos x="68" y="496"/>
                </a:cxn>
                <a:cxn ang="0">
                  <a:pos x="56" y="439"/>
                </a:cxn>
                <a:cxn ang="0">
                  <a:pos x="20" y="423"/>
                </a:cxn>
                <a:cxn ang="0">
                  <a:pos x="18" y="420"/>
                </a:cxn>
                <a:cxn ang="0">
                  <a:pos x="1" y="348"/>
                </a:cxn>
                <a:cxn ang="0">
                  <a:pos x="2" y="343"/>
                </a:cxn>
                <a:cxn ang="0">
                  <a:pos x="74" y="280"/>
                </a:cxn>
                <a:cxn ang="0">
                  <a:pos x="90" y="223"/>
                </a:cxn>
                <a:cxn ang="0">
                  <a:pos x="77" y="157"/>
                </a:cxn>
                <a:cxn ang="0">
                  <a:pos x="89" y="96"/>
                </a:cxn>
                <a:cxn ang="0">
                  <a:pos x="75" y="89"/>
                </a:cxn>
                <a:cxn ang="0">
                  <a:pos x="73" y="85"/>
                </a:cxn>
                <a:cxn ang="0">
                  <a:pos x="74" y="81"/>
                </a:cxn>
                <a:cxn ang="0">
                  <a:pos x="112" y="39"/>
                </a:cxn>
                <a:cxn ang="0">
                  <a:pos x="190" y="0"/>
                </a:cxn>
                <a:cxn ang="0">
                  <a:pos x="243" y="8"/>
                </a:cxn>
                <a:cxn ang="0">
                  <a:pos x="247" y="12"/>
                </a:cxn>
                <a:cxn ang="0">
                  <a:pos x="251" y="52"/>
                </a:cxn>
                <a:cxn ang="0">
                  <a:pos x="263" y="58"/>
                </a:cxn>
                <a:cxn ang="0">
                  <a:pos x="307" y="26"/>
                </a:cxn>
                <a:cxn ang="0">
                  <a:pos x="310" y="25"/>
                </a:cxn>
                <a:cxn ang="0">
                  <a:pos x="312" y="25"/>
                </a:cxn>
                <a:cxn ang="0">
                  <a:pos x="315" y="29"/>
                </a:cxn>
                <a:cxn ang="0">
                  <a:pos x="319" y="50"/>
                </a:cxn>
                <a:cxn ang="0">
                  <a:pos x="318" y="53"/>
                </a:cxn>
                <a:cxn ang="0">
                  <a:pos x="269" y="127"/>
                </a:cxn>
                <a:cxn ang="0">
                  <a:pos x="281" y="155"/>
                </a:cxn>
                <a:cxn ang="0">
                  <a:pos x="313" y="174"/>
                </a:cxn>
                <a:cxn ang="0">
                  <a:pos x="315" y="177"/>
                </a:cxn>
                <a:cxn ang="0">
                  <a:pos x="319" y="215"/>
                </a:cxn>
                <a:cxn ang="0">
                  <a:pos x="298" y="264"/>
                </a:cxn>
                <a:cxn ang="0">
                  <a:pos x="238" y="311"/>
                </a:cxn>
                <a:cxn ang="0">
                  <a:pos x="235" y="339"/>
                </a:cxn>
                <a:cxn ang="0">
                  <a:pos x="232" y="342"/>
                </a:cxn>
                <a:cxn ang="0">
                  <a:pos x="230" y="343"/>
                </a:cxn>
                <a:cxn ang="0">
                  <a:pos x="213" y="340"/>
                </a:cxn>
                <a:cxn ang="0">
                  <a:pos x="213" y="345"/>
                </a:cxn>
                <a:cxn ang="0">
                  <a:pos x="238" y="373"/>
                </a:cxn>
                <a:cxn ang="0">
                  <a:pos x="272" y="388"/>
                </a:cxn>
                <a:cxn ang="0">
                  <a:pos x="292" y="381"/>
                </a:cxn>
                <a:cxn ang="0">
                  <a:pos x="293" y="380"/>
                </a:cxn>
                <a:cxn ang="0">
                  <a:pos x="298" y="383"/>
                </a:cxn>
                <a:cxn ang="0">
                  <a:pos x="314" y="419"/>
                </a:cxn>
                <a:cxn ang="0">
                  <a:pos x="332" y="423"/>
                </a:cxn>
                <a:cxn ang="0">
                  <a:pos x="336" y="428"/>
                </a:cxn>
                <a:cxn ang="0">
                  <a:pos x="332" y="508"/>
                </a:cxn>
                <a:cxn ang="0">
                  <a:pos x="330" y="511"/>
                </a:cxn>
                <a:cxn ang="0">
                  <a:pos x="234" y="582"/>
                </a:cxn>
                <a:cxn ang="0">
                  <a:pos x="234" y="664"/>
                </a:cxn>
                <a:cxn ang="0">
                  <a:pos x="233" y="668"/>
                </a:cxn>
                <a:cxn ang="0">
                  <a:pos x="178" y="710"/>
                </a:cxn>
                <a:cxn ang="0">
                  <a:pos x="175" y="711"/>
                </a:cxn>
                <a:cxn ang="0">
                  <a:pos x="173" y="711"/>
                </a:cxn>
              </a:cxnLst>
              <a:rect l="0" t="0" r="r" b="b"/>
              <a:pathLst>
                <a:path w="337" h="712">
                  <a:moveTo>
                    <a:pt x="173" y="711"/>
                  </a:moveTo>
                  <a:cubicBezTo>
                    <a:pt x="171" y="710"/>
                    <a:pt x="170" y="709"/>
                    <a:pt x="170" y="707"/>
                  </a:cubicBezTo>
                  <a:lnTo>
                    <a:pt x="137" y="536"/>
                  </a:lnTo>
                  <a:lnTo>
                    <a:pt x="71" y="499"/>
                  </a:lnTo>
                  <a:cubicBezTo>
                    <a:pt x="70" y="498"/>
                    <a:pt x="69" y="497"/>
                    <a:pt x="68" y="496"/>
                  </a:cubicBezTo>
                  <a:lnTo>
                    <a:pt x="56" y="439"/>
                  </a:lnTo>
                  <a:lnTo>
                    <a:pt x="20" y="423"/>
                  </a:lnTo>
                  <a:cubicBezTo>
                    <a:pt x="19" y="422"/>
                    <a:pt x="18" y="421"/>
                    <a:pt x="18" y="420"/>
                  </a:cubicBezTo>
                  <a:lnTo>
                    <a:pt x="1" y="348"/>
                  </a:lnTo>
                  <a:cubicBezTo>
                    <a:pt x="0" y="346"/>
                    <a:pt x="1" y="344"/>
                    <a:pt x="2" y="343"/>
                  </a:cubicBezTo>
                  <a:lnTo>
                    <a:pt x="74" y="280"/>
                  </a:lnTo>
                  <a:lnTo>
                    <a:pt x="90" y="223"/>
                  </a:lnTo>
                  <a:lnTo>
                    <a:pt x="77" y="157"/>
                  </a:lnTo>
                  <a:lnTo>
                    <a:pt x="89" y="96"/>
                  </a:lnTo>
                  <a:lnTo>
                    <a:pt x="75" y="89"/>
                  </a:lnTo>
                  <a:cubicBezTo>
                    <a:pt x="74" y="88"/>
                    <a:pt x="73" y="87"/>
                    <a:pt x="73" y="85"/>
                  </a:cubicBezTo>
                  <a:cubicBezTo>
                    <a:pt x="72" y="84"/>
                    <a:pt x="73" y="82"/>
                    <a:pt x="74" y="81"/>
                  </a:cubicBezTo>
                  <a:lnTo>
                    <a:pt x="112" y="39"/>
                  </a:lnTo>
                  <a:lnTo>
                    <a:pt x="190" y="0"/>
                  </a:lnTo>
                  <a:lnTo>
                    <a:pt x="243" y="8"/>
                  </a:lnTo>
                  <a:cubicBezTo>
                    <a:pt x="245" y="8"/>
                    <a:pt x="247" y="10"/>
                    <a:pt x="247" y="12"/>
                  </a:cubicBezTo>
                  <a:lnTo>
                    <a:pt x="251" y="52"/>
                  </a:lnTo>
                  <a:lnTo>
                    <a:pt x="263" y="58"/>
                  </a:lnTo>
                  <a:lnTo>
                    <a:pt x="307" y="26"/>
                  </a:lnTo>
                  <a:cubicBezTo>
                    <a:pt x="308" y="25"/>
                    <a:pt x="309" y="25"/>
                    <a:pt x="310" y="25"/>
                  </a:cubicBezTo>
                  <a:cubicBezTo>
                    <a:pt x="311" y="25"/>
                    <a:pt x="312" y="25"/>
                    <a:pt x="312" y="25"/>
                  </a:cubicBezTo>
                  <a:cubicBezTo>
                    <a:pt x="313" y="26"/>
                    <a:pt x="315" y="27"/>
                    <a:pt x="315" y="29"/>
                  </a:cubicBezTo>
                  <a:lnTo>
                    <a:pt x="319" y="50"/>
                  </a:lnTo>
                  <a:cubicBezTo>
                    <a:pt x="319" y="51"/>
                    <a:pt x="319" y="52"/>
                    <a:pt x="318" y="53"/>
                  </a:cubicBezTo>
                  <a:lnTo>
                    <a:pt x="269" y="127"/>
                  </a:lnTo>
                  <a:lnTo>
                    <a:pt x="281" y="155"/>
                  </a:lnTo>
                  <a:lnTo>
                    <a:pt x="313" y="174"/>
                  </a:lnTo>
                  <a:cubicBezTo>
                    <a:pt x="314" y="174"/>
                    <a:pt x="315" y="176"/>
                    <a:pt x="315" y="177"/>
                  </a:cubicBezTo>
                  <a:lnTo>
                    <a:pt x="319" y="215"/>
                  </a:lnTo>
                  <a:lnTo>
                    <a:pt x="298" y="264"/>
                  </a:lnTo>
                  <a:lnTo>
                    <a:pt x="238" y="311"/>
                  </a:lnTo>
                  <a:lnTo>
                    <a:pt x="235" y="339"/>
                  </a:lnTo>
                  <a:cubicBezTo>
                    <a:pt x="234" y="340"/>
                    <a:pt x="234" y="342"/>
                    <a:pt x="232" y="342"/>
                  </a:cubicBezTo>
                  <a:cubicBezTo>
                    <a:pt x="232" y="343"/>
                    <a:pt x="231" y="343"/>
                    <a:pt x="230" y="343"/>
                  </a:cubicBezTo>
                  <a:lnTo>
                    <a:pt x="213" y="340"/>
                  </a:lnTo>
                  <a:lnTo>
                    <a:pt x="213" y="345"/>
                  </a:lnTo>
                  <a:lnTo>
                    <a:pt x="238" y="373"/>
                  </a:lnTo>
                  <a:lnTo>
                    <a:pt x="272" y="388"/>
                  </a:lnTo>
                  <a:lnTo>
                    <a:pt x="292" y="381"/>
                  </a:lnTo>
                  <a:cubicBezTo>
                    <a:pt x="292" y="380"/>
                    <a:pt x="293" y="380"/>
                    <a:pt x="293" y="380"/>
                  </a:cubicBezTo>
                  <a:cubicBezTo>
                    <a:pt x="295" y="380"/>
                    <a:pt x="297" y="381"/>
                    <a:pt x="298" y="383"/>
                  </a:cubicBezTo>
                  <a:lnTo>
                    <a:pt x="314" y="419"/>
                  </a:lnTo>
                  <a:lnTo>
                    <a:pt x="332" y="423"/>
                  </a:lnTo>
                  <a:cubicBezTo>
                    <a:pt x="335" y="423"/>
                    <a:pt x="336" y="425"/>
                    <a:pt x="336" y="428"/>
                  </a:cubicBezTo>
                  <a:lnTo>
                    <a:pt x="332" y="508"/>
                  </a:lnTo>
                  <a:cubicBezTo>
                    <a:pt x="332" y="509"/>
                    <a:pt x="331" y="511"/>
                    <a:pt x="330" y="511"/>
                  </a:cubicBezTo>
                  <a:lnTo>
                    <a:pt x="234" y="582"/>
                  </a:lnTo>
                  <a:lnTo>
                    <a:pt x="234" y="664"/>
                  </a:lnTo>
                  <a:cubicBezTo>
                    <a:pt x="234" y="666"/>
                    <a:pt x="234" y="667"/>
                    <a:pt x="233" y="668"/>
                  </a:cubicBezTo>
                  <a:lnTo>
                    <a:pt x="178" y="710"/>
                  </a:lnTo>
                  <a:cubicBezTo>
                    <a:pt x="177" y="711"/>
                    <a:pt x="176" y="711"/>
                    <a:pt x="175" y="711"/>
                  </a:cubicBezTo>
                  <a:cubicBezTo>
                    <a:pt x="174" y="711"/>
                    <a:pt x="174" y="711"/>
                    <a:pt x="173" y="71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8" name="Freeform 243"/>
            <p:cNvSpPr>
              <a:spLocks noChangeArrowheads="1"/>
            </p:cNvSpPr>
            <p:nvPr/>
          </p:nvSpPr>
          <p:spPr bwMode="auto">
            <a:xfrm>
              <a:off x="4460875" y="2535238"/>
              <a:ext cx="120650" cy="255587"/>
            </a:xfrm>
            <a:custGeom>
              <a:avLst/>
              <a:gdLst/>
              <a:ahLst/>
              <a:cxnLst>
                <a:cxn ang="0">
                  <a:pos x="175" y="711"/>
                </a:cxn>
                <a:cxn ang="0">
                  <a:pos x="173" y="711"/>
                </a:cxn>
                <a:cxn ang="0">
                  <a:pos x="170" y="707"/>
                </a:cxn>
                <a:cxn ang="0">
                  <a:pos x="137" y="536"/>
                </a:cxn>
                <a:cxn ang="0">
                  <a:pos x="71" y="499"/>
                </a:cxn>
                <a:cxn ang="0">
                  <a:pos x="68" y="496"/>
                </a:cxn>
                <a:cxn ang="0">
                  <a:pos x="56" y="439"/>
                </a:cxn>
                <a:cxn ang="0">
                  <a:pos x="20" y="423"/>
                </a:cxn>
                <a:cxn ang="0">
                  <a:pos x="18" y="420"/>
                </a:cxn>
                <a:cxn ang="0">
                  <a:pos x="1" y="348"/>
                </a:cxn>
                <a:cxn ang="0">
                  <a:pos x="2" y="343"/>
                </a:cxn>
                <a:cxn ang="0">
                  <a:pos x="74" y="280"/>
                </a:cxn>
                <a:cxn ang="0">
                  <a:pos x="90" y="223"/>
                </a:cxn>
                <a:cxn ang="0">
                  <a:pos x="77" y="157"/>
                </a:cxn>
                <a:cxn ang="0">
                  <a:pos x="89" y="96"/>
                </a:cxn>
                <a:cxn ang="0">
                  <a:pos x="75" y="89"/>
                </a:cxn>
                <a:cxn ang="0">
                  <a:pos x="73" y="85"/>
                </a:cxn>
                <a:cxn ang="0">
                  <a:pos x="74" y="81"/>
                </a:cxn>
                <a:cxn ang="0">
                  <a:pos x="112" y="39"/>
                </a:cxn>
                <a:cxn ang="0">
                  <a:pos x="190" y="0"/>
                </a:cxn>
                <a:cxn ang="0">
                  <a:pos x="243" y="8"/>
                </a:cxn>
                <a:cxn ang="0">
                  <a:pos x="247" y="12"/>
                </a:cxn>
                <a:cxn ang="0">
                  <a:pos x="251" y="52"/>
                </a:cxn>
                <a:cxn ang="0">
                  <a:pos x="263" y="58"/>
                </a:cxn>
                <a:cxn ang="0">
                  <a:pos x="307" y="26"/>
                </a:cxn>
                <a:cxn ang="0">
                  <a:pos x="310" y="25"/>
                </a:cxn>
                <a:cxn ang="0">
                  <a:pos x="312" y="25"/>
                </a:cxn>
                <a:cxn ang="0">
                  <a:pos x="315" y="29"/>
                </a:cxn>
                <a:cxn ang="0">
                  <a:pos x="319" y="50"/>
                </a:cxn>
                <a:cxn ang="0">
                  <a:pos x="318" y="53"/>
                </a:cxn>
                <a:cxn ang="0">
                  <a:pos x="269" y="127"/>
                </a:cxn>
                <a:cxn ang="0">
                  <a:pos x="281" y="155"/>
                </a:cxn>
                <a:cxn ang="0">
                  <a:pos x="313" y="174"/>
                </a:cxn>
                <a:cxn ang="0">
                  <a:pos x="315" y="177"/>
                </a:cxn>
                <a:cxn ang="0">
                  <a:pos x="319" y="215"/>
                </a:cxn>
                <a:cxn ang="0">
                  <a:pos x="298" y="264"/>
                </a:cxn>
                <a:cxn ang="0">
                  <a:pos x="238" y="311"/>
                </a:cxn>
                <a:cxn ang="0">
                  <a:pos x="235" y="339"/>
                </a:cxn>
                <a:cxn ang="0">
                  <a:pos x="232" y="342"/>
                </a:cxn>
                <a:cxn ang="0">
                  <a:pos x="230" y="343"/>
                </a:cxn>
                <a:cxn ang="0">
                  <a:pos x="213" y="340"/>
                </a:cxn>
                <a:cxn ang="0">
                  <a:pos x="213" y="345"/>
                </a:cxn>
                <a:cxn ang="0">
                  <a:pos x="238" y="373"/>
                </a:cxn>
                <a:cxn ang="0">
                  <a:pos x="272" y="388"/>
                </a:cxn>
                <a:cxn ang="0">
                  <a:pos x="292" y="381"/>
                </a:cxn>
                <a:cxn ang="0">
                  <a:pos x="293" y="380"/>
                </a:cxn>
                <a:cxn ang="0">
                  <a:pos x="298" y="383"/>
                </a:cxn>
                <a:cxn ang="0">
                  <a:pos x="314" y="419"/>
                </a:cxn>
                <a:cxn ang="0">
                  <a:pos x="332" y="423"/>
                </a:cxn>
                <a:cxn ang="0">
                  <a:pos x="336" y="428"/>
                </a:cxn>
                <a:cxn ang="0">
                  <a:pos x="332" y="508"/>
                </a:cxn>
                <a:cxn ang="0">
                  <a:pos x="330" y="511"/>
                </a:cxn>
                <a:cxn ang="0">
                  <a:pos x="234" y="582"/>
                </a:cxn>
                <a:cxn ang="0">
                  <a:pos x="234" y="664"/>
                </a:cxn>
                <a:cxn ang="0">
                  <a:pos x="233" y="668"/>
                </a:cxn>
                <a:cxn ang="0">
                  <a:pos x="178" y="710"/>
                </a:cxn>
                <a:cxn ang="0">
                  <a:pos x="175" y="711"/>
                </a:cxn>
              </a:cxnLst>
              <a:rect l="0" t="0" r="r" b="b"/>
              <a:pathLst>
                <a:path w="337" h="712">
                  <a:moveTo>
                    <a:pt x="175" y="711"/>
                  </a:moveTo>
                  <a:cubicBezTo>
                    <a:pt x="174" y="711"/>
                    <a:pt x="174" y="711"/>
                    <a:pt x="173" y="711"/>
                  </a:cubicBezTo>
                  <a:cubicBezTo>
                    <a:pt x="171" y="710"/>
                    <a:pt x="170" y="709"/>
                    <a:pt x="170" y="707"/>
                  </a:cubicBezTo>
                  <a:lnTo>
                    <a:pt x="137" y="536"/>
                  </a:lnTo>
                  <a:lnTo>
                    <a:pt x="71" y="499"/>
                  </a:lnTo>
                  <a:cubicBezTo>
                    <a:pt x="70" y="498"/>
                    <a:pt x="69" y="497"/>
                    <a:pt x="68" y="496"/>
                  </a:cubicBezTo>
                  <a:lnTo>
                    <a:pt x="56" y="439"/>
                  </a:lnTo>
                  <a:lnTo>
                    <a:pt x="20" y="423"/>
                  </a:lnTo>
                  <a:cubicBezTo>
                    <a:pt x="19" y="422"/>
                    <a:pt x="18" y="421"/>
                    <a:pt x="18" y="420"/>
                  </a:cubicBezTo>
                  <a:lnTo>
                    <a:pt x="1" y="348"/>
                  </a:lnTo>
                  <a:cubicBezTo>
                    <a:pt x="0" y="346"/>
                    <a:pt x="1" y="344"/>
                    <a:pt x="2" y="343"/>
                  </a:cubicBezTo>
                  <a:lnTo>
                    <a:pt x="74" y="280"/>
                  </a:lnTo>
                  <a:lnTo>
                    <a:pt x="90" y="223"/>
                  </a:lnTo>
                  <a:lnTo>
                    <a:pt x="77" y="157"/>
                  </a:lnTo>
                  <a:lnTo>
                    <a:pt x="89" y="96"/>
                  </a:lnTo>
                  <a:lnTo>
                    <a:pt x="75" y="89"/>
                  </a:lnTo>
                  <a:cubicBezTo>
                    <a:pt x="74" y="88"/>
                    <a:pt x="73" y="87"/>
                    <a:pt x="73" y="85"/>
                  </a:cubicBezTo>
                  <a:cubicBezTo>
                    <a:pt x="72" y="84"/>
                    <a:pt x="73" y="82"/>
                    <a:pt x="74" y="81"/>
                  </a:cubicBezTo>
                  <a:lnTo>
                    <a:pt x="112" y="39"/>
                  </a:lnTo>
                  <a:lnTo>
                    <a:pt x="190" y="0"/>
                  </a:lnTo>
                  <a:lnTo>
                    <a:pt x="243" y="8"/>
                  </a:lnTo>
                  <a:cubicBezTo>
                    <a:pt x="245" y="8"/>
                    <a:pt x="247" y="10"/>
                    <a:pt x="247" y="12"/>
                  </a:cubicBezTo>
                  <a:lnTo>
                    <a:pt x="251" y="52"/>
                  </a:lnTo>
                  <a:lnTo>
                    <a:pt x="263" y="58"/>
                  </a:lnTo>
                  <a:lnTo>
                    <a:pt x="307" y="26"/>
                  </a:lnTo>
                  <a:cubicBezTo>
                    <a:pt x="308" y="25"/>
                    <a:pt x="309" y="25"/>
                    <a:pt x="310" y="25"/>
                  </a:cubicBezTo>
                  <a:cubicBezTo>
                    <a:pt x="311" y="25"/>
                    <a:pt x="312" y="25"/>
                    <a:pt x="312" y="25"/>
                  </a:cubicBezTo>
                  <a:cubicBezTo>
                    <a:pt x="313" y="26"/>
                    <a:pt x="315" y="27"/>
                    <a:pt x="315" y="29"/>
                  </a:cubicBezTo>
                  <a:lnTo>
                    <a:pt x="319" y="50"/>
                  </a:lnTo>
                  <a:cubicBezTo>
                    <a:pt x="319" y="51"/>
                    <a:pt x="319" y="52"/>
                    <a:pt x="318" y="53"/>
                  </a:cubicBezTo>
                  <a:lnTo>
                    <a:pt x="269" y="127"/>
                  </a:lnTo>
                  <a:lnTo>
                    <a:pt x="281" y="155"/>
                  </a:lnTo>
                  <a:lnTo>
                    <a:pt x="313" y="174"/>
                  </a:lnTo>
                  <a:cubicBezTo>
                    <a:pt x="314" y="174"/>
                    <a:pt x="315" y="176"/>
                    <a:pt x="315" y="177"/>
                  </a:cubicBezTo>
                  <a:lnTo>
                    <a:pt x="319" y="215"/>
                  </a:lnTo>
                  <a:lnTo>
                    <a:pt x="298" y="264"/>
                  </a:lnTo>
                  <a:lnTo>
                    <a:pt x="238" y="311"/>
                  </a:lnTo>
                  <a:lnTo>
                    <a:pt x="235" y="339"/>
                  </a:lnTo>
                  <a:cubicBezTo>
                    <a:pt x="234" y="340"/>
                    <a:pt x="234" y="342"/>
                    <a:pt x="232" y="342"/>
                  </a:cubicBezTo>
                  <a:cubicBezTo>
                    <a:pt x="232" y="343"/>
                    <a:pt x="231" y="343"/>
                    <a:pt x="230" y="343"/>
                  </a:cubicBezTo>
                  <a:lnTo>
                    <a:pt x="213" y="340"/>
                  </a:lnTo>
                  <a:lnTo>
                    <a:pt x="213" y="345"/>
                  </a:lnTo>
                  <a:lnTo>
                    <a:pt x="238" y="373"/>
                  </a:lnTo>
                  <a:lnTo>
                    <a:pt x="272" y="388"/>
                  </a:lnTo>
                  <a:lnTo>
                    <a:pt x="292" y="381"/>
                  </a:lnTo>
                  <a:cubicBezTo>
                    <a:pt x="292" y="380"/>
                    <a:pt x="293" y="380"/>
                    <a:pt x="293" y="380"/>
                  </a:cubicBezTo>
                  <a:cubicBezTo>
                    <a:pt x="295" y="380"/>
                    <a:pt x="297" y="381"/>
                    <a:pt x="298" y="383"/>
                  </a:cubicBezTo>
                  <a:lnTo>
                    <a:pt x="314" y="419"/>
                  </a:lnTo>
                  <a:lnTo>
                    <a:pt x="332" y="423"/>
                  </a:lnTo>
                  <a:cubicBezTo>
                    <a:pt x="335" y="423"/>
                    <a:pt x="336" y="425"/>
                    <a:pt x="336" y="428"/>
                  </a:cubicBezTo>
                  <a:lnTo>
                    <a:pt x="332" y="508"/>
                  </a:lnTo>
                  <a:cubicBezTo>
                    <a:pt x="332" y="509"/>
                    <a:pt x="331" y="511"/>
                    <a:pt x="330" y="511"/>
                  </a:cubicBezTo>
                  <a:lnTo>
                    <a:pt x="234" y="582"/>
                  </a:lnTo>
                  <a:lnTo>
                    <a:pt x="234" y="664"/>
                  </a:lnTo>
                  <a:cubicBezTo>
                    <a:pt x="234" y="666"/>
                    <a:pt x="234" y="667"/>
                    <a:pt x="233" y="668"/>
                  </a:cubicBezTo>
                  <a:lnTo>
                    <a:pt x="178" y="710"/>
                  </a:lnTo>
                  <a:cubicBezTo>
                    <a:pt x="177" y="711"/>
                    <a:pt x="176" y="711"/>
                    <a:pt x="175" y="71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49" name="Freeform 244"/>
            <p:cNvSpPr>
              <a:spLocks noChangeArrowheads="1"/>
            </p:cNvSpPr>
            <p:nvPr/>
          </p:nvSpPr>
          <p:spPr bwMode="auto">
            <a:xfrm>
              <a:off x="4557713" y="2662238"/>
              <a:ext cx="11112" cy="9525"/>
            </a:xfrm>
            <a:custGeom>
              <a:avLst/>
              <a:gdLst/>
              <a:ahLst/>
              <a:cxnLst>
                <a:cxn ang="0">
                  <a:pos x="5" y="26"/>
                </a:cxn>
                <a:cxn ang="0">
                  <a:pos x="1" y="23"/>
                </a:cxn>
                <a:cxn ang="0">
                  <a:pos x="2" y="18"/>
                </a:cxn>
                <a:cxn ang="0">
                  <a:pos x="19" y="1"/>
                </a:cxn>
                <a:cxn ang="0">
                  <a:pos x="22" y="0"/>
                </a:cxn>
                <a:cxn ang="0">
                  <a:pos x="23" y="0"/>
                </a:cxn>
                <a:cxn ang="0">
                  <a:pos x="27" y="3"/>
                </a:cxn>
                <a:cxn ang="0">
                  <a:pos x="31" y="20"/>
                </a:cxn>
                <a:cxn ang="0">
                  <a:pos x="30" y="24"/>
                </a:cxn>
                <a:cxn ang="0">
                  <a:pos x="26" y="26"/>
                </a:cxn>
                <a:cxn ang="0">
                  <a:pos x="5" y="26"/>
                </a:cxn>
              </a:cxnLst>
              <a:rect l="0" t="0" r="r" b="b"/>
              <a:pathLst>
                <a:path w="32" h="27">
                  <a:moveTo>
                    <a:pt x="5" y="26"/>
                  </a:moveTo>
                  <a:cubicBezTo>
                    <a:pt x="3" y="26"/>
                    <a:pt x="2" y="25"/>
                    <a:pt x="1" y="23"/>
                  </a:cubicBezTo>
                  <a:cubicBezTo>
                    <a:pt x="0" y="21"/>
                    <a:pt x="1" y="19"/>
                    <a:pt x="2" y="18"/>
                  </a:cubicBezTo>
                  <a:lnTo>
                    <a:pt x="19" y="1"/>
                  </a:lnTo>
                  <a:cubicBezTo>
                    <a:pt x="20" y="0"/>
                    <a:pt x="21" y="0"/>
                    <a:pt x="22" y="0"/>
                  </a:cubicBezTo>
                  <a:cubicBezTo>
                    <a:pt x="23" y="0"/>
                    <a:pt x="23" y="0"/>
                    <a:pt x="23" y="0"/>
                  </a:cubicBezTo>
                  <a:cubicBezTo>
                    <a:pt x="25" y="0"/>
                    <a:pt x="26" y="2"/>
                    <a:pt x="27" y="3"/>
                  </a:cubicBezTo>
                  <a:lnTo>
                    <a:pt x="31" y="20"/>
                  </a:lnTo>
                  <a:cubicBezTo>
                    <a:pt x="31" y="22"/>
                    <a:pt x="31" y="23"/>
                    <a:pt x="30" y="24"/>
                  </a:cubicBezTo>
                  <a:cubicBezTo>
                    <a:pt x="29" y="25"/>
                    <a:pt x="28" y="26"/>
                    <a:pt x="26" y="26"/>
                  </a:cubicBezTo>
                  <a:lnTo>
                    <a:pt x="5"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0" name="Freeform 245"/>
            <p:cNvSpPr>
              <a:spLocks noChangeArrowheads="1"/>
            </p:cNvSpPr>
            <p:nvPr/>
          </p:nvSpPr>
          <p:spPr bwMode="auto">
            <a:xfrm>
              <a:off x="4557713" y="2662238"/>
              <a:ext cx="11112" cy="9525"/>
            </a:xfrm>
            <a:custGeom>
              <a:avLst/>
              <a:gdLst/>
              <a:ahLst/>
              <a:cxnLst>
                <a:cxn ang="0">
                  <a:pos x="5" y="26"/>
                </a:cxn>
                <a:cxn ang="0">
                  <a:pos x="1" y="23"/>
                </a:cxn>
                <a:cxn ang="0">
                  <a:pos x="2" y="18"/>
                </a:cxn>
                <a:cxn ang="0">
                  <a:pos x="19" y="1"/>
                </a:cxn>
                <a:cxn ang="0">
                  <a:pos x="22" y="0"/>
                </a:cxn>
                <a:cxn ang="0">
                  <a:pos x="23" y="0"/>
                </a:cxn>
                <a:cxn ang="0">
                  <a:pos x="27" y="3"/>
                </a:cxn>
                <a:cxn ang="0">
                  <a:pos x="31" y="20"/>
                </a:cxn>
                <a:cxn ang="0">
                  <a:pos x="30" y="24"/>
                </a:cxn>
                <a:cxn ang="0">
                  <a:pos x="26" y="26"/>
                </a:cxn>
                <a:cxn ang="0">
                  <a:pos x="5" y="26"/>
                </a:cxn>
              </a:cxnLst>
              <a:rect l="0" t="0" r="r" b="b"/>
              <a:pathLst>
                <a:path w="32" h="27">
                  <a:moveTo>
                    <a:pt x="5" y="26"/>
                  </a:moveTo>
                  <a:cubicBezTo>
                    <a:pt x="3" y="26"/>
                    <a:pt x="2" y="25"/>
                    <a:pt x="1" y="23"/>
                  </a:cubicBezTo>
                  <a:cubicBezTo>
                    <a:pt x="0" y="21"/>
                    <a:pt x="1" y="19"/>
                    <a:pt x="2" y="18"/>
                  </a:cubicBezTo>
                  <a:lnTo>
                    <a:pt x="19" y="1"/>
                  </a:lnTo>
                  <a:cubicBezTo>
                    <a:pt x="20" y="0"/>
                    <a:pt x="21" y="0"/>
                    <a:pt x="22" y="0"/>
                  </a:cubicBezTo>
                  <a:cubicBezTo>
                    <a:pt x="23" y="0"/>
                    <a:pt x="23" y="0"/>
                    <a:pt x="23" y="0"/>
                  </a:cubicBezTo>
                  <a:cubicBezTo>
                    <a:pt x="25" y="0"/>
                    <a:pt x="26" y="2"/>
                    <a:pt x="27" y="3"/>
                  </a:cubicBezTo>
                  <a:lnTo>
                    <a:pt x="31" y="20"/>
                  </a:lnTo>
                  <a:cubicBezTo>
                    <a:pt x="31" y="22"/>
                    <a:pt x="31" y="23"/>
                    <a:pt x="30" y="24"/>
                  </a:cubicBezTo>
                  <a:cubicBezTo>
                    <a:pt x="29" y="25"/>
                    <a:pt x="28" y="26"/>
                    <a:pt x="26" y="26"/>
                  </a:cubicBezTo>
                  <a:lnTo>
                    <a:pt x="5" y="2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1" name="Freeform 246"/>
            <p:cNvSpPr>
              <a:spLocks noChangeArrowheads="1"/>
            </p:cNvSpPr>
            <p:nvPr/>
          </p:nvSpPr>
          <p:spPr bwMode="auto">
            <a:xfrm>
              <a:off x="4976813" y="2741613"/>
              <a:ext cx="342900" cy="333375"/>
            </a:xfrm>
            <a:custGeom>
              <a:avLst/>
              <a:gdLst/>
              <a:ahLst/>
              <a:cxnLst>
                <a:cxn ang="0">
                  <a:pos x="724" y="910"/>
                </a:cxn>
                <a:cxn ang="0">
                  <a:pos x="577" y="904"/>
                </a:cxn>
                <a:cxn ang="0">
                  <a:pos x="582" y="889"/>
                </a:cxn>
                <a:cxn ang="0">
                  <a:pos x="573" y="904"/>
                </a:cxn>
                <a:cxn ang="0">
                  <a:pos x="47" y="906"/>
                </a:cxn>
                <a:cxn ang="0">
                  <a:pos x="39" y="252"/>
                </a:cxn>
                <a:cxn ang="0">
                  <a:pos x="1" y="154"/>
                </a:cxn>
                <a:cxn ang="0">
                  <a:pos x="22" y="130"/>
                </a:cxn>
                <a:cxn ang="0">
                  <a:pos x="19" y="26"/>
                </a:cxn>
                <a:cxn ang="0">
                  <a:pos x="47" y="0"/>
                </a:cxn>
                <a:cxn ang="0">
                  <a:pos x="369" y="76"/>
                </a:cxn>
                <a:cxn ang="0">
                  <a:pos x="522" y="12"/>
                </a:cxn>
                <a:cxn ang="0">
                  <a:pos x="527" y="18"/>
                </a:cxn>
                <a:cxn ang="0">
                  <a:pos x="615" y="8"/>
                </a:cxn>
                <a:cxn ang="0">
                  <a:pos x="639" y="34"/>
                </a:cxn>
                <a:cxn ang="0">
                  <a:pos x="643" y="35"/>
                </a:cxn>
                <a:cxn ang="0">
                  <a:pos x="721" y="59"/>
                </a:cxn>
                <a:cxn ang="0">
                  <a:pos x="801" y="34"/>
                </a:cxn>
                <a:cxn ang="0">
                  <a:pos x="870" y="223"/>
                </a:cxn>
                <a:cxn ang="0">
                  <a:pos x="829" y="364"/>
                </a:cxn>
                <a:cxn ang="0">
                  <a:pos x="802" y="373"/>
                </a:cxn>
                <a:cxn ang="0">
                  <a:pos x="735" y="299"/>
                </a:cxn>
                <a:cxn ang="0">
                  <a:pos x="663" y="199"/>
                </a:cxn>
                <a:cxn ang="0">
                  <a:pos x="754" y="353"/>
                </a:cxn>
                <a:cxn ang="0">
                  <a:pos x="895" y="675"/>
                </a:cxn>
                <a:cxn ang="0">
                  <a:pos x="950" y="725"/>
                </a:cxn>
                <a:cxn ang="0">
                  <a:pos x="921" y="735"/>
                </a:cxn>
                <a:cxn ang="0">
                  <a:pos x="931" y="808"/>
                </a:cxn>
                <a:cxn ang="0">
                  <a:pos x="895" y="834"/>
                </a:cxn>
                <a:cxn ang="0">
                  <a:pos x="857" y="874"/>
                </a:cxn>
                <a:cxn ang="0">
                  <a:pos x="813" y="888"/>
                </a:cxn>
                <a:cxn ang="0">
                  <a:pos x="793" y="923"/>
                </a:cxn>
              </a:cxnLst>
              <a:rect l="0" t="0" r="r" b="b"/>
              <a:pathLst>
                <a:path w="952" h="924">
                  <a:moveTo>
                    <a:pt x="759" y="923"/>
                  </a:moveTo>
                  <a:lnTo>
                    <a:pt x="724" y="910"/>
                  </a:lnTo>
                  <a:lnTo>
                    <a:pt x="581" y="906"/>
                  </a:lnTo>
                  <a:cubicBezTo>
                    <a:pt x="579" y="906"/>
                    <a:pt x="578" y="905"/>
                    <a:pt x="577" y="904"/>
                  </a:cubicBezTo>
                  <a:cubicBezTo>
                    <a:pt x="576" y="903"/>
                    <a:pt x="576" y="901"/>
                    <a:pt x="577" y="899"/>
                  </a:cubicBezTo>
                  <a:lnTo>
                    <a:pt x="582" y="889"/>
                  </a:lnTo>
                  <a:lnTo>
                    <a:pt x="580" y="889"/>
                  </a:lnTo>
                  <a:lnTo>
                    <a:pt x="573" y="904"/>
                  </a:lnTo>
                  <a:cubicBezTo>
                    <a:pt x="572" y="905"/>
                    <a:pt x="570" y="906"/>
                    <a:pt x="569" y="906"/>
                  </a:cubicBezTo>
                  <a:lnTo>
                    <a:pt x="47" y="906"/>
                  </a:lnTo>
                  <a:cubicBezTo>
                    <a:pt x="45" y="906"/>
                    <a:pt x="43" y="904"/>
                    <a:pt x="43" y="901"/>
                  </a:cubicBezTo>
                  <a:lnTo>
                    <a:pt x="39" y="252"/>
                  </a:lnTo>
                  <a:lnTo>
                    <a:pt x="19" y="232"/>
                  </a:lnTo>
                  <a:lnTo>
                    <a:pt x="1" y="154"/>
                  </a:lnTo>
                  <a:cubicBezTo>
                    <a:pt x="0" y="152"/>
                    <a:pt x="1" y="150"/>
                    <a:pt x="2" y="149"/>
                  </a:cubicBezTo>
                  <a:lnTo>
                    <a:pt x="22" y="130"/>
                  </a:lnTo>
                  <a:lnTo>
                    <a:pt x="17" y="30"/>
                  </a:lnTo>
                  <a:cubicBezTo>
                    <a:pt x="17" y="29"/>
                    <a:pt x="18" y="27"/>
                    <a:pt x="19" y="26"/>
                  </a:cubicBezTo>
                  <a:lnTo>
                    <a:pt x="44" y="1"/>
                  </a:lnTo>
                  <a:cubicBezTo>
                    <a:pt x="45" y="0"/>
                    <a:pt x="46" y="0"/>
                    <a:pt x="47" y="0"/>
                  </a:cubicBezTo>
                  <a:cubicBezTo>
                    <a:pt x="48" y="0"/>
                    <a:pt x="196" y="17"/>
                    <a:pt x="196" y="17"/>
                  </a:cubicBezTo>
                  <a:lnTo>
                    <a:pt x="369" y="76"/>
                  </a:lnTo>
                  <a:lnTo>
                    <a:pt x="520" y="13"/>
                  </a:lnTo>
                  <a:cubicBezTo>
                    <a:pt x="521" y="12"/>
                    <a:pt x="521" y="12"/>
                    <a:pt x="522" y="12"/>
                  </a:cubicBezTo>
                  <a:cubicBezTo>
                    <a:pt x="524" y="12"/>
                    <a:pt x="525" y="13"/>
                    <a:pt x="526" y="15"/>
                  </a:cubicBezTo>
                  <a:cubicBezTo>
                    <a:pt x="527" y="16"/>
                    <a:pt x="527" y="17"/>
                    <a:pt x="527" y="18"/>
                  </a:cubicBezTo>
                  <a:lnTo>
                    <a:pt x="546" y="13"/>
                  </a:lnTo>
                  <a:lnTo>
                    <a:pt x="615" y="8"/>
                  </a:lnTo>
                  <a:cubicBezTo>
                    <a:pt x="617" y="8"/>
                    <a:pt x="618" y="9"/>
                    <a:pt x="619" y="10"/>
                  </a:cubicBezTo>
                  <a:lnTo>
                    <a:pt x="639" y="34"/>
                  </a:lnTo>
                  <a:cubicBezTo>
                    <a:pt x="640" y="34"/>
                    <a:pt x="640" y="34"/>
                    <a:pt x="641" y="34"/>
                  </a:cubicBezTo>
                  <a:cubicBezTo>
                    <a:pt x="642" y="34"/>
                    <a:pt x="643" y="34"/>
                    <a:pt x="643" y="35"/>
                  </a:cubicBezTo>
                  <a:lnTo>
                    <a:pt x="677" y="60"/>
                  </a:lnTo>
                  <a:lnTo>
                    <a:pt x="721" y="59"/>
                  </a:lnTo>
                  <a:lnTo>
                    <a:pt x="800" y="34"/>
                  </a:lnTo>
                  <a:cubicBezTo>
                    <a:pt x="801" y="34"/>
                    <a:pt x="801" y="34"/>
                    <a:pt x="801" y="34"/>
                  </a:cubicBezTo>
                  <a:cubicBezTo>
                    <a:pt x="804" y="34"/>
                    <a:pt x="805" y="35"/>
                    <a:pt x="806" y="37"/>
                  </a:cubicBezTo>
                  <a:lnTo>
                    <a:pt x="870" y="223"/>
                  </a:lnTo>
                  <a:lnTo>
                    <a:pt x="832" y="361"/>
                  </a:lnTo>
                  <a:cubicBezTo>
                    <a:pt x="831" y="363"/>
                    <a:pt x="830" y="364"/>
                    <a:pt x="829" y="364"/>
                  </a:cubicBezTo>
                  <a:lnTo>
                    <a:pt x="803" y="373"/>
                  </a:lnTo>
                  <a:lnTo>
                    <a:pt x="802" y="373"/>
                  </a:lnTo>
                  <a:cubicBezTo>
                    <a:pt x="800" y="373"/>
                    <a:pt x="799" y="372"/>
                    <a:pt x="798" y="371"/>
                  </a:cubicBezTo>
                  <a:lnTo>
                    <a:pt x="735" y="299"/>
                  </a:lnTo>
                  <a:lnTo>
                    <a:pt x="675" y="169"/>
                  </a:lnTo>
                  <a:lnTo>
                    <a:pt x="663" y="199"/>
                  </a:lnTo>
                  <a:lnTo>
                    <a:pt x="687" y="269"/>
                  </a:lnTo>
                  <a:lnTo>
                    <a:pt x="754" y="353"/>
                  </a:lnTo>
                  <a:lnTo>
                    <a:pt x="798" y="490"/>
                  </a:lnTo>
                  <a:lnTo>
                    <a:pt x="895" y="675"/>
                  </a:lnTo>
                  <a:lnTo>
                    <a:pt x="949" y="720"/>
                  </a:lnTo>
                  <a:cubicBezTo>
                    <a:pt x="950" y="721"/>
                    <a:pt x="951" y="723"/>
                    <a:pt x="950" y="725"/>
                  </a:cubicBezTo>
                  <a:cubicBezTo>
                    <a:pt x="950" y="726"/>
                    <a:pt x="949" y="728"/>
                    <a:pt x="947" y="728"/>
                  </a:cubicBezTo>
                  <a:lnTo>
                    <a:pt x="921" y="735"/>
                  </a:lnTo>
                  <a:lnTo>
                    <a:pt x="933" y="803"/>
                  </a:lnTo>
                  <a:cubicBezTo>
                    <a:pt x="934" y="805"/>
                    <a:pt x="933" y="807"/>
                    <a:pt x="931" y="808"/>
                  </a:cubicBezTo>
                  <a:lnTo>
                    <a:pt x="898" y="833"/>
                  </a:lnTo>
                  <a:cubicBezTo>
                    <a:pt x="897" y="834"/>
                    <a:pt x="896" y="834"/>
                    <a:pt x="895" y="834"/>
                  </a:cubicBezTo>
                  <a:lnTo>
                    <a:pt x="876" y="831"/>
                  </a:lnTo>
                  <a:lnTo>
                    <a:pt x="857" y="874"/>
                  </a:lnTo>
                  <a:cubicBezTo>
                    <a:pt x="856" y="875"/>
                    <a:pt x="855" y="876"/>
                    <a:pt x="854" y="876"/>
                  </a:cubicBezTo>
                  <a:lnTo>
                    <a:pt x="813" y="888"/>
                  </a:lnTo>
                  <a:lnTo>
                    <a:pt x="797" y="920"/>
                  </a:lnTo>
                  <a:cubicBezTo>
                    <a:pt x="796" y="922"/>
                    <a:pt x="795" y="923"/>
                    <a:pt x="793" y="923"/>
                  </a:cubicBezTo>
                  <a:lnTo>
                    <a:pt x="759" y="923"/>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2" name="Freeform 247"/>
            <p:cNvSpPr>
              <a:spLocks noChangeArrowheads="1"/>
            </p:cNvSpPr>
            <p:nvPr/>
          </p:nvSpPr>
          <p:spPr bwMode="auto">
            <a:xfrm>
              <a:off x="4976813" y="2741613"/>
              <a:ext cx="342900" cy="333375"/>
            </a:xfrm>
            <a:custGeom>
              <a:avLst/>
              <a:gdLst/>
              <a:ahLst/>
              <a:cxnLst>
                <a:cxn ang="0">
                  <a:pos x="724" y="910"/>
                </a:cxn>
                <a:cxn ang="0">
                  <a:pos x="577" y="904"/>
                </a:cxn>
                <a:cxn ang="0">
                  <a:pos x="582" y="889"/>
                </a:cxn>
                <a:cxn ang="0">
                  <a:pos x="573" y="904"/>
                </a:cxn>
                <a:cxn ang="0">
                  <a:pos x="47" y="906"/>
                </a:cxn>
                <a:cxn ang="0">
                  <a:pos x="39" y="252"/>
                </a:cxn>
                <a:cxn ang="0">
                  <a:pos x="1" y="154"/>
                </a:cxn>
                <a:cxn ang="0">
                  <a:pos x="22" y="130"/>
                </a:cxn>
                <a:cxn ang="0">
                  <a:pos x="19" y="26"/>
                </a:cxn>
                <a:cxn ang="0">
                  <a:pos x="47" y="0"/>
                </a:cxn>
                <a:cxn ang="0">
                  <a:pos x="369" y="76"/>
                </a:cxn>
                <a:cxn ang="0">
                  <a:pos x="522" y="12"/>
                </a:cxn>
                <a:cxn ang="0">
                  <a:pos x="527" y="18"/>
                </a:cxn>
                <a:cxn ang="0">
                  <a:pos x="615" y="8"/>
                </a:cxn>
                <a:cxn ang="0">
                  <a:pos x="639" y="34"/>
                </a:cxn>
                <a:cxn ang="0">
                  <a:pos x="643" y="35"/>
                </a:cxn>
                <a:cxn ang="0">
                  <a:pos x="721" y="59"/>
                </a:cxn>
                <a:cxn ang="0">
                  <a:pos x="801" y="34"/>
                </a:cxn>
                <a:cxn ang="0">
                  <a:pos x="870" y="223"/>
                </a:cxn>
                <a:cxn ang="0">
                  <a:pos x="829" y="364"/>
                </a:cxn>
                <a:cxn ang="0">
                  <a:pos x="802" y="373"/>
                </a:cxn>
                <a:cxn ang="0">
                  <a:pos x="735" y="299"/>
                </a:cxn>
                <a:cxn ang="0">
                  <a:pos x="663" y="199"/>
                </a:cxn>
                <a:cxn ang="0">
                  <a:pos x="754" y="353"/>
                </a:cxn>
                <a:cxn ang="0">
                  <a:pos x="895" y="675"/>
                </a:cxn>
                <a:cxn ang="0">
                  <a:pos x="950" y="725"/>
                </a:cxn>
                <a:cxn ang="0">
                  <a:pos x="921" y="735"/>
                </a:cxn>
                <a:cxn ang="0">
                  <a:pos x="931" y="808"/>
                </a:cxn>
                <a:cxn ang="0">
                  <a:pos x="895" y="834"/>
                </a:cxn>
                <a:cxn ang="0">
                  <a:pos x="857" y="874"/>
                </a:cxn>
                <a:cxn ang="0">
                  <a:pos x="813" y="888"/>
                </a:cxn>
                <a:cxn ang="0">
                  <a:pos x="793" y="923"/>
                </a:cxn>
              </a:cxnLst>
              <a:rect l="0" t="0" r="r" b="b"/>
              <a:pathLst>
                <a:path w="952" h="924">
                  <a:moveTo>
                    <a:pt x="759" y="923"/>
                  </a:moveTo>
                  <a:lnTo>
                    <a:pt x="724" y="910"/>
                  </a:lnTo>
                  <a:lnTo>
                    <a:pt x="581" y="906"/>
                  </a:lnTo>
                  <a:cubicBezTo>
                    <a:pt x="579" y="906"/>
                    <a:pt x="578" y="905"/>
                    <a:pt x="577" y="904"/>
                  </a:cubicBezTo>
                  <a:cubicBezTo>
                    <a:pt x="576" y="903"/>
                    <a:pt x="576" y="901"/>
                    <a:pt x="577" y="899"/>
                  </a:cubicBezTo>
                  <a:lnTo>
                    <a:pt x="582" y="889"/>
                  </a:lnTo>
                  <a:lnTo>
                    <a:pt x="580" y="889"/>
                  </a:lnTo>
                  <a:lnTo>
                    <a:pt x="573" y="904"/>
                  </a:lnTo>
                  <a:cubicBezTo>
                    <a:pt x="572" y="905"/>
                    <a:pt x="570" y="906"/>
                    <a:pt x="569" y="906"/>
                  </a:cubicBezTo>
                  <a:lnTo>
                    <a:pt x="47" y="906"/>
                  </a:lnTo>
                  <a:cubicBezTo>
                    <a:pt x="45" y="906"/>
                    <a:pt x="43" y="904"/>
                    <a:pt x="43" y="901"/>
                  </a:cubicBezTo>
                  <a:lnTo>
                    <a:pt x="39" y="252"/>
                  </a:lnTo>
                  <a:lnTo>
                    <a:pt x="19" y="232"/>
                  </a:lnTo>
                  <a:lnTo>
                    <a:pt x="1" y="154"/>
                  </a:lnTo>
                  <a:cubicBezTo>
                    <a:pt x="0" y="152"/>
                    <a:pt x="1" y="150"/>
                    <a:pt x="2" y="149"/>
                  </a:cubicBezTo>
                  <a:lnTo>
                    <a:pt x="22" y="130"/>
                  </a:lnTo>
                  <a:lnTo>
                    <a:pt x="17" y="30"/>
                  </a:lnTo>
                  <a:cubicBezTo>
                    <a:pt x="17" y="29"/>
                    <a:pt x="18" y="27"/>
                    <a:pt x="19" y="26"/>
                  </a:cubicBezTo>
                  <a:lnTo>
                    <a:pt x="44" y="1"/>
                  </a:lnTo>
                  <a:cubicBezTo>
                    <a:pt x="45" y="0"/>
                    <a:pt x="46" y="0"/>
                    <a:pt x="47" y="0"/>
                  </a:cubicBezTo>
                  <a:cubicBezTo>
                    <a:pt x="48" y="0"/>
                    <a:pt x="196" y="17"/>
                    <a:pt x="196" y="17"/>
                  </a:cubicBezTo>
                  <a:lnTo>
                    <a:pt x="369" y="76"/>
                  </a:lnTo>
                  <a:lnTo>
                    <a:pt x="520" y="13"/>
                  </a:lnTo>
                  <a:cubicBezTo>
                    <a:pt x="521" y="12"/>
                    <a:pt x="521" y="12"/>
                    <a:pt x="522" y="12"/>
                  </a:cubicBezTo>
                  <a:cubicBezTo>
                    <a:pt x="524" y="12"/>
                    <a:pt x="525" y="13"/>
                    <a:pt x="526" y="15"/>
                  </a:cubicBezTo>
                  <a:cubicBezTo>
                    <a:pt x="527" y="16"/>
                    <a:pt x="527" y="17"/>
                    <a:pt x="527" y="18"/>
                  </a:cubicBezTo>
                  <a:lnTo>
                    <a:pt x="546" y="13"/>
                  </a:lnTo>
                  <a:lnTo>
                    <a:pt x="615" y="8"/>
                  </a:lnTo>
                  <a:cubicBezTo>
                    <a:pt x="617" y="8"/>
                    <a:pt x="618" y="9"/>
                    <a:pt x="619" y="10"/>
                  </a:cubicBezTo>
                  <a:lnTo>
                    <a:pt x="639" y="34"/>
                  </a:lnTo>
                  <a:cubicBezTo>
                    <a:pt x="640" y="34"/>
                    <a:pt x="640" y="34"/>
                    <a:pt x="641" y="34"/>
                  </a:cubicBezTo>
                  <a:cubicBezTo>
                    <a:pt x="642" y="34"/>
                    <a:pt x="643" y="34"/>
                    <a:pt x="643" y="35"/>
                  </a:cubicBezTo>
                  <a:lnTo>
                    <a:pt x="677" y="60"/>
                  </a:lnTo>
                  <a:lnTo>
                    <a:pt x="721" y="59"/>
                  </a:lnTo>
                  <a:lnTo>
                    <a:pt x="800" y="34"/>
                  </a:lnTo>
                  <a:cubicBezTo>
                    <a:pt x="801" y="34"/>
                    <a:pt x="801" y="34"/>
                    <a:pt x="801" y="34"/>
                  </a:cubicBezTo>
                  <a:cubicBezTo>
                    <a:pt x="804" y="34"/>
                    <a:pt x="805" y="35"/>
                    <a:pt x="806" y="37"/>
                  </a:cubicBezTo>
                  <a:lnTo>
                    <a:pt x="870" y="223"/>
                  </a:lnTo>
                  <a:lnTo>
                    <a:pt x="832" y="361"/>
                  </a:lnTo>
                  <a:cubicBezTo>
                    <a:pt x="831" y="363"/>
                    <a:pt x="830" y="364"/>
                    <a:pt x="829" y="364"/>
                  </a:cubicBezTo>
                  <a:lnTo>
                    <a:pt x="803" y="373"/>
                  </a:lnTo>
                  <a:lnTo>
                    <a:pt x="802" y="373"/>
                  </a:lnTo>
                  <a:cubicBezTo>
                    <a:pt x="800" y="373"/>
                    <a:pt x="799" y="372"/>
                    <a:pt x="798" y="371"/>
                  </a:cubicBezTo>
                  <a:lnTo>
                    <a:pt x="735" y="299"/>
                  </a:lnTo>
                  <a:lnTo>
                    <a:pt x="675" y="169"/>
                  </a:lnTo>
                  <a:lnTo>
                    <a:pt x="663" y="199"/>
                  </a:lnTo>
                  <a:lnTo>
                    <a:pt x="687" y="269"/>
                  </a:lnTo>
                  <a:lnTo>
                    <a:pt x="754" y="353"/>
                  </a:lnTo>
                  <a:lnTo>
                    <a:pt x="798" y="490"/>
                  </a:lnTo>
                  <a:lnTo>
                    <a:pt x="895" y="675"/>
                  </a:lnTo>
                  <a:lnTo>
                    <a:pt x="949" y="720"/>
                  </a:lnTo>
                  <a:cubicBezTo>
                    <a:pt x="950" y="721"/>
                    <a:pt x="951" y="723"/>
                    <a:pt x="950" y="725"/>
                  </a:cubicBezTo>
                  <a:cubicBezTo>
                    <a:pt x="950" y="726"/>
                    <a:pt x="949" y="728"/>
                    <a:pt x="947" y="728"/>
                  </a:cubicBezTo>
                  <a:lnTo>
                    <a:pt x="921" y="735"/>
                  </a:lnTo>
                  <a:lnTo>
                    <a:pt x="933" y="803"/>
                  </a:lnTo>
                  <a:cubicBezTo>
                    <a:pt x="934" y="805"/>
                    <a:pt x="933" y="807"/>
                    <a:pt x="931" y="808"/>
                  </a:cubicBezTo>
                  <a:lnTo>
                    <a:pt x="898" y="833"/>
                  </a:lnTo>
                  <a:cubicBezTo>
                    <a:pt x="897" y="834"/>
                    <a:pt x="896" y="834"/>
                    <a:pt x="895" y="834"/>
                  </a:cubicBezTo>
                  <a:lnTo>
                    <a:pt x="876" y="831"/>
                  </a:lnTo>
                  <a:lnTo>
                    <a:pt x="857" y="874"/>
                  </a:lnTo>
                  <a:cubicBezTo>
                    <a:pt x="856" y="875"/>
                    <a:pt x="855" y="876"/>
                    <a:pt x="854" y="876"/>
                  </a:cubicBezTo>
                  <a:lnTo>
                    <a:pt x="813" y="888"/>
                  </a:lnTo>
                  <a:lnTo>
                    <a:pt x="797" y="920"/>
                  </a:lnTo>
                  <a:cubicBezTo>
                    <a:pt x="796" y="922"/>
                    <a:pt x="795" y="923"/>
                    <a:pt x="793" y="923"/>
                  </a:cubicBezTo>
                  <a:lnTo>
                    <a:pt x="759" y="92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3" name="Freeform 248"/>
            <p:cNvSpPr>
              <a:spLocks noChangeArrowheads="1"/>
            </p:cNvSpPr>
            <p:nvPr/>
          </p:nvSpPr>
          <p:spPr bwMode="auto">
            <a:xfrm>
              <a:off x="4083050" y="3286125"/>
              <a:ext cx="231775" cy="171450"/>
            </a:xfrm>
            <a:custGeom>
              <a:avLst/>
              <a:gdLst/>
              <a:ahLst/>
              <a:cxnLst>
                <a:cxn ang="0">
                  <a:pos x="200" y="475"/>
                </a:cxn>
                <a:cxn ang="0">
                  <a:pos x="196" y="473"/>
                </a:cxn>
                <a:cxn ang="0">
                  <a:pos x="171" y="437"/>
                </a:cxn>
                <a:cxn ang="0">
                  <a:pos x="135" y="433"/>
                </a:cxn>
                <a:cxn ang="0">
                  <a:pos x="74" y="462"/>
                </a:cxn>
                <a:cxn ang="0">
                  <a:pos x="46" y="458"/>
                </a:cxn>
                <a:cxn ang="0">
                  <a:pos x="43" y="456"/>
                </a:cxn>
                <a:cxn ang="0">
                  <a:pos x="1" y="401"/>
                </a:cxn>
                <a:cxn ang="0">
                  <a:pos x="0" y="398"/>
                </a:cxn>
                <a:cxn ang="0">
                  <a:pos x="17" y="300"/>
                </a:cxn>
                <a:cxn ang="0">
                  <a:pos x="82" y="234"/>
                </a:cxn>
                <a:cxn ang="0">
                  <a:pos x="110" y="156"/>
                </a:cxn>
                <a:cxn ang="0">
                  <a:pos x="113" y="153"/>
                </a:cxn>
                <a:cxn ang="0">
                  <a:pos x="232" y="115"/>
                </a:cxn>
                <a:cxn ang="0">
                  <a:pos x="366" y="10"/>
                </a:cxn>
                <a:cxn ang="0">
                  <a:pos x="450" y="0"/>
                </a:cxn>
                <a:cxn ang="0">
                  <a:pos x="453" y="2"/>
                </a:cxn>
                <a:cxn ang="0">
                  <a:pos x="454" y="5"/>
                </a:cxn>
                <a:cxn ang="0">
                  <a:pos x="450" y="39"/>
                </a:cxn>
                <a:cxn ang="0">
                  <a:pos x="471" y="88"/>
                </a:cxn>
                <a:cxn ang="0">
                  <a:pos x="554" y="191"/>
                </a:cxn>
                <a:cxn ang="0">
                  <a:pos x="615" y="195"/>
                </a:cxn>
                <a:cxn ang="0">
                  <a:pos x="619" y="198"/>
                </a:cxn>
                <a:cxn ang="0">
                  <a:pos x="627" y="219"/>
                </a:cxn>
                <a:cxn ang="0">
                  <a:pos x="627" y="223"/>
                </a:cxn>
                <a:cxn ang="0">
                  <a:pos x="620" y="237"/>
                </a:cxn>
                <a:cxn ang="0">
                  <a:pos x="639" y="260"/>
                </a:cxn>
                <a:cxn ang="0">
                  <a:pos x="640" y="266"/>
                </a:cxn>
                <a:cxn ang="0">
                  <a:pos x="610" y="308"/>
                </a:cxn>
                <a:cxn ang="0">
                  <a:pos x="606" y="310"/>
                </a:cxn>
                <a:cxn ang="0">
                  <a:pos x="557" y="306"/>
                </a:cxn>
                <a:cxn ang="0">
                  <a:pos x="516" y="347"/>
                </a:cxn>
                <a:cxn ang="0">
                  <a:pos x="480" y="352"/>
                </a:cxn>
                <a:cxn ang="0">
                  <a:pos x="423" y="335"/>
                </a:cxn>
                <a:cxn ang="0">
                  <a:pos x="370" y="352"/>
                </a:cxn>
                <a:cxn ang="0">
                  <a:pos x="204" y="348"/>
                </a:cxn>
                <a:cxn ang="0">
                  <a:pos x="200" y="369"/>
                </a:cxn>
                <a:cxn ang="0">
                  <a:pos x="221" y="469"/>
                </a:cxn>
                <a:cxn ang="0">
                  <a:pos x="220" y="473"/>
                </a:cxn>
                <a:cxn ang="0">
                  <a:pos x="217" y="475"/>
                </a:cxn>
                <a:cxn ang="0">
                  <a:pos x="200" y="475"/>
                </a:cxn>
              </a:cxnLst>
              <a:rect l="0" t="0" r="r" b="b"/>
              <a:pathLst>
                <a:path w="642" h="476">
                  <a:moveTo>
                    <a:pt x="200" y="475"/>
                  </a:moveTo>
                  <a:cubicBezTo>
                    <a:pt x="198" y="475"/>
                    <a:pt x="197" y="474"/>
                    <a:pt x="196" y="473"/>
                  </a:cubicBezTo>
                  <a:lnTo>
                    <a:pt x="171" y="437"/>
                  </a:lnTo>
                  <a:lnTo>
                    <a:pt x="135" y="433"/>
                  </a:lnTo>
                  <a:lnTo>
                    <a:pt x="74" y="462"/>
                  </a:lnTo>
                  <a:lnTo>
                    <a:pt x="46" y="458"/>
                  </a:lnTo>
                  <a:cubicBezTo>
                    <a:pt x="45" y="458"/>
                    <a:pt x="44" y="457"/>
                    <a:pt x="43" y="456"/>
                  </a:cubicBezTo>
                  <a:lnTo>
                    <a:pt x="1" y="401"/>
                  </a:lnTo>
                  <a:cubicBezTo>
                    <a:pt x="0" y="400"/>
                    <a:pt x="0" y="399"/>
                    <a:pt x="0" y="398"/>
                  </a:cubicBezTo>
                  <a:lnTo>
                    <a:pt x="17" y="300"/>
                  </a:lnTo>
                  <a:lnTo>
                    <a:pt x="82" y="234"/>
                  </a:lnTo>
                  <a:lnTo>
                    <a:pt x="110" y="156"/>
                  </a:lnTo>
                  <a:cubicBezTo>
                    <a:pt x="111" y="154"/>
                    <a:pt x="112" y="153"/>
                    <a:pt x="113" y="153"/>
                  </a:cubicBezTo>
                  <a:lnTo>
                    <a:pt x="232" y="115"/>
                  </a:lnTo>
                  <a:lnTo>
                    <a:pt x="366" y="10"/>
                  </a:lnTo>
                  <a:lnTo>
                    <a:pt x="450" y="0"/>
                  </a:lnTo>
                  <a:cubicBezTo>
                    <a:pt x="451" y="0"/>
                    <a:pt x="452" y="1"/>
                    <a:pt x="453" y="2"/>
                  </a:cubicBezTo>
                  <a:cubicBezTo>
                    <a:pt x="454" y="3"/>
                    <a:pt x="454" y="4"/>
                    <a:pt x="454" y="5"/>
                  </a:cubicBezTo>
                  <a:lnTo>
                    <a:pt x="450" y="39"/>
                  </a:lnTo>
                  <a:lnTo>
                    <a:pt x="471" y="88"/>
                  </a:lnTo>
                  <a:lnTo>
                    <a:pt x="554" y="191"/>
                  </a:lnTo>
                  <a:lnTo>
                    <a:pt x="615" y="195"/>
                  </a:lnTo>
                  <a:cubicBezTo>
                    <a:pt x="617" y="195"/>
                    <a:pt x="618" y="196"/>
                    <a:pt x="619" y="198"/>
                  </a:cubicBezTo>
                  <a:lnTo>
                    <a:pt x="627" y="219"/>
                  </a:lnTo>
                  <a:cubicBezTo>
                    <a:pt x="628" y="220"/>
                    <a:pt x="628" y="222"/>
                    <a:pt x="627" y="223"/>
                  </a:cubicBezTo>
                  <a:lnTo>
                    <a:pt x="620" y="237"/>
                  </a:lnTo>
                  <a:lnTo>
                    <a:pt x="639" y="260"/>
                  </a:lnTo>
                  <a:cubicBezTo>
                    <a:pt x="641" y="261"/>
                    <a:pt x="641" y="264"/>
                    <a:pt x="640" y="266"/>
                  </a:cubicBezTo>
                  <a:lnTo>
                    <a:pt x="610" y="308"/>
                  </a:lnTo>
                  <a:cubicBezTo>
                    <a:pt x="609" y="309"/>
                    <a:pt x="608" y="310"/>
                    <a:pt x="606" y="310"/>
                  </a:cubicBezTo>
                  <a:lnTo>
                    <a:pt x="557" y="306"/>
                  </a:lnTo>
                  <a:lnTo>
                    <a:pt x="516" y="347"/>
                  </a:lnTo>
                  <a:lnTo>
                    <a:pt x="480" y="352"/>
                  </a:lnTo>
                  <a:lnTo>
                    <a:pt x="423" y="335"/>
                  </a:lnTo>
                  <a:lnTo>
                    <a:pt x="370" y="352"/>
                  </a:lnTo>
                  <a:lnTo>
                    <a:pt x="204" y="348"/>
                  </a:lnTo>
                  <a:lnTo>
                    <a:pt x="200" y="369"/>
                  </a:lnTo>
                  <a:lnTo>
                    <a:pt x="221" y="469"/>
                  </a:lnTo>
                  <a:cubicBezTo>
                    <a:pt x="221" y="471"/>
                    <a:pt x="221" y="472"/>
                    <a:pt x="220" y="473"/>
                  </a:cubicBezTo>
                  <a:cubicBezTo>
                    <a:pt x="219" y="474"/>
                    <a:pt x="218" y="475"/>
                    <a:pt x="217" y="475"/>
                  </a:cubicBezTo>
                  <a:lnTo>
                    <a:pt x="200" y="47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4" name="Freeform 249"/>
            <p:cNvSpPr>
              <a:spLocks noChangeArrowheads="1"/>
            </p:cNvSpPr>
            <p:nvPr/>
          </p:nvSpPr>
          <p:spPr bwMode="auto">
            <a:xfrm>
              <a:off x="4083050" y="3286125"/>
              <a:ext cx="231775" cy="171450"/>
            </a:xfrm>
            <a:custGeom>
              <a:avLst/>
              <a:gdLst/>
              <a:ahLst/>
              <a:cxnLst>
                <a:cxn ang="0">
                  <a:pos x="200" y="475"/>
                </a:cxn>
                <a:cxn ang="0">
                  <a:pos x="196" y="473"/>
                </a:cxn>
                <a:cxn ang="0">
                  <a:pos x="171" y="437"/>
                </a:cxn>
                <a:cxn ang="0">
                  <a:pos x="135" y="433"/>
                </a:cxn>
                <a:cxn ang="0">
                  <a:pos x="74" y="462"/>
                </a:cxn>
                <a:cxn ang="0">
                  <a:pos x="46" y="458"/>
                </a:cxn>
                <a:cxn ang="0">
                  <a:pos x="43" y="456"/>
                </a:cxn>
                <a:cxn ang="0">
                  <a:pos x="1" y="401"/>
                </a:cxn>
                <a:cxn ang="0">
                  <a:pos x="0" y="398"/>
                </a:cxn>
                <a:cxn ang="0">
                  <a:pos x="17" y="300"/>
                </a:cxn>
                <a:cxn ang="0">
                  <a:pos x="82" y="234"/>
                </a:cxn>
                <a:cxn ang="0">
                  <a:pos x="110" y="156"/>
                </a:cxn>
                <a:cxn ang="0">
                  <a:pos x="113" y="153"/>
                </a:cxn>
                <a:cxn ang="0">
                  <a:pos x="232" y="115"/>
                </a:cxn>
                <a:cxn ang="0">
                  <a:pos x="366" y="10"/>
                </a:cxn>
                <a:cxn ang="0">
                  <a:pos x="450" y="0"/>
                </a:cxn>
                <a:cxn ang="0">
                  <a:pos x="453" y="2"/>
                </a:cxn>
                <a:cxn ang="0">
                  <a:pos x="454" y="5"/>
                </a:cxn>
                <a:cxn ang="0">
                  <a:pos x="450" y="39"/>
                </a:cxn>
                <a:cxn ang="0">
                  <a:pos x="471" y="88"/>
                </a:cxn>
                <a:cxn ang="0">
                  <a:pos x="554" y="191"/>
                </a:cxn>
                <a:cxn ang="0">
                  <a:pos x="615" y="195"/>
                </a:cxn>
                <a:cxn ang="0">
                  <a:pos x="619" y="198"/>
                </a:cxn>
                <a:cxn ang="0">
                  <a:pos x="627" y="219"/>
                </a:cxn>
                <a:cxn ang="0">
                  <a:pos x="627" y="223"/>
                </a:cxn>
                <a:cxn ang="0">
                  <a:pos x="620" y="237"/>
                </a:cxn>
                <a:cxn ang="0">
                  <a:pos x="639" y="260"/>
                </a:cxn>
                <a:cxn ang="0">
                  <a:pos x="640" y="266"/>
                </a:cxn>
                <a:cxn ang="0">
                  <a:pos x="610" y="308"/>
                </a:cxn>
                <a:cxn ang="0">
                  <a:pos x="606" y="310"/>
                </a:cxn>
                <a:cxn ang="0">
                  <a:pos x="557" y="306"/>
                </a:cxn>
                <a:cxn ang="0">
                  <a:pos x="516" y="347"/>
                </a:cxn>
                <a:cxn ang="0">
                  <a:pos x="480" y="352"/>
                </a:cxn>
                <a:cxn ang="0">
                  <a:pos x="423" y="335"/>
                </a:cxn>
                <a:cxn ang="0">
                  <a:pos x="370" y="352"/>
                </a:cxn>
                <a:cxn ang="0">
                  <a:pos x="204" y="348"/>
                </a:cxn>
                <a:cxn ang="0">
                  <a:pos x="200" y="369"/>
                </a:cxn>
                <a:cxn ang="0">
                  <a:pos x="221" y="469"/>
                </a:cxn>
                <a:cxn ang="0">
                  <a:pos x="220" y="473"/>
                </a:cxn>
                <a:cxn ang="0">
                  <a:pos x="217" y="475"/>
                </a:cxn>
                <a:cxn ang="0">
                  <a:pos x="200" y="475"/>
                </a:cxn>
              </a:cxnLst>
              <a:rect l="0" t="0" r="r" b="b"/>
              <a:pathLst>
                <a:path w="642" h="476">
                  <a:moveTo>
                    <a:pt x="200" y="475"/>
                  </a:moveTo>
                  <a:cubicBezTo>
                    <a:pt x="198" y="475"/>
                    <a:pt x="197" y="474"/>
                    <a:pt x="196" y="473"/>
                  </a:cubicBezTo>
                  <a:lnTo>
                    <a:pt x="171" y="437"/>
                  </a:lnTo>
                  <a:lnTo>
                    <a:pt x="135" y="433"/>
                  </a:lnTo>
                  <a:lnTo>
                    <a:pt x="74" y="462"/>
                  </a:lnTo>
                  <a:lnTo>
                    <a:pt x="46" y="458"/>
                  </a:lnTo>
                  <a:cubicBezTo>
                    <a:pt x="45" y="458"/>
                    <a:pt x="44" y="457"/>
                    <a:pt x="43" y="456"/>
                  </a:cubicBezTo>
                  <a:lnTo>
                    <a:pt x="1" y="401"/>
                  </a:lnTo>
                  <a:cubicBezTo>
                    <a:pt x="0" y="400"/>
                    <a:pt x="0" y="399"/>
                    <a:pt x="0" y="398"/>
                  </a:cubicBezTo>
                  <a:lnTo>
                    <a:pt x="17" y="300"/>
                  </a:lnTo>
                  <a:lnTo>
                    <a:pt x="82" y="234"/>
                  </a:lnTo>
                  <a:lnTo>
                    <a:pt x="110" y="156"/>
                  </a:lnTo>
                  <a:cubicBezTo>
                    <a:pt x="111" y="154"/>
                    <a:pt x="112" y="153"/>
                    <a:pt x="113" y="153"/>
                  </a:cubicBezTo>
                  <a:lnTo>
                    <a:pt x="232" y="115"/>
                  </a:lnTo>
                  <a:lnTo>
                    <a:pt x="366" y="10"/>
                  </a:lnTo>
                  <a:lnTo>
                    <a:pt x="450" y="0"/>
                  </a:lnTo>
                  <a:cubicBezTo>
                    <a:pt x="451" y="0"/>
                    <a:pt x="452" y="1"/>
                    <a:pt x="453" y="2"/>
                  </a:cubicBezTo>
                  <a:cubicBezTo>
                    <a:pt x="454" y="3"/>
                    <a:pt x="454" y="4"/>
                    <a:pt x="454" y="5"/>
                  </a:cubicBezTo>
                  <a:lnTo>
                    <a:pt x="450" y="39"/>
                  </a:lnTo>
                  <a:lnTo>
                    <a:pt x="471" y="88"/>
                  </a:lnTo>
                  <a:lnTo>
                    <a:pt x="554" y="191"/>
                  </a:lnTo>
                  <a:lnTo>
                    <a:pt x="615" y="195"/>
                  </a:lnTo>
                  <a:cubicBezTo>
                    <a:pt x="617" y="195"/>
                    <a:pt x="618" y="196"/>
                    <a:pt x="619" y="198"/>
                  </a:cubicBezTo>
                  <a:lnTo>
                    <a:pt x="627" y="219"/>
                  </a:lnTo>
                  <a:cubicBezTo>
                    <a:pt x="628" y="220"/>
                    <a:pt x="628" y="222"/>
                    <a:pt x="627" y="223"/>
                  </a:cubicBezTo>
                  <a:lnTo>
                    <a:pt x="620" y="237"/>
                  </a:lnTo>
                  <a:lnTo>
                    <a:pt x="639" y="260"/>
                  </a:lnTo>
                  <a:cubicBezTo>
                    <a:pt x="641" y="261"/>
                    <a:pt x="641" y="264"/>
                    <a:pt x="640" y="266"/>
                  </a:cubicBezTo>
                  <a:lnTo>
                    <a:pt x="610" y="308"/>
                  </a:lnTo>
                  <a:cubicBezTo>
                    <a:pt x="609" y="309"/>
                    <a:pt x="608" y="310"/>
                    <a:pt x="606" y="310"/>
                  </a:cubicBezTo>
                  <a:lnTo>
                    <a:pt x="557" y="306"/>
                  </a:lnTo>
                  <a:lnTo>
                    <a:pt x="516" y="347"/>
                  </a:lnTo>
                  <a:lnTo>
                    <a:pt x="480" y="352"/>
                  </a:lnTo>
                  <a:lnTo>
                    <a:pt x="423" y="335"/>
                  </a:lnTo>
                  <a:lnTo>
                    <a:pt x="370" y="352"/>
                  </a:lnTo>
                  <a:lnTo>
                    <a:pt x="204" y="348"/>
                  </a:lnTo>
                  <a:lnTo>
                    <a:pt x="200" y="369"/>
                  </a:lnTo>
                  <a:lnTo>
                    <a:pt x="221" y="469"/>
                  </a:lnTo>
                  <a:cubicBezTo>
                    <a:pt x="221" y="471"/>
                    <a:pt x="221" y="472"/>
                    <a:pt x="220" y="473"/>
                  </a:cubicBezTo>
                  <a:cubicBezTo>
                    <a:pt x="219" y="474"/>
                    <a:pt x="218" y="475"/>
                    <a:pt x="217" y="475"/>
                  </a:cubicBezTo>
                  <a:lnTo>
                    <a:pt x="200" y="47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5" name="Freeform 250"/>
            <p:cNvSpPr>
              <a:spLocks noChangeArrowheads="1"/>
            </p:cNvSpPr>
            <p:nvPr/>
          </p:nvSpPr>
          <p:spPr bwMode="auto">
            <a:xfrm>
              <a:off x="5116513" y="3806825"/>
              <a:ext cx="53975" cy="65088"/>
            </a:xfrm>
            <a:custGeom>
              <a:avLst/>
              <a:gdLst/>
              <a:ahLst/>
              <a:cxnLst>
                <a:cxn ang="0">
                  <a:pos x="43" y="176"/>
                </a:cxn>
                <a:cxn ang="0">
                  <a:pos x="13" y="87"/>
                </a:cxn>
                <a:cxn ang="0">
                  <a:pos x="0" y="36"/>
                </a:cxn>
                <a:cxn ang="0">
                  <a:pos x="9" y="12"/>
                </a:cxn>
                <a:cxn ang="0">
                  <a:pos x="13" y="9"/>
                </a:cxn>
                <a:cxn ang="0">
                  <a:pos x="13" y="9"/>
                </a:cxn>
                <a:cxn ang="0">
                  <a:pos x="17" y="10"/>
                </a:cxn>
                <a:cxn ang="0">
                  <a:pos x="36" y="34"/>
                </a:cxn>
                <a:cxn ang="0">
                  <a:pos x="61" y="30"/>
                </a:cxn>
                <a:cxn ang="0">
                  <a:pos x="73" y="3"/>
                </a:cxn>
                <a:cxn ang="0">
                  <a:pos x="77" y="0"/>
                </a:cxn>
                <a:cxn ang="0">
                  <a:pos x="132" y="0"/>
                </a:cxn>
                <a:cxn ang="0">
                  <a:pos x="136" y="2"/>
                </a:cxn>
                <a:cxn ang="0">
                  <a:pos x="136" y="7"/>
                </a:cxn>
                <a:cxn ang="0">
                  <a:pos x="124" y="34"/>
                </a:cxn>
                <a:cxn ang="0">
                  <a:pos x="149" y="75"/>
                </a:cxn>
                <a:cxn ang="0">
                  <a:pos x="149" y="79"/>
                </a:cxn>
                <a:cxn ang="0">
                  <a:pos x="94" y="164"/>
                </a:cxn>
                <a:cxn ang="0">
                  <a:pos x="91" y="166"/>
                </a:cxn>
                <a:cxn ang="0">
                  <a:pos x="49" y="179"/>
                </a:cxn>
                <a:cxn ang="0">
                  <a:pos x="47" y="179"/>
                </a:cxn>
                <a:cxn ang="0">
                  <a:pos x="43" y="176"/>
                </a:cxn>
              </a:cxnLst>
              <a:rect l="0" t="0" r="r" b="b"/>
              <a:pathLst>
                <a:path w="151" h="180">
                  <a:moveTo>
                    <a:pt x="43" y="176"/>
                  </a:moveTo>
                  <a:lnTo>
                    <a:pt x="13" y="87"/>
                  </a:lnTo>
                  <a:lnTo>
                    <a:pt x="0" y="36"/>
                  </a:lnTo>
                  <a:lnTo>
                    <a:pt x="9" y="12"/>
                  </a:lnTo>
                  <a:cubicBezTo>
                    <a:pt x="10" y="10"/>
                    <a:pt x="11" y="9"/>
                    <a:pt x="13" y="9"/>
                  </a:cubicBezTo>
                  <a:lnTo>
                    <a:pt x="13" y="9"/>
                  </a:lnTo>
                  <a:cubicBezTo>
                    <a:pt x="15" y="9"/>
                    <a:pt x="16" y="9"/>
                    <a:pt x="17" y="10"/>
                  </a:cubicBezTo>
                  <a:lnTo>
                    <a:pt x="36" y="34"/>
                  </a:lnTo>
                  <a:lnTo>
                    <a:pt x="61" y="30"/>
                  </a:lnTo>
                  <a:lnTo>
                    <a:pt x="73" y="3"/>
                  </a:lnTo>
                  <a:cubicBezTo>
                    <a:pt x="73" y="1"/>
                    <a:pt x="75" y="0"/>
                    <a:pt x="77" y="0"/>
                  </a:cubicBezTo>
                  <a:lnTo>
                    <a:pt x="132" y="0"/>
                  </a:lnTo>
                  <a:cubicBezTo>
                    <a:pt x="134" y="0"/>
                    <a:pt x="135" y="1"/>
                    <a:pt x="136" y="2"/>
                  </a:cubicBezTo>
                  <a:cubicBezTo>
                    <a:pt x="137" y="4"/>
                    <a:pt x="137" y="5"/>
                    <a:pt x="136" y="7"/>
                  </a:cubicBezTo>
                  <a:lnTo>
                    <a:pt x="124" y="34"/>
                  </a:lnTo>
                  <a:lnTo>
                    <a:pt x="149" y="75"/>
                  </a:lnTo>
                  <a:cubicBezTo>
                    <a:pt x="150" y="76"/>
                    <a:pt x="150" y="78"/>
                    <a:pt x="149" y="79"/>
                  </a:cubicBezTo>
                  <a:lnTo>
                    <a:pt x="94" y="164"/>
                  </a:lnTo>
                  <a:cubicBezTo>
                    <a:pt x="93" y="165"/>
                    <a:pt x="92" y="166"/>
                    <a:pt x="91" y="166"/>
                  </a:cubicBezTo>
                  <a:lnTo>
                    <a:pt x="49" y="179"/>
                  </a:lnTo>
                  <a:cubicBezTo>
                    <a:pt x="48" y="179"/>
                    <a:pt x="48" y="179"/>
                    <a:pt x="47" y="179"/>
                  </a:cubicBezTo>
                  <a:cubicBezTo>
                    <a:pt x="45" y="179"/>
                    <a:pt x="43" y="178"/>
                    <a:pt x="43" y="17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6" name="Freeform 251"/>
            <p:cNvSpPr>
              <a:spLocks noChangeArrowheads="1"/>
            </p:cNvSpPr>
            <p:nvPr/>
          </p:nvSpPr>
          <p:spPr bwMode="auto">
            <a:xfrm>
              <a:off x="5116513" y="3806825"/>
              <a:ext cx="53975" cy="65088"/>
            </a:xfrm>
            <a:custGeom>
              <a:avLst/>
              <a:gdLst/>
              <a:ahLst/>
              <a:cxnLst>
                <a:cxn ang="0">
                  <a:pos x="47" y="179"/>
                </a:cxn>
                <a:cxn ang="0">
                  <a:pos x="43" y="176"/>
                </a:cxn>
                <a:cxn ang="0">
                  <a:pos x="13" y="87"/>
                </a:cxn>
                <a:cxn ang="0">
                  <a:pos x="0" y="36"/>
                </a:cxn>
                <a:cxn ang="0">
                  <a:pos x="9" y="12"/>
                </a:cxn>
                <a:cxn ang="0">
                  <a:pos x="13" y="9"/>
                </a:cxn>
                <a:cxn ang="0">
                  <a:pos x="13" y="9"/>
                </a:cxn>
                <a:cxn ang="0">
                  <a:pos x="17" y="10"/>
                </a:cxn>
                <a:cxn ang="0">
                  <a:pos x="36" y="34"/>
                </a:cxn>
                <a:cxn ang="0">
                  <a:pos x="61" y="30"/>
                </a:cxn>
                <a:cxn ang="0">
                  <a:pos x="73" y="3"/>
                </a:cxn>
                <a:cxn ang="0">
                  <a:pos x="77" y="0"/>
                </a:cxn>
                <a:cxn ang="0">
                  <a:pos x="132" y="0"/>
                </a:cxn>
                <a:cxn ang="0">
                  <a:pos x="136" y="2"/>
                </a:cxn>
                <a:cxn ang="0">
                  <a:pos x="136" y="7"/>
                </a:cxn>
                <a:cxn ang="0">
                  <a:pos x="124" y="34"/>
                </a:cxn>
                <a:cxn ang="0">
                  <a:pos x="149" y="75"/>
                </a:cxn>
                <a:cxn ang="0">
                  <a:pos x="149" y="79"/>
                </a:cxn>
                <a:cxn ang="0">
                  <a:pos x="94" y="164"/>
                </a:cxn>
                <a:cxn ang="0">
                  <a:pos x="91" y="166"/>
                </a:cxn>
                <a:cxn ang="0">
                  <a:pos x="49" y="179"/>
                </a:cxn>
                <a:cxn ang="0">
                  <a:pos x="47" y="179"/>
                </a:cxn>
              </a:cxnLst>
              <a:rect l="0" t="0" r="r" b="b"/>
              <a:pathLst>
                <a:path w="151" h="180">
                  <a:moveTo>
                    <a:pt x="47" y="179"/>
                  </a:moveTo>
                  <a:cubicBezTo>
                    <a:pt x="45" y="179"/>
                    <a:pt x="43" y="178"/>
                    <a:pt x="43" y="176"/>
                  </a:cubicBezTo>
                  <a:lnTo>
                    <a:pt x="13" y="87"/>
                  </a:lnTo>
                  <a:lnTo>
                    <a:pt x="0" y="36"/>
                  </a:lnTo>
                  <a:lnTo>
                    <a:pt x="9" y="12"/>
                  </a:lnTo>
                  <a:cubicBezTo>
                    <a:pt x="10" y="10"/>
                    <a:pt x="11" y="9"/>
                    <a:pt x="13" y="9"/>
                  </a:cubicBezTo>
                  <a:lnTo>
                    <a:pt x="13" y="9"/>
                  </a:lnTo>
                  <a:cubicBezTo>
                    <a:pt x="15" y="9"/>
                    <a:pt x="16" y="9"/>
                    <a:pt x="17" y="10"/>
                  </a:cubicBezTo>
                  <a:lnTo>
                    <a:pt x="36" y="34"/>
                  </a:lnTo>
                  <a:lnTo>
                    <a:pt x="61" y="30"/>
                  </a:lnTo>
                  <a:lnTo>
                    <a:pt x="73" y="3"/>
                  </a:lnTo>
                  <a:cubicBezTo>
                    <a:pt x="73" y="1"/>
                    <a:pt x="75" y="0"/>
                    <a:pt x="77" y="0"/>
                  </a:cubicBezTo>
                  <a:lnTo>
                    <a:pt x="132" y="0"/>
                  </a:lnTo>
                  <a:cubicBezTo>
                    <a:pt x="134" y="0"/>
                    <a:pt x="135" y="1"/>
                    <a:pt x="136" y="2"/>
                  </a:cubicBezTo>
                  <a:cubicBezTo>
                    <a:pt x="137" y="4"/>
                    <a:pt x="137" y="5"/>
                    <a:pt x="136" y="7"/>
                  </a:cubicBezTo>
                  <a:lnTo>
                    <a:pt x="124" y="34"/>
                  </a:lnTo>
                  <a:lnTo>
                    <a:pt x="149" y="75"/>
                  </a:lnTo>
                  <a:cubicBezTo>
                    <a:pt x="150" y="76"/>
                    <a:pt x="150" y="78"/>
                    <a:pt x="149" y="79"/>
                  </a:cubicBezTo>
                  <a:lnTo>
                    <a:pt x="94" y="164"/>
                  </a:lnTo>
                  <a:cubicBezTo>
                    <a:pt x="93" y="165"/>
                    <a:pt x="92" y="166"/>
                    <a:pt x="91" y="166"/>
                  </a:cubicBezTo>
                  <a:lnTo>
                    <a:pt x="49" y="179"/>
                  </a:lnTo>
                  <a:cubicBezTo>
                    <a:pt x="48" y="179"/>
                    <a:pt x="48" y="179"/>
                    <a:pt x="47" y="17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7" name="Freeform 252"/>
            <p:cNvSpPr>
              <a:spLocks noChangeArrowheads="1"/>
            </p:cNvSpPr>
            <p:nvPr/>
          </p:nvSpPr>
          <p:spPr bwMode="auto">
            <a:xfrm>
              <a:off x="5259388" y="3600450"/>
              <a:ext cx="242887" cy="279400"/>
            </a:xfrm>
            <a:custGeom>
              <a:avLst/>
              <a:gdLst/>
              <a:ahLst/>
              <a:cxnLst>
                <a:cxn ang="0">
                  <a:pos x="456" y="773"/>
                </a:cxn>
                <a:cxn ang="0">
                  <a:pos x="337" y="702"/>
                </a:cxn>
                <a:cxn ang="0">
                  <a:pos x="335" y="699"/>
                </a:cxn>
                <a:cxn ang="0">
                  <a:pos x="315" y="637"/>
                </a:cxn>
                <a:cxn ang="0">
                  <a:pos x="28" y="469"/>
                </a:cxn>
                <a:cxn ang="0">
                  <a:pos x="14" y="451"/>
                </a:cxn>
                <a:cxn ang="0">
                  <a:pos x="14" y="445"/>
                </a:cxn>
                <a:cxn ang="0">
                  <a:pos x="27" y="424"/>
                </a:cxn>
                <a:cxn ang="0">
                  <a:pos x="52" y="412"/>
                </a:cxn>
                <a:cxn ang="0">
                  <a:pos x="22" y="415"/>
                </a:cxn>
                <a:cxn ang="0">
                  <a:pos x="17" y="411"/>
                </a:cxn>
                <a:cxn ang="0">
                  <a:pos x="9" y="364"/>
                </a:cxn>
                <a:cxn ang="0">
                  <a:pos x="10" y="361"/>
                </a:cxn>
                <a:cxn ang="0">
                  <a:pos x="82" y="256"/>
                </a:cxn>
                <a:cxn ang="0">
                  <a:pos x="94" y="211"/>
                </a:cxn>
                <a:cxn ang="0">
                  <a:pos x="81" y="154"/>
                </a:cxn>
                <a:cxn ang="0">
                  <a:pos x="53" y="131"/>
                </a:cxn>
                <a:cxn ang="0">
                  <a:pos x="31" y="63"/>
                </a:cxn>
                <a:cxn ang="0">
                  <a:pos x="3" y="51"/>
                </a:cxn>
                <a:cxn ang="0">
                  <a:pos x="1" y="48"/>
                </a:cxn>
                <a:cxn ang="0">
                  <a:pos x="2" y="44"/>
                </a:cxn>
                <a:cxn ang="0">
                  <a:pos x="44" y="1"/>
                </a:cxn>
                <a:cxn ang="0">
                  <a:pos x="48" y="0"/>
                </a:cxn>
                <a:cxn ang="0">
                  <a:pos x="166" y="0"/>
                </a:cxn>
                <a:cxn ang="0">
                  <a:pos x="230" y="4"/>
                </a:cxn>
                <a:cxn ang="0">
                  <a:pos x="334" y="68"/>
                </a:cxn>
                <a:cxn ang="0">
                  <a:pos x="421" y="89"/>
                </a:cxn>
                <a:cxn ang="0">
                  <a:pos x="458" y="89"/>
                </a:cxn>
                <a:cxn ang="0">
                  <a:pos x="519" y="47"/>
                </a:cxn>
                <a:cxn ang="0">
                  <a:pos x="580" y="34"/>
                </a:cxn>
                <a:cxn ang="0">
                  <a:pos x="581" y="34"/>
                </a:cxn>
                <a:cxn ang="0">
                  <a:pos x="584" y="34"/>
                </a:cxn>
                <a:cxn ang="0">
                  <a:pos x="630" y="60"/>
                </a:cxn>
                <a:cxn ang="0">
                  <a:pos x="670" y="55"/>
                </a:cxn>
                <a:cxn ang="0">
                  <a:pos x="674" y="57"/>
                </a:cxn>
                <a:cxn ang="0">
                  <a:pos x="674" y="63"/>
                </a:cxn>
                <a:cxn ang="0">
                  <a:pos x="598" y="156"/>
                </a:cxn>
                <a:cxn ang="0">
                  <a:pos x="599" y="461"/>
                </a:cxn>
                <a:cxn ang="0">
                  <a:pos x="644" y="521"/>
                </a:cxn>
                <a:cxn ang="0">
                  <a:pos x="644" y="528"/>
                </a:cxn>
                <a:cxn ang="0">
                  <a:pos x="546" y="612"/>
                </a:cxn>
                <a:cxn ang="0">
                  <a:pos x="488" y="746"/>
                </a:cxn>
                <a:cxn ang="0">
                  <a:pos x="462" y="773"/>
                </a:cxn>
                <a:cxn ang="0">
                  <a:pos x="458" y="774"/>
                </a:cxn>
                <a:cxn ang="0">
                  <a:pos x="456" y="773"/>
                </a:cxn>
              </a:cxnLst>
              <a:rect l="0" t="0" r="r" b="b"/>
              <a:pathLst>
                <a:path w="676" h="775">
                  <a:moveTo>
                    <a:pt x="456" y="773"/>
                  </a:moveTo>
                  <a:lnTo>
                    <a:pt x="337" y="702"/>
                  </a:lnTo>
                  <a:cubicBezTo>
                    <a:pt x="336" y="701"/>
                    <a:pt x="336" y="700"/>
                    <a:pt x="335" y="699"/>
                  </a:cubicBezTo>
                  <a:lnTo>
                    <a:pt x="315" y="637"/>
                  </a:lnTo>
                  <a:lnTo>
                    <a:pt x="28" y="469"/>
                  </a:lnTo>
                  <a:lnTo>
                    <a:pt x="14" y="451"/>
                  </a:lnTo>
                  <a:cubicBezTo>
                    <a:pt x="13" y="449"/>
                    <a:pt x="13" y="447"/>
                    <a:pt x="14" y="445"/>
                  </a:cubicBezTo>
                  <a:lnTo>
                    <a:pt x="27" y="424"/>
                  </a:lnTo>
                  <a:lnTo>
                    <a:pt x="52" y="412"/>
                  </a:lnTo>
                  <a:lnTo>
                    <a:pt x="22" y="415"/>
                  </a:lnTo>
                  <a:cubicBezTo>
                    <a:pt x="20" y="415"/>
                    <a:pt x="18" y="413"/>
                    <a:pt x="17" y="411"/>
                  </a:cubicBezTo>
                  <a:lnTo>
                    <a:pt x="9" y="364"/>
                  </a:lnTo>
                  <a:cubicBezTo>
                    <a:pt x="9" y="363"/>
                    <a:pt x="9" y="362"/>
                    <a:pt x="10" y="361"/>
                  </a:cubicBezTo>
                  <a:lnTo>
                    <a:pt x="82" y="256"/>
                  </a:lnTo>
                  <a:lnTo>
                    <a:pt x="94" y="211"/>
                  </a:lnTo>
                  <a:lnTo>
                    <a:pt x="81" y="154"/>
                  </a:lnTo>
                  <a:lnTo>
                    <a:pt x="53" y="131"/>
                  </a:lnTo>
                  <a:lnTo>
                    <a:pt x="31" y="63"/>
                  </a:lnTo>
                  <a:lnTo>
                    <a:pt x="3" y="51"/>
                  </a:lnTo>
                  <a:cubicBezTo>
                    <a:pt x="2" y="51"/>
                    <a:pt x="1" y="49"/>
                    <a:pt x="1" y="48"/>
                  </a:cubicBezTo>
                  <a:cubicBezTo>
                    <a:pt x="0" y="46"/>
                    <a:pt x="1" y="45"/>
                    <a:pt x="2" y="44"/>
                  </a:cubicBezTo>
                  <a:lnTo>
                    <a:pt x="44" y="1"/>
                  </a:lnTo>
                  <a:cubicBezTo>
                    <a:pt x="45" y="0"/>
                    <a:pt x="46" y="0"/>
                    <a:pt x="48" y="0"/>
                  </a:cubicBezTo>
                  <a:lnTo>
                    <a:pt x="166" y="0"/>
                  </a:lnTo>
                  <a:lnTo>
                    <a:pt x="230" y="4"/>
                  </a:lnTo>
                  <a:lnTo>
                    <a:pt x="334" y="68"/>
                  </a:lnTo>
                  <a:lnTo>
                    <a:pt x="421" y="89"/>
                  </a:lnTo>
                  <a:lnTo>
                    <a:pt x="458" y="89"/>
                  </a:lnTo>
                  <a:lnTo>
                    <a:pt x="519" y="47"/>
                  </a:lnTo>
                  <a:lnTo>
                    <a:pt x="580" y="34"/>
                  </a:lnTo>
                  <a:cubicBezTo>
                    <a:pt x="581" y="34"/>
                    <a:pt x="581" y="34"/>
                    <a:pt x="581" y="34"/>
                  </a:cubicBezTo>
                  <a:cubicBezTo>
                    <a:pt x="582" y="34"/>
                    <a:pt x="583" y="34"/>
                    <a:pt x="584" y="34"/>
                  </a:cubicBezTo>
                  <a:lnTo>
                    <a:pt x="630" y="60"/>
                  </a:lnTo>
                  <a:lnTo>
                    <a:pt x="670" y="55"/>
                  </a:lnTo>
                  <a:cubicBezTo>
                    <a:pt x="672" y="55"/>
                    <a:pt x="674" y="56"/>
                    <a:pt x="674" y="57"/>
                  </a:cubicBezTo>
                  <a:cubicBezTo>
                    <a:pt x="675" y="59"/>
                    <a:pt x="675" y="61"/>
                    <a:pt x="674" y="63"/>
                  </a:cubicBezTo>
                  <a:lnTo>
                    <a:pt x="598" y="156"/>
                  </a:lnTo>
                  <a:lnTo>
                    <a:pt x="599" y="461"/>
                  </a:lnTo>
                  <a:lnTo>
                    <a:pt x="644" y="521"/>
                  </a:lnTo>
                  <a:cubicBezTo>
                    <a:pt x="646" y="523"/>
                    <a:pt x="645" y="526"/>
                    <a:pt x="644" y="528"/>
                  </a:cubicBezTo>
                  <a:lnTo>
                    <a:pt x="546" y="612"/>
                  </a:lnTo>
                  <a:lnTo>
                    <a:pt x="488" y="746"/>
                  </a:lnTo>
                  <a:lnTo>
                    <a:pt x="462" y="773"/>
                  </a:lnTo>
                  <a:cubicBezTo>
                    <a:pt x="461" y="774"/>
                    <a:pt x="460" y="774"/>
                    <a:pt x="458" y="774"/>
                  </a:cubicBezTo>
                  <a:cubicBezTo>
                    <a:pt x="458" y="774"/>
                    <a:pt x="457" y="774"/>
                    <a:pt x="456" y="77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8" name="Freeform 253"/>
            <p:cNvSpPr>
              <a:spLocks noChangeArrowheads="1"/>
            </p:cNvSpPr>
            <p:nvPr/>
          </p:nvSpPr>
          <p:spPr bwMode="auto">
            <a:xfrm>
              <a:off x="5259388" y="3600450"/>
              <a:ext cx="242887" cy="279400"/>
            </a:xfrm>
            <a:custGeom>
              <a:avLst/>
              <a:gdLst/>
              <a:ahLst/>
              <a:cxnLst>
                <a:cxn ang="0">
                  <a:pos x="458" y="774"/>
                </a:cxn>
                <a:cxn ang="0">
                  <a:pos x="456" y="773"/>
                </a:cxn>
                <a:cxn ang="0">
                  <a:pos x="337" y="702"/>
                </a:cxn>
                <a:cxn ang="0">
                  <a:pos x="335" y="699"/>
                </a:cxn>
                <a:cxn ang="0">
                  <a:pos x="315" y="637"/>
                </a:cxn>
                <a:cxn ang="0">
                  <a:pos x="28" y="469"/>
                </a:cxn>
                <a:cxn ang="0">
                  <a:pos x="14" y="451"/>
                </a:cxn>
                <a:cxn ang="0">
                  <a:pos x="14" y="445"/>
                </a:cxn>
                <a:cxn ang="0">
                  <a:pos x="27" y="424"/>
                </a:cxn>
                <a:cxn ang="0">
                  <a:pos x="52" y="412"/>
                </a:cxn>
                <a:cxn ang="0">
                  <a:pos x="22" y="415"/>
                </a:cxn>
                <a:cxn ang="0">
                  <a:pos x="17" y="411"/>
                </a:cxn>
                <a:cxn ang="0">
                  <a:pos x="9" y="364"/>
                </a:cxn>
                <a:cxn ang="0">
                  <a:pos x="10" y="361"/>
                </a:cxn>
                <a:cxn ang="0">
                  <a:pos x="82" y="256"/>
                </a:cxn>
                <a:cxn ang="0">
                  <a:pos x="94" y="211"/>
                </a:cxn>
                <a:cxn ang="0">
                  <a:pos x="81" y="154"/>
                </a:cxn>
                <a:cxn ang="0">
                  <a:pos x="53" y="131"/>
                </a:cxn>
                <a:cxn ang="0">
                  <a:pos x="31" y="63"/>
                </a:cxn>
                <a:cxn ang="0">
                  <a:pos x="3" y="51"/>
                </a:cxn>
                <a:cxn ang="0">
                  <a:pos x="1" y="48"/>
                </a:cxn>
                <a:cxn ang="0">
                  <a:pos x="2" y="44"/>
                </a:cxn>
                <a:cxn ang="0">
                  <a:pos x="44" y="1"/>
                </a:cxn>
                <a:cxn ang="0">
                  <a:pos x="48" y="0"/>
                </a:cxn>
                <a:cxn ang="0">
                  <a:pos x="166" y="0"/>
                </a:cxn>
                <a:cxn ang="0">
                  <a:pos x="230" y="4"/>
                </a:cxn>
                <a:cxn ang="0">
                  <a:pos x="334" y="68"/>
                </a:cxn>
                <a:cxn ang="0">
                  <a:pos x="421" y="89"/>
                </a:cxn>
                <a:cxn ang="0">
                  <a:pos x="458" y="89"/>
                </a:cxn>
                <a:cxn ang="0">
                  <a:pos x="519" y="47"/>
                </a:cxn>
                <a:cxn ang="0">
                  <a:pos x="580" y="34"/>
                </a:cxn>
                <a:cxn ang="0">
                  <a:pos x="581" y="34"/>
                </a:cxn>
                <a:cxn ang="0">
                  <a:pos x="584" y="34"/>
                </a:cxn>
                <a:cxn ang="0">
                  <a:pos x="630" y="60"/>
                </a:cxn>
                <a:cxn ang="0">
                  <a:pos x="670" y="55"/>
                </a:cxn>
                <a:cxn ang="0">
                  <a:pos x="674" y="57"/>
                </a:cxn>
                <a:cxn ang="0">
                  <a:pos x="674" y="63"/>
                </a:cxn>
                <a:cxn ang="0">
                  <a:pos x="598" y="156"/>
                </a:cxn>
                <a:cxn ang="0">
                  <a:pos x="599" y="461"/>
                </a:cxn>
                <a:cxn ang="0">
                  <a:pos x="644" y="521"/>
                </a:cxn>
                <a:cxn ang="0">
                  <a:pos x="644" y="528"/>
                </a:cxn>
                <a:cxn ang="0">
                  <a:pos x="546" y="612"/>
                </a:cxn>
                <a:cxn ang="0">
                  <a:pos x="488" y="746"/>
                </a:cxn>
                <a:cxn ang="0">
                  <a:pos x="462" y="773"/>
                </a:cxn>
                <a:cxn ang="0">
                  <a:pos x="458" y="774"/>
                </a:cxn>
              </a:cxnLst>
              <a:rect l="0" t="0" r="r" b="b"/>
              <a:pathLst>
                <a:path w="676" h="775">
                  <a:moveTo>
                    <a:pt x="458" y="774"/>
                  </a:moveTo>
                  <a:cubicBezTo>
                    <a:pt x="458" y="774"/>
                    <a:pt x="457" y="774"/>
                    <a:pt x="456" y="773"/>
                  </a:cubicBezTo>
                  <a:lnTo>
                    <a:pt x="337" y="702"/>
                  </a:lnTo>
                  <a:cubicBezTo>
                    <a:pt x="336" y="701"/>
                    <a:pt x="336" y="700"/>
                    <a:pt x="335" y="699"/>
                  </a:cubicBezTo>
                  <a:lnTo>
                    <a:pt x="315" y="637"/>
                  </a:lnTo>
                  <a:lnTo>
                    <a:pt x="28" y="469"/>
                  </a:lnTo>
                  <a:lnTo>
                    <a:pt x="14" y="451"/>
                  </a:lnTo>
                  <a:cubicBezTo>
                    <a:pt x="13" y="449"/>
                    <a:pt x="13" y="447"/>
                    <a:pt x="14" y="445"/>
                  </a:cubicBezTo>
                  <a:lnTo>
                    <a:pt x="27" y="424"/>
                  </a:lnTo>
                  <a:lnTo>
                    <a:pt x="52" y="412"/>
                  </a:lnTo>
                  <a:lnTo>
                    <a:pt x="22" y="415"/>
                  </a:lnTo>
                  <a:cubicBezTo>
                    <a:pt x="20" y="415"/>
                    <a:pt x="18" y="413"/>
                    <a:pt x="17" y="411"/>
                  </a:cubicBezTo>
                  <a:lnTo>
                    <a:pt x="9" y="364"/>
                  </a:lnTo>
                  <a:cubicBezTo>
                    <a:pt x="9" y="363"/>
                    <a:pt x="9" y="362"/>
                    <a:pt x="10" y="361"/>
                  </a:cubicBezTo>
                  <a:lnTo>
                    <a:pt x="82" y="256"/>
                  </a:lnTo>
                  <a:lnTo>
                    <a:pt x="94" y="211"/>
                  </a:lnTo>
                  <a:lnTo>
                    <a:pt x="81" y="154"/>
                  </a:lnTo>
                  <a:lnTo>
                    <a:pt x="53" y="131"/>
                  </a:lnTo>
                  <a:lnTo>
                    <a:pt x="31" y="63"/>
                  </a:lnTo>
                  <a:lnTo>
                    <a:pt x="3" y="51"/>
                  </a:lnTo>
                  <a:cubicBezTo>
                    <a:pt x="2" y="51"/>
                    <a:pt x="1" y="49"/>
                    <a:pt x="1" y="48"/>
                  </a:cubicBezTo>
                  <a:cubicBezTo>
                    <a:pt x="0" y="46"/>
                    <a:pt x="1" y="45"/>
                    <a:pt x="2" y="44"/>
                  </a:cubicBezTo>
                  <a:lnTo>
                    <a:pt x="44" y="1"/>
                  </a:lnTo>
                  <a:cubicBezTo>
                    <a:pt x="45" y="0"/>
                    <a:pt x="46" y="0"/>
                    <a:pt x="48" y="0"/>
                  </a:cubicBezTo>
                  <a:lnTo>
                    <a:pt x="166" y="0"/>
                  </a:lnTo>
                  <a:lnTo>
                    <a:pt x="230" y="4"/>
                  </a:lnTo>
                  <a:lnTo>
                    <a:pt x="334" y="68"/>
                  </a:lnTo>
                  <a:lnTo>
                    <a:pt x="421" y="89"/>
                  </a:lnTo>
                  <a:lnTo>
                    <a:pt x="458" y="89"/>
                  </a:lnTo>
                  <a:lnTo>
                    <a:pt x="519" y="47"/>
                  </a:lnTo>
                  <a:lnTo>
                    <a:pt x="580" y="34"/>
                  </a:lnTo>
                  <a:cubicBezTo>
                    <a:pt x="581" y="34"/>
                    <a:pt x="581" y="34"/>
                    <a:pt x="581" y="34"/>
                  </a:cubicBezTo>
                  <a:cubicBezTo>
                    <a:pt x="582" y="34"/>
                    <a:pt x="583" y="34"/>
                    <a:pt x="584" y="34"/>
                  </a:cubicBezTo>
                  <a:lnTo>
                    <a:pt x="630" y="60"/>
                  </a:lnTo>
                  <a:lnTo>
                    <a:pt x="670" y="55"/>
                  </a:lnTo>
                  <a:cubicBezTo>
                    <a:pt x="672" y="55"/>
                    <a:pt x="674" y="56"/>
                    <a:pt x="674" y="57"/>
                  </a:cubicBezTo>
                  <a:cubicBezTo>
                    <a:pt x="675" y="59"/>
                    <a:pt x="675" y="61"/>
                    <a:pt x="674" y="63"/>
                  </a:cubicBezTo>
                  <a:lnTo>
                    <a:pt x="598" y="156"/>
                  </a:lnTo>
                  <a:lnTo>
                    <a:pt x="599" y="461"/>
                  </a:lnTo>
                  <a:lnTo>
                    <a:pt x="644" y="521"/>
                  </a:lnTo>
                  <a:cubicBezTo>
                    <a:pt x="646" y="523"/>
                    <a:pt x="645" y="526"/>
                    <a:pt x="644" y="528"/>
                  </a:cubicBezTo>
                  <a:lnTo>
                    <a:pt x="546" y="612"/>
                  </a:lnTo>
                  <a:lnTo>
                    <a:pt x="488" y="746"/>
                  </a:lnTo>
                  <a:lnTo>
                    <a:pt x="462" y="773"/>
                  </a:lnTo>
                  <a:cubicBezTo>
                    <a:pt x="461" y="774"/>
                    <a:pt x="460" y="774"/>
                    <a:pt x="458" y="77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59" name="Freeform 254"/>
            <p:cNvSpPr>
              <a:spLocks noChangeArrowheads="1"/>
            </p:cNvSpPr>
            <p:nvPr/>
          </p:nvSpPr>
          <p:spPr bwMode="auto">
            <a:xfrm>
              <a:off x="4608513" y="3579813"/>
              <a:ext cx="576262" cy="561975"/>
            </a:xfrm>
            <a:custGeom>
              <a:avLst/>
              <a:gdLst/>
              <a:ahLst/>
              <a:cxnLst>
                <a:cxn ang="0">
                  <a:pos x="1270" y="1455"/>
                </a:cxn>
                <a:cxn ang="0">
                  <a:pos x="1099" y="1404"/>
                </a:cxn>
                <a:cxn ang="0">
                  <a:pos x="1025" y="1392"/>
                </a:cxn>
                <a:cxn ang="0">
                  <a:pos x="984" y="1353"/>
                </a:cxn>
                <a:cxn ang="0">
                  <a:pos x="835" y="1392"/>
                </a:cxn>
                <a:cxn ang="0">
                  <a:pos x="805" y="1368"/>
                </a:cxn>
                <a:cxn ang="0">
                  <a:pos x="787" y="1070"/>
                </a:cxn>
                <a:cxn ang="0">
                  <a:pos x="704" y="1052"/>
                </a:cxn>
                <a:cxn ang="0">
                  <a:pos x="614" y="1032"/>
                </a:cxn>
                <a:cxn ang="0">
                  <a:pos x="458" y="1125"/>
                </a:cxn>
                <a:cxn ang="0">
                  <a:pos x="361" y="952"/>
                </a:cxn>
                <a:cxn ang="0">
                  <a:pos x="7" y="968"/>
                </a:cxn>
                <a:cxn ang="0">
                  <a:pos x="0" y="964"/>
                </a:cxn>
                <a:cxn ang="0">
                  <a:pos x="14" y="922"/>
                </a:cxn>
                <a:cxn ang="0">
                  <a:pos x="57" y="825"/>
                </a:cxn>
                <a:cxn ang="0">
                  <a:pos x="105" y="836"/>
                </a:cxn>
                <a:cxn ang="0">
                  <a:pos x="170" y="798"/>
                </a:cxn>
                <a:cxn ang="0">
                  <a:pos x="179" y="837"/>
                </a:cxn>
                <a:cxn ang="0">
                  <a:pos x="323" y="712"/>
                </a:cxn>
                <a:cxn ang="0">
                  <a:pos x="450" y="500"/>
                </a:cxn>
                <a:cxn ang="0">
                  <a:pos x="530" y="139"/>
                </a:cxn>
                <a:cxn ang="0">
                  <a:pos x="551" y="68"/>
                </a:cxn>
                <a:cxn ang="0">
                  <a:pos x="654" y="12"/>
                </a:cxn>
                <a:cxn ang="0">
                  <a:pos x="719" y="59"/>
                </a:cxn>
                <a:cxn ang="0">
                  <a:pos x="886" y="39"/>
                </a:cxn>
                <a:cxn ang="0">
                  <a:pos x="933" y="51"/>
                </a:cxn>
                <a:cxn ang="0">
                  <a:pos x="1037" y="18"/>
                </a:cxn>
                <a:cxn ang="0">
                  <a:pos x="1080" y="11"/>
                </a:cxn>
                <a:cxn ang="0">
                  <a:pos x="1177" y="1"/>
                </a:cxn>
                <a:cxn ang="0">
                  <a:pos x="1207" y="12"/>
                </a:cxn>
                <a:cxn ang="0">
                  <a:pos x="1234" y="9"/>
                </a:cxn>
                <a:cxn ang="0">
                  <a:pos x="1283" y="14"/>
                </a:cxn>
                <a:cxn ang="0">
                  <a:pos x="1378" y="64"/>
                </a:cxn>
                <a:cxn ang="0">
                  <a:pos x="1455" y="55"/>
                </a:cxn>
                <a:cxn ang="0">
                  <a:pos x="1562" y="140"/>
                </a:cxn>
                <a:cxn ang="0">
                  <a:pos x="1596" y="255"/>
                </a:cxn>
                <a:cxn ang="0">
                  <a:pos x="1534" y="320"/>
                </a:cxn>
                <a:cxn ang="0">
                  <a:pos x="1478" y="408"/>
                </a:cxn>
                <a:cxn ang="0">
                  <a:pos x="1419" y="666"/>
                </a:cxn>
                <a:cxn ang="0">
                  <a:pos x="1432" y="912"/>
                </a:cxn>
                <a:cxn ang="0">
                  <a:pos x="1519" y="1066"/>
                </a:cxn>
                <a:cxn ang="0">
                  <a:pos x="1530" y="1125"/>
                </a:cxn>
                <a:cxn ang="0">
                  <a:pos x="1394" y="1310"/>
                </a:cxn>
                <a:cxn ang="0">
                  <a:pos x="1457" y="1458"/>
                </a:cxn>
                <a:cxn ang="0">
                  <a:pos x="1464" y="1560"/>
                </a:cxn>
                <a:cxn ang="0">
                  <a:pos x="1388" y="1544"/>
                </a:cxn>
              </a:cxnLst>
              <a:rect l="0" t="0" r="r" b="b"/>
              <a:pathLst>
                <a:path w="1599" h="1562">
                  <a:moveTo>
                    <a:pt x="1388" y="1544"/>
                  </a:moveTo>
                  <a:lnTo>
                    <a:pt x="1318" y="1466"/>
                  </a:lnTo>
                  <a:lnTo>
                    <a:pt x="1270" y="1455"/>
                  </a:lnTo>
                  <a:lnTo>
                    <a:pt x="1236" y="1426"/>
                  </a:lnTo>
                  <a:lnTo>
                    <a:pt x="1170" y="1438"/>
                  </a:lnTo>
                  <a:lnTo>
                    <a:pt x="1099" y="1404"/>
                  </a:lnTo>
                  <a:lnTo>
                    <a:pt x="1078" y="1375"/>
                  </a:lnTo>
                  <a:lnTo>
                    <a:pt x="1027" y="1391"/>
                  </a:lnTo>
                  <a:cubicBezTo>
                    <a:pt x="1026" y="1391"/>
                    <a:pt x="1026" y="1392"/>
                    <a:pt x="1025" y="1392"/>
                  </a:cubicBezTo>
                  <a:cubicBezTo>
                    <a:pt x="1023" y="1392"/>
                    <a:pt x="1022" y="1391"/>
                    <a:pt x="1021" y="1389"/>
                  </a:cubicBezTo>
                  <a:lnTo>
                    <a:pt x="1001" y="1350"/>
                  </a:lnTo>
                  <a:lnTo>
                    <a:pt x="984" y="1353"/>
                  </a:lnTo>
                  <a:lnTo>
                    <a:pt x="858" y="1362"/>
                  </a:lnTo>
                  <a:lnTo>
                    <a:pt x="838" y="1390"/>
                  </a:lnTo>
                  <a:cubicBezTo>
                    <a:pt x="837" y="1391"/>
                    <a:pt x="836" y="1392"/>
                    <a:pt x="835" y="1392"/>
                  </a:cubicBezTo>
                  <a:cubicBezTo>
                    <a:pt x="834" y="1392"/>
                    <a:pt x="833" y="1391"/>
                    <a:pt x="832" y="1391"/>
                  </a:cubicBezTo>
                  <a:lnTo>
                    <a:pt x="806" y="1374"/>
                  </a:lnTo>
                  <a:cubicBezTo>
                    <a:pt x="804" y="1373"/>
                    <a:pt x="804" y="1370"/>
                    <a:pt x="805" y="1368"/>
                  </a:cubicBezTo>
                  <a:lnTo>
                    <a:pt x="829" y="1323"/>
                  </a:lnTo>
                  <a:lnTo>
                    <a:pt x="792" y="1232"/>
                  </a:lnTo>
                  <a:lnTo>
                    <a:pt x="787" y="1070"/>
                  </a:lnTo>
                  <a:lnTo>
                    <a:pt x="780" y="1053"/>
                  </a:lnTo>
                  <a:lnTo>
                    <a:pt x="707" y="1053"/>
                  </a:lnTo>
                  <a:cubicBezTo>
                    <a:pt x="706" y="1053"/>
                    <a:pt x="705" y="1052"/>
                    <a:pt x="704" y="1052"/>
                  </a:cubicBezTo>
                  <a:cubicBezTo>
                    <a:pt x="703" y="1050"/>
                    <a:pt x="703" y="1049"/>
                    <a:pt x="703" y="1048"/>
                  </a:cubicBezTo>
                  <a:lnTo>
                    <a:pt x="706" y="1020"/>
                  </a:lnTo>
                  <a:lnTo>
                    <a:pt x="614" y="1032"/>
                  </a:lnTo>
                  <a:lnTo>
                    <a:pt x="590" y="1105"/>
                  </a:lnTo>
                  <a:cubicBezTo>
                    <a:pt x="589" y="1107"/>
                    <a:pt x="588" y="1108"/>
                    <a:pt x="586" y="1108"/>
                  </a:cubicBezTo>
                  <a:lnTo>
                    <a:pt x="458" y="1125"/>
                  </a:lnTo>
                  <a:cubicBezTo>
                    <a:pt x="457" y="1125"/>
                    <a:pt x="456" y="1124"/>
                    <a:pt x="455" y="1124"/>
                  </a:cubicBezTo>
                  <a:lnTo>
                    <a:pt x="387" y="1056"/>
                  </a:lnTo>
                  <a:lnTo>
                    <a:pt x="361" y="952"/>
                  </a:lnTo>
                  <a:lnTo>
                    <a:pt x="329" y="930"/>
                  </a:lnTo>
                  <a:lnTo>
                    <a:pt x="86" y="935"/>
                  </a:lnTo>
                  <a:lnTo>
                    <a:pt x="7" y="968"/>
                  </a:lnTo>
                  <a:cubicBezTo>
                    <a:pt x="6" y="968"/>
                    <a:pt x="6" y="968"/>
                    <a:pt x="5" y="968"/>
                  </a:cubicBezTo>
                  <a:cubicBezTo>
                    <a:pt x="4" y="968"/>
                    <a:pt x="4" y="968"/>
                    <a:pt x="3" y="968"/>
                  </a:cubicBezTo>
                  <a:cubicBezTo>
                    <a:pt x="1" y="967"/>
                    <a:pt x="0" y="965"/>
                    <a:pt x="0" y="964"/>
                  </a:cubicBezTo>
                  <a:lnTo>
                    <a:pt x="0" y="930"/>
                  </a:lnTo>
                  <a:cubicBezTo>
                    <a:pt x="0" y="928"/>
                    <a:pt x="2" y="926"/>
                    <a:pt x="4" y="925"/>
                  </a:cubicBezTo>
                  <a:lnTo>
                    <a:pt x="14" y="922"/>
                  </a:lnTo>
                  <a:lnTo>
                    <a:pt x="22" y="857"/>
                  </a:lnTo>
                  <a:cubicBezTo>
                    <a:pt x="22" y="856"/>
                    <a:pt x="22" y="855"/>
                    <a:pt x="23" y="854"/>
                  </a:cubicBezTo>
                  <a:lnTo>
                    <a:pt x="57" y="825"/>
                  </a:lnTo>
                  <a:cubicBezTo>
                    <a:pt x="58" y="824"/>
                    <a:pt x="59" y="824"/>
                    <a:pt x="60" y="824"/>
                  </a:cubicBezTo>
                  <a:cubicBezTo>
                    <a:pt x="61" y="824"/>
                    <a:pt x="61" y="824"/>
                    <a:pt x="61" y="824"/>
                  </a:cubicBezTo>
                  <a:lnTo>
                    <a:pt x="105" y="836"/>
                  </a:lnTo>
                  <a:lnTo>
                    <a:pt x="124" y="813"/>
                  </a:lnTo>
                  <a:lnTo>
                    <a:pt x="169" y="799"/>
                  </a:lnTo>
                  <a:cubicBezTo>
                    <a:pt x="169" y="798"/>
                    <a:pt x="170" y="798"/>
                    <a:pt x="170" y="798"/>
                  </a:cubicBezTo>
                  <a:cubicBezTo>
                    <a:pt x="171" y="798"/>
                    <a:pt x="172" y="799"/>
                    <a:pt x="173" y="799"/>
                  </a:cubicBezTo>
                  <a:cubicBezTo>
                    <a:pt x="174" y="800"/>
                    <a:pt x="175" y="801"/>
                    <a:pt x="175" y="803"/>
                  </a:cubicBezTo>
                  <a:lnTo>
                    <a:pt x="179" y="837"/>
                  </a:lnTo>
                  <a:lnTo>
                    <a:pt x="191" y="840"/>
                  </a:lnTo>
                  <a:lnTo>
                    <a:pt x="299" y="761"/>
                  </a:lnTo>
                  <a:lnTo>
                    <a:pt x="323" y="712"/>
                  </a:lnTo>
                  <a:lnTo>
                    <a:pt x="339" y="616"/>
                  </a:lnTo>
                  <a:lnTo>
                    <a:pt x="370" y="560"/>
                  </a:lnTo>
                  <a:lnTo>
                    <a:pt x="450" y="500"/>
                  </a:lnTo>
                  <a:lnTo>
                    <a:pt x="479" y="279"/>
                  </a:lnTo>
                  <a:lnTo>
                    <a:pt x="526" y="188"/>
                  </a:lnTo>
                  <a:lnTo>
                    <a:pt x="530" y="139"/>
                  </a:lnTo>
                  <a:cubicBezTo>
                    <a:pt x="530" y="138"/>
                    <a:pt x="531" y="136"/>
                    <a:pt x="533" y="136"/>
                  </a:cubicBezTo>
                  <a:lnTo>
                    <a:pt x="547" y="128"/>
                  </a:lnTo>
                  <a:lnTo>
                    <a:pt x="551" y="68"/>
                  </a:lnTo>
                  <a:lnTo>
                    <a:pt x="599" y="10"/>
                  </a:lnTo>
                  <a:cubicBezTo>
                    <a:pt x="600" y="9"/>
                    <a:pt x="601" y="8"/>
                    <a:pt x="602" y="8"/>
                  </a:cubicBezTo>
                  <a:lnTo>
                    <a:pt x="654" y="12"/>
                  </a:lnTo>
                  <a:cubicBezTo>
                    <a:pt x="655" y="13"/>
                    <a:pt x="656" y="13"/>
                    <a:pt x="657" y="14"/>
                  </a:cubicBezTo>
                  <a:lnTo>
                    <a:pt x="701" y="63"/>
                  </a:lnTo>
                  <a:lnTo>
                    <a:pt x="719" y="59"/>
                  </a:lnTo>
                  <a:lnTo>
                    <a:pt x="781" y="80"/>
                  </a:lnTo>
                  <a:lnTo>
                    <a:pt x="849" y="80"/>
                  </a:lnTo>
                  <a:lnTo>
                    <a:pt x="886" y="39"/>
                  </a:lnTo>
                  <a:cubicBezTo>
                    <a:pt x="887" y="38"/>
                    <a:pt x="888" y="38"/>
                    <a:pt x="889" y="38"/>
                  </a:cubicBezTo>
                  <a:cubicBezTo>
                    <a:pt x="889" y="38"/>
                    <a:pt x="890" y="38"/>
                    <a:pt x="891" y="38"/>
                  </a:cubicBezTo>
                  <a:lnTo>
                    <a:pt x="933" y="51"/>
                  </a:lnTo>
                  <a:lnTo>
                    <a:pt x="1032" y="17"/>
                  </a:lnTo>
                  <a:cubicBezTo>
                    <a:pt x="1033" y="17"/>
                    <a:pt x="1033" y="17"/>
                    <a:pt x="1033" y="17"/>
                  </a:cubicBezTo>
                  <a:cubicBezTo>
                    <a:pt x="1035" y="17"/>
                    <a:pt x="1036" y="17"/>
                    <a:pt x="1037" y="18"/>
                  </a:cubicBezTo>
                  <a:lnTo>
                    <a:pt x="1052" y="33"/>
                  </a:lnTo>
                  <a:lnTo>
                    <a:pt x="1076" y="22"/>
                  </a:lnTo>
                  <a:lnTo>
                    <a:pt x="1080" y="11"/>
                  </a:lnTo>
                  <a:cubicBezTo>
                    <a:pt x="1080" y="10"/>
                    <a:pt x="1082" y="8"/>
                    <a:pt x="1084" y="8"/>
                  </a:cubicBezTo>
                  <a:lnTo>
                    <a:pt x="1173" y="0"/>
                  </a:lnTo>
                  <a:cubicBezTo>
                    <a:pt x="1175" y="0"/>
                    <a:pt x="1176" y="0"/>
                    <a:pt x="1177" y="1"/>
                  </a:cubicBezTo>
                  <a:lnTo>
                    <a:pt x="1195" y="19"/>
                  </a:lnTo>
                  <a:lnTo>
                    <a:pt x="1205" y="13"/>
                  </a:lnTo>
                  <a:cubicBezTo>
                    <a:pt x="1205" y="13"/>
                    <a:pt x="1206" y="12"/>
                    <a:pt x="1207" y="12"/>
                  </a:cubicBezTo>
                  <a:cubicBezTo>
                    <a:pt x="1208" y="12"/>
                    <a:pt x="1209" y="13"/>
                    <a:pt x="1210" y="13"/>
                  </a:cubicBezTo>
                  <a:lnTo>
                    <a:pt x="1220" y="20"/>
                  </a:lnTo>
                  <a:lnTo>
                    <a:pt x="1234" y="9"/>
                  </a:lnTo>
                  <a:cubicBezTo>
                    <a:pt x="1235" y="8"/>
                    <a:pt x="1236" y="8"/>
                    <a:pt x="1237" y="8"/>
                  </a:cubicBezTo>
                  <a:lnTo>
                    <a:pt x="1280" y="12"/>
                  </a:lnTo>
                  <a:cubicBezTo>
                    <a:pt x="1281" y="12"/>
                    <a:pt x="1282" y="13"/>
                    <a:pt x="1283" y="14"/>
                  </a:cubicBezTo>
                  <a:lnTo>
                    <a:pt x="1325" y="65"/>
                  </a:lnTo>
                  <a:lnTo>
                    <a:pt x="1359" y="79"/>
                  </a:lnTo>
                  <a:lnTo>
                    <a:pt x="1378" y="64"/>
                  </a:lnTo>
                  <a:cubicBezTo>
                    <a:pt x="1379" y="63"/>
                    <a:pt x="1380" y="63"/>
                    <a:pt x="1381" y="63"/>
                  </a:cubicBezTo>
                  <a:lnTo>
                    <a:pt x="1431" y="71"/>
                  </a:lnTo>
                  <a:lnTo>
                    <a:pt x="1455" y="55"/>
                  </a:lnTo>
                  <a:cubicBezTo>
                    <a:pt x="1455" y="55"/>
                    <a:pt x="1456" y="55"/>
                    <a:pt x="1457" y="55"/>
                  </a:cubicBezTo>
                  <a:cubicBezTo>
                    <a:pt x="1458" y="55"/>
                    <a:pt x="1459" y="55"/>
                    <a:pt x="1460" y="56"/>
                  </a:cubicBezTo>
                  <a:lnTo>
                    <a:pt x="1562" y="140"/>
                  </a:lnTo>
                  <a:cubicBezTo>
                    <a:pt x="1563" y="141"/>
                    <a:pt x="1564" y="143"/>
                    <a:pt x="1563" y="144"/>
                  </a:cubicBezTo>
                  <a:lnTo>
                    <a:pt x="1559" y="222"/>
                  </a:lnTo>
                  <a:lnTo>
                    <a:pt x="1596" y="255"/>
                  </a:lnTo>
                  <a:cubicBezTo>
                    <a:pt x="1597" y="256"/>
                    <a:pt x="1597" y="257"/>
                    <a:pt x="1597" y="258"/>
                  </a:cubicBezTo>
                  <a:cubicBezTo>
                    <a:pt x="1598" y="259"/>
                    <a:pt x="1597" y="261"/>
                    <a:pt x="1596" y="262"/>
                  </a:cubicBezTo>
                  <a:lnTo>
                    <a:pt x="1534" y="320"/>
                  </a:lnTo>
                  <a:lnTo>
                    <a:pt x="1534" y="342"/>
                  </a:lnTo>
                  <a:cubicBezTo>
                    <a:pt x="1534" y="343"/>
                    <a:pt x="1533" y="344"/>
                    <a:pt x="1533" y="345"/>
                  </a:cubicBezTo>
                  <a:lnTo>
                    <a:pt x="1478" y="408"/>
                  </a:lnTo>
                  <a:lnTo>
                    <a:pt x="1466" y="549"/>
                  </a:lnTo>
                  <a:lnTo>
                    <a:pt x="1407" y="638"/>
                  </a:lnTo>
                  <a:lnTo>
                    <a:pt x="1419" y="666"/>
                  </a:lnTo>
                  <a:lnTo>
                    <a:pt x="1432" y="717"/>
                  </a:lnTo>
                  <a:lnTo>
                    <a:pt x="1420" y="867"/>
                  </a:lnTo>
                  <a:lnTo>
                    <a:pt x="1432" y="912"/>
                  </a:lnTo>
                  <a:lnTo>
                    <a:pt x="1437" y="976"/>
                  </a:lnTo>
                  <a:lnTo>
                    <a:pt x="1465" y="1025"/>
                  </a:lnTo>
                  <a:lnTo>
                    <a:pt x="1519" y="1066"/>
                  </a:lnTo>
                  <a:lnTo>
                    <a:pt x="1534" y="1119"/>
                  </a:lnTo>
                  <a:cubicBezTo>
                    <a:pt x="1534" y="1120"/>
                    <a:pt x="1534" y="1122"/>
                    <a:pt x="1533" y="1123"/>
                  </a:cubicBezTo>
                  <a:cubicBezTo>
                    <a:pt x="1532" y="1124"/>
                    <a:pt x="1531" y="1125"/>
                    <a:pt x="1530" y="1125"/>
                  </a:cubicBezTo>
                  <a:lnTo>
                    <a:pt x="1418" y="1150"/>
                  </a:lnTo>
                  <a:lnTo>
                    <a:pt x="1381" y="1208"/>
                  </a:lnTo>
                  <a:lnTo>
                    <a:pt x="1394" y="1310"/>
                  </a:lnTo>
                  <a:lnTo>
                    <a:pt x="1365" y="1419"/>
                  </a:lnTo>
                  <a:lnTo>
                    <a:pt x="1400" y="1458"/>
                  </a:lnTo>
                  <a:lnTo>
                    <a:pt x="1457" y="1458"/>
                  </a:lnTo>
                  <a:cubicBezTo>
                    <a:pt x="1460" y="1458"/>
                    <a:pt x="1462" y="1460"/>
                    <a:pt x="1462" y="1463"/>
                  </a:cubicBezTo>
                  <a:lnTo>
                    <a:pt x="1466" y="1556"/>
                  </a:lnTo>
                  <a:cubicBezTo>
                    <a:pt x="1466" y="1557"/>
                    <a:pt x="1465" y="1559"/>
                    <a:pt x="1464" y="1560"/>
                  </a:cubicBezTo>
                  <a:cubicBezTo>
                    <a:pt x="1463" y="1560"/>
                    <a:pt x="1462" y="1561"/>
                    <a:pt x="1461" y="1561"/>
                  </a:cubicBezTo>
                  <a:cubicBezTo>
                    <a:pt x="1461" y="1561"/>
                    <a:pt x="1461" y="1561"/>
                    <a:pt x="1460" y="1561"/>
                  </a:cubicBezTo>
                  <a:lnTo>
                    <a:pt x="1388" y="154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0" name="Freeform 255"/>
            <p:cNvSpPr>
              <a:spLocks noChangeArrowheads="1"/>
            </p:cNvSpPr>
            <p:nvPr/>
          </p:nvSpPr>
          <p:spPr bwMode="auto">
            <a:xfrm>
              <a:off x="4608513" y="3579813"/>
              <a:ext cx="576262" cy="561975"/>
            </a:xfrm>
            <a:custGeom>
              <a:avLst/>
              <a:gdLst/>
              <a:ahLst/>
              <a:cxnLst>
                <a:cxn ang="0">
                  <a:pos x="1318" y="1466"/>
                </a:cxn>
                <a:cxn ang="0">
                  <a:pos x="1170" y="1438"/>
                </a:cxn>
                <a:cxn ang="0">
                  <a:pos x="1027" y="1391"/>
                </a:cxn>
                <a:cxn ang="0">
                  <a:pos x="1001" y="1350"/>
                </a:cxn>
                <a:cxn ang="0">
                  <a:pos x="838" y="1390"/>
                </a:cxn>
                <a:cxn ang="0">
                  <a:pos x="806" y="1374"/>
                </a:cxn>
                <a:cxn ang="0">
                  <a:pos x="792" y="1232"/>
                </a:cxn>
                <a:cxn ang="0">
                  <a:pos x="707" y="1053"/>
                </a:cxn>
                <a:cxn ang="0">
                  <a:pos x="706" y="1020"/>
                </a:cxn>
                <a:cxn ang="0">
                  <a:pos x="586" y="1108"/>
                </a:cxn>
                <a:cxn ang="0">
                  <a:pos x="387" y="1056"/>
                </a:cxn>
                <a:cxn ang="0">
                  <a:pos x="86" y="935"/>
                </a:cxn>
                <a:cxn ang="0">
                  <a:pos x="3" y="968"/>
                </a:cxn>
                <a:cxn ang="0">
                  <a:pos x="4" y="925"/>
                </a:cxn>
                <a:cxn ang="0">
                  <a:pos x="23" y="854"/>
                </a:cxn>
                <a:cxn ang="0">
                  <a:pos x="61" y="824"/>
                </a:cxn>
                <a:cxn ang="0">
                  <a:pos x="169" y="799"/>
                </a:cxn>
                <a:cxn ang="0">
                  <a:pos x="175" y="803"/>
                </a:cxn>
                <a:cxn ang="0">
                  <a:pos x="299" y="761"/>
                </a:cxn>
                <a:cxn ang="0">
                  <a:pos x="370" y="560"/>
                </a:cxn>
                <a:cxn ang="0">
                  <a:pos x="526" y="188"/>
                </a:cxn>
                <a:cxn ang="0">
                  <a:pos x="547" y="128"/>
                </a:cxn>
                <a:cxn ang="0">
                  <a:pos x="602" y="8"/>
                </a:cxn>
                <a:cxn ang="0">
                  <a:pos x="701" y="63"/>
                </a:cxn>
                <a:cxn ang="0">
                  <a:pos x="849" y="80"/>
                </a:cxn>
                <a:cxn ang="0">
                  <a:pos x="891" y="38"/>
                </a:cxn>
                <a:cxn ang="0">
                  <a:pos x="1033" y="17"/>
                </a:cxn>
                <a:cxn ang="0">
                  <a:pos x="1076" y="22"/>
                </a:cxn>
                <a:cxn ang="0">
                  <a:pos x="1173" y="0"/>
                </a:cxn>
                <a:cxn ang="0">
                  <a:pos x="1205" y="13"/>
                </a:cxn>
                <a:cxn ang="0">
                  <a:pos x="1220" y="20"/>
                </a:cxn>
                <a:cxn ang="0">
                  <a:pos x="1280" y="12"/>
                </a:cxn>
                <a:cxn ang="0">
                  <a:pos x="1359" y="79"/>
                </a:cxn>
                <a:cxn ang="0">
                  <a:pos x="1431" y="71"/>
                </a:cxn>
                <a:cxn ang="0">
                  <a:pos x="1460" y="56"/>
                </a:cxn>
                <a:cxn ang="0">
                  <a:pos x="1559" y="222"/>
                </a:cxn>
                <a:cxn ang="0">
                  <a:pos x="1596" y="262"/>
                </a:cxn>
                <a:cxn ang="0">
                  <a:pos x="1533" y="345"/>
                </a:cxn>
                <a:cxn ang="0">
                  <a:pos x="1407" y="638"/>
                </a:cxn>
                <a:cxn ang="0">
                  <a:pos x="1420" y="867"/>
                </a:cxn>
                <a:cxn ang="0">
                  <a:pos x="1465" y="1025"/>
                </a:cxn>
                <a:cxn ang="0">
                  <a:pos x="1533" y="1123"/>
                </a:cxn>
                <a:cxn ang="0">
                  <a:pos x="1381" y="1208"/>
                </a:cxn>
                <a:cxn ang="0">
                  <a:pos x="1400" y="1458"/>
                </a:cxn>
                <a:cxn ang="0">
                  <a:pos x="1466" y="1556"/>
                </a:cxn>
                <a:cxn ang="0">
                  <a:pos x="1460" y="1561"/>
                </a:cxn>
              </a:cxnLst>
              <a:rect l="0" t="0" r="r" b="b"/>
              <a:pathLst>
                <a:path w="1599" h="1562">
                  <a:moveTo>
                    <a:pt x="1460" y="1561"/>
                  </a:moveTo>
                  <a:lnTo>
                    <a:pt x="1388" y="1544"/>
                  </a:lnTo>
                  <a:lnTo>
                    <a:pt x="1318" y="1466"/>
                  </a:lnTo>
                  <a:lnTo>
                    <a:pt x="1270" y="1455"/>
                  </a:lnTo>
                  <a:lnTo>
                    <a:pt x="1236" y="1426"/>
                  </a:lnTo>
                  <a:lnTo>
                    <a:pt x="1170" y="1438"/>
                  </a:lnTo>
                  <a:lnTo>
                    <a:pt x="1099" y="1404"/>
                  </a:lnTo>
                  <a:lnTo>
                    <a:pt x="1078" y="1375"/>
                  </a:lnTo>
                  <a:lnTo>
                    <a:pt x="1027" y="1391"/>
                  </a:lnTo>
                  <a:cubicBezTo>
                    <a:pt x="1026" y="1391"/>
                    <a:pt x="1026" y="1392"/>
                    <a:pt x="1025" y="1392"/>
                  </a:cubicBezTo>
                  <a:cubicBezTo>
                    <a:pt x="1023" y="1392"/>
                    <a:pt x="1022" y="1391"/>
                    <a:pt x="1021" y="1389"/>
                  </a:cubicBezTo>
                  <a:lnTo>
                    <a:pt x="1001" y="1350"/>
                  </a:lnTo>
                  <a:lnTo>
                    <a:pt x="984" y="1353"/>
                  </a:lnTo>
                  <a:lnTo>
                    <a:pt x="858" y="1362"/>
                  </a:lnTo>
                  <a:lnTo>
                    <a:pt x="838" y="1390"/>
                  </a:lnTo>
                  <a:cubicBezTo>
                    <a:pt x="837" y="1391"/>
                    <a:pt x="836" y="1392"/>
                    <a:pt x="835" y="1392"/>
                  </a:cubicBezTo>
                  <a:cubicBezTo>
                    <a:pt x="834" y="1392"/>
                    <a:pt x="833" y="1391"/>
                    <a:pt x="832" y="1391"/>
                  </a:cubicBezTo>
                  <a:lnTo>
                    <a:pt x="806" y="1374"/>
                  </a:lnTo>
                  <a:cubicBezTo>
                    <a:pt x="804" y="1373"/>
                    <a:pt x="804" y="1370"/>
                    <a:pt x="805" y="1368"/>
                  </a:cubicBezTo>
                  <a:lnTo>
                    <a:pt x="829" y="1323"/>
                  </a:lnTo>
                  <a:lnTo>
                    <a:pt x="792" y="1232"/>
                  </a:lnTo>
                  <a:lnTo>
                    <a:pt x="787" y="1070"/>
                  </a:lnTo>
                  <a:lnTo>
                    <a:pt x="780" y="1053"/>
                  </a:lnTo>
                  <a:lnTo>
                    <a:pt x="707" y="1053"/>
                  </a:lnTo>
                  <a:cubicBezTo>
                    <a:pt x="706" y="1053"/>
                    <a:pt x="705" y="1052"/>
                    <a:pt x="704" y="1052"/>
                  </a:cubicBezTo>
                  <a:cubicBezTo>
                    <a:pt x="703" y="1050"/>
                    <a:pt x="703" y="1049"/>
                    <a:pt x="703" y="1048"/>
                  </a:cubicBezTo>
                  <a:lnTo>
                    <a:pt x="706" y="1020"/>
                  </a:lnTo>
                  <a:lnTo>
                    <a:pt x="614" y="1032"/>
                  </a:lnTo>
                  <a:lnTo>
                    <a:pt x="590" y="1105"/>
                  </a:lnTo>
                  <a:cubicBezTo>
                    <a:pt x="589" y="1107"/>
                    <a:pt x="588" y="1108"/>
                    <a:pt x="586" y="1108"/>
                  </a:cubicBezTo>
                  <a:lnTo>
                    <a:pt x="458" y="1125"/>
                  </a:lnTo>
                  <a:cubicBezTo>
                    <a:pt x="457" y="1125"/>
                    <a:pt x="456" y="1124"/>
                    <a:pt x="455" y="1124"/>
                  </a:cubicBezTo>
                  <a:lnTo>
                    <a:pt x="387" y="1056"/>
                  </a:lnTo>
                  <a:lnTo>
                    <a:pt x="361" y="952"/>
                  </a:lnTo>
                  <a:lnTo>
                    <a:pt x="329" y="930"/>
                  </a:lnTo>
                  <a:lnTo>
                    <a:pt x="86" y="935"/>
                  </a:lnTo>
                  <a:lnTo>
                    <a:pt x="7" y="968"/>
                  </a:lnTo>
                  <a:cubicBezTo>
                    <a:pt x="6" y="968"/>
                    <a:pt x="6" y="968"/>
                    <a:pt x="5" y="968"/>
                  </a:cubicBezTo>
                  <a:cubicBezTo>
                    <a:pt x="4" y="968"/>
                    <a:pt x="4" y="968"/>
                    <a:pt x="3" y="968"/>
                  </a:cubicBezTo>
                  <a:cubicBezTo>
                    <a:pt x="1" y="967"/>
                    <a:pt x="0" y="965"/>
                    <a:pt x="0" y="964"/>
                  </a:cubicBezTo>
                  <a:lnTo>
                    <a:pt x="0" y="930"/>
                  </a:lnTo>
                  <a:cubicBezTo>
                    <a:pt x="0" y="928"/>
                    <a:pt x="2" y="926"/>
                    <a:pt x="4" y="925"/>
                  </a:cubicBezTo>
                  <a:lnTo>
                    <a:pt x="14" y="922"/>
                  </a:lnTo>
                  <a:lnTo>
                    <a:pt x="22" y="857"/>
                  </a:lnTo>
                  <a:cubicBezTo>
                    <a:pt x="22" y="856"/>
                    <a:pt x="22" y="855"/>
                    <a:pt x="23" y="854"/>
                  </a:cubicBezTo>
                  <a:lnTo>
                    <a:pt x="57" y="825"/>
                  </a:lnTo>
                  <a:cubicBezTo>
                    <a:pt x="58" y="824"/>
                    <a:pt x="59" y="824"/>
                    <a:pt x="60" y="824"/>
                  </a:cubicBezTo>
                  <a:cubicBezTo>
                    <a:pt x="61" y="824"/>
                    <a:pt x="61" y="824"/>
                    <a:pt x="61" y="824"/>
                  </a:cubicBezTo>
                  <a:lnTo>
                    <a:pt x="105" y="836"/>
                  </a:lnTo>
                  <a:lnTo>
                    <a:pt x="124" y="813"/>
                  </a:lnTo>
                  <a:lnTo>
                    <a:pt x="169" y="799"/>
                  </a:lnTo>
                  <a:cubicBezTo>
                    <a:pt x="169" y="798"/>
                    <a:pt x="170" y="798"/>
                    <a:pt x="170" y="798"/>
                  </a:cubicBezTo>
                  <a:cubicBezTo>
                    <a:pt x="171" y="798"/>
                    <a:pt x="172" y="799"/>
                    <a:pt x="173" y="799"/>
                  </a:cubicBezTo>
                  <a:cubicBezTo>
                    <a:pt x="174" y="800"/>
                    <a:pt x="175" y="801"/>
                    <a:pt x="175" y="803"/>
                  </a:cubicBezTo>
                  <a:lnTo>
                    <a:pt x="179" y="837"/>
                  </a:lnTo>
                  <a:lnTo>
                    <a:pt x="191" y="840"/>
                  </a:lnTo>
                  <a:lnTo>
                    <a:pt x="299" y="761"/>
                  </a:lnTo>
                  <a:lnTo>
                    <a:pt x="323" y="712"/>
                  </a:lnTo>
                  <a:lnTo>
                    <a:pt x="339" y="616"/>
                  </a:lnTo>
                  <a:lnTo>
                    <a:pt x="370" y="560"/>
                  </a:lnTo>
                  <a:lnTo>
                    <a:pt x="450" y="500"/>
                  </a:lnTo>
                  <a:lnTo>
                    <a:pt x="479" y="279"/>
                  </a:lnTo>
                  <a:lnTo>
                    <a:pt x="526" y="188"/>
                  </a:lnTo>
                  <a:lnTo>
                    <a:pt x="530" y="139"/>
                  </a:lnTo>
                  <a:cubicBezTo>
                    <a:pt x="530" y="138"/>
                    <a:pt x="531" y="136"/>
                    <a:pt x="533" y="136"/>
                  </a:cubicBezTo>
                  <a:lnTo>
                    <a:pt x="547" y="128"/>
                  </a:lnTo>
                  <a:lnTo>
                    <a:pt x="551" y="68"/>
                  </a:lnTo>
                  <a:lnTo>
                    <a:pt x="599" y="10"/>
                  </a:lnTo>
                  <a:cubicBezTo>
                    <a:pt x="600" y="9"/>
                    <a:pt x="601" y="8"/>
                    <a:pt x="602" y="8"/>
                  </a:cubicBezTo>
                  <a:lnTo>
                    <a:pt x="654" y="12"/>
                  </a:lnTo>
                  <a:cubicBezTo>
                    <a:pt x="655" y="13"/>
                    <a:pt x="656" y="13"/>
                    <a:pt x="657" y="14"/>
                  </a:cubicBezTo>
                  <a:lnTo>
                    <a:pt x="701" y="63"/>
                  </a:lnTo>
                  <a:lnTo>
                    <a:pt x="719" y="59"/>
                  </a:lnTo>
                  <a:lnTo>
                    <a:pt x="781" y="80"/>
                  </a:lnTo>
                  <a:lnTo>
                    <a:pt x="849" y="80"/>
                  </a:lnTo>
                  <a:lnTo>
                    <a:pt x="886" y="39"/>
                  </a:lnTo>
                  <a:cubicBezTo>
                    <a:pt x="887" y="38"/>
                    <a:pt x="888" y="38"/>
                    <a:pt x="889" y="38"/>
                  </a:cubicBezTo>
                  <a:cubicBezTo>
                    <a:pt x="889" y="38"/>
                    <a:pt x="890" y="38"/>
                    <a:pt x="891" y="38"/>
                  </a:cubicBezTo>
                  <a:lnTo>
                    <a:pt x="933" y="51"/>
                  </a:lnTo>
                  <a:lnTo>
                    <a:pt x="1032" y="17"/>
                  </a:lnTo>
                  <a:cubicBezTo>
                    <a:pt x="1033" y="17"/>
                    <a:pt x="1033" y="17"/>
                    <a:pt x="1033" y="17"/>
                  </a:cubicBezTo>
                  <a:cubicBezTo>
                    <a:pt x="1035" y="17"/>
                    <a:pt x="1036" y="17"/>
                    <a:pt x="1037" y="18"/>
                  </a:cubicBezTo>
                  <a:lnTo>
                    <a:pt x="1052" y="33"/>
                  </a:lnTo>
                  <a:lnTo>
                    <a:pt x="1076" y="22"/>
                  </a:lnTo>
                  <a:lnTo>
                    <a:pt x="1080" y="11"/>
                  </a:lnTo>
                  <a:cubicBezTo>
                    <a:pt x="1080" y="10"/>
                    <a:pt x="1082" y="8"/>
                    <a:pt x="1084" y="8"/>
                  </a:cubicBezTo>
                  <a:lnTo>
                    <a:pt x="1173" y="0"/>
                  </a:lnTo>
                  <a:cubicBezTo>
                    <a:pt x="1175" y="0"/>
                    <a:pt x="1176" y="0"/>
                    <a:pt x="1177" y="1"/>
                  </a:cubicBezTo>
                  <a:lnTo>
                    <a:pt x="1195" y="19"/>
                  </a:lnTo>
                  <a:lnTo>
                    <a:pt x="1205" y="13"/>
                  </a:lnTo>
                  <a:cubicBezTo>
                    <a:pt x="1205" y="13"/>
                    <a:pt x="1206" y="12"/>
                    <a:pt x="1207" y="12"/>
                  </a:cubicBezTo>
                  <a:cubicBezTo>
                    <a:pt x="1208" y="12"/>
                    <a:pt x="1209" y="13"/>
                    <a:pt x="1210" y="13"/>
                  </a:cubicBezTo>
                  <a:lnTo>
                    <a:pt x="1220" y="20"/>
                  </a:lnTo>
                  <a:lnTo>
                    <a:pt x="1234" y="9"/>
                  </a:lnTo>
                  <a:cubicBezTo>
                    <a:pt x="1235" y="8"/>
                    <a:pt x="1236" y="8"/>
                    <a:pt x="1237" y="8"/>
                  </a:cubicBezTo>
                  <a:lnTo>
                    <a:pt x="1280" y="12"/>
                  </a:lnTo>
                  <a:cubicBezTo>
                    <a:pt x="1281" y="12"/>
                    <a:pt x="1282" y="13"/>
                    <a:pt x="1283" y="14"/>
                  </a:cubicBezTo>
                  <a:lnTo>
                    <a:pt x="1325" y="65"/>
                  </a:lnTo>
                  <a:lnTo>
                    <a:pt x="1359" y="79"/>
                  </a:lnTo>
                  <a:lnTo>
                    <a:pt x="1378" y="64"/>
                  </a:lnTo>
                  <a:cubicBezTo>
                    <a:pt x="1379" y="63"/>
                    <a:pt x="1380" y="63"/>
                    <a:pt x="1381" y="63"/>
                  </a:cubicBezTo>
                  <a:lnTo>
                    <a:pt x="1431" y="71"/>
                  </a:lnTo>
                  <a:lnTo>
                    <a:pt x="1455" y="55"/>
                  </a:lnTo>
                  <a:cubicBezTo>
                    <a:pt x="1455" y="55"/>
                    <a:pt x="1456" y="55"/>
                    <a:pt x="1457" y="55"/>
                  </a:cubicBezTo>
                  <a:cubicBezTo>
                    <a:pt x="1458" y="55"/>
                    <a:pt x="1459" y="55"/>
                    <a:pt x="1460" y="56"/>
                  </a:cubicBezTo>
                  <a:lnTo>
                    <a:pt x="1562" y="140"/>
                  </a:lnTo>
                  <a:cubicBezTo>
                    <a:pt x="1563" y="141"/>
                    <a:pt x="1564" y="143"/>
                    <a:pt x="1563" y="144"/>
                  </a:cubicBezTo>
                  <a:lnTo>
                    <a:pt x="1559" y="222"/>
                  </a:lnTo>
                  <a:lnTo>
                    <a:pt x="1596" y="255"/>
                  </a:lnTo>
                  <a:cubicBezTo>
                    <a:pt x="1597" y="256"/>
                    <a:pt x="1597" y="257"/>
                    <a:pt x="1597" y="258"/>
                  </a:cubicBezTo>
                  <a:cubicBezTo>
                    <a:pt x="1598" y="259"/>
                    <a:pt x="1597" y="261"/>
                    <a:pt x="1596" y="262"/>
                  </a:cubicBezTo>
                  <a:lnTo>
                    <a:pt x="1534" y="320"/>
                  </a:lnTo>
                  <a:lnTo>
                    <a:pt x="1534" y="342"/>
                  </a:lnTo>
                  <a:cubicBezTo>
                    <a:pt x="1534" y="343"/>
                    <a:pt x="1533" y="344"/>
                    <a:pt x="1533" y="345"/>
                  </a:cubicBezTo>
                  <a:lnTo>
                    <a:pt x="1478" y="408"/>
                  </a:lnTo>
                  <a:lnTo>
                    <a:pt x="1466" y="549"/>
                  </a:lnTo>
                  <a:lnTo>
                    <a:pt x="1407" y="638"/>
                  </a:lnTo>
                  <a:lnTo>
                    <a:pt x="1419" y="666"/>
                  </a:lnTo>
                  <a:lnTo>
                    <a:pt x="1432" y="717"/>
                  </a:lnTo>
                  <a:lnTo>
                    <a:pt x="1420" y="867"/>
                  </a:lnTo>
                  <a:lnTo>
                    <a:pt x="1432" y="912"/>
                  </a:lnTo>
                  <a:lnTo>
                    <a:pt x="1437" y="976"/>
                  </a:lnTo>
                  <a:lnTo>
                    <a:pt x="1465" y="1025"/>
                  </a:lnTo>
                  <a:lnTo>
                    <a:pt x="1519" y="1066"/>
                  </a:lnTo>
                  <a:lnTo>
                    <a:pt x="1534" y="1119"/>
                  </a:lnTo>
                  <a:cubicBezTo>
                    <a:pt x="1534" y="1120"/>
                    <a:pt x="1534" y="1122"/>
                    <a:pt x="1533" y="1123"/>
                  </a:cubicBezTo>
                  <a:cubicBezTo>
                    <a:pt x="1532" y="1124"/>
                    <a:pt x="1531" y="1125"/>
                    <a:pt x="1530" y="1125"/>
                  </a:cubicBezTo>
                  <a:lnTo>
                    <a:pt x="1418" y="1150"/>
                  </a:lnTo>
                  <a:lnTo>
                    <a:pt x="1381" y="1208"/>
                  </a:lnTo>
                  <a:lnTo>
                    <a:pt x="1394" y="1310"/>
                  </a:lnTo>
                  <a:lnTo>
                    <a:pt x="1365" y="1419"/>
                  </a:lnTo>
                  <a:lnTo>
                    <a:pt x="1400" y="1458"/>
                  </a:lnTo>
                  <a:lnTo>
                    <a:pt x="1457" y="1458"/>
                  </a:lnTo>
                  <a:cubicBezTo>
                    <a:pt x="1460" y="1458"/>
                    <a:pt x="1462" y="1460"/>
                    <a:pt x="1462" y="1463"/>
                  </a:cubicBezTo>
                  <a:lnTo>
                    <a:pt x="1466" y="1556"/>
                  </a:lnTo>
                  <a:cubicBezTo>
                    <a:pt x="1466" y="1557"/>
                    <a:pt x="1465" y="1559"/>
                    <a:pt x="1464" y="1560"/>
                  </a:cubicBezTo>
                  <a:cubicBezTo>
                    <a:pt x="1463" y="1560"/>
                    <a:pt x="1462" y="1561"/>
                    <a:pt x="1461" y="1561"/>
                  </a:cubicBezTo>
                  <a:cubicBezTo>
                    <a:pt x="1461" y="1561"/>
                    <a:pt x="1461" y="1561"/>
                    <a:pt x="1460" y="156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1" name="Freeform 256"/>
            <p:cNvSpPr>
              <a:spLocks noChangeArrowheads="1"/>
            </p:cNvSpPr>
            <p:nvPr/>
          </p:nvSpPr>
          <p:spPr bwMode="auto">
            <a:xfrm>
              <a:off x="5133975" y="3616325"/>
              <a:ext cx="163513" cy="165100"/>
            </a:xfrm>
            <a:custGeom>
              <a:avLst/>
              <a:gdLst/>
              <a:ahLst/>
              <a:cxnLst>
                <a:cxn ang="0">
                  <a:pos x="4" y="453"/>
                </a:cxn>
                <a:cxn ang="0">
                  <a:pos x="0" y="448"/>
                </a:cxn>
                <a:cxn ang="0">
                  <a:pos x="13" y="304"/>
                </a:cxn>
                <a:cxn ang="0">
                  <a:pos x="69" y="238"/>
                </a:cxn>
                <a:cxn ang="0">
                  <a:pos x="72" y="236"/>
                </a:cxn>
                <a:cxn ang="0">
                  <a:pos x="72" y="236"/>
                </a:cxn>
                <a:cxn ang="0">
                  <a:pos x="76" y="237"/>
                </a:cxn>
                <a:cxn ang="0">
                  <a:pos x="85" y="247"/>
                </a:cxn>
                <a:cxn ang="0">
                  <a:pos x="131" y="206"/>
                </a:cxn>
                <a:cxn ang="0">
                  <a:pos x="131" y="159"/>
                </a:cxn>
                <a:cxn ang="0">
                  <a:pos x="95" y="127"/>
                </a:cxn>
                <a:cxn ang="0">
                  <a:pos x="93" y="123"/>
                </a:cxn>
                <a:cxn ang="0">
                  <a:pos x="97" y="43"/>
                </a:cxn>
                <a:cxn ang="0">
                  <a:pos x="102" y="38"/>
                </a:cxn>
                <a:cxn ang="0">
                  <a:pos x="314" y="26"/>
                </a:cxn>
                <a:cxn ang="0">
                  <a:pos x="354" y="1"/>
                </a:cxn>
                <a:cxn ang="0">
                  <a:pos x="356" y="0"/>
                </a:cxn>
                <a:cxn ang="0">
                  <a:pos x="358" y="1"/>
                </a:cxn>
                <a:cxn ang="0">
                  <a:pos x="388" y="13"/>
                </a:cxn>
                <a:cxn ang="0">
                  <a:pos x="390" y="16"/>
                </a:cxn>
                <a:cxn ang="0">
                  <a:pos x="412" y="84"/>
                </a:cxn>
                <a:cxn ang="0">
                  <a:pos x="440" y="107"/>
                </a:cxn>
                <a:cxn ang="0">
                  <a:pos x="454" y="169"/>
                </a:cxn>
                <a:cxn ang="0">
                  <a:pos x="441" y="218"/>
                </a:cxn>
                <a:cxn ang="0">
                  <a:pos x="369" y="324"/>
                </a:cxn>
                <a:cxn ang="0">
                  <a:pos x="365" y="326"/>
                </a:cxn>
                <a:cxn ang="0">
                  <a:pos x="303" y="318"/>
                </a:cxn>
                <a:cxn ang="0">
                  <a:pos x="288" y="341"/>
                </a:cxn>
                <a:cxn ang="0">
                  <a:pos x="284" y="343"/>
                </a:cxn>
                <a:cxn ang="0">
                  <a:pos x="283" y="343"/>
                </a:cxn>
                <a:cxn ang="0">
                  <a:pos x="246" y="331"/>
                </a:cxn>
                <a:cxn ang="0">
                  <a:pos x="191" y="358"/>
                </a:cxn>
                <a:cxn ang="0">
                  <a:pos x="183" y="423"/>
                </a:cxn>
                <a:cxn ang="0">
                  <a:pos x="178" y="428"/>
                </a:cxn>
                <a:cxn ang="0">
                  <a:pos x="68" y="432"/>
                </a:cxn>
                <a:cxn ang="0">
                  <a:pos x="37" y="456"/>
                </a:cxn>
                <a:cxn ang="0">
                  <a:pos x="34" y="457"/>
                </a:cxn>
                <a:cxn ang="0">
                  <a:pos x="4" y="453"/>
                </a:cxn>
              </a:cxnLst>
              <a:rect l="0" t="0" r="r" b="b"/>
              <a:pathLst>
                <a:path w="455" h="458">
                  <a:moveTo>
                    <a:pt x="4" y="453"/>
                  </a:moveTo>
                  <a:cubicBezTo>
                    <a:pt x="1" y="453"/>
                    <a:pt x="0" y="450"/>
                    <a:pt x="0" y="448"/>
                  </a:cubicBezTo>
                  <a:lnTo>
                    <a:pt x="13" y="304"/>
                  </a:lnTo>
                  <a:lnTo>
                    <a:pt x="69" y="238"/>
                  </a:lnTo>
                  <a:cubicBezTo>
                    <a:pt x="70" y="237"/>
                    <a:pt x="71" y="236"/>
                    <a:pt x="72" y="236"/>
                  </a:cubicBezTo>
                  <a:lnTo>
                    <a:pt x="72" y="236"/>
                  </a:lnTo>
                  <a:cubicBezTo>
                    <a:pt x="74" y="236"/>
                    <a:pt x="75" y="237"/>
                    <a:pt x="76" y="237"/>
                  </a:cubicBezTo>
                  <a:lnTo>
                    <a:pt x="85" y="247"/>
                  </a:lnTo>
                  <a:lnTo>
                    <a:pt x="131" y="206"/>
                  </a:lnTo>
                  <a:lnTo>
                    <a:pt x="131" y="159"/>
                  </a:lnTo>
                  <a:lnTo>
                    <a:pt x="95" y="127"/>
                  </a:lnTo>
                  <a:cubicBezTo>
                    <a:pt x="93" y="126"/>
                    <a:pt x="93" y="125"/>
                    <a:pt x="93" y="123"/>
                  </a:cubicBezTo>
                  <a:lnTo>
                    <a:pt x="97" y="43"/>
                  </a:lnTo>
                  <a:cubicBezTo>
                    <a:pt x="97" y="40"/>
                    <a:pt x="99" y="39"/>
                    <a:pt x="102" y="38"/>
                  </a:cubicBezTo>
                  <a:lnTo>
                    <a:pt x="314" y="26"/>
                  </a:lnTo>
                  <a:lnTo>
                    <a:pt x="354" y="1"/>
                  </a:lnTo>
                  <a:cubicBezTo>
                    <a:pt x="354" y="1"/>
                    <a:pt x="355" y="0"/>
                    <a:pt x="356" y="0"/>
                  </a:cubicBezTo>
                  <a:cubicBezTo>
                    <a:pt x="357" y="0"/>
                    <a:pt x="358" y="0"/>
                    <a:pt x="358" y="1"/>
                  </a:cubicBezTo>
                  <a:lnTo>
                    <a:pt x="388" y="13"/>
                  </a:lnTo>
                  <a:cubicBezTo>
                    <a:pt x="389" y="14"/>
                    <a:pt x="390" y="15"/>
                    <a:pt x="390" y="16"/>
                  </a:cubicBezTo>
                  <a:lnTo>
                    <a:pt x="412" y="84"/>
                  </a:lnTo>
                  <a:lnTo>
                    <a:pt x="440" y="107"/>
                  </a:lnTo>
                  <a:lnTo>
                    <a:pt x="454" y="169"/>
                  </a:lnTo>
                  <a:lnTo>
                    <a:pt x="441" y="218"/>
                  </a:lnTo>
                  <a:lnTo>
                    <a:pt x="369" y="324"/>
                  </a:lnTo>
                  <a:cubicBezTo>
                    <a:pt x="368" y="325"/>
                    <a:pt x="366" y="326"/>
                    <a:pt x="365" y="326"/>
                  </a:cubicBezTo>
                  <a:lnTo>
                    <a:pt x="303" y="318"/>
                  </a:lnTo>
                  <a:lnTo>
                    <a:pt x="288" y="341"/>
                  </a:lnTo>
                  <a:cubicBezTo>
                    <a:pt x="287" y="342"/>
                    <a:pt x="286" y="343"/>
                    <a:pt x="284" y="343"/>
                  </a:cubicBezTo>
                  <a:lnTo>
                    <a:pt x="283" y="343"/>
                  </a:lnTo>
                  <a:lnTo>
                    <a:pt x="246" y="331"/>
                  </a:lnTo>
                  <a:lnTo>
                    <a:pt x="191" y="358"/>
                  </a:lnTo>
                  <a:lnTo>
                    <a:pt x="183" y="423"/>
                  </a:lnTo>
                  <a:cubicBezTo>
                    <a:pt x="183" y="426"/>
                    <a:pt x="181" y="427"/>
                    <a:pt x="178" y="428"/>
                  </a:cubicBezTo>
                  <a:lnTo>
                    <a:pt x="68" y="432"/>
                  </a:lnTo>
                  <a:lnTo>
                    <a:pt x="37" y="456"/>
                  </a:lnTo>
                  <a:cubicBezTo>
                    <a:pt x="36" y="457"/>
                    <a:pt x="35" y="457"/>
                    <a:pt x="34" y="457"/>
                  </a:cubicBezTo>
                  <a:lnTo>
                    <a:pt x="4" y="45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2" name="Freeform 257"/>
            <p:cNvSpPr>
              <a:spLocks noChangeArrowheads="1"/>
            </p:cNvSpPr>
            <p:nvPr/>
          </p:nvSpPr>
          <p:spPr bwMode="auto">
            <a:xfrm>
              <a:off x="5133975" y="3616325"/>
              <a:ext cx="163513" cy="165100"/>
            </a:xfrm>
            <a:custGeom>
              <a:avLst/>
              <a:gdLst/>
              <a:ahLst/>
              <a:cxnLst>
                <a:cxn ang="0">
                  <a:pos x="4" y="453"/>
                </a:cxn>
                <a:cxn ang="0">
                  <a:pos x="0" y="448"/>
                </a:cxn>
                <a:cxn ang="0">
                  <a:pos x="13" y="304"/>
                </a:cxn>
                <a:cxn ang="0">
                  <a:pos x="69" y="238"/>
                </a:cxn>
                <a:cxn ang="0">
                  <a:pos x="72" y="236"/>
                </a:cxn>
                <a:cxn ang="0">
                  <a:pos x="72" y="236"/>
                </a:cxn>
                <a:cxn ang="0">
                  <a:pos x="76" y="237"/>
                </a:cxn>
                <a:cxn ang="0">
                  <a:pos x="85" y="247"/>
                </a:cxn>
                <a:cxn ang="0">
                  <a:pos x="131" y="206"/>
                </a:cxn>
                <a:cxn ang="0">
                  <a:pos x="131" y="159"/>
                </a:cxn>
                <a:cxn ang="0">
                  <a:pos x="95" y="127"/>
                </a:cxn>
                <a:cxn ang="0">
                  <a:pos x="93" y="123"/>
                </a:cxn>
                <a:cxn ang="0">
                  <a:pos x="97" y="43"/>
                </a:cxn>
                <a:cxn ang="0">
                  <a:pos x="102" y="38"/>
                </a:cxn>
                <a:cxn ang="0">
                  <a:pos x="314" y="26"/>
                </a:cxn>
                <a:cxn ang="0">
                  <a:pos x="354" y="1"/>
                </a:cxn>
                <a:cxn ang="0">
                  <a:pos x="356" y="0"/>
                </a:cxn>
                <a:cxn ang="0">
                  <a:pos x="358" y="1"/>
                </a:cxn>
                <a:cxn ang="0">
                  <a:pos x="388" y="13"/>
                </a:cxn>
                <a:cxn ang="0">
                  <a:pos x="390" y="16"/>
                </a:cxn>
                <a:cxn ang="0">
                  <a:pos x="412" y="84"/>
                </a:cxn>
                <a:cxn ang="0">
                  <a:pos x="440" y="107"/>
                </a:cxn>
                <a:cxn ang="0">
                  <a:pos x="454" y="169"/>
                </a:cxn>
                <a:cxn ang="0">
                  <a:pos x="441" y="218"/>
                </a:cxn>
                <a:cxn ang="0">
                  <a:pos x="369" y="324"/>
                </a:cxn>
                <a:cxn ang="0">
                  <a:pos x="365" y="326"/>
                </a:cxn>
                <a:cxn ang="0">
                  <a:pos x="303" y="318"/>
                </a:cxn>
                <a:cxn ang="0">
                  <a:pos x="288" y="341"/>
                </a:cxn>
                <a:cxn ang="0">
                  <a:pos x="284" y="343"/>
                </a:cxn>
                <a:cxn ang="0">
                  <a:pos x="283" y="343"/>
                </a:cxn>
                <a:cxn ang="0">
                  <a:pos x="246" y="331"/>
                </a:cxn>
                <a:cxn ang="0">
                  <a:pos x="191" y="358"/>
                </a:cxn>
                <a:cxn ang="0">
                  <a:pos x="183" y="423"/>
                </a:cxn>
                <a:cxn ang="0">
                  <a:pos x="178" y="428"/>
                </a:cxn>
                <a:cxn ang="0">
                  <a:pos x="68" y="432"/>
                </a:cxn>
                <a:cxn ang="0">
                  <a:pos x="37" y="456"/>
                </a:cxn>
                <a:cxn ang="0">
                  <a:pos x="34" y="457"/>
                </a:cxn>
                <a:cxn ang="0">
                  <a:pos x="4" y="453"/>
                </a:cxn>
              </a:cxnLst>
              <a:rect l="0" t="0" r="r" b="b"/>
              <a:pathLst>
                <a:path w="455" h="458">
                  <a:moveTo>
                    <a:pt x="4" y="453"/>
                  </a:moveTo>
                  <a:cubicBezTo>
                    <a:pt x="1" y="453"/>
                    <a:pt x="0" y="450"/>
                    <a:pt x="0" y="448"/>
                  </a:cubicBezTo>
                  <a:lnTo>
                    <a:pt x="13" y="304"/>
                  </a:lnTo>
                  <a:lnTo>
                    <a:pt x="69" y="238"/>
                  </a:lnTo>
                  <a:cubicBezTo>
                    <a:pt x="70" y="237"/>
                    <a:pt x="71" y="236"/>
                    <a:pt x="72" y="236"/>
                  </a:cubicBezTo>
                  <a:lnTo>
                    <a:pt x="72" y="236"/>
                  </a:lnTo>
                  <a:cubicBezTo>
                    <a:pt x="74" y="236"/>
                    <a:pt x="75" y="237"/>
                    <a:pt x="76" y="237"/>
                  </a:cubicBezTo>
                  <a:lnTo>
                    <a:pt x="85" y="247"/>
                  </a:lnTo>
                  <a:lnTo>
                    <a:pt x="131" y="206"/>
                  </a:lnTo>
                  <a:lnTo>
                    <a:pt x="131" y="159"/>
                  </a:lnTo>
                  <a:lnTo>
                    <a:pt x="95" y="127"/>
                  </a:lnTo>
                  <a:cubicBezTo>
                    <a:pt x="93" y="126"/>
                    <a:pt x="93" y="125"/>
                    <a:pt x="93" y="123"/>
                  </a:cubicBezTo>
                  <a:lnTo>
                    <a:pt x="97" y="43"/>
                  </a:lnTo>
                  <a:cubicBezTo>
                    <a:pt x="97" y="40"/>
                    <a:pt x="99" y="39"/>
                    <a:pt x="102" y="38"/>
                  </a:cubicBezTo>
                  <a:lnTo>
                    <a:pt x="314" y="26"/>
                  </a:lnTo>
                  <a:lnTo>
                    <a:pt x="354" y="1"/>
                  </a:lnTo>
                  <a:cubicBezTo>
                    <a:pt x="354" y="1"/>
                    <a:pt x="355" y="0"/>
                    <a:pt x="356" y="0"/>
                  </a:cubicBezTo>
                  <a:cubicBezTo>
                    <a:pt x="357" y="0"/>
                    <a:pt x="358" y="0"/>
                    <a:pt x="358" y="1"/>
                  </a:cubicBezTo>
                  <a:lnTo>
                    <a:pt x="388" y="13"/>
                  </a:lnTo>
                  <a:cubicBezTo>
                    <a:pt x="389" y="14"/>
                    <a:pt x="390" y="15"/>
                    <a:pt x="390" y="16"/>
                  </a:cubicBezTo>
                  <a:lnTo>
                    <a:pt x="412" y="84"/>
                  </a:lnTo>
                  <a:lnTo>
                    <a:pt x="440" y="107"/>
                  </a:lnTo>
                  <a:lnTo>
                    <a:pt x="454" y="169"/>
                  </a:lnTo>
                  <a:lnTo>
                    <a:pt x="441" y="218"/>
                  </a:lnTo>
                  <a:lnTo>
                    <a:pt x="369" y="324"/>
                  </a:lnTo>
                  <a:cubicBezTo>
                    <a:pt x="368" y="325"/>
                    <a:pt x="366" y="326"/>
                    <a:pt x="365" y="326"/>
                  </a:cubicBezTo>
                  <a:lnTo>
                    <a:pt x="303" y="318"/>
                  </a:lnTo>
                  <a:lnTo>
                    <a:pt x="288" y="341"/>
                  </a:lnTo>
                  <a:cubicBezTo>
                    <a:pt x="287" y="342"/>
                    <a:pt x="286" y="343"/>
                    <a:pt x="284" y="343"/>
                  </a:cubicBezTo>
                  <a:lnTo>
                    <a:pt x="283" y="343"/>
                  </a:lnTo>
                  <a:lnTo>
                    <a:pt x="246" y="331"/>
                  </a:lnTo>
                  <a:lnTo>
                    <a:pt x="191" y="358"/>
                  </a:lnTo>
                  <a:lnTo>
                    <a:pt x="183" y="423"/>
                  </a:lnTo>
                  <a:cubicBezTo>
                    <a:pt x="183" y="426"/>
                    <a:pt x="181" y="427"/>
                    <a:pt x="178" y="428"/>
                  </a:cubicBezTo>
                  <a:lnTo>
                    <a:pt x="68" y="432"/>
                  </a:lnTo>
                  <a:lnTo>
                    <a:pt x="37" y="456"/>
                  </a:lnTo>
                  <a:cubicBezTo>
                    <a:pt x="36" y="457"/>
                    <a:pt x="35" y="457"/>
                    <a:pt x="34" y="457"/>
                  </a:cubicBezTo>
                  <a:lnTo>
                    <a:pt x="4" y="45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3" name="Freeform 258"/>
            <p:cNvSpPr>
              <a:spLocks noChangeArrowheads="1"/>
            </p:cNvSpPr>
            <p:nvPr/>
          </p:nvSpPr>
          <p:spPr bwMode="auto">
            <a:xfrm>
              <a:off x="5224463" y="4019550"/>
              <a:ext cx="98425" cy="239713"/>
            </a:xfrm>
            <a:custGeom>
              <a:avLst/>
              <a:gdLst/>
              <a:ahLst/>
              <a:cxnLst>
                <a:cxn ang="0">
                  <a:pos x="199" y="666"/>
                </a:cxn>
                <a:cxn ang="0">
                  <a:pos x="196" y="664"/>
                </a:cxn>
                <a:cxn ang="0">
                  <a:pos x="195" y="660"/>
                </a:cxn>
                <a:cxn ang="0">
                  <a:pos x="199" y="642"/>
                </a:cxn>
                <a:cxn ang="0">
                  <a:pos x="141" y="592"/>
                </a:cxn>
                <a:cxn ang="0">
                  <a:pos x="128" y="561"/>
                </a:cxn>
                <a:cxn ang="0">
                  <a:pos x="128" y="557"/>
                </a:cxn>
                <a:cxn ang="0">
                  <a:pos x="153" y="502"/>
                </a:cxn>
                <a:cxn ang="0">
                  <a:pos x="140" y="446"/>
                </a:cxn>
                <a:cxn ang="0">
                  <a:pos x="134" y="438"/>
                </a:cxn>
                <a:cxn ang="0">
                  <a:pos x="72" y="450"/>
                </a:cxn>
                <a:cxn ang="0">
                  <a:pos x="69" y="448"/>
                </a:cxn>
                <a:cxn ang="0">
                  <a:pos x="31" y="402"/>
                </a:cxn>
                <a:cxn ang="0">
                  <a:pos x="1" y="368"/>
                </a:cxn>
                <a:cxn ang="0">
                  <a:pos x="0" y="363"/>
                </a:cxn>
                <a:cxn ang="0">
                  <a:pos x="26" y="283"/>
                </a:cxn>
                <a:cxn ang="0">
                  <a:pos x="54" y="262"/>
                </a:cxn>
                <a:cxn ang="0">
                  <a:pos x="43" y="244"/>
                </a:cxn>
                <a:cxn ang="0">
                  <a:pos x="42" y="187"/>
                </a:cxn>
                <a:cxn ang="0">
                  <a:pos x="51" y="131"/>
                </a:cxn>
                <a:cxn ang="0">
                  <a:pos x="71" y="110"/>
                </a:cxn>
                <a:cxn ang="0">
                  <a:pos x="22" y="7"/>
                </a:cxn>
                <a:cxn ang="0">
                  <a:pos x="23" y="2"/>
                </a:cxn>
                <a:cxn ang="0">
                  <a:pos x="26" y="0"/>
                </a:cxn>
                <a:cxn ang="0">
                  <a:pos x="28" y="1"/>
                </a:cxn>
                <a:cxn ang="0">
                  <a:pos x="70" y="22"/>
                </a:cxn>
                <a:cxn ang="0">
                  <a:pos x="102" y="17"/>
                </a:cxn>
                <a:cxn ang="0">
                  <a:pos x="105" y="19"/>
                </a:cxn>
                <a:cxn ang="0">
                  <a:pos x="107" y="23"/>
                </a:cxn>
                <a:cxn ang="0">
                  <a:pos x="103" y="50"/>
                </a:cxn>
                <a:cxn ang="0">
                  <a:pos x="131" y="87"/>
                </a:cxn>
                <a:cxn ang="0">
                  <a:pos x="132" y="200"/>
                </a:cxn>
                <a:cxn ang="0">
                  <a:pos x="107" y="255"/>
                </a:cxn>
                <a:cxn ang="0">
                  <a:pos x="157" y="376"/>
                </a:cxn>
                <a:cxn ang="0">
                  <a:pos x="161" y="405"/>
                </a:cxn>
                <a:cxn ang="0">
                  <a:pos x="177" y="398"/>
                </a:cxn>
                <a:cxn ang="0">
                  <a:pos x="178" y="398"/>
                </a:cxn>
                <a:cxn ang="0">
                  <a:pos x="181" y="399"/>
                </a:cxn>
                <a:cxn ang="0">
                  <a:pos x="200" y="413"/>
                </a:cxn>
                <a:cxn ang="0">
                  <a:pos x="174" y="358"/>
                </a:cxn>
                <a:cxn ang="0">
                  <a:pos x="176" y="352"/>
                </a:cxn>
                <a:cxn ang="0">
                  <a:pos x="178" y="351"/>
                </a:cxn>
                <a:cxn ang="0">
                  <a:pos x="182" y="353"/>
                </a:cxn>
                <a:cxn ang="0">
                  <a:pos x="271" y="468"/>
                </a:cxn>
                <a:cxn ang="0">
                  <a:pos x="272" y="471"/>
                </a:cxn>
                <a:cxn ang="0">
                  <a:pos x="263" y="560"/>
                </a:cxn>
                <a:cxn ang="0">
                  <a:pos x="262" y="563"/>
                </a:cxn>
                <a:cxn ang="0">
                  <a:pos x="221" y="592"/>
                </a:cxn>
                <a:cxn ang="0">
                  <a:pos x="217" y="615"/>
                </a:cxn>
                <a:cxn ang="0">
                  <a:pos x="221" y="660"/>
                </a:cxn>
                <a:cxn ang="0">
                  <a:pos x="220" y="664"/>
                </a:cxn>
                <a:cxn ang="0">
                  <a:pos x="217" y="666"/>
                </a:cxn>
                <a:cxn ang="0">
                  <a:pos x="199" y="666"/>
                </a:cxn>
              </a:cxnLst>
              <a:rect l="0" t="0" r="r" b="b"/>
              <a:pathLst>
                <a:path w="273" h="667">
                  <a:moveTo>
                    <a:pt x="199" y="666"/>
                  </a:moveTo>
                  <a:cubicBezTo>
                    <a:pt x="198" y="666"/>
                    <a:pt x="197" y="665"/>
                    <a:pt x="196" y="664"/>
                  </a:cubicBezTo>
                  <a:cubicBezTo>
                    <a:pt x="195" y="663"/>
                    <a:pt x="195" y="661"/>
                    <a:pt x="195" y="660"/>
                  </a:cubicBezTo>
                  <a:lnTo>
                    <a:pt x="199" y="642"/>
                  </a:lnTo>
                  <a:lnTo>
                    <a:pt x="141" y="592"/>
                  </a:lnTo>
                  <a:lnTo>
                    <a:pt x="128" y="561"/>
                  </a:lnTo>
                  <a:cubicBezTo>
                    <a:pt x="127" y="560"/>
                    <a:pt x="127" y="559"/>
                    <a:pt x="128" y="557"/>
                  </a:cubicBezTo>
                  <a:lnTo>
                    <a:pt x="153" y="502"/>
                  </a:lnTo>
                  <a:lnTo>
                    <a:pt x="140" y="446"/>
                  </a:lnTo>
                  <a:lnTo>
                    <a:pt x="134" y="438"/>
                  </a:lnTo>
                  <a:lnTo>
                    <a:pt x="72" y="450"/>
                  </a:lnTo>
                  <a:cubicBezTo>
                    <a:pt x="71" y="450"/>
                    <a:pt x="70" y="449"/>
                    <a:pt x="69" y="448"/>
                  </a:cubicBezTo>
                  <a:lnTo>
                    <a:pt x="31" y="402"/>
                  </a:lnTo>
                  <a:lnTo>
                    <a:pt x="1" y="368"/>
                  </a:lnTo>
                  <a:cubicBezTo>
                    <a:pt x="0" y="367"/>
                    <a:pt x="0" y="365"/>
                    <a:pt x="0" y="363"/>
                  </a:cubicBezTo>
                  <a:lnTo>
                    <a:pt x="26" y="283"/>
                  </a:lnTo>
                  <a:lnTo>
                    <a:pt x="54" y="262"/>
                  </a:lnTo>
                  <a:lnTo>
                    <a:pt x="43" y="244"/>
                  </a:lnTo>
                  <a:lnTo>
                    <a:pt x="42" y="187"/>
                  </a:lnTo>
                  <a:lnTo>
                    <a:pt x="51" y="131"/>
                  </a:lnTo>
                  <a:lnTo>
                    <a:pt x="71" y="110"/>
                  </a:lnTo>
                  <a:lnTo>
                    <a:pt x="22" y="7"/>
                  </a:lnTo>
                  <a:cubicBezTo>
                    <a:pt x="21" y="5"/>
                    <a:pt x="21" y="3"/>
                    <a:pt x="23" y="2"/>
                  </a:cubicBezTo>
                  <a:cubicBezTo>
                    <a:pt x="23" y="1"/>
                    <a:pt x="25" y="0"/>
                    <a:pt x="26" y="0"/>
                  </a:cubicBezTo>
                  <a:cubicBezTo>
                    <a:pt x="27" y="0"/>
                    <a:pt x="27" y="1"/>
                    <a:pt x="28" y="1"/>
                  </a:cubicBezTo>
                  <a:lnTo>
                    <a:pt x="70" y="22"/>
                  </a:lnTo>
                  <a:lnTo>
                    <a:pt x="102" y="17"/>
                  </a:lnTo>
                  <a:cubicBezTo>
                    <a:pt x="103" y="17"/>
                    <a:pt x="104" y="18"/>
                    <a:pt x="105" y="19"/>
                  </a:cubicBezTo>
                  <a:cubicBezTo>
                    <a:pt x="107" y="20"/>
                    <a:pt x="107" y="21"/>
                    <a:pt x="107" y="23"/>
                  </a:cubicBezTo>
                  <a:lnTo>
                    <a:pt x="103" y="50"/>
                  </a:lnTo>
                  <a:lnTo>
                    <a:pt x="131" y="87"/>
                  </a:lnTo>
                  <a:lnTo>
                    <a:pt x="132" y="200"/>
                  </a:lnTo>
                  <a:lnTo>
                    <a:pt x="107" y="255"/>
                  </a:lnTo>
                  <a:lnTo>
                    <a:pt x="157" y="376"/>
                  </a:lnTo>
                  <a:lnTo>
                    <a:pt x="161" y="405"/>
                  </a:lnTo>
                  <a:lnTo>
                    <a:pt x="177" y="398"/>
                  </a:lnTo>
                  <a:lnTo>
                    <a:pt x="178" y="398"/>
                  </a:lnTo>
                  <a:cubicBezTo>
                    <a:pt x="179" y="398"/>
                    <a:pt x="180" y="398"/>
                    <a:pt x="181" y="399"/>
                  </a:cubicBezTo>
                  <a:lnTo>
                    <a:pt x="200" y="413"/>
                  </a:lnTo>
                  <a:lnTo>
                    <a:pt x="174" y="358"/>
                  </a:lnTo>
                  <a:cubicBezTo>
                    <a:pt x="173" y="356"/>
                    <a:pt x="174" y="353"/>
                    <a:pt x="176" y="352"/>
                  </a:cubicBezTo>
                  <a:cubicBezTo>
                    <a:pt x="177" y="352"/>
                    <a:pt x="177" y="351"/>
                    <a:pt x="178" y="351"/>
                  </a:cubicBezTo>
                  <a:cubicBezTo>
                    <a:pt x="180" y="351"/>
                    <a:pt x="181" y="352"/>
                    <a:pt x="182" y="353"/>
                  </a:cubicBezTo>
                  <a:lnTo>
                    <a:pt x="271" y="468"/>
                  </a:lnTo>
                  <a:cubicBezTo>
                    <a:pt x="272" y="468"/>
                    <a:pt x="272" y="470"/>
                    <a:pt x="272" y="471"/>
                  </a:cubicBezTo>
                  <a:lnTo>
                    <a:pt x="263" y="560"/>
                  </a:lnTo>
                  <a:cubicBezTo>
                    <a:pt x="263" y="561"/>
                    <a:pt x="263" y="562"/>
                    <a:pt x="262" y="563"/>
                  </a:cubicBezTo>
                  <a:lnTo>
                    <a:pt x="221" y="592"/>
                  </a:lnTo>
                  <a:lnTo>
                    <a:pt x="217" y="615"/>
                  </a:lnTo>
                  <a:lnTo>
                    <a:pt x="221" y="660"/>
                  </a:lnTo>
                  <a:cubicBezTo>
                    <a:pt x="221" y="662"/>
                    <a:pt x="221" y="663"/>
                    <a:pt x="220" y="664"/>
                  </a:cubicBezTo>
                  <a:cubicBezTo>
                    <a:pt x="219" y="665"/>
                    <a:pt x="218" y="666"/>
                    <a:pt x="217" y="666"/>
                  </a:cubicBezTo>
                  <a:lnTo>
                    <a:pt x="199" y="66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4" name="Freeform 259"/>
            <p:cNvSpPr>
              <a:spLocks noChangeArrowheads="1"/>
            </p:cNvSpPr>
            <p:nvPr/>
          </p:nvSpPr>
          <p:spPr bwMode="auto">
            <a:xfrm>
              <a:off x="5224463" y="4019550"/>
              <a:ext cx="98425" cy="239713"/>
            </a:xfrm>
            <a:custGeom>
              <a:avLst/>
              <a:gdLst/>
              <a:ahLst/>
              <a:cxnLst>
                <a:cxn ang="0">
                  <a:pos x="199" y="666"/>
                </a:cxn>
                <a:cxn ang="0">
                  <a:pos x="196" y="664"/>
                </a:cxn>
                <a:cxn ang="0">
                  <a:pos x="195" y="660"/>
                </a:cxn>
                <a:cxn ang="0">
                  <a:pos x="199" y="642"/>
                </a:cxn>
                <a:cxn ang="0">
                  <a:pos x="141" y="592"/>
                </a:cxn>
                <a:cxn ang="0">
                  <a:pos x="128" y="561"/>
                </a:cxn>
                <a:cxn ang="0">
                  <a:pos x="128" y="557"/>
                </a:cxn>
                <a:cxn ang="0">
                  <a:pos x="153" y="502"/>
                </a:cxn>
                <a:cxn ang="0">
                  <a:pos x="140" y="446"/>
                </a:cxn>
                <a:cxn ang="0">
                  <a:pos x="134" y="438"/>
                </a:cxn>
                <a:cxn ang="0">
                  <a:pos x="72" y="450"/>
                </a:cxn>
                <a:cxn ang="0">
                  <a:pos x="69" y="448"/>
                </a:cxn>
                <a:cxn ang="0">
                  <a:pos x="31" y="402"/>
                </a:cxn>
                <a:cxn ang="0">
                  <a:pos x="1" y="368"/>
                </a:cxn>
                <a:cxn ang="0">
                  <a:pos x="0" y="363"/>
                </a:cxn>
                <a:cxn ang="0">
                  <a:pos x="26" y="283"/>
                </a:cxn>
                <a:cxn ang="0">
                  <a:pos x="54" y="262"/>
                </a:cxn>
                <a:cxn ang="0">
                  <a:pos x="43" y="244"/>
                </a:cxn>
                <a:cxn ang="0">
                  <a:pos x="42" y="187"/>
                </a:cxn>
                <a:cxn ang="0">
                  <a:pos x="51" y="131"/>
                </a:cxn>
                <a:cxn ang="0">
                  <a:pos x="71" y="110"/>
                </a:cxn>
                <a:cxn ang="0">
                  <a:pos x="22" y="7"/>
                </a:cxn>
                <a:cxn ang="0">
                  <a:pos x="23" y="2"/>
                </a:cxn>
                <a:cxn ang="0">
                  <a:pos x="26" y="0"/>
                </a:cxn>
                <a:cxn ang="0">
                  <a:pos x="28" y="1"/>
                </a:cxn>
                <a:cxn ang="0">
                  <a:pos x="70" y="22"/>
                </a:cxn>
                <a:cxn ang="0">
                  <a:pos x="102" y="17"/>
                </a:cxn>
                <a:cxn ang="0">
                  <a:pos x="105" y="19"/>
                </a:cxn>
                <a:cxn ang="0">
                  <a:pos x="107" y="23"/>
                </a:cxn>
                <a:cxn ang="0">
                  <a:pos x="103" y="50"/>
                </a:cxn>
                <a:cxn ang="0">
                  <a:pos x="131" y="87"/>
                </a:cxn>
                <a:cxn ang="0">
                  <a:pos x="132" y="200"/>
                </a:cxn>
                <a:cxn ang="0">
                  <a:pos x="107" y="255"/>
                </a:cxn>
                <a:cxn ang="0">
                  <a:pos x="157" y="376"/>
                </a:cxn>
                <a:cxn ang="0">
                  <a:pos x="161" y="405"/>
                </a:cxn>
                <a:cxn ang="0">
                  <a:pos x="177" y="398"/>
                </a:cxn>
                <a:cxn ang="0">
                  <a:pos x="178" y="398"/>
                </a:cxn>
                <a:cxn ang="0">
                  <a:pos x="181" y="399"/>
                </a:cxn>
                <a:cxn ang="0">
                  <a:pos x="200" y="413"/>
                </a:cxn>
                <a:cxn ang="0">
                  <a:pos x="174" y="358"/>
                </a:cxn>
                <a:cxn ang="0">
                  <a:pos x="176" y="352"/>
                </a:cxn>
                <a:cxn ang="0">
                  <a:pos x="178" y="351"/>
                </a:cxn>
                <a:cxn ang="0">
                  <a:pos x="182" y="353"/>
                </a:cxn>
                <a:cxn ang="0">
                  <a:pos x="271" y="468"/>
                </a:cxn>
                <a:cxn ang="0">
                  <a:pos x="272" y="471"/>
                </a:cxn>
                <a:cxn ang="0">
                  <a:pos x="263" y="560"/>
                </a:cxn>
                <a:cxn ang="0">
                  <a:pos x="262" y="563"/>
                </a:cxn>
                <a:cxn ang="0">
                  <a:pos x="221" y="592"/>
                </a:cxn>
                <a:cxn ang="0">
                  <a:pos x="217" y="615"/>
                </a:cxn>
                <a:cxn ang="0">
                  <a:pos x="221" y="660"/>
                </a:cxn>
                <a:cxn ang="0">
                  <a:pos x="220" y="664"/>
                </a:cxn>
                <a:cxn ang="0">
                  <a:pos x="217" y="666"/>
                </a:cxn>
                <a:cxn ang="0">
                  <a:pos x="199" y="666"/>
                </a:cxn>
              </a:cxnLst>
              <a:rect l="0" t="0" r="r" b="b"/>
              <a:pathLst>
                <a:path w="273" h="667">
                  <a:moveTo>
                    <a:pt x="199" y="666"/>
                  </a:moveTo>
                  <a:cubicBezTo>
                    <a:pt x="198" y="666"/>
                    <a:pt x="197" y="665"/>
                    <a:pt x="196" y="664"/>
                  </a:cubicBezTo>
                  <a:cubicBezTo>
                    <a:pt x="195" y="663"/>
                    <a:pt x="195" y="661"/>
                    <a:pt x="195" y="660"/>
                  </a:cubicBezTo>
                  <a:lnTo>
                    <a:pt x="199" y="642"/>
                  </a:lnTo>
                  <a:lnTo>
                    <a:pt x="141" y="592"/>
                  </a:lnTo>
                  <a:lnTo>
                    <a:pt x="128" y="561"/>
                  </a:lnTo>
                  <a:cubicBezTo>
                    <a:pt x="127" y="560"/>
                    <a:pt x="127" y="559"/>
                    <a:pt x="128" y="557"/>
                  </a:cubicBezTo>
                  <a:lnTo>
                    <a:pt x="153" y="502"/>
                  </a:lnTo>
                  <a:lnTo>
                    <a:pt x="140" y="446"/>
                  </a:lnTo>
                  <a:lnTo>
                    <a:pt x="134" y="438"/>
                  </a:lnTo>
                  <a:lnTo>
                    <a:pt x="72" y="450"/>
                  </a:lnTo>
                  <a:cubicBezTo>
                    <a:pt x="71" y="450"/>
                    <a:pt x="70" y="449"/>
                    <a:pt x="69" y="448"/>
                  </a:cubicBezTo>
                  <a:lnTo>
                    <a:pt x="31" y="402"/>
                  </a:lnTo>
                  <a:lnTo>
                    <a:pt x="1" y="368"/>
                  </a:lnTo>
                  <a:cubicBezTo>
                    <a:pt x="0" y="367"/>
                    <a:pt x="0" y="365"/>
                    <a:pt x="0" y="363"/>
                  </a:cubicBezTo>
                  <a:lnTo>
                    <a:pt x="26" y="283"/>
                  </a:lnTo>
                  <a:lnTo>
                    <a:pt x="54" y="262"/>
                  </a:lnTo>
                  <a:lnTo>
                    <a:pt x="43" y="244"/>
                  </a:lnTo>
                  <a:lnTo>
                    <a:pt x="42" y="187"/>
                  </a:lnTo>
                  <a:lnTo>
                    <a:pt x="51" y="131"/>
                  </a:lnTo>
                  <a:lnTo>
                    <a:pt x="71" y="110"/>
                  </a:lnTo>
                  <a:lnTo>
                    <a:pt x="22" y="7"/>
                  </a:lnTo>
                  <a:cubicBezTo>
                    <a:pt x="21" y="5"/>
                    <a:pt x="21" y="3"/>
                    <a:pt x="23" y="2"/>
                  </a:cubicBezTo>
                  <a:cubicBezTo>
                    <a:pt x="23" y="1"/>
                    <a:pt x="25" y="0"/>
                    <a:pt x="26" y="0"/>
                  </a:cubicBezTo>
                  <a:cubicBezTo>
                    <a:pt x="27" y="0"/>
                    <a:pt x="27" y="1"/>
                    <a:pt x="28" y="1"/>
                  </a:cubicBezTo>
                  <a:lnTo>
                    <a:pt x="70" y="22"/>
                  </a:lnTo>
                  <a:lnTo>
                    <a:pt x="102" y="17"/>
                  </a:lnTo>
                  <a:cubicBezTo>
                    <a:pt x="103" y="17"/>
                    <a:pt x="104" y="18"/>
                    <a:pt x="105" y="19"/>
                  </a:cubicBezTo>
                  <a:cubicBezTo>
                    <a:pt x="107" y="20"/>
                    <a:pt x="107" y="21"/>
                    <a:pt x="107" y="23"/>
                  </a:cubicBezTo>
                  <a:lnTo>
                    <a:pt x="103" y="50"/>
                  </a:lnTo>
                  <a:lnTo>
                    <a:pt x="131" y="87"/>
                  </a:lnTo>
                  <a:lnTo>
                    <a:pt x="132" y="200"/>
                  </a:lnTo>
                  <a:lnTo>
                    <a:pt x="107" y="255"/>
                  </a:lnTo>
                  <a:lnTo>
                    <a:pt x="157" y="376"/>
                  </a:lnTo>
                  <a:lnTo>
                    <a:pt x="161" y="405"/>
                  </a:lnTo>
                  <a:lnTo>
                    <a:pt x="177" y="398"/>
                  </a:lnTo>
                  <a:lnTo>
                    <a:pt x="178" y="398"/>
                  </a:lnTo>
                  <a:cubicBezTo>
                    <a:pt x="179" y="398"/>
                    <a:pt x="180" y="398"/>
                    <a:pt x="181" y="399"/>
                  </a:cubicBezTo>
                  <a:lnTo>
                    <a:pt x="200" y="413"/>
                  </a:lnTo>
                  <a:lnTo>
                    <a:pt x="174" y="358"/>
                  </a:lnTo>
                  <a:cubicBezTo>
                    <a:pt x="173" y="356"/>
                    <a:pt x="174" y="353"/>
                    <a:pt x="176" y="352"/>
                  </a:cubicBezTo>
                  <a:cubicBezTo>
                    <a:pt x="177" y="352"/>
                    <a:pt x="177" y="351"/>
                    <a:pt x="178" y="351"/>
                  </a:cubicBezTo>
                  <a:cubicBezTo>
                    <a:pt x="180" y="351"/>
                    <a:pt x="181" y="352"/>
                    <a:pt x="182" y="353"/>
                  </a:cubicBezTo>
                  <a:lnTo>
                    <a:pt x="271" y="468"/>
                  </a:lnTo>
                  <a:cubicBezTo>
                    <a:pt x="272" y="468"/>
                    <a:pt x="272" y="470"/>
                    <a:pt x="272" y="471"/>
                  </a:cubicBezTo>
                  <a:lnTo>
                    <a:pt x="263" y="560"/>
                  </a:lnTo>
                  <a:cubicBezTo>
                    <a:pt x="263" y="561"/>
                    <a:pt x="263" y="562"/>
                    <a:pt x="262" y="563"/>
                  </a:cubicBezTo>
                  <a:lnTo>
                    <a:pt x="221" y="592"/>
                  </a:lnTo>
                  <a:lnTo>
                    <a:pt x="217" y="615"/>
                  </a:lnTo>
                  <a:lnTo>
                    <a:pt x="221" y="660"/>
                  </a:lnTo>
                  <a:cubicBezTo>
                    <a:pt x="221" y="662"/>
                    <a:pt x="221" y="663"/>
                    <a:pt x="220" y="664"/>
                  </a:cubicBezTo>
                  <a:cubicBezTo>
                    <a:pt x="219" y="665"/>
                    <a:pt x="218" y="666"/>
                    <a:pt x="217" y="666"/>
                  </a:cubicBezTo>
                  <a:lnTo>
                    <a:pt x="199" y="66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5" name="Freeform 260"/>
            <p:cNvSpPr>
              <a:spLocks noChangeArrowheads="1"/>
            </p:cNvSpPr>
            <p:nvPr/>
          </p:nvSpPr>
          <p:spPr bwMode="auto">
            <a:xfrm>
              <a:off x="5141913" y="4049713"/>
              <a:ext cx="325437" cy="520700"/>
            </a:xfrm>
            <a:custGeom>
              <a:avLst/>
              <a:gdLst/>
              <a:ahLst/>
              <a:cxnLst>
                <a:cxn ang="0">
                  <a:pos x="169" y="1439"/>
                </a:cxn>
                <a:cxn ang="0">
                  <a:pos x="157" y="1211"/>
                </a:cxn>
                <a:cxn ang="0">
                  <a:pos x="136" y="1019"/>
                </a:cxn>
                <a:cxn ang="0">
                  <a:pos x="238" y="828"/>
                </a:cxn>
                <a:cxn ang="0">
                  <a:pos x="246" y="676"/>
                </a:cxn>
                <a:cxn ang="0">
                  <a:pos x="221" y="529"/>
                </a:cxn>
                <a:cxn ang="0">
                  <a:pos x="25" y="479"/>
                </a:cxn>
                <a:cxn ang="0">
                  <a:pos x="21" y="449"/>
                </a:cxn>
                <a:cxn ang="0">
                  <a:pos x="0" y="401"/>
                </a:cxn>
                <a:cxn ang="0">
                  <a:pos x="266" y="309"/>
                </a:cxn>
                <a:cxn ang="0">
                  <a:pos x="271" y="311"/>
                </a:cxn>
                <a:cxn ang="0">
                  <a:pos x="369" y="343"/>
                </a:cxn>
                <a:cxn ang="0">
                  <a:pos x="381" y="357"/>
                </a:cxn>
                <a:cxn ang="0">
                  <a:pos x="370" y="474"/>
                </a:cxn>
                <a:cxn ang="0">
                  <a:pos x="440" y="551"/>
                </a:cxn>
                <a:cxn ang="0">
                  <a:pos x="438" y="571"/>
                </a:cxn>
                <a:cxn ang="0">
                  <a:pos x="441" y="530"/>
                </a:cxn>
                <a:cxn ang="0">
                  <a:pos x="447" y="500"/>
                </a:cxn>
                <a:cxn ang="0">
                  <a:pos x="495" y="387"/>
                </a:cxn>
                <a:cxn ang="0">
                  <a:pos x="390" y="175"/>
                </a:cxn>
                <a:cxn ang="0">
                  <a:pos x="419" y="97"/>
                </a:cxn>
                <a:cxn ang="0">
                  <a:pos x="545" y="111"/>
                </a:cxn>
                <a:cxn ang="0">
                  <a:pos x="702" y="68"/>
                </a:cxn>
                <a:cxn ang="0">
                  <a:pos x="705" y="68"/>
                </a:cxn>
                <a:cxn ang="0">
                  <a:pos x="838" y="47"/>
                </a:cxn>
                <a:cxn ang="0">
                  <a:pos x="877" y="5"/>
                </a:cxn>
                <a:cxn ang="0">
                  <a:pos x="882" y="0"/>
                </a:cxn>
                <a:cxn ang="0">
                  <a:pos x="903" y="50"/>
                </a:cxn>
                <a:cxn ang="0">
                  <a:pos x="873" y="125"/>
                </a:cxn>
                <a:cxn ang="0">
                  <a:pos x="878" y="322"/>
                </a:cxn>
                <a:cxn ang="0">
                  <a:pos x="886" y="325"/>
                </a:cxn>
                <a:cxn ang="0">
                  <a:pos x="898" y="371"/>
                </a:cxn>
                <a:cxn ang="0">
                  <a:pos x="884" y="415"/>
                </a:cxn>
                <a:cxn ang="0">
                  <a:pos x="882" y="445"/>
                </a:cxn>
                <a:cxn ang="0">
                  <a:pos x="814" y="525"/>
                </a:cxn>
                <a:cxn ang="0">
                  <a:pos x="753" y="575"/>
                </a:cxn>
                <a:cxn ang="0">
                  <a:pos x="551" y="677"/>
                </a:cxn>
                <a:cxn ang="0">
                  <a:pos x="559" y="689"/>
                </a:cxn>
                <a:cxn ang="0">
                  <a:pos x="522" y="741"/>
                </a:cxn>
                <a:cxn ang="0">
                  <a:pos x="518" y="740"/>
                </a:cxn>
                <a:cxn ang="0">
                  <a:pos x="500" y="742"/>
                </a:cxn>
                <a:cxn ang="0">
                  <a:pos x="395" y="883"/>
                </a:cxn>
                <a:cxn ang="0">
                  <a:pos x="452" y="1024"/>
                </a:cxn>
                <a:cxn ang="0">
                  <a:pos x="458" y="1020"/>
                </a:cxn>
                <a:cxn ang="0">
                  <a:pos x="463" y="1025"/>
                </a:cxn>
                <a:cxn ang="0">
                  <a:pos x="450" y="1175"/>
                </a:cxn>
                <a:cxn ang="0">
                  <a:pos x="455" y="1172"/>
                </a:cxn>
                <a:cxn ang="0">
                  <a:pos x="454" y="1207"/>
                </a:cxn>
                <a:cxn ang="0">
                  <a:pos x="240" y="1338"/>
                </a:cxn>
                <a:cxn ang="0">
                  <a:pos x="232" y="1393"/>
                </a:cxn>
                <a:cxn ang="0">
                  <a:pos x="242" y="1375"/>
                </a:cxn>
                <a:cxn ang="0">
                  <a:pos x="246" y="1380"/>
                </a:cxn>
                <a:cxn ang="0">
                  <a:pos x="242" y="1444"/>
                </a:cxn>
              </a:cxnLst>
              <a:rect l="0" t="0" r="r" b="b"/>
              <a:pathLst>
                <a:path w="904" h="1445">
                  <a:moveTo>
                    <a:pt x="174" y="1444"/>
                  </a:moveTo>
                  <a:cubicBezTo>
                    <a:pt x="172" y="1444"/>
                    <a:pt x="170" y="1442"/>
                    <a:pt x="169" y="1439"/>
                  </a:cubicBezTo>
                  <a:lnTo>
                    <a:pt x="161" y="1355"/>
                  </a:lnTo>
                  <a:lnTo>
                    <a:pt x="157" y="1211"/>
                  </a:lnTo>
                  <a:lnTo>
                    <a:pt x="127" y="1063"/>
                  </a:lnTo>
                  <a:lnTo>
                    <a:pt x="136" y="1019"/>
                  </a:lnTo>
                  <a:lnTo>
                    <a:pt x="175" y="979"/>
                  </a:lnTo>
                  <a:lnTo>
                    <a:pt x="238" y="828"/>
                  </a:lnTo>
                  <a:lnTo>
                    <a:pt x="220" y="742"/>
                  </a:lnTo>
                  <a:lnTo>
                    <a:pt x="246" y="676"/>
                  </a:lnTo>
                  <a:lnTo>
                    <a:pt x="246" y="610"/>
                  </a:lnTo>
                  <a:lnTo>
                    <a:pt x="221" y="529"/>
                  </a:lnTo>
                  <a:lnTo>
                    <a:pt x="113" y="487"/>
                  </a:lnTo>
                  <a:lnTo>
                    <a:pt x="25" y="479"/>
                  </a:lnTo>
                  <a:cubicBezTo>
                    <a:pt x="23" y="479"/>
                    <a:pt x="21" y="477"/>
                    <a:pt x="21" y="474"/>
                  </a:cubicBezTo>
                  <a:lnTo>
                    <a:pt x="21" y="449"/>
                  </a:lnTo>
                  <a:lnTo>
                    <a:pt x="0" y="404"/>
                  </a:lnTo>
                  <a:cubicBezTo>
                    <a:pt x="0" y="403"/>
                    <a:pt x="0" y="402"/>
                    <a:pt x="0" y="401"/>
                  </a:cubicBezTo>
                  <a:cubicBezTo>
                    <a:pt x="1" y="399"/>
                    <a:pt x="2" y="398"/>
                    <a:pt x="3" y="398"/>
                  </a:cubicBezTo>
                  <a:lnTo>
                    <a:pt x="266" y="309"/>
                  </a:lnTo>
                  <a:lnTo>
                    <a:pt x="267" y="309"/>
                  </a:lnTo>
                  <a:cubicBezTo>
                    <a:pt x="269" y="309"/>
                    <a:pt x="270" y="309"/>
                    <a:pt x="271" y="311"/>
                  </a:cubicBezTo>
                  <a:lnTo>
                    <a:pt x="307" y="355"/>
                  </a:lnTo>
                  <a:lnTo>
                    <a:pt x="369" y="343"/>
                  </a:lnTo>
                  <a:cubicBezTo>
                    <a:pt x="371" y="343"/>
                    <a:pt x="372" y="343"/>
                    <a:pt x="373" y="345"/>
                  </a:cubicBezTo>
                  <a:lnTo>
                    <a:pt x="381" y="357"/>
                  </a:lnTo>
                  <a:lnTo>
                    <a:pt x="395" y="418"/>
                  </a:lnTo>
                  <a:lnTo>
                    <a:pt x="370" y="474"/>
                  </a:lnTo>
                  <a:lnTo>
                    <a:pt x="382" y="502"/>
                  </a:lnTo>
                  <a:lnTo>
                    <a:pt x="440" y="551"/>
                  </a:lnTo>
                  <a:cubicBezTo>
                    <a:pt x="441" y="552"/>
                    <a:pt x="442" y="554"/>
                    <a:pt x="441" y="556"/>
                  </a:cubicBezTo>
                  <a:lnTo>
                    <a:pt x="438" y="571"/>
                  </a:lnTo>
                  <a:lnTo>
                    <a:pt x="444" y="571"/>
                  </a:lnTo>
                  <a:lnTo>
                    <a:pt x="441" y="530"/>
                  </a:lnTo>
                  <a:lnTo>
                    <a:pt x="445" y="503"/>
                  </a:lnTo>
                  <a:cubicBezTo>
                    <a:pt x="445" y="502"/>
                    <a:pt x="446" y="501"/>
                    <a:pt x="447" y="500"/>
                  </a:cubicBezTo>
                  <a:lnTo>
                    <a:pt x="487" y="472"/>
                  </a:lnTo>
                  <a:lnTo>
                    <a:pt x="495" y="387"/>
                  </a:lnTo>
                  <a:lnTo>
                    <a:pt x="408" y="274"/>
                  </a:lnTo>
                  <a:lnTo>
                    <a:pt x="390" y="175"/>
                  </a:lnTo>
                  <a:lnTo>
                    <a:pt x="415" y="101"/>
                  </a:lnTo>
                  <a:cubicBezTo>
                    <a:pt x="416" y="99"/>
                    <a:pt x="418" y="98"/>
                    <a:pt x="419" y="97"/>
                  </a:cubicBezTo>
                  <a:lnTo>
                    <a:pt x="504" y="89"/>
                  </a:lnTo>
                  <a:lnTo>
                    <a:pt x="545" y="111"/>
                  </a:lnTo>
                  <a:lnTo>
                    <a:pt x="644" y="97"/>
                  </a:lnTo>
                  <a:lnTo>
                    <a:pt x="702" y="68"/>
                  </a:lnTo>
                  <a:cubicBezTo>
                    <a:pt x="702" y="68"/>
                    <a:pt x="703" y="68"/>
                    <a:pt x="704" y="68"/>
                  </a:cubicBezTo>
                  <a:cubicBezTo>
                    <a:pt x="704" y="68"/>
                    <a:pt x="704" y="68"/>
                    <a:pt x="705" y="68"/>
                  </a:cubicBezTo>
                  <a:lnTo>
                    <a:pt x="751" y="81"/>
                  </a:lnTo>
                  <a:lnTo>
                    <a:pt x="838" y="47"/>
                  </a:lnTo>
                  <a:lnTo>
                    <a:pt x="877" y="15"/>
                  </a:lnTo>
                  <a:lnTo>
                    <a:pt x="877" y="5"/>
                  </a:lnTo>
                  <a:cubicBezTo>
                    <a:pt x="877" y="3"/>
                    <a:pt x="878" y="1"/>
                    <a:pt x="881" y="0"/>
                  </a:cubicBezTo>
                  <a:lnTo>
                    <a:pt x="882" y="0"/>
                  </a:lnTo>
                  <a:cubicBezTo>
                    <a:pt x="883" y="0"/>
                    <a:pt x="885" y="1"/>
                    <a:pt x="886" y="3"/>
                  </a:cubicBezTo>
                  <a:lnTo>
                    <a:pt x="903" y="50"/>
                  </a:lnTo>
                  <a:cubicBezTo>
                    <a:pt x="903" y="51"/>
                    <a:pt x="903" y="52"/>
                    <a:pt x="903" y="53"/>
                  </a:cubicBezTo>
                  <a:lnTo>
                    <a:pt x="873" y="125"/>
                  </a:lnTo>
                  <a:lnTo>
                    <a:pt x="874" y="216"/>
                  </a:lnTo>
                  <a:lnTo>
                    <a:pt x="878" y="322"/>
                  </a:lnTo>
                  <a:lnTo>
                    <a:pt x="882" y="322"/>
                  </a:lnTo>
                  <a:cubicBezTo>
                    <a:pt x="884" y="322"/>
                    <a:pt x="885" y="323"/>
                    <a:pt x="886" y="325"/>
                  </a:cubicBezTo>
                  <a:lnTo>
                    <a:pt x="899" y="367"/>
                  </a:lnTo>
                  <a:cubicBezTo>
                    <a:pt x="899" y="369"/>
                    <a:pt x="899" y="370"/>
                    <a:pt x="898" y="371"/>
                  </a:cubicBezTo>
                  <a:lnTo>
                    <a:pt x="875" y="410"/>
                  </a:lnTo>
                  <a:lnTo>
                    <a:pt x="884" y="415"/>
                  </a:lnTo>
                  <a:cubicBezTo>
                    <a:pt x="886" y="416"/>
                    <a:pt x="886" y="418"/>
                    <a:pt x="886" y="420"/>
                  </a:cubicBezTo>
                  <a:lnTo>
                    <a:pt x="882" y="445"/>
                  </a:lnTo>
                  <a:lnTo>
                    <a:pt x="814" y="510"/>
                  </a:lnTo>
                  <a:lnTo>
                    <a:pt x="814" y="525"/>
                  </a:lnTo>
                  <a:cubicBezTo>
                    <a:pt x="814" y="527"/>
                    <a:pt x="814" y="528"/>
                    <a:pt x="812" y="529"/>
                  </a:cubicBezTo>
                  <a:lnTo>
                    <a:pt x="753" y="575"/>
                  </a:lnTo>
                  <a:lnTo>
                    <a:pt x="620" y="623"/>
                  </a:lnTo>
                  <a:lnTo>
                    <a:pt x="551" y="677"/>
                  </a:lnTo>
                  <a:lnTo>
                    <a:pt x="558" y="682"/>
                  </a:lnTo>
                  <a:cubicBezTo>
                    <a:pt x="560" y="684"/>
                    <a:pt x="561" y="686"/>
                    <a:pt x="559" y="689"/>
                  </a:cubicBezTo>
                  <a:lnTo>
                    <a:pt x="525" y="739"/>
                  </a:lnTo>
                  <a:cubicBezTo>
                    <a:pt x="525" y="740"/>
                    <a:pt x="523" y="741"/>
                    <a:pt x="522" y="741"/>
                  </a:cubicBezTo>
                  <a:lnTo>
                    <a:pt x="521" y="741"/>
                  </a:lnTo>
                  <a:cubicBezTo>
                    <a:pt x="520" y="741"/>
                    <a:pt x="519" y="741"/>
                    <a:pt x="518" y="740"/>
                  </a:cubicBezTo>
                  <a:lnTo>
                    <a:pt x="506" y="725"/>
                  </a:lnTo>
                  <a:lnTo>
                    <a:pt x="500" y="742"/>
                  </a:lnTo>
                  <a:lnTo>
                    <a:pt x="395" y="828"/>
                  </a:lnTo>
                  <a:lnTo>
                    <a:pt x="395" y="883"/>
                  </a:lnTo>
                  <a:lnTo>
                    <a:pt x="419" y="907"/>
                  </a:lnTo>
                  <a:lnTo>
                    <a:pt x="452" y="1024"/>
                  </a:lnTo>
                  <a:lnTo>
                    <a:pt x="454" y="1021"/>
                  </a:lnTo>
                  <a:cubicBezTo>
                    <a:pt x="455" y="1020"/>
                    <a:pt x="457" y="1020"/>
                    <a:pt x="458" y="1020"/>
                  </a:cubicBezTo>
                  <a:cubicBezTo>
                    <a:pt x="459" y="1020"/>
                    <a:pt x="459" y="1020"/>
                    <a:pt x="460" y="1020"/>
                  </a:cubicBezTo>
                  <a:cubicBezTo>
                    <a:pt x="462" y="1021"/>
                    <a:pt x="463" y="1023"/>
                    <a:pt x="463" y="1025"/>
                  </a:cubicBezTo>
                  <a:lnTo>
                    <a:pt x="442" y="1188"/>
                  </a:lnTo>
                  <a:lnTo>
                    <a:pt x="450" y="1175"/>
                  </a:lnTo>
                  <a:cubicBezTo>
                    <a:pt x="450" y="1173"/>
                    <a:pt x="452" y="1172"/>
                    <a:pt x="454" y="1172"/>
                  </a:cubicBezTo>
                  <a:lnTo>
                    <a:pt x="455" y="1172"/>
                  </a:lnTo>
                  <a:cubicBezTo>
                    <a:pt x="457" y="1173"/>
                    <a:pt x="459" y="1175"/>
                    <a:pt x="458" y="1177"/>
                  </a:cubicBezTo>
                  <a:lnTo>
                    <a:pt x="454" y="1207"/>
                  </a:lnTo>
                  <a:lnTo>
                    <a:pt x="398" y="1265"/>
                  </a:lnTo>
                  <a:lnTo>
                    <a:pt x="240" y="1338"/>
                  </a:lnTo>
                  <a:lnTo>
                    <a:pt x="214" y="1375"/>
                  </a:lnTo>
                  <a:lnTo>
                    <a:pt x="232" y="1393"/>
                  </a:lnTo>
                  <a:lnTo>
                    <a:pt x="237" y="1378"/>
                  </a:lnTo>
                  <a:cubicBezTo>
                    <a:pt x="238" y="1376"/>
                    <a:pt x="240" y="1375"/>
                    <a:pt x="242" y="1375"/>
                  </a:cubicBezTo>
                  <a:lnTo>
                    <a:pt x="242" y="1375"/>
                  </a:lnTo>
                  <a:cubicBezTo>
                    <a:pt x="245" y="1376"/>
                    <a:pt x="246" y="1378"/>
                    <a:pt x="246" y="1380"/>
                  </a:cubicBezTo>
                  <a:lnTo>
                    <a:pt x="246" y="1439"/>
                  </a:lnTo>
                  <a:cubicBezTo>
                    <a:pt x="246" y="1442"/>
                    <a:pt x="244" y="1444"/>
                    <a:pt x="242" y="1444"/>
                  </a:cubicBezTo>
                  <a:lnTo>
                    <a:pt x="174" y="144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6" name="Freeform 261"/>
            <p:cNvSpPr>
              <a:spLocks noChangeArrowheads="1"/>
            </p:cNvSpPr>
            <p:nvPr/>
          </p:nvSpPr>
          <p:spPr bwMode="auto">
            <a:xfrm>
              <a:off x="5141913" y="4049713"/>
              <a:ext cx="325437" cy="520700"/>
            </a:xfrm>
            <a:custGeom>
              <a:avLst/>
              <a:gdLst/>
              <a:ahLst/>
              <a:cxnLst>
                <a:cxn ang="0">
                  <a:pos x="169" y="1439"/>
                </a:cxn>
                <a:cxn ang="0">
                  <a:pos x="157" y="1211"/>
                </a:cxn>
                <a:cxn ang="0">
                  <a:pos x="136" y="1019"/>
                </a:cxn>
                <a:cxn ang="0">
                  <a:pos x="238" y="828"/>
                </a:cxn>
                <a:cxn ang="0">
                  <a:pos x="246" y="676"/>
                </a:cxn>
                <a:cxn ang="0">
                  <a:pos x="221" y="529"/>
                </a:cxn>
                <a:cxn ang="0">
                  <a:pos x="25" y="479"/>
                </a:cxn>
                <a:cxn ang="0">
                  <a:pos x="21" y="449"/>
                </a:cxn>
                <a:cxn ang="0">
                  <a:pos x="0" y="401"/>
                </a:cxn>
                <a:cxn ang="0">
                  <a:pos x="266" y="309"/>
                </a:cxn>
                <a:cxn ang="0">
                  <a:pos x="271" y="311"/>
                </a:cxn>
                <a:cxn ang="0">
                  <a:pos x="369" y="343"/>
                </a:cxn>
                <a:cxn ang="0">
                  <a:pos x="381" y="357"/>
                </a:cxn>
                <a:cxn ang="0">
                  <a:pos x="370" y="474"/>
                </a:cxn>
                <a:cxn ang="0">
                  <a:pos x="440" y="551"/>
                </a:cxn>
                <a:cxn ang="0">
                  <a:pos x="438" y="571"/>
                </a:cxn>
                <a:cxn ang="0">
                  <a:pos x="441" y="530"/>
                </a:cxn>
                <a:cxn ang="0">
                  <a:pos x="447" y="500"/>
                </a:cxn>
                <a:cxn ang="0">
                  <a:pos x="495" y="387"/>
                </a:cxn>
                <a:cxn ang="0">
                  <a:pos x="390" y="175"/>
                </a:cxn>
                <a:cxn ang="0">
                  <a:pos x="419" y="97"/>
                </a:cxn>
                <a:cxn ang="0">
                  <a:pos x="545" y="111"/>
                </a:cxn>
                <a:cxn ang="0">
                  <a:pos x="702" y="68"/>
                </a:cxn>
                <a:cxn ang="0">
                  <a:pos x="705" y="68"/>
                </a:cxn>
                <a:cxn ang="0">
                  <a:pos x="838" y="47"/>
                </a:cxn>
                <a:cxn ang="0">
                  <a:pos x="877" y="5"/>
                </a:cxn>
                <a:cxn ang="0">
                  <a:pos x="882" y="0"/>
                </a:cxn>
                <a:cxn ang="0">
                  <a:pos x="903" y="50"/>
                </a:cxn>
                <a:cxn ang="0">
                  <a:pos x="873" y="125"/>
                </a:cxn>
                <a:cxn ang="0">
                  <a:pos x="878" y="322"/>
                </a:cxn>
                <a:cxn ang="0">
                  <a:pos x="886" y="325"/>
                </a:cxn>
                <a:cxn ang="0">
                  <a:pos x="898" y="371"/>
                </a:cxn>
                <a:cxn ang="0">
                  <a:pos x="884" y="415"/>
                </a:cxn>
                <a:cxn ang="0">
                  <a:pos x="882" y="445"/>
                </a:cxn>
                <a:cxn ang="0">
                  <a:pos x="814" y="525"/>
                </a:cxn>
                <a:cxn ang="0">
                  <a:pos x="753" y="575"/>
                </a:cxn>
                <a:cxn ang="0">
                  <a:pos x="551" y="677"/>
                </a:cxn>
                <a:cxn ang="0">
                  <a:pos x="559" y="689"/>
                </a:cxn>
                <a:cxn ang="0">
                  <a:pos x="522" y="741"/>
                </a:cxn>
                <a:cxn ang="0">
                  <a:pos x="518" y="740"/>
                </a:cxn>
                <a:cxn ang="0">
                  <a:pos x="500" y="742"/>
                </a:cxn>
                <a:cxn ang="0">
                  <a:pos x="395" y="883"/>
                </a:cxn>
                <a:cxn ang="0">
                  <a:pos x="452" y="1024"/>
                </a:cxn>
                <a:cxn ang="0">
                  <a:pos x="458" y="1020"/>
                </a:cxn>
                <a:cxn ang="0">
                  <a:pos x="463" y="1025"/>
                </a:cxn>
                <a:cxn ang="0">
                  <a:pos x="450" y="1175"/>
                </a:cxn>
                <a:cxn ang="0">
                  <a:pos x="455" y="1172"/>
                </a:cxn>
                <a:cxn ang="0">
                  <a:pos x="454" y="1207"/>
                </a:cxn>
                <a:cxn ang="0">
                  <a:pos x="240" y="1338"/>
                </a:cxn>
                <a:cxn ang="0">
                  <a:pos x="232" y="1393"/>
                </a:cxn>
                <a:cxn ang="0">
                  <a:pos x="242" y="1375"/>
                </a:cxn>
                <a:cxn ang="0">
                  <a:pos x="246" y="1380"/>
                </a:cxn>
                <a:cxn ang="0">
                  <a:pos x="242" y="1444"/>
                </a:cxn>
              </a:cxnLst>
              <a:rect l="0" t="0" r="r" b="b"/>
              <a:pathLst>
                <a:path w="904" h="1445">
                  <a:moveTo>
                    <a:pt x="174" y="1444"/>
                  </a:moveTo>
                  <a:cubicBezTo>
                    <a:pt x="172" y="1444"/>
                    <a:pt x="170" y="1442"/>
                    <a:pt x="169" y="1439"/>
                  </a:cubicBezTo>
                  <a:lnTo>
                    <a:pt x="161" y="1355"/>
                  </a:lnTo>
                  <a:lnTo>
                    <a:pt x="157" y="1211"/>
                  </a:lnTo>
                  <a:lnTo>
                    <a:pt x="127" y="1063"/>
                  </a:lnTo>
                  <a:lnTo>
                    <a:pt x="136" y="1019"/>
                  </a:lnTo>
                  <a:lnTo>
                    <a:pt x="175" y="979"/>
                  </a:lnTo>
                  <a:lnTo>
                    <a:pt x="238" y="828"/>
                  </a:lnTo>
                  <a:lnTo>
                    <a:pt x="220" y="742"/>
                  </a:lnTo>
                  <a:lnTo>
                    <a:pt x="246" y="676"/>
                  </a:lnTo>
                  <a:lnTo>
                    <a:pt x="246" y="610"/>
                  </a:lnTo>
                  <a:lnTo>
                    <a:pt x="221" y="529"/>
                  </a:lnTo>
                  <a:lnTo>
                    <a:pt x="113" y="487"/>
                  </a:lnTo>
                  <a:lnTo>
                    <a:pt x="25" y="479"/>
                  </a:lnTo>
                  <a:cubicBezTo>
                    <a:pt x="23" y="479"/>
                    <a:pt x="21" y="477"/>
                    <a:pt x="21" y="474"/>
                  </a:cubicBezTo>
                  <a:lnTo>
                    <a:pt x="21" y="449"/>
                  </a:lnTo>
                  <a:lnTo>
                    <a:pt x="0" y="404"/>
                  </a:lnTo>
                  <a:cubicBezTo>
                    <a:pt x="0" y="403"/>
                    <a:pt x="0" y="402"/>
                    <a:pt x="0" y="401"/>
                  </a:cubicBezTo>
                  <a:cubicBezTo>
                    <a:pt x="1" y="399"/>
                    <a:pt x="2" y="398"/>
                    <a:pt x="3" y="398"/>
                  </a:cubicBezTo>
                  <a:lnTo>
                    <a:pt x="266" y="309"/>
                  </a:lnTo>
                  <a:lnTo>
                    <a:pt x="267" y="309"/>
                  </a:lnTo>
                  <a:cubicBezTo>
                    <a:pt x="269" y="309"/>
                    <a:pt x="270" y="309"/>
                    <a:pt x="271" y="311"/>
                  </a:cubicBezTo>
                  <a:lnTo>
                    <a:pt x="307" y="355"/>
                  </a:lnTo>
                  <a:lnTo>
                    <a:pt x="369" y="343"/>
                  </a:lnTo>
                  <a:cubicBezTo>
                    <a:pt x="371" y="343"/>
                    <a:pt x="372" y="343"/>
                    <a:pt x="373" y="345"/>
                  </a:cubicBezTo>
                  <a:lnTo>
                    <a:pt x="381" y="357"/>
                  </a:lnTo>
                  <a:lnTo>
                    <a:pt x="395" y="418"/>
                  </a:lnTo>
                  <a:lnTo>
                    <a:pt x="370" y="474"/>
                  </a:lnTo>
                  <a:lnTo>
                    <a:pt x="382" y="502"/>
                  </a:lnTo>
                  <a:lnTo>
                    <a:pt x="440" y="551"/>
                  </a:lnTo>
                  <a:cubicBezTo>
                    <a:pt x="441" y="552"/>
                    <a:pt x="442" y="554"/>
                    <a:pt x="441" y="556"/>
                  </a:cubicBezTo>
                  <a:lnTo>
                    <a:pt x="438" y="571"/>
                  </a:lnTo>
                  <a:lnTo>
                    <a:pt x="444" y="571"/>
                  </a:lnTo>
                  <a:lnTo>
                    <a:pt x="441" y="530"/>
                  </a:lnTo>
                  <a:lnTo>
                    <a:pt x="445" y="503"/>
                  </a:lnTo>
                  <a:cubicBezTo>
                    <a:pt x="445" y="502"/>
                    <a:pt x="446" y="501"/>
                    <a:pt x="447" y="500"/>
                  </a:cubicBezTo>
                  <a:lnTo>
                    <a:pt x="487" y="472"/>
                  </a:lnTo>
                  <a:lnTo>
                    <a:pt x="495" y="387"/>
                  </a:lnTo>
                  <a:lnTo>
                    <a:pt x="408" y="274"/>
                  </a:lnTo>
                  <a:lnTo>
                    <a:pt x="390" y="175"/>
                  </a:lnTo>
                  <a:lnTo>
                    <a:pt x="415" y="101"/>
                  </a:lnTo>
                  <a:cubicBezTo>
                    <a:pt x="416" y="99"/>
                    <a:pt x="418" y="98"/>
                    <a:pt x="419" y="97"/>
                  </a:cubicBezTo>
                  <a:lnTo>
                    <a:pt x="504" y="89"/>
                  </a:lnTo>
                  <a:lnTo>
                    <a:pt x="545" y="111"/>
                  </a:lnTo>
                  <a:lnTo>
                    <a:pt x="644" y="97"/>
                  </a:lnTo>
                  <a:lnTo>
                    <a:pt x="702" y="68"/>
                  </a:lnTo>
                  <a:cubicBezTo>
                    <a:pt x="702" y="68"/>
                    <a:pt x="703" y="68"/>
                    <a:pt x="704" y="68"/>
                  </a:cubicBezTo>
                  <a:cubicBezTo>
                    <a:pt x="704" y="68"/>
                    <a:pt x="704" y="68"/>
                    <a:pt x="705" y="68"/>
                  </a:cubicBezTo>
                  <a:lnTo>
                    <a:pt x="751" y="81"/>
                  </a:lnTo>
                  <a:lnTo>
                    <a:pt x="838" y="47"/>
                  </a:lnTo>
                  <a:lnTo>
                    <a:pt x="877" y="15"/>
                  </a:lnTo>
                  <a:lnTo>
                    <a:pt x="877" y="5"/>
                  </a:lnTo>
                  <a:cubicBezTo>
                    <a:pt x="877" y="3"/>
                    <a:pt x="878" y="1"/>
                    <a:pt x="881" y="0"/>
                  </a:cubicBezTo>
                  <a:lnTo>
                    <a:pt x="882" y="0"/>
                  </a:lnTo>
                  <a:cubicBezTo>
                    <a:pt x="883" y="0"/>
                    <a:pt x="885" y="1"/>
                    <a:pt x="886" y="3"/>
                  </a:cubicBezTo>
                  <a:lnTo>
                    <a:pt x="903" y="50"/>
                  </a:lnTo>
                  <a:cubicBezTo>
                    <a:pt x="903" y="51"/>
                    <a:pt x="903" y="52"/>
                    <a:pt x="903" y="53"/>
                  </a:cubicBezTo>
                  <a:lnTo>
                    <a:pt x="873" y="125"/>
                  </a:lnTo>
                  <a:lnTo>
                    <a:pt x="874" y="216"/>
                  </a:lnTo>
                  <a:lnTo>
                    <a:pt x="878" y="322"/>
                  </a:lnTo>
                  <a:lnTo>
                    <a:pt x="882" y="322"/>
                  </a:lnTo>
                  <a:cubicBezTo>
                    <a:pt x="884" y="322"/>
                    <a:pt x="885" y="323"/>
                    <a:pt x="886" y="325"/>
                  </a:cubicBezTo>
                  <a:lnTo>
                    <a:pt x="899" y="367"/>
                  </a:lnTo>
                  <a:cubicBezTo>
                    <a:pt x="899" y="369"/>
                    <a:pt x="899" y="370"/>
                    <a:pt x="898" y="371"/>
                  </a:cubicBezTo>
                  <a:lnTo>
                    <a:pt x="875" y="410"/>
                  </a:lnTo>
                  <a:lnTo>
                    <a:pt x="884" y="415"/>
                  </a:lnTo>
                  <a:cubicBezTo>
                    <a:pt x="886" y="416"/>
                    <a:pt x="886" y="418"/>
                    <a:pt x="886" y="420"/>
                  </a:cubicBezTo>
                  <a:lnTo>
                    <a:pt x="882" y="445"/>
                  </a:lnTo>
                  <a:lnTo>
                    <a:pt x="814" y="510"/>
                  </a:lnTo>
                  <a:lnTo>
                    <a:pt x="814" y="525"/>
                  </a:lnTo>
                  <a:cubicBezTo>
                    <a:pt x="814" y="527"/>
                    <a:pt x="814" y="528"/>
                    <a:pt x="812" y="529"/>
                  </a:cubicBezTo>
                  <a:lnTo>
                    <a:pt x="753" y="575"/>
                  </a:lnTo>
                  <a:lnTo>
                    <a:pt x="620" y="623"/>
                  </a:lnTo>
                  <a:lnTo>
                    <a:pt x="551" y="677"/>
                  </a:lnTo>
                  <a:lnTo>
                    <a:pt x="558" y="682"/>
                  </a:lnTo>
                  <a:cubicBezTo>
                    <a:pt x="560" y="684"/>
                    <a:pt x="561" y="686"/>
                    <a:pt x="559" y="689"/>
                  </a:cubicBezTo>
                  <a:lnTo>
                    <a:pt x="525" y="739"/>
                  </a:lnTo>
                  <a:cubicBezTo>
                    <a:pt x="525" y="740"/>
                    <a:pt x="523" y="741"/>
                    <a:pt x="522" y="741"/>
                  </a:cubicBezTo>
                  <a:lnTo>
                    <a:pt x="521" y="741"/>
                  </a:lnTo>
                  <a:cubicBezTo>
                    <a:pt x="520" y="741"/>
                    <a:pt x="519" y="741"/>
                    <a:pt x="518" y="740"/>
                  </a:cubicBezTo>
                  <a:lnTo>
                    <a:pt x="506" y="725"/>
                  </a:lnTo>
                  <a:lnTo>
                    <a:pt x="500" y="742"/>
                  </a:lnTo>
                  <a:lnTo>
                    <a:pt x="395" y="828"/>
                  </a:lnTo>
                  <a:lnTo>
                    <a:pt x="395" y="883"/>
                  </a:lnTo>
                  <a:lnTo>
                    <a:pt x="419" y="907"/>
                  </a:lnTo>
                  <a:lnTo>
                    <a:pt x="452" y="1024"/>
                  </a:lnTo>
                  <a:lnTo>
                    <a:pt x="454" y="1021"/>
                  </a:lnTo>
                  <a:cubicBezTo>
                    <a:pt x="455" y="1020"/>
                    <a:pt x="457" y="1020"/>
                    <a:pt x="458" y="1020"/>
                  </a:cubicBezTo>
                  <a:cubicBezTo>
                    <a:pt x="459" y="1020"/>
                    <a:pt x="459" y="1020"/>
                    <a:pt x="460" y="1020"/>
                  </a:cubicBezTo>
                  <a:cubicBezTo>
                    <a:pt x="462" y="1021"/>
                    <a:pt x="463" y="1023"/>
                    <a:pt x="463" y="1025"/>
                  </a:cubicBezTo>
                  <a:lnTo>
                    <a:pt x="442" y="1188"/>
                  </a:lnTo>
                  <a:lnTo>
                    <a:pt x="450" y="1175"/>
                  </a:lnTo>
                  <a:cubicBezTo>
                    <a:pt x="450" y="1173"/>
                    <a:pt x="452" y="1172"/>
                    <a:pt x="454" y="1172"/>
                  </a:cubicBezTo>
                  <a:lnTo>
                    <a:pt x="455" y="1172"/>
                  </a:lnTo>
                  <a:cubicBezTo>
                    <a:pt x="457" y="1173"/>
                    <a:pt x="459" y="1175"/>
                    <a:pt x="458" y="1177"/>
                  </a:cubicBezTo>
                  <a:lnTo>
                    <a:pt x="454" y="1207"/>
                  </a:lnTo>
                  <a:lnTo>
                    <a:pt x="398" y="1265"/>
                  </a:lnTo>
                  <a:lnTo>
                    <a:pt x="240" y="1338"/>
                  </a:lnTo>
                  <a:lnTo>
                    <a:pt x="214" y="1375"/>
                  </a:lnTo>
                  <a:lnTo>
                    <a:pt x="232" y="1393"/>
                  </a:lnTo>
                  <a:lnTo>
                    <a:pt x="237" y="1378"/>
                  </a:lnTo>
                  <a:cubicBezTo>
                    <a:pt x="238" y="1376"/>
                    <a:pt x="240" y="1375"/>
                    <a:pt x="242" y="1375"/>
                  </a:cubicBezTo>
                  <a:lnTo>
                    <a:pt x="242" y="1375"/>
                  </a:lnTo>
                  <a:cubicBezTo>
                    <a:pt x="245" y="1376"/>
                    <a:pt x="246" y="1378"/>
                    <a:pt x="246" y="1380"/>
                  </a:cubicBezTo>
                  <a:lnTo>
                    <a:pt x="246" y="1439"/>
                  </a:lnTo>
                  <a:cubicBezTo>
                    <a:pt x="246" y="1442"/>
                    <a:pt x="244" y="1444"/>
                    <a:pt x="242" y="1444"/>
                  </a:cubicBezTo>
                  <a:lnTo>
                    <a:pt x="174" y="144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7" name="Freeform 262"/>
            <p:cNvSpPr>
              <a:spLocks noChangeArrowheads="1"/>
            </p:cNvSpPr>
            <p:nvPr/>
          </p:nvSpPr>
          <p:spPr bwMode="auto">
            <a:xfrm>
              <a:off x="5132388" y="3765550"/>
              <a:ext cx="328612" cy="327025"/>
            </a:xfrm>
            <a:custGeom>
              <a:avLst/>
              <a:gdLst/>
              <a:ahLst/>
              <a:cxnLst>
                <a:cxn ang="0">
                  <a:pos x="528" y="885"/>
                </a:cxn>
                <a:cxn ang="0">
                  <a:pos x="442" y="892"/>
                </a:cxn>
                <a:cxn ang="0">
                  <a:pos x="399" y="756"/>
                </a:cxn>
                <a:cxn ang="0">
                  <a:pos x="328" y="733"/>
                </a:cxn>
                <a:cxn ang="0">
                  <a:pos x="122" y="644"/>
                </a:cxn>
                <a:cxn ang="0">
                  <a:pos x="77" y="540"/>
                </a:cxn>
                <a:cxn ang="0">
                  <a:pos x="15" y="457"/>
                </a:cxn>
                <a:cxn ang="0">
                  <a:pos x="26" y="414"/>
                </a:cxn>
                <a:cxn ang="0">
                  <a:pos x="4" y="284"/>
                </a:cxn>
                <a:cxn ang="0">
                  <a:pos x="97" y="191"/>
                </a:cxn>
                <a:cxn ang="0">
                  <a:pos x="73" y="147"/>
                </a:cxn>
                <a:cxn ang="0">
                  <a:pos x="102" y="85"/>
                </a:cxn>
                <a:cxn ang="0">
                  <a:pos x="69" y="7"/>
                </a:cxn>
                <a:cxn ang="0">
                  <a:pos x="183" y="0"/>
                </a:cxn>
                <a:cxn ang="0">
                  <a:pos x="188" y="5"/>
                </a:cxn>
                <a:cxn ang="0">
                  <a:pos x="191" y="145"/>
                </a:cxn>
                <a:cxn ang="0">
                  <a:pos x="217" y="110"/>
                </a:cxn>
                <a:cxn ang="0">
                  <a:pos x="221" y="106"/>
                </a:cxn>
                <a:cxn ang="0">
                  <a:pos x="252" y="135"/>
                </a:cxn>
                <a:cxn ang="0">
                  <a:pos x="267" y="131"/>
                </a:cxn>
                <a:cxn ang="0">
                  <a:pos x="272" y="135"/>
                </a:cxn>
                <a:cxn ang="0">
                  <a:pos x="285" y="129"/>
                </a:cxn>
                <a:cxn ang="0">
                  <a:pos x="336" y="110"/>
                </a:cxn>
                <a:cxn ang="0">
                  <a:pos x="306" y="95"/>
                </a:cxn>
                <a:cxn ang="0">
                  <a:pos x="383" y="2"/>
                </a:cxn>
                <a:cxn ang="0">
                  <a:pos x="389" y="1"/>
                </a:cxn>
                <a:cxn ang="0">
                  <a:pos x="679" y="173"/>
                </a:cxn>
                <a:cxn ang="0">
                  <a:pos x="817" y="305"/>
                </a:cxn>
                <a:cxn ang="0">
                  <a:pos x="781" y="448"/>
                </a:cxn>
                <a:cxn ang="0">
                  <a:pos x="840" y="514"/>
                </a:cxn>
                <a:cxn ang="0">
                  <a:pos x="827" y="664"/>
                </a:cxn>
                <a:cxn ang="0">
                  <a:pos x="910" y="788"/>
                </a:cxn>
                <a:cxn ang="0">
                  <a:pos x="912" y="804"/>
                </a:cxn>
                <a:cxn ang="0">
                  <a:pos x="868" y="842"/>
                </a:cxn>
                <a:cxn ang="0">
                  <a:pos x="730" y="864"/>
                </a:cxn>
                <a:cxn ang="0">
                  <a:pos x="569" y="906"/>
                </a:cxn>
              </a:cxnLst>
              <a:rect l="0" t="0" r="r" b="b"/>
              <a:pathLst>
                <a:path w="913" h="907">
                  <a:moveTo>
                    <a:pt x="566" y="906"/>
                  </a:moveTo>
                  <a:lnTo>
                    <a:pt x="528" y="885"/>
                  </a:lnTo>
                  <a:lnTo>
                    <a:pt x="446" y="894"/>
                  </a:lnTo>
                  <a:cubicBezTo>
                    <a:pt x="444" y="894"/>
                    <a:pt x="443" y="893"/>
                    <a:pt x="442" y="892"/>
                  </a:cubicBezTo>
                  <a:lnTo>
                    <a:pt x="417" y="858"/>
                  </a:lnTo>
                  <a:lnTo>
                    <a:pt x="399" y="756"/>
                  </a:lnTo>
                  <a:lnTo>
                    <a:pt x="360" y="729"/>
                  </a:lnTo>
                  <a:lnTo>
                    <a:pt x="328" y="733"/>
                  </a:lnTo>
                  <a:lnTo>
                    <a:pt x="283" y="711"/>
                  </a:lnTo>
                  <a:lnTo>
                    <a:pt x="122" y="644"/>
                  </a:lnTo>
                  <a:cubicBezTo>
                    <a:pt x="121" y="643"/>
                    <a:pt x="120" y="642"/>
                    <a:pt x="119" y="641"/>
                  </a:cubicBezTo>
                  <a:lnTo>
                    <a:pt x="77" y="540"/>
                  </a:lnTo>
                  <a:lnTo>
                    <a:pt x="73" y="502"/>
                  </a:lnTo>
                  <a:lnTo>
                    <a:pt x="15" y="457"/>
                  </a:lnTo>
                  <a:cubicBezTo>
                    <a:pt x="14" y="456"/>
                    <a:pt x="13" y="454"/>
                    <a:pt x="14" y="452"/>
                  </a:cubicBezTo>
                  <a:lnTo>
                    <a:pt x="26" y="414"/>
                  </a:lnTo>
                  <a:lnTo>
                    <a:pt x="1" y="289"/>
                  </a:lnTo>
                  <a:cubicBezTo>
                    <a:pt x="0" y="287"/>
                    <a:pt x="2" y="284"/>
                    <a:pt x="4" y="284"/>
                  </a:cubicBezTo>
                  <a:lnTo>
                    <a:pt x="45" y="272"/>
                  </a:lnTo>
                  <a:lnTo>
                    <a:pt x="97" y="191"/>
                  </a:lnTo>
                  <a:lnTo>
                    <a:pt x="73" y="151"/>
                  </a:lnTo>
                  <a:cubicBezTo>
                    <a:pt x="72" y="150"/>
                    <a:pt x="72" y="148"/>
                    <a:pt x="73" y="147"/>
                  </a:cubicBezTo>
                  <a:lnTo>
                    <a:pt x="86" y="117"/>
                  </a:lnTo>
                  <a:lnTo>
                    <a:pt x="102" y="85"/>
                  </a:lnTo>
                  <a:lnTo>
                    <a:pt x="69" y="11"/>
                  </a:lnTo>
                  <a:cubicBezTo>
                    <a:pt x="68" y="9"/>
                    <a:pt x="68" y="8"/>
                    <a:pt x="69" y="7"/>
                  </a:cubicBezTo>
                  <a:cubicBezTo>
                    <a:pt x="70" y="5"/>
                    <a:pt x="71" y="4"/>
                    <a:pt x="73" y="4"/>
                  </a:cubicBezTo>
                  <a:lnTo>
                    <a:pt x="183" y="0"/>
                  </a:lnTo>
                  <a:cubicBezTo>
                    <a:pt x="184" y="0"/>
                    <a:pt x="186" y="1"/>
                    <a:pt x="187" y="1"/>
                  </a:cubicBezTo>
                  <a:cubicBezTo>
                    <a:pt x="187" y="2"/>
                    <a:pt x="188" y="4"/>
                    <a:pt x="188" y="5"/>
                  </a:cubicBezTo>
                  <a:lnTo>
                    <a:pt x="184" y="94"/>
                  </a:lnTo>
                  <a:lnTo>
                    <a:pt x="191" y="145"/>
                  </a:lnTo>
                  <a:lnTo>
                    <a:pt x="213" y="133"/>
                  </a:lnTo>
                  <a:lnTo>
                    <a:pt x="217" y="110"/>
                  </a:lnTo>
                  <a:cubicBezTo>
                    <a:pt x="217" y="108"/>
                    <a:pt x="218" y="107"/>
                    <a:pt x="220" y="106"/>
                  </a:cubicBezTo>
                  <a:lnTo>
                    <a:pt x="221" y="106"/>
                  </a:lnTo>
                  <a:cubicBezTo>
                    <a:pt x="222" y="106"/>
                    <a:pt x="224" y="106"/>
                    <a:pt x="225" y="107"/>
                  </a:cubicBezTo>
                  <a:lnTo>
                    <a:pt x="252" y="135"/>
                  </a:lnTo>
                  <a:lnTo>
                    <a:pt x="267" y="131"/>
                  </a:lnTo>
                  <a:lnTo>
                    <a:pt x="267" y="131"/>
                  </a:lnTo>
                  <a:cubicBezTo>
                    <a:pt x="269" y="131"/>
                    <a:pt x="270" y="132"/>
                    <a:pt x="271" y="132"/>
                  </a:cubicBezTo>
                  <a:cubicBezTo>
                    <a:pt x="272" y="133"/>
                    <a:pt x="272" y="134"/>
                    <a:pt x="272" y="135"/>
                  </a:cubicBezTo>
                  <a:lnTo>
                    <a:pt x="275" y="148"/>
                  </a:lnTo>
                  <a:lnTo>
                    <a:pt x="285" y="129"/>
                  </a:lnTo>
                  <a:cubicBezTo>
                    <a:pt x="286" y="128"/>
                    <a:pt x="286" y="128"/>
                    <a:pt x="287" y="127"/>
                  </a:cubicBezTo>
                  <a:lnTo>
                    <a:pt x="336" y="110"/>
                  </a:lnTo>
                  <a:lnTo>
                    <a:pt x="308" y="98"/>
                  </a:lnTo>
                  <a:cubicBezTo>
                    <a:pt x="307" y="97"/>
                    <a:pt x="306" y="96"/>
                    <a:pt x="306" y="95"/>
                  </a:cubicBezTo>
                  <a:cubicBezTo>
                    <a:pt x="305" y="93"/>
                    <a:pt x="306" y="92"/>
                    <a:pt x="307" y="91"/>
                  </a:cubicBezTo>
                  <a:lnTo>
                    <a:pt x="383" y="2"/>
                  </a:lnTo>
                  <a:cubicBezTo>
                    <a:pt x="384" y="1"/>
                    <a:pt x="385" y="0"/>
                    <a:pt x="387" y="0"/>
                  </a:cubicBezTo>
                  <a:cubicBezTo>
                    <a:pt x="387" y="0"/>
                    <a:pt x="388" y="0"/>
                    <a:pt x="389" y="1"/>
                  </a:cubicBezTo>
                  <a:lnTo>
                    <a:pt x="677" y="170"/>
                  </a:lnTo>
                  <a:cubicBezTo>
                    <a:pt x="678" y="171"/>
                    <a:pt x="679" y="172"/>
                    <a:pt x="679" y="173"/>
                  </a:cubicBezTo>
                  <a:lnTo>
                    <a:pt x="700" y="234"/>
                  </a:lnTo>
                  <a:lnTo>
                    <a:pt x="817" y="305"/>
                  </a:lnTo>
                  <a:cubicBezTo>
                    <a:pt x="819" y="306"/>
                    <a:pt x="820" y="309"/>
                    <a:pt x="819" y="311"/>
                  </a:cubicBezTo>
                  <a:lnTo>
                    <a:pt x="781" y="448"/>
                  </a:lnTo>
                  <a:lnTo>
                    <a:pt x="839" y="509"/>
                  </a:lnTo>
                  <a:cubicBezTo>
                    <a:pt x="840" y="511"/>
                    <a:pt x="841" y="512"/>
                    <a:pt x="840" y="514"/>
                  </a:cubicBezTo>
                  <a:lnTo>
                    <a:pt x="815" y="619"/>
                  </a:lnTo>
                  <a:lnTo>
                    <a:pt x="827" y="664"/>
                  </a:lnTo>
                  <a:lnTo>
                    <a:pt x="865" y="760"/>
                  </a:lnTo>
                  <a:lnTo>
                    <a:pt x="910" y="788"/>
                  </a:lnTo>
                  <a:cubicBezTo>
                    <a:pt x="911" y="789"/>
                    <a:pt x="912" y="790"/>
                    <a:pt x="912" y="792"/>
                  </a:cubicBezTo>
                  <a:lnTo>
                    <a:pt x="912" y="804"/>
                  </a:lnTo>
                  <a:cubicBezTo>
                    <a:pt x="912" y="806"/>
                    <a:pt x="912" y="807"/>
                    <a:pt x="910" y="808"/>
                  </a:cubicBezTo>
                  <a:lnTo>
                    <a:pt x="868" y="842"/>
                  </a:lnTo>
                  <a:lnTo>
                    <a:pt x="778" y="877"/>
                  </a:lnTo>
                  <a:lnTo>
                    <a:pt x="730" y="864"/>
                  </a:lnTo>
                  <a:lnTo>
                    <a:pt x="672" y="893"/>
                  </a:lnTo>
                  <a:lnTo>
                    <a:pt x="569" y="906"/>
                  </a:lnTo>
                  <a:cubicBezTo>
                    <a:pt x="568" y="906"/>
                    <a:pt x="567" y="906"/>
                    <a:pt x="566" y="90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8" name="Freeform 263"/>
            <p:cNvSpPr>
              <a:spLocks noChangeArrowheads="1"/>
            </p:cNvSpPr>
            <p:nvPr/>
          </p:nvSpPr>
          <p:spPr bwMode="auto">
            <a:xfrm>
              <a:off x="5132388" y="3765550"/>
              <a:ext cx="328612" cy="327025"/>
            </a:xfrm>
            <a:custGeom>
              <a:avLst/>
              <a:gdLst/>
              <a:ahLst/>
              <a:cxnLst>
                <a:cxn ang="0">
                  <a:pos x="566" y="906"/>
                </a:cxn>
                <a:cxn ang="0">
                  <a:pos x="446" y="894"/>
                </a:cxn>
                <a:cxn ang="0">
                  <a:pos x="417" y="858"/>
                </a:cxn>
                <a:cxn ang="0">
                  <a:pos x="360" y="729"/>
                </a:cxn>
                <a:cxn ang="0">
                  <a:pos x="283" y="711"/>
                </a:cxn>
                <a:cxn ang="0">
                  <a:pos x="119" y="641"/>
                </a:cxn>
                <a:cxn ang="0">
                  <a:pos x="73" y="502"/>
                </a:cxn>
                <a:cxn ang="0">
                  <a:pos x="14" y="452"/>
                </a:cxn>
                <a:cxn ang="0">
                  <a:pos x="1" y="289"/>
                </a:cxn>
                <a:cxn ang="0">
                  <a:pos x="45" y="272"/>
                </a:cxn>
                <a:cxn ang="0">
                  <a:pos x="73" y="151"/>
                </a:cxn>
                <a:cxn ang="0">
                  <a:pos x="86" y="117"/>
                </a:cxn>
                <a:cxn ang="0">
                  <a:pos x="69" y="11"/>
                </a:cxn>
                <a:cxn ang="0">
                  <a:pos x="73" y="4"/>
                </a:cxn>
                <a:cxn ang="0">
                  <a:pos x="187" y="1"/>
                </a:cxn>
                <a:cxn ang="0">
                  <a:pos x="184" y="94"/>
                </a:cxn>
                <a:cxn ang="0">
                  <a:pos x="213" y="133"/>
                </a:cxn>
                <a:cxn ang="0">
                  <a:pos x="220" y="106"/>
                </a:cxn>
                <a:cxn ang="0">
                  <a:pos x="225" y="107"/>
                </a:cxn>
                <a:cxn ang="0">
                  <a:pos x="267" y="131"/>
                </a:cxn>
                <a:cxn ang="0">
                  <a:pos x="271" y="132"/>
                </a:cxn>
                <a:cxn ang="0">
                  <a:pos x="275" y="148"/>
                </a:cxn>
                <a:cxn ang="0">
                  <a:pos x="287" y="127"/>
                </a:cxn>
                <a:cxn ang="0">
                  <a:pos x="308" y="98"/>
                </a:cxn>
                <a:cxn ang="0">
                  <a:pos x="307" y="91"/>
                </a:cxn>
                <a:cxn ang="0">
                  <a:pos x="387" y="0"/>
                </a:cxn>
                <a:cxn ang="0">
                  <a:pos x="677" y="170"/>
                </a:cxn>
                <a:cxn ang="0">
                  <a:pos x="700" y="234"/>
                </a:cxn>
                <a:cxn ang="0">
                  <a:pos x="819" y="311"/>
                </a:cxn>
                <a:cxn ang="0">
                  <a:pos x="839" y="509"/>
                </a:cxn>
                <a:cxn ang="0">
                  <a:pos x="815" y="619"/>
                </a:cxn>
                <a:cxn ang="0">
                  <a:pos x="865" y="760"/>
                </a:cxn>
                <a:cxn ang="0">
                  <a:pos x="912" y="792"/>
                </a:cxn>
                <a:cxn ang="0">
                  <a:pos x="910" y="808"/>
                </a:cxn>
                <a:cxn ang="0">
                  <a:pos x="778" y="877"/>
                </a:cxn>
                <a:cxn ang="0">
                  <a:pos x="672" y="893"/>
                </a:cxn>
              </a:cxnLst>
              <a:rect l="0" t="0" r="r" b="b"/>
              <a:pathLst>
                <a:path w="913" h="907">
                  <a:moveTo>
                    <a:pt x="569" y="906"/>
                  </a:moveTo>
                  <a:cubicBezTo>
                    <a:pt x="568" y="906"/>
                    <a:pt x="567" y="906"/>
                    <a:pt x="566" y="906"/>
                  </a:cubicBezTo>
                  <a:lnTo>
                    <a:pt x="528" y="885"/>
                  </a:lnTo>
                  <a:lnTo>
                    <a:pt x="446" y="894"/>
                  </a:lnTo>
                  <a:cubicBezTo>
                    <a:pt x="444" y="894"/>
                    <a:pt x="443" y="893"/>
                    <a:pt x="442" y="892"/>
                  </a:cubicBezTo>
                  <a:lnTo>
                    <a:pt x="417" y="858"/>
                  </a:lnTo>
                  <a:lnTo>
                    <a:pt x="399" y="756"/>
                  </a:lnTo>
                  <a:lnTo>
                    <a:pt x="360" y="729"/>
                  </a:lnTo>
                  <a:lnTo>
                    <a:pt x="328" y="733"/>
                  </a:lnTo>
                  <a:lnTo>
                    <a:pt x="283" y="711"/>
                  </a:lnTo>
                  <a:lnTo>
                    <a:pt x="122" y="644"/>
                  </a:lnTo>
                  <a:cubicBezTo>
                    <a:pt x="121" y="643"/>
                    <a:pt x="120" y="642"/>
                    <a:pt x="119" y="641"/>
                  </a:cubicBezTo>
                  <a:lnTo>
                    <a:pt x="77" y="540"/>
                  </a:lnTo>
                  <a:lnTo>
                    <a:pt x="73" y="502"/>
                  </a:lnTo>
                  <a:lnTo>
                    <a:pt x="15" y="457"/>
                  </a:lnTo>
                  <a:cubicBezTo>
                    <a:pt x="14" y="456"/>
                    <a:pt x="13" y="454"/>
                    <a:pt x="14" y="452"/>
                  </a:cubicBezTo>
                  <a:lnTo>
                    <a:pt x="26" y="414"/>
                  </a:lnTo>
                  <a:lnTo>
                    <a:pt x="1" y="289"/>
                  </a:lnTo>
                  <a:cubicBezTo>
                    <a:pt x="0" y="287"/>
                    <a:pt x="2" y="284"/>
                    <a:pt x="4" y="284"/>
                  </a:cubicBezTo>
                  <a:lnTo>
                    <a:pt x="45" y="272"/>
                  </a:lnTo>
                  <a:lnTo>
                    <a:pt x="97" y="191"/>
                  </a:lnTo>
                  <a:lnTo>
                    <a:pt x="73" y="151"/>
                  </a:lnTo>
                  <a:cubicBezTo>
                    <a:pt x="72" y="150"/>
                    <a:pt x="72" y="148"/>
                    <a:pt x="73" y="147"/>
                  </a:cubicBezTo>
                  <a:lnTo>
                    <a:pt x="86" y="117"/>
                  </a:lnTo>
                  <a:lnTo>
                    <a:pt x="102" y="85"/>
                  </a:lnTo>
                  <a:lnTo>
                    <a:pt x="69" y="11"/>
                  </a:lnTo>
                  <a:cubicBezTo>
                    <a:pt x="68" y="9"/>
                    <a:pt x="68" y="8"/>
                    <a:pt x="69" y="7"/>
                  </a:cubicBezTo>
                  <a:cubicBezTo>
                    <a:pt x="70" y="5"/>
                    <a:pt x="71" y="4"/>
                    <a:pt x="73" y="4"/>
                  </a:cubicBezTo>
                  <a:lnTo>
                    <a:pt x="183" y="0"/>
                  </a:lnTo>
                  <a:cubicBezTo>
                    <a:pt x="184" y="0"/>
                    <a:pt x="186" y="1"/>
                    <a:pt x="187" y="1"/>
                  </a:cubicBezTo>
                  <a:cubicBezTo>
                    <a:pt x="187" y="2"/>
                    <a:pt x="188" y="4"/>
                    <a:pt x="188" y="5"/>
                  </a:cubicBezTo>
                  <a:lnTo>
                    <a:pt x="184" y="94"/>
                  </a:lnTo>
                  <a:lnTo>
                    <a:pt x="191" y="145"/>
                  </a:lnTo>
                  <a:lnTo>
                    <a:pt x="213" y="133"/>
                  </a:lnTo>
                  <a:lnTo>
                    <a:pt x="217" y="110"/>
                  </a:lnTo>
                  <a:cubicBezTo>
                    <a:pt x="217" y="108"/>
                    <a:pt x="218" y="107"/>
                    <a:pt x="220" y="106"/>
                  </a:cubicBezTo>
                  <a:lnTo>
                    <a:pt x="221" y="106"/>
                  </a:lnTo>
                  <a:cubicBezTo>
                    <a:pt x="222" y="106"/>
                    <a:pt x="224" y="106"/>
                    <a:pt x="225" y="107"/>
                  </a:cubicBezTo>
                  <a:lnTo>
                    <a:pt x="252" y="135"/>
                  </a:lnTo>
                  <a:lnTo>
                    <a:pt x="267" y="131"/>
                  </a:lnTo>
                  <a:lnTo>
                    <a:pt x="267" y="131"/>
                  </a:lnTo>
                  <a:cubicBezTo>
                    <a:pt x="269" y="131"/>
                    <a:pt x="270" y="132"/>
                    <a:pt x="271" y="132"/>
                  </a:cubicBezTo>
                  <a:cubicBezTo>
                    <a:pt x="272" y="133"/>
                    <a:pt x="272" y="134"/>
                    <a:pt x="272" y="135"/>
                  </a:cubicBezTo>
                  <a:lnTo>
                    <a:pt x="275" y="148"/>
                  </a:lnTo>
                  <a:lnTo>
                    <a:pt x="285" y="129"/>
                  </a:lnTo>
                  <a:cubicBezTo>
                    <a:pt x="286" y="128"/>
                    <a:pt x="286" y="128"/>
                    <a:pt x="287" y="127"/>
                  </a:cubicBezTo>
                  <a:lnTo>
                    <a:pt x="336" y="110"/>
                  </a:lnTo>
                  <a:lnTo>
                    <a:pt x="308" y="98"/>
                  </a:lnTo>
                  <a:cubicBezTo>
                    <a:pt x="307" y="97"/>
                    <a:pt x="306" y="96"/>
                    <a:pt x="306" y="95"/>
                  </a:cubicBezTo>
                  <a:cubicBezTo>
                    <a:pt x="305" y="93"/>
                    <a:pt x="306" y="92"/>
                    <a:pt x="307" y="91"/>
                  </a:cubicBezTo>
                  <a:lnTo>
                    <a:pt x="383" y="2"/>
                  </a:lnTo>
                  <a:cubicBezTo>
                    <a:pt x="384" y="1"/>
                    <a:pt x="385" y="0"/>
                    <a:pt x="387" y="0"/>
                  </a:cubicBezTo>
                  <a:cubicBezTo>
                    <a:pt x="387" y="0"/>
                    <a:pt x="388" y="0"/>
                    <a:pt x="389" y="1"/>
                  </a:cubicBezTo>
                  <a:lnTo>
                    <a:pt x="677" y="170"/>
                  </a:lnTo>
                  <a:cubicBezTo>
                    <a:pt x="678" y="171"/>
                    <a:pt x="679" y="172"/>
                    <a:pt x="679" y="173"/>
                  </a:cubicBezTo>
                  <a:lnTo>
                    <a:pt x="700" y="234"/>
                  </a:lnTo>
                  <a:lnTo>
                    <a:pt x="817" y="305"/>
                  </a:lnTo>
                  <a:cubicBezTo>
                    <a:pt x="819" y="306"/>
                    <a:pt x="820" y="309"/>
                    <a:pt x="819" y="311"/>
                  </a:cubicBezTo>
                  <a:lnTo>
                    <a:pt x="781" y="448"/>
                  </a:lnTo>
                  <a:lnTo>
                    <a:pt x="839" y="509"/>
                  </a:lnTo>
                  <a:cubicBezTo>
                    <a:pt x="840" y="511"/>
                    <a:pt x="841" y="512"/>
                    <a:pt x="840" y="514"/>
                  </a:cubicBezTo>
                  <a:lnTo>
                    <a:pt x="815" y="619"/>
                  </a:lnTo>
                  <a:lnTo>
                    <a:pt x="827" y="664"/>
                  </a:lnTo>
                  <a:lnTo>
                    <a:pt x="865" y="760"/>
                  </a:lnTo>
                  <a:lnTo>
                    <a:pt x="910" y="788"/>
                  </a:lnTo>
                  <a:cubicBezTo>
                    <a:pt x="911" y="789"/>
                    <a:pt x="912" y="790"/>
                    <a:pt x="912" y="792"/>
                  </a:cubicBezTo>
                  <a:lnTo>
                    <a:pt x="912" y="804"/>
                  </a:lnTo>
                  <a:cubicBezTo>
                    <a:pt x="912" y="806"/>
                    <a:pt x="912" y="807"/>
                    <a:pt x="910" y="808"/>
                  </a:cubicBezTo>
                  <a:lnTo>
                    <a:pt x="868" y="842"/>
                  </a:lnTo>
                  <a:lnTo>
                    <a:pt x="778" y="877"/>
                  </a:lnTo>
                  <a:lnTo>
                    <a:pt x="730" y="864"/>
                  </a:lnTo>
                  <a:lnTo>
                    <a:pt x="672" y="893"/>
                  </a:lnTo>
                  <a:lnTo>
                    <a:pt x="569" y="90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69" name="Freeform 264"/>
            <p:cNvSpPr>
              <a:spLocks noChangeArrowheads="1"/>
            </p:cNvSpPr>
            <p:nvPr/>
          </p:nvSpPr>
          <p:spPr bwMode="auto">
            <a:xfrm>
              <a:off x="5422900" y="3910013"/>
              <a:ext cx="11113" cy="23812"/>
            </a:xfrm>
            <a:custGeom>
              <a:avLst/>
              <a:gdLst/>
              <a:ahLst/>
              <a:cxnLst>
                <a:cxn ang="0">
                  <a:pos x="23" y="64"/>
                </a:cxn>
                <a:cxn ang="0">
                  <a:pos x="2" y="51"/>
                </a:cxn>
                <a:cxn ang="0">
                  <a:pos x="0" y="47"/>
                </a:cxn>
                <a:cxn ang="0">
                  <a:pos x="0" y="5"/>
                </a:cxn>
                <a:cxn ang="0">
                  <a:pos x="4" y="0"/>
                </a:cxn>
                <a:cxn ang="0">
                  <a:pos x="4" y="0"/>
                </a:cxn>
                <a:cxn ang="0">
                  <a:pos x="9" y="3"/>
                </a:cxn>
                <a:cxn ang="0">
                  <a:pos x="30" y="58"/>
                </a:cxn>
                <a:cxn ang="0">
                  <a:pos x="29" y="63"/>
                </a:cxn>
                <a:cxn ang="0">
                  <a:pos x="26" y="64"/>
                </a:cxn>
                <a:cxn ang="0">
                  <a:pos x="23" y="64"/>
                </a:cxn>
              </a:cxnLst>
              <a:rect l="0" t="0" r="r" b="b"/>
              <a:pathLst>
                <a:path w="32" h="65">
                  <a:moveTo>
                    <a:pt x="23" y="64"/>
                  </a:moveTo>
                  <a:lnTo>
                    <a:pt x="2" y="51"/>
                  </a:lnTo>
                  <a:cubicBezTo>
                    <a:pt x="1" y="50"/>
                    <a:pt x="0" y="48"/>
                    <a:pt x="0" y="47"/>
                  </a:cubicBezTo>
                  <a:lnTo>
                    <a:pt x="0" y="5"/>
                  </a:lnTo>
                  <a:cubicBezTo>
                    <a:pt x="0" y="2"/>
                    <a:pt x="1" y="0"/>
                    <a:pt x="4" y="0"/>
                  </a:cubicBezTo>
                  <a:lnTo>
                    <a:pt x="4" y="0"/>
                  </a:lnTo>
                  <a:cubicBezTo>
                    <a:pt x="6" y="0"/>
                    <a:pt x="8" y="1"/>
                    <a:pt x="9" y="3"/>
                  </a:cubicBezTo>
                  <a:lnTo>
                    <a:pt x="30" y="58"/>
                  </a:lnTo>
                  <a:cubicBezTo>
                    <a:pt x="31" y="60"/>
                    <a:pt x="30" y="62"/>
                    <a:pt x="29" y="63"/>
                  </a:cubicBezTo>
                  <a:cubicBezTo>
                    <a:pt x="28" y="64"/>
                    <a:pt x="27" y="64"/>
                    <a:pt x="26" y="64"/>
                  </a:cubicBezTo>
                  <a:cubicBezTo>
                    <a:pt x="25" y="64"/>
                    <a:pt x="24" y="64"/>
                    <a:pt x="23" y="6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0" name="Freeform 265"/>
            <p:cNvSpPr>
              <a:spLocks noChangeArrowheads="1"/>
            </p:cNvSpPr>
            <p:nvPr/>
          </p:nvSpPr>
          <p:spPr bwMode="auto">
            <a:xfrm>
              <a:off x="5422900" y="3910013"/>
              <a:ext cx="11113" cy="23812"/>
            </a:xfrm>
            <a:custGeom>
              <a:avLst/>
              <a:gdLst/>
              <a:ahLst/>
              <a:cxnLst>
                <a:cxn ang="0">
                  <a:pos x="26" y="64"/>
                </a:cxn>
                <a:cxn ang="0">
                  <a:pos x="23" y="64"/>
                </a:cxn>
                <a:cxn ang="0">
                  <a:pos x="2" y="51"/>
                </a:cxn>
                <a:cxn ang="0">
                  <a:pos x="0" y="47"/>
                </a:cxn>
                <a:cxn ang="0">
                  <a:pos x="0" y="5"/>
                </a:cxn>
                <a:cxn ang="0">
                  <a:pos x="4" y="0"/>
                </a:cxn>
                <a:cxn ang="0">
                  <a:pos x="4" y="0"/>
                </a:cxn>
                <a:cxn ang="0">
                  <a:pos x="9" y="3"/>
                </a:cxn>
                <a:cxn ang="0">
                  <a:pos x="30" y="58"/>
                </a:cxn>
                <a:cxn ang="0">
                  <a:pos x="29" y="63"/>
                </a:cxn>
                <a:cxn ang="0">
                  <a:pos x="26" y="64"/>
                </a:cxn>
              </a:cxnLst>
              <a:rect l="0" t="0" r="r" b="b"/>
              <a:pathLst>
                <a:path w="32" h="65">
                  <a:moveTo>
                    <a:pt x="26" y="64"/>
                  </a:moveTo>
                  <a:cubicBezTo>
                    <a:pt x="25" y="64"/>
                    <a:pt x="24" y="64"/>
                    <a:pt x="23" y="64"/>
                  </a:cubicBezTo>
                  <a:lnTo>
                    <a:pt x="2" y="51"/>
                  </a:lnTo>
                  <a:cubicBezTo>
                    <a:pt x="1" y="50"/>
                    <a:pt x="0" y="48"/>
                    <a:pt x="0" y="47"/>
                  </a:cubicBezTo>
                  <a:lnTo>
                    <a:pt x="0" y="5"/>
                  </a:lnTo>
                  <a:cubicBezTo>
                    <a:pt x="0" y="2"/>
                    <a:pt x="1" y="0"/>
                    <a:pt x="4" y="0"/>
                  </a:cubicBezTo>
                  <a:lnTo>
                    <a:pt x="4" y="0"/>
                  </a:lnTo>
                  <a:cubicBezTo>
                    <a:pt x="6" y="0"/>
                    <a:pt x="8" y="1"/>
                    <a:pt x="9" y="3"/>
                  </a:cubicBezTo>
                  <a:lnTo>
                    <a:pt x="30" y="58"/>
                  </a:lnTo>
                  <a:cubicBezTo>
                    <a:pt x="31" y="60"/>
                    <a:pt x="30" y="62"/>
                    <a:pt x="29" y="63"/>
                  </a:cubicBezTo>
                  <a:cubicBezTo>
                    <a:pt x="28" y="64"/>
                    <a:pt x="27" y="64"/>
                    <a:pt x="26" y="6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1" name="Freeform 266"/>
            <p:cNvSpPr>
              <a:spLocks noChangeArrowheads="1"/>
            </p:cNvSpPr>
            <p:nvPr/>
          </p:nvSpPr>
          <p:spPr bwMode="auto">
            <a:xfrm>
              <a:off x="5437188" y="3883025"/>
              <a:ext cx="6350" cy="19050"/>
            </a:xfrm>
            <a:custGeom>
              <a:avLst/>
              <a:gdLst/>
              <a:ahLst/>
              <a:cxnLst>
                <a:cxn ang="0">
                  <a:pos x="9" y="52"/>
                </a:cxn>
                <a:cxn ang="0">
                  <a:pos x="4" y="47"/>
                </a:cxn>
                <a:cxn ang="0">
                  <a:pos x="0" y="5"/>
                </a:cxn>
                <a:cxn ang="0">
                  <a:pos x="3" y="0"/>
                </a:cxn>
                <a:cxn ang="0">
                  <a:pos x="5" y="0"/>
                </a:cxn>
                <a:cxn ang="0">
                  <a:pos x="9" y="2"/>
                </a:cxn>
                <a:cxn ang="0">
                  <a:pos x="17" y="19"/>
                </a:cxn>
                <a:cxn ang="0">
                  <a:pos x="13" y="48"/>
                </a:cxn>
                <a:cxn ang="0">
                  <a:pos x="9" y="52"/>
                </a:cxn>
              </a:cxnLst>
              <a:rect l="0" t="0" r="r" b="b"/>
              <a:pathLst>
                <a:path w="18" h="53">
                  <a:moveTo>
                    <a:pt x="9" y="52"/>
                  </a:moveTo>
                  <a:cubicBezTo>
                    <a:pt x="6" y="51"/>
                    <a:pt x="4" y="50"/>
                    <a:pt x="4" y="47"/>
                  </a:cubicBezTo>
                  <a:lnTo>
                    <a:pt x="0" y="5"/>
                  </a:lnTo>
                  <a:cubicBezTo>
                    <a:pt x="0" y="3"/>
                    <a:pt x="1" y="1"/>
                    <a:pt x="3" y="0"/>
                  </a:cubicBezTo>
                  <a:cubicBezTo>
                    <a:pt x="4" y="0"/>
                    <a:pt x="4" y="0"/>
                    <a:pt x="5" y="0"/>
                  </a:cubicBezTo>
                  <a:cubicBezTo>
                    <a:pt x="6" y="0"/>
                    <a:pt x="8" y="1"/>
                    <a:pt x="9" y="2"/>
                  </a:cubicBezTo>
                  <a:lnTo>
                    <a:pt x="17" y="19"/>
                  </a:lnTo>
                  <a:lnTo>
                    <a:pt x="13" y="48"/>
                  </a:lnTo>
                  <a:cubicBezTo>
                    <a:pt x="13" y="50"/>
                    <a:pt x="11" y="52"/>
                    <a:pt x="9" y="5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2" name="Freeform 267"/>
            <p:cNvSpPr>
              <a:spLocks noChangeArrowheads="1"/>
            </p:cNvSpPr>
            <p:nvPr/>
          </p:nvSpPr>
          <p:spPr bwMode="auto">
            <a:xfrm>
              <a:off x="5437188" y="3883025"/>
              <a:ext cx="6350" cy="19050"/>
            </a:xfrm>
            <a:custGeom>
              <a:avLst/>
              <a:gdLst/>
              <a:ahLst/>
              <a:cxnLst>
                <a:cxn ang="0">
                  <a:pos x="9" y="52"/>
                </a:cxn>
                <a:cxn ang="0">
                  <a:pos x="4" y="47"/>
                </a:cxn>
                <a:cxn ang="0">
                  <a:pos x="0" y="5"/>
                </a:cxn>
                <a:cxn ang="0">
                  <a:pos x="3" y="0"/>
                </a:cxn>
                <a:cxn ang="0">
                  <a:pos x="5" y="0"/>
                </a:cxn>
                <a:cxn ang="0">
                  <a:pos x="9" y="2"/>
                </a:cxn>
                <a:cxn ang="0">
                  <a:pos x="17" y="19"/>
                </a:cxn>
                <a:cxn ang="0">
                  <a:pos x="13" y="48"/>
                </a:cxn>
                <a:cxn ang="0">
                  <a:pos x="9" y="52"/>
                </a:cxn>
              </a:cxnLst>
              <a:rect l="0" t="0" r="r" b="b"/>
              <a:pathLst>
                <a:path w="18" h="53">
                  <a:moveTo>
                    <a:pt x="9" y="52"/>
                  </a:moveTo>
                  <a:cubicBezTo>
                    <a:pt x="6" y="51"/>
                    <a:pt x="4" y="50"/>
                    <a:pt x="4" y="47"/>
                  </a:cubicBezTo>
                  <a:lnTo>
                    <a:pt x="0" y="5"/>
                  </a:lnTo>
                  <a:cubicBezTo>
                    <a:pt x="0" y="3"/>
                    <a:pt x="1" y="1"/>
                    <a:pt x="3" y="0"/>
                  </a:cubicBezTo>
                  <a:cubicBezTo>
                    <a:pt x="4" y="0"/>
                    <a:pt x="4" y="0"/>
                    <a:pt x="5" y="0"/>
                  </a:cubicBezTo>
                  <a:cubicBezTo>
                    <a:pt x="6" y="0"/>
                    <a:pt x="8" y="1"/>
                    <a:pt x="9" y="2"/>
                  </a:cubicBezTo>
                  <a:lnTo>
                    <a:pt x="17" y="19"/>
                  </a:lnTo>
                  <a:lnTo>
                    <a:pt x="13" y="48"/>
                  </a:lnTo>
                  <a:cubicBezTo>
                    <a:pt x="13" y="50"/>
                    <a:pt x="11" y="52"/>
                    <a:pt x="9" y="5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3" name="Freeform 268"/>
            <p:cNvSpPr>
              <a:spLocks noChangeArrowheads="1"/>
            </p:cNvSpPr>
            <p:nvPr/>
          </p:nvSpPr>
          <p:spPr bwMode="auto">
            <a:xfrm>
              <a:off x="4900613" y="3981450"/>
              <a:ext cx="354012" cy="304800"/>
            </a:xfrm>
            <a:custGeom>
              <a:avLst/>
              <a:gdLst/>
              <a:ahLst/>
              <a:cxnLst>
                <a:cxn ang="0">
                  <a:pos x="234" y="803"/>
                </a:cxn>
                <a:cxn ang="0">
                  <a:pos x="106" y="813"/>
                </a:cxn>
                <a:cxn ang="0">
                  <a:pos x="1" y="723"/>
                </a:cxn>
                <a:cxn ang="0">
                  <a:pos x="0" y="411"/>
                </a:cxn>
                <a:cxn ang="0">
                  <a:pos x="169" y="406"/>
                </a:cxn>
                <a:cxn ang="0">
                  <a:pos x="161" y="398"/>
                </a:cxn>
                <a:cxn ang="0">
                  <a:pos x="173" y="228"/>
                </a:cxn>
                <a:cxn ang="0">
                  <a:pos x="199" y="226"/>
                </a:cxn>
                <a:cxn ang="0">
                  <a:pos x="270" y="249"/>
                </a:cxn>
                <a:cxn ang="0">
                  <a:pos x="275" y="251"/>
                </a:cxn>
                <a:cxn ang="0">
                  <a:pos x="362" y="313"/>
                </a:cxn>
                <a:cxn ang="0">
                  <a:pos x="431" y="301"/>
                </a:cxn>
                <a:cxn ang="0">
                  <a:pos x="514" y="343"/>
                </a:cxn>
                <a:cxn ang="0">
                  <a:pos x="647" y="434"/>
                </a:cxn>
                <a:cxn ang="0">
                  <a:pos x="589" y="352"/>
                </a:cxn>
                <a:cxn ang="0">
                  <a:pos x="547" y="308"/>
                </a:cxn>
                <a:cxn ang="0">
                  <a:pos x="576" y="193"/>
                </a:cxn>
                <a:cxn ang="0">
                  <a:pos x="602" y="27"/>
                </a:cxn>
                <a:cxn ang="0">
                  <a:pos x="720" y="0"/>
                </a:cxn>
                <a:cxn ang="0">
                  <a:pos x="725" y="4"/>
                </a:cxn>
                <a:cxn ang="0">
                  <a:pos x="756" y="53"/>
                </a:cxn>
                <a:cxn ang="0">
                  <a:pos x="767" y="38"/>
                </a:cxn>
                <a:cxn ang="0">
                  <a:pos x="930" y="106"/>
                </a:cxn>
                <a:cxn ang="0">
                  <a:pos x="983" y="214"/>
                </a:cxn>
                <a:cxn ang="0">
                  <a:pos x="961" y="240"/>
                </a:cxn>
                <a:cxn ang="0">
                  <a:pos x="954" y="347"/>
                </a:cxn>
                <a:cxn ang="0">
                  <a:pos x="964" y="372"/>
                </a:cxn>
                <a:cxn ang="0">
                  <a:pos x="912" y="469"/>
                </a:cxn>
                <a:cxn ang="0">
                  <a:pos x="941" y="505"/>
                </a:cxn>
                <a:cxn ang="0">
                  <a:pos x="680" y="595"/>
                </a:cxn>
                <a:cxn ang="0">
                  <a:pos x="699" y="642"/>
                </a:cxn>
                <a:cxn ang="0">
                  <a:pos x="648" y="639"/>
                </a:cxn>
                <a:cxn ang="0">
                  <a:pos x="555" y="729"/>
                </a:cxn>
                <a:cxn ang="0">
                  <a:pos x="489" y="762"/>
                </a:cxn>
                <a:cxn ang="0">
                  <a:pos x="407" y="847"/>
                </a:cxn>
              </a:cxnLst>
              <a:rect l="0" t="0" r="r" b="b"/>
              <a:pathLst>
                <a:path w="985" h="848">
                  <a:moveTo>
                    <a:pt x="266" y="830"/>
                  </a:moveTo>
                  <a:lnTo>
                    <a:pt x="234" y="803"/>
                  </a:lnTo>
                  <a:lnTo>
                    <a:pt x="182" y="796"/>
                  </a:lnTo>
                  <a:lnTo>
                    <a:pt x="106" y="813"/>
                  </a:lnTo>
                  <a:cubicBezTo>
                    <a:pt x="105" y="813"/>
                    <a:pt x="104" y="812"/>
                    <a:pt x="103" y="812"/>
                  </a:cubicBezTo>
                  <a:lnTo>
                    <a:pt x="1" y="723"/>
                  </a:lnTo>
                  <a:cubicBezTo>
                    <a:pt x="0" y="722"/>
                    <a:pt x="0" y="721"/>
                    <a:pt x="0" y="719"/>
                  </a:cubicBezTo>
                  <a:lnTo>
                    <a:pt x="0" y="411"/>
                  </a:lnTo>
                  <a:cubicBezTo>
                    <a:pt x="0" y="408"/>
                    <a:pt x="2" y="406"/>
                    <a:pt x="4" y="406"/>
                  </a:cubicBezTo>
                  <a:lnTo>
                    <a:pt x="169" y="406"/>
                  </a:lnTo>
                  <a:lnTo>
                    <a:pt x="163" y="402"/>
                  </a:lnTo>
                  <a:cubicBezTo>
                    <a:pt x="161" y="401"/>
                    <a:pt x="160" y="399"/>
                    <a:pt x="161" y="398"/>
                  </a:cubicBezTo>
                  <a:lnTo>
                    <a:pt x="169" y="232"/>
                  </a:lnTo>
                  <a:cubicBezTo>
                    <a:pt x="169" y="230"/>
                    <a:pt x="171" y="229"/>
                    <a:pt x="173" y="228"/>
                  </a:cubicBezTo>
                  <a:lnTo>
                    <a:pt x="195" y="224"/>
                  </a:lnTo>
                  <a:cubicBezTo>
                    <a:pt x="197" y="224"/>
                    <a:pt x="198" y="225"/>
                    <a:pt x="199" y="226"/>
                  </a:cubicBezTo>
                  <a:lnTo>
                    <a:pt x="219" y="265"/>
                  </a:lnTo>
                  <a:lnTo>
                    <a:pt x="270" y="249"/>
                  </a:lnTo>
                  <a:lnTo>
                    <a:pt x="271" y="249"/>
                  </a:lnTo>
                  <a:cubicBezTo>
                    <a:pt x="273" y="249"/>
                    <a:pt x="274" y="250"/>
                    <a:pt x="275" y="251"/>
                  </a:cubicBezTo>
                  <a:lnTo>
                    <a:pt x="296" y="281"/>
                  </a:lnTo>
                  <a:lnTo>
                    <a:pt x="362" y="313"/>
                  </a:lnTo>
                  <a:lnTo>
                    <a:pt x="428" y="300"/>
                  </a:lnTo>
                  <a:cubicBezTo>
                    <a:pt x="429" y="300"/>
                    <a:pt x="430" y="301"/>
                    <a:pt x="431" y="301"/>
                  </a:cubicBezTo>
                  <a:lnTo>
                    <a:pt x="465" y="331"/>
                  </a:lnTo>
                  <a:lnTo>
                    <a:pt x="514" y="343"/>
                  </a:lnTo>
                  <a:lnTo>
                    <a:pt x="584" y="420"/>
                  </a:lnTo>
                  <a:lnTo>
                    <a:pt x="647" y="434"/>
                  </a:lnTo>
                  <a:lnTo>
                    <a:pt x="644" y="352"/>
                  </a:lnTo>
                  <a:lnTo>
                    <a:pt x="589" y="352"/>
                  </a:lnTo>
                  <a:cubicBezTo>
                    <a:pt x="588" y="352"/>
                    <a:pt x="586" y="351"/>
                    <a:pt x="585" y="350"/>
                  </a:cubicBezTo>
                  <a:lnTo>
                    <a:pt x="547" y="308"/>
                  </a:lnTo>
                  <a:cubicBezTo>
                    <a:pt x="546" y="307"/>
                    <a:pt x="546" y="305"/>
                    <a:pt x="546" y="303"/>
                  </a:cubicBezTo>
                  <a:lnTo>
                    <a:pt x="576" y="193"/>
                  </a:lnTo>
                  <a:lnTo>
                    <a:pt x="563" y="90"/>
                  </a:lnTo>
                  <a:lnTo>
                    <a:pt x="602" y="27"/>
                  </a:lnTo>
                  <a:cubicBezTo>
                    <a:pt x="603" y="26"/>
                    <a:pt x="604" y="25"/>
                    <a:pt x="605" y="25"/>
                  </a:cubicBezTo>
                  <a:lnTo>
                    <a:pt x="720" y="0"/>
                  </a:lnTo>
                  <a:cubicBezTo>
                    <a:pt x="721" y="0"/>
                    <a:pt x="722" y="0"/>
                    <a:pt x="723" y="1"/>
                  </a:cubicBezTo>
                  <a:cubicBezTo>
                    <a:pt x="724" y="1"/>
                    <a:pt x="725" y="2"/>
                    <a:pt x="725" y="4"/>
                  </a:cubicBezTo>
                  <a:lnTo>
                    <a:pt x="729" y="39"/>
                  </a:lnTo>
                  <a:lnTo>
                    <a:pt x="756" y="53"/>
                  </a:lnTo>
                  <a:lnTo>
                    <a:pt x="763" y="40"/>
                  </a:lnTo>
                  <a:cubicBezTo>
                    <a:pt x="764" y="39"/>
                    <a:pt x="765" y="38"/>
                    <a:pt x="767" y="38"/>
                  </a:cubicBezTo>
                  <a:cubicBezTo>
                    <a:pt x="768" y="38"/>
                    <a:pt x="768" y="38"/>
                    <a:pt x="769" y="38"/>
                  </a:cubicBezTo>
                  <a:lnTo>
                    <a:pt x="930" y="106"/>
                  </a:lnTo>
                  <a:cubicBezTo>
                    <a:pt x="931" y="106"/>
                    <a:pt x="932" y="107"/>
                    <a:pt x="932" y="108"/>
                  </a:cubicBezTo>
                  <a:lnTo>
                    <a:pt x="983" y="214"/>
                  </a:lnTo>
                  <a:cubicBezTo>
                    <a:pt x="984" y="216"/>
                    <a:pt x="983" y="218"/>
                    <a:pt x="982" y="219"/>
                  </a:cubicBezTo>
                  <a:lnTo>
                    <a:pt x="961" y="240"/>
                  </a:lnTo>
                  <a:lnTo>
                    <a:pt x="954" y="293"/>
                  </a:lnTo>
                  <a:lnTo>
                    <a:pt x="954" y="347"/>
                  </a:lnTo>
                  <a:lnTo>
                    <a:pt x="966" y="366"/>
                  </a:lnTo>
                  <a:cubicBezTo>
                    <a:pt x="967" y="368"/>
                    <a:pt x="966" y="371"/>
                    <a:pt x="964" y="372"/>
                  </a:cubicBezTo>
                  <a:lnTo>
                    <a:pt x="935" y="393"/>
                  </a:lnTo>
                  <a:lnTo>
                    <a:pt x="912" y="469"/>
                  </a:lnTo>
                  <a:lnTo>
                    <a:pt x="940" y="501"/>
                  </a:lnTo>
                  <a:cubicBezTo>
                    <a:pt x="941" y="502"/>
                    <a:pt x="941" y="503"/>
                    <a:pt x="941" y="505"/>
                  </a:cubicBezTo>
                  <a:cubicBezTo>
                    <a:pt x="940" y="506"/>
                    <a:pt x="939" y="508"/>
                    <a:pt x="938" y="508"/>
                  </a:cubicBezTo>
                  <a:lnTo>
                    <a:pt x="680" y="595"/>
                  </a:lnTo>
                  <a:lnTo>
                    <a:pt x="699" y="637"/>
                  </a:lnTo>
                  <a:cubicBezTo>
                    <a:pt x="700" y="639"/>
                    <a:pt x="700" y="640"/>
                    <a:pt x="699" y="642"/>
                  </a:cubicBezTo>
                  <a:cubicBezTo>
                    <a:pt x="698" y="643"/>
                    <a:pt x="696" y="644"/>
                    <a:pt x="695" y="644"/>
                  </a:cubicBezTo>
                  <a:lnTo>
                    <a:pt x="648" y="639"/>
                  </a:lnTo>
                  <a:lnTo>
                    <a:pt x="568" y="668"/>
                  </a:lnTo>
                  <a:lnTo>
                    <a:pt x="555" y="729"/>
                  </a:lnTo>
                  <a:cubicBezTo>
                    <a:pt x="555" y="730"/>
                    <a:pt x="554" y="732"/>
                    <a:pt x="553" y="732"/>
                  </a:cubicBezTo>
                  <a:lnTo>
                    <a:pt x="489" y="762"/>
                  </a:lnTo>
                  <a:lnTo>
                    <a:pt x="410" y="845"/>
                  </a:lnTo>
                  <a:cubicBezTo>
                    <a:pt x="409" y="846"/>
                    <a:pt x="408" y="847"/>
                    <a:pt x="407" y="847"/>
                  </a:cubicBezTo>
                  <a:lnTo>
                    <a:pt x="266" y="83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4" name="Freeform 269"/>
            <p:cNvSpPr>
              <a:spLocks noChangeArrowheads="1"/>
            </p:cNvSpPr>
            <p:nvPr/>
          </p:nvSpPr>
          <p:spPr bwMode="auto">
            <a:xfrm>
              <a:off x="4900613" y="3981450"/>
              <a:ext cx="354012" cy="304800"/>
            </a:xfrm>
            <a:custGeom>
              <a:avLst/>
              <a:gdLst/>
              <a:ahLst/>
              <a:cxnLst>
                <a:cxn ang="0">
                  <a:pos x="234" y="803"/>
                </a:cxn>
                <a:cxn ang="0">
                  <a:pos x="106" y="813"/>
                </a:cxn>
                <a:cxn ang="0">
                  <a:pos x="1" y="723"/>
                </a:cxn>
                <a:cxn ang="0">
                  <a:pos x="0" y="411"/>
                </a:cxn>
                <a:cxn ang="0">
                  <a:pos x="169" y="406"/>
                </a:cxn>
                <a:cxn ang="0">
                  <a:pos x="161" y="398"/>
                </a:cxn>
                <a:cxn ang="0">
                  <a:pos x="173" y="228"/>
                </a:cxn>
                <a:cxn ang="0">
                  <a:pos x="199" y="226"/>
                </a:cxn>
                <a:cxn ang="0">
                  <a:pos x="270" y="249"/>
                </a:cxn>
                <a:cxn ang="0">
                  <a:pos x="275" y="251"/>
                </a:cxn>
                <a:cxn ang="0">
                  <a:pos x="362" y="313"/>
                </a:cxn>
                <a:cxn ang="0">
                  <a:pos x="431" y="301"/>
                </a:cxn>
                <a:cxn ang="0">
                  <a:pos x="514" y="343"/>
                </a:cxn>
                <a:cxn ang="0">
                  <a:pos x="647" y="434"/>
                </a:cxn>
                <a:cxn ang="0">
                  <a:pos x="589" y="352"/>
                </a:cxn>
                <a:cxn ang="0">
                  <a:pos x="547" y="308"/>
                </a:cxn>
                <a:cxn ang="0">
                  <a:pos x="576" y="193"/>
                </a:cxn>
                <a:cxn ang="0">
                  <a:pos x="602" y="27"/>
                </a:cxn>
                <a:cxn ang="0">
                  <a:pos x="720" y="0"/>
                </a:cxn>
                <a:cxn ang="0">
                  <a:pos x="725" y="4"/>
                </a:cxn>
                <a:cxn ang="0">
                  <a:pos x="756" y="53"/>
                </a:cxn>
                <a:cxn ang="0">
                  <a:pos x="767" y="38"/>
                </a:cxn>
                <a:cxn ang="0">
                  <a:pos x="930" y="106"/>
                </a:cxn>
                <a:cxn ang="0">
                  <a:pos x="983" y="214"/>
                </a:cxn>
                <a:cxn ang="0">
                  <a:pos x="961" y="240"/>
                </a:cxn>
                <a:cxn ang="0">
                  <a:pos x="954" y="347"/>
                </a:cxn>
                <a:cxn ang="0">
                  <a:pos x="964" y="372"/>
                </a:cxn>
                <a:cxn ang="0">
                  <a:pos x="912" y="469"/>
                </a:cxn>
                <a:cxn ang="0">
                  <a:pos x="941" y="505"/>
                </a:cxn>
                <a:cxn ang="0">
                  <a:pos x="680" y="595"/>
                </a:cxn>
                <a:cxn ang="0">
                  <a:pos x="699" y="642"/>
                </a:cxn>
                <a:cxn ang="0">
                  <a:pos x="648" y="639"/>
                </a:cxn>
                <a:cxn ang="0">
                  <a:pos x="555" y="729"/>
                </a:cxn>
                <a:cxn ang="0">
                  <a:pos x="489" y="762"/>
                </a:cxn>
                <a:cxn ang="0">
                  <a:pos x="407" y="847"/>
                </a:cxn>
              </a:cxnLst>
              <a:rect l="0" t="0" r="r" b="b"/>
              <a:pathLst>
                <a:path w="985" h="848">
                  <a:moveTo>
                    <a:pt x="266" y="830"/>
                  </a:moveTo>
                  <a:lnTo>
                    <a:pt x="234" y="803"/>
                  </a:lnTo>
                  <a:lnTo>
                    <a:pt x="182" y="796"/>
                  </a:lnTo>
                  <a:lnTo>
                    <a:pt x="106" y="813"/>
                  </a:lnTo>
                  <a:cubicBezTo>
                    <a:pt x="105" y="813"/>
                    <a:pt x="104" y="812"/>
                    <a:pt x="103" y="812"/>
                  </a:cubicBezTo>
                  <a:lnTo>
                    <a:pt x="1" y="723"/>
                  </a:lnTo>
                  <a:cubicBezTo>
                    <a:pt x="0" y="722"/>
                    <a:pt x="0" y="721"/>
                    <a:pt x="0" y="719"/>
                  </a:cubicBezTo>
                  <a:lnTo>
                    <a:pt x="0" y="411"/>
                  </a:lnTo>
                  <a:cubicBezTo>
                    <a:pt x="0" y="408"/>
                    <a:pt x="2" y="406"/>
                    <a:pt x="4" y="406"/>
                  </a:cubicBezTo>
                  <a:lnTo>
                    <a:pt x="169" y="406"/>
                  </a:lnTo>
                  <a:lnTo>
                    <a:pt x="163" y="402"/>
                  </a:lnTo>
                  <a:cubicBezTo>
                    <a:pt x="161" y="401"/>
                    <a:pt x="160" y="399"/>
                    <a:pt x="161" y="398"/>
                  </a:cubicBezTo>
                  <a:lnTo>
                    <a:pt x="169" y="232"/>
                  </a:lnTo>
                  <a:cubicBezTo>
                    <a:pt x="169" y="230"/>
                    <a:pt x="171" y="229"/>
                    <a:pt x="173" y="228"/>
                  </a:cubicBezTo>
                  <a:lnTo>
                    <a:pt x="195" y="224"/>
                  </a:lnTo>
                  <a:cubicBezTo>
                    <a:pt x="197" y="224"/>
                    <a:pt x="198" y="225"/>
                    <a:pt x="199" y="226"/>
                  </a:cubicBezTo>
                  <a:lnTo>
                    <a:pt x="219" y="265"/>
                  </a:lnTo>
                  <a:lnTo>
                    <a:pt x="270" y="249"/>
                  </a:lnTo>
                  <a:lnTo>
                    <a:pt x="271" y="249"/>
                  </a:lnTo>
                  <a:cubicBezTo>
                    <a:pt x="273" y="249"/>
                    <a:pt x="274" y="250"/>
                    <a:pt x="275" y="251"/>
                  </a:cubicBezTo>
                  <a:lnTo>
                    <a:pt x="296" y="281"/>
                  </a:lnTo>
                  <a:lnTo>
                    <a:pt x="362" y="313"/>
                  </a:lnTo>
                  <a:lnTo>
                    <a:pt x="428" y="300"/>
                  </a:lnTo>
                  <a:cubicBezTo>
                    <a:pt x="429" y="300"/>
                    <a:pt x="430" y="301"/>
                    <a:pt x="431" y="301"/>
                  </a:cubicBezTo>
                  <a:lnTo>
                    <a:pt x="465" y="331"/>
                  </a:lnTo>
                  <a:lnTo>
                    <a:pt x="514" y="343"/>
                  </a:lnTo>
                  <a:lnTo>
                    <a:pt x="584" y="420"/>
                  </a:lnTo>
                  <a:lnTo>
                    <a:pt x="647" y="434"/>
                  </a:lnTo>
                  <a:lnTo>
                    <a:pt x="644" y="352"/>
                  </a:lnTo>
                  <a:lnTo>
                    <a:pt x="589" y="352"/>
                  </a:lnTo>
                  <a:cubicBezTo>
                    <a:pt x="588" y="352"/>
                    <a:pt x="586" y="351"/>
                    <a:pt x="585" y="350"/>
                  </a:cubicBezTo>
                  <a:lnTo>
                    <a:pt x="547" y="308"/>
                  </a:lnTo>
                  <a:cubicBezTo>
                    <a:pt x="546" y="307"/>
                    <a:pt x="546" y="305"/>
                    <a:pt x="546" y="303"/>
                  </a:cubicBezTo>
                  <a:lnTo>
                    <a:pt x="576" y="193"/>
                  </a:lnTo>
                  <a:lnTo>
                    <a:pt x="563" y="90"/>
                  </a:lnTo>
                  <a:lnTo>
                    <a:pt x="602" y="27"/>
                  </a:lnTo>
                  <a:cubicBezTo>
                    <a:pt x="603" y="26"/>
                    <a:pt x="604" y="25"/>
                    <a:pt x="605" y="25"/>
                  </a:cubicBezTo>
                  <a:lnTo>
                    <a:pt x="720" y="0"/>
                  </a:lnTo>
                  <a:cubicBezTo>
                    <a:pt x="721" y="0"/>
                    <a:pt x="722" y="0"/>
                    <a:pt x="723" y="1"/>
                  </a:cubicBezTo>
                  <a:cubicBezTo>
                    <a:pt x="724" y="1"/>
                    <a:pt x="725" y="2"/>
                    <a:pt x="725" y="4"/>
                  </a:cubicBezTo>
                  <a:lnTo>
                    <a:pt x="729" y="39"/>
                  </a:lnTo>
                  <a:lnTo>
                    <a:pt x="756" y="53"/>
                  </a:lnTo>
                  <a:lnTo>
                    <a:pt x="763" y="40"/>
                  </a:lnTo>
                  <a:cubicBezTo>
                    <a:pt x="764" y="39"/>
                    <a:pt x="765" y="38"/>
                    <a:pt x="767" y="38"/>
                  </a:cubicBezTo>
                  <a:cubicBezTo>
                    <a:pt x="768" y="38"/>
                    <a:pt x="768" y="38"/>
                    <a:pt x="769" y="38"/>
                  </a:cubicBezTo>
                  <a:lnTo>
                    <a:pt x="930" y="106"/>
                  </a:lnTo>
                  <a:cubicBezTo>
                    <a:pt x="931" y="106"/>
                    <a:pt x="932" y="107"/>
                    <a:pt x="932" y="108"/>
                  </a:cubicBezTo>
                  <a:lnTo>
                    <a:pt x="983" y="214"/>
                  </a:lnTo>
                  <a:cubicBezTo>
                    <a:pt x="984" y="216"/>
                    <a:pt x="983" y="218"/>
                    <a:pt x="982" y="219"/>
                  </a:cubicBezTo>
                  <a:lnTo>
                    <a:pt x="961" y="240"/>
                  </a:lnTo>
                  <a:lnTo>
                    <a:pt x="954" y="293"/>
                  </a:lnTo>
                  <a:lnTo>
                    <a:pt x="954" y="347"/>
                  </a:lnTo>
                  <a:lnTo>
                    <a:pt x="966" y="366"/>
                  </a:lnTo>
                  <a:cubicBezTo>
                    <a:pt x="967" y="368"/>
                    <a:pt x="966" y="371"/>
                    <a:pt x="964" y="372"/>
                  </a:cubicBezTo>
                  <a:lnTo>
                    <a:pt x="935" y="393"/>
                  </a:lnTo>
                  <a:lnTo>
                    <a:pt x="912" y="469"/>
                  </a:lnTo>
                  <a:lnTo>
                    <a:pt x="940" y="501"/>
                  </a:lnTo>
                  <a:cubicBezTo>
                    <a:pt x="941" y="502"/>
                    <a:pt x="941" y="503"/>
                    <a:pt x="941" y="505"/>
                  </a:cubicBezTo>
                  <a:cubicBezTo>
                    <a:pt x="940" y="506"/>
                    <a:pt x="939" y="508"/>
                    <a:pt x="938" y="508"/>
                  </a:cubicBezTo>
                  <a:lnTo>
                    <a:pt x="680" y="595"/>
                  </a:lnTo>
                  <a:lnTo>
                    <a:pt x="699" y="637"/>
                  </a:lnTo>
                  <a:cubicBezTo>
                    <a:pt x="700" y="639"/>
                    <a:pt x="700" y="640"/>
                    <a:pt x="699" y="642"/>
                  </a:cubicBezTo>
                  <a:cubicBezTo>
                    <a:pt x="698" y="643"/>
                    <a:pt x="696" y="644"/>
                    <a:pt x="695" y="644"/>
                  </a:cubicBezTo>
                  <a:lnTo>
                    <a:pt x="648" y="639"/>
                  </a:lnTo>
                  <a:lnTo>
                    <a:pt x="568" y="668"/>
                  </a:lnTo>
                  <a:lnTo>
                    <a:pt x="555" y="729"/>
                  </a:lnTo>
                  <a:cubicBezTo>
                    <a:pt x="555" y="730"/>
                    <a:pt x="554" y="732"/>
                    <a:pt x="553" y="732"/>
                  </a:cubicBezTo>
                  <a:lnTo>
                    <a:pt x="489" y="762"/>
                  </a:lnTo>
                  <a:lnTo>
                    <a:pt x="410" y="845"/>
                  </a:lnTo>
                  <a:cubicBezTo>
                    <a:pt x="409" y="846"/>
                    <a:pt x="408" y="847"/>
                    <a:pt x="407" y="847"/>
                  </a:cubicBezTo>
                  <a:lnTo>
                    <a:pt x="266" y="83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5" name="Freeform 270"/>
            <p:cNvSpPr>
              <a:spLocks noChangeArrowheads="1"/>
            </p:cNvSpPr>
            <p:nvPr/>
          </p:nvSpPr>
          <p:spPr bwMode="auto">
            <a:xfrm>
              <a:off x="4522788" y="2049463"/>
              <a:ext cx="233362" cy="117475"/>
            </a:xfrm>
            <a:custGeom>
              <a:avLst/>
              <a:gdLst/>
              <a:ahLst/>
              <a:cxnLst>
                <a:cxn ang="0">
                  <a:pos x="356" y="322"/>
                </a:cxn>
                <a:cxn ang="0">
                  <a:pos x="258" y="297"/>
                </a:cxn>
                <a:cxn ang="0">
                  <a:pos x="223" y="251"/>
                </a:cxn>
                <a:cxn ang="0">
                  <a:pos x="82" y="276"/>
                </a:cxn>
                <a:cxn ang="0">
                  <a:pos x="20" y="259"/>
                </a:cxn>
                <a:cxn ang="0">
                  <a:pos x="17" y="255"/>
                </a:cxn>
                <a:cxn ang="0">
                  <a:pos x="0" y="196"/>
                </a:cxn>
                <a:cxn ang="0">
                  <a:pos x="1" y="193"/>
                </a:cxn>
                <a:cxn ang="0">
                  <a:pos x="4" y="190"/>
                </a:cxn>
                <a:cxn ang="0">
                  <a:pos x="33" y="182"/>
                </a:cxn>
                <a:cxn ang="0">
                  <a:pos x="34" y="182"/>
                </a:cxn>
                <a:cxn ang="0">
                  <a:pos x="37" y="182"/>
                </a:cxn>
                <a:cxn ang="0">
                  <a:pos x="72" y="205"/>
                </a:cxn>
                <a:cxn ang="0">
                  <a:pos x="90" y="183"/>
                </a:cxn>
                <a:cxn ang="0">
                  <a:pos x="94" y="182"/>
                </a:cxn>
                <a:cxn ang="0">
                  <a:pos x="95" y="182"/>
                </a:cxn>
                <a:cxn ang="0">
                  <a:pos x="150" y="199"/>
                </a:cxn>
                <a:cxn ang="0">
                  <a:pos x="240" y="165"/>
                </a:cxn>
                <a:cxn ang="0">
                  <a:pos x="242" y="165"/>
                </a:cxn>
                <a:cxn ang="0">
                  <a:pos x="244" y="165"/>
                </a:cxn>
                <a:cxn ang="0">
                  <a:pos x="284" y="181"/>
                </a:cxn>
                <a:cxn ang="0">
                  <a:pos x="296" y="175"/>
                </a:cxn>
                <a:cxn ang="0">
                  <a:pos x="288" y="102"/>
                </a:cxn>
                <a:cxn ang="0">
                  <a:pos x="290" y="98"/>
                </a:cxn>
                <a:cxn ang="0">
                  <a:pos x="366" y="35"/>
                </a:cxn>
                <a:cxn ang="0">
                  <a:pos x="369" y="34"/>
                </a:cxn>
                <a:cxn ang="0">
                  <a:pos x="431" y="46"/>
                </a:cxn>
                <a:cxn ang="0">
                  <a:pos x="471" y="1"/>
                </a:cxn>
                <a:cxn ang="0">
                  <a:pos x="475" y="0"/>
                </a:cxn>
                <a:cxn ang="0">
                  <a:pos x="476" y="0"/>
                </a:cxn>
                <a:cxn ang="0">
                  <a:pos x="612" y="29"/>
                </a:cxn>
                <a:cxn ang="0">
                  <a:pos x="615" y="32"/>
                </a:cxn>
                <a:cxn ang="0">
                  <a:pos x="649" y="121"/>
                </a:cxn>
                <a:cxn ang="0">
                  <a:pos x="645" y="166"/>
                </a:cxn>
                <a:cxn ang="0">
                  <a:pos x="640" y="170"/>
                </a:cxn>
                <a:cxn ang="0">
                  <a:pos x="602" y="170"/>
                </a:cxn>
                <a:cxn ang="0">
                  <a:pos x="594" y="250"/>
                </a:cxn>
                <a:cxn ang="0">
                  <a:pos x="592" y="254"/>
                </a:cxn>
                <a:cxn ang="0">
                  <a:pos x="562" y="275"/>
                </a:cxn>
                <a:cxn ang="0">
                  <a:pos x="430" y="326"/>
                </a:cxn>
                <a:cxn ang="0">
                  <a:pos x="428" y="326"/>
                </a:cxn>
                <a:cxn ang="0">
                  <a:pos x="356" y="322"/>
                </a:cxn>
              </a:cxnLst>
              <a:rect l="0" t="0" r="r" b="b"/>
              <a:pathLst>
                <a:path w="650" h="327">
                  <a:moveTo>
                    <a:pt x="356" y="322"/>
                  </a:moveTo>
                  <a:lnTo>
                    <a:pt x="258" y="297"/>
                  </a:lnTo>
                  <a:lnTo>
                    <a:pt x="223" y="251"/>
                  </a:lnTo>
                  <a:lnTo>
                    <a:pt x="82" y="276"/>
                  </a:lnTo>
                  <a:lnTo>
                    <a:pt x="20" y="259"/>
                  </a:lnTo>
                  <a:cubicBezTo>
                    <a:pt x="19" y="258"/>
                    <a:pt x="18" y="257"/>
                    <a:pt x="17" y="255"/>
                  </a:cubicBezTo>
                  <a:lnTo>
                    <a:pt x="0" y="196"/>
                  </a:lnTo>
                  <a:cubicBezTo>
                    <a:pt x="0" y="195"/>
                    <a:pt x="0" y="194"/>
                    <a:pt x="1" y="193"/>
                  </a:cubicBezTo>
                  <a:cubicBezTo>
                    <a:pt x="1" y="192"/>
                    <a:pt x="2" y="191"/>
                    <a:pt x="4" y="190"/>
                  </a:cubicBezTo>
                  <a:lnTo>
                    <a:pt x="33" y="182"/>
                  </a:lnTo>
                  <a:cubicBezTo>
                    <a:pt x="34" y="182"/>
                    <a:pt x="34" y="182"/>
                    <a:pt x="34" y="182"/>
                  </a:cubicBezTo>
                  <a:cubicBezTo>
                    <a:pt x="35" y="182"/>
                    <a:pt x="36" y="182"/>
                    <a:pt x="37" y="182"/>
                  </a:cubicBezTo>
                  <a:lnTo>
                    <a:pt x="72" y="205"/>
                  </a:lnTo>
                  <a:lnTo>
                    <a:pt x="90" y="183"/>
                  </a:lnTo>
                  <a:cubicBezTo>
                    <a:pt x="91" y="182"/>
                    <a:pt x="92" y="182"/>
                    <a:pt x="94" y="182"/>
                  </a:cubicBezTo>
                  <a:lnTo>
                    <a:pt x="95" y="182"/>
                  </a:lnTo>
                  <a:lnTo>
                    <a:pt x="150" y="199"/>
                  </a:lnTo>
                  <a:lnTo>
                    <a:pt x="240" y="165"/>
                  </a:lnTo>
                  <a:cubicBezTo>
                    <a:pt x="241" y="165"/>
                    <a:pt x="241" y="165"/>
                    <a:pt x="242" y="165"/>
                  </a:cubicBezTo>
                  <a:cubicBezTo>
                    <a:pt x="243" y="165"/>
                    <a:pt x="243" y="165"/>
                    <a:pt x="244" y="165"/>
                  </a:cubicBezTo>
                  <a:lnTo>
                    <a:pt x="284" y="181"/>
                  </a:lnTo>
                  <a:lnTo>
                    <a:pt x="296" y="175"/>
                  </a:lnTo>
                  <a:lnTo>
                    <a:pt x="288" y="102"/>
                  </a:lnTo>
                  <a:cubicBezTo>
                    <a:pt x="288" y="101"/>
                    <a:pt x="289" y="99"/>
                    <a:pt x="290" y="98"/>
                  </a:cubicBezTo>
                  <a:lnTo>
                    <a:pt x="366" y="35"/>
                  </a:lnTo>
                  <a:cubicBezTo>
                    <a:pt x="367" y="34"/>
                    <a:pt x="368" y="34"/>
                    <a:pt x="369" y="34"/>
                  </a:cubicBezTo>
                  <a:lnTo>
                    <a:pt x="431" y="46"/>
                  </a:lnTo>
                  <a:lnTo>
                    <a:pt x="471" y="1"/>
                  </a:lnTo>
                  <a:cubicBezTo>
                    <a:pt x="472" y="0"/>
                    <a:pt x="474" y="0"/>
                    <a:pt x="475" y="0"/>
                  </a:cubicBezTo>
                  <a:lnTo>
                    <a:pt x="476" y="0"/>
                  </a:lnTo>
                  <a:lnTo>
                    <a:pt x="612" y="29"/>
                  </a:lnTo>
                  <a:cubicBezTo>
                    <a:pt x="613" y="30"/>
                    <a:pt x="614" y="31"/>
                    <a:pt x="615" y="32"/>
                  </a:cubicBezTo>
                  <a:lnTo>
                    <a:pt x="649" y="121"/>
                  </a:lnTo>
                  <a:lnTo>
                    <a:pt x="645" y="166"/>
                  </a:lnTo>
                  <a:cubicBezTo>
                    <a:pt x="645" y="168"/>
                    <a:pt x="643" y="170"/>
                    <a:pt x="640" y="170"/>
                  </a:cubicBezTo>
                  <a:lnTo>
                    <a:pt x="602" y="170"/>
                  </a:lnTo>
                  <a:lnTo>
                    <a:pt x="594" y="250"/>
                  </a:lnTo>
                  <a:cubicBezTo>
                    <a:pt x="594" y="252"/>
                    <a:pt x="593" y="253"/>
                    <a:pt x="592" y="254"/>
                  </a:cubicBezTo>
                  <a:lnTo>
                    <a:pt x="562" y="275"/>
                  </a:lnTo>
                  <a:lnTo>
                    <a:pt x="430" y="326"/>
                  </a:lnTo>
                  <a:cubicBezTo>
                    <a:pt x="429" y="326"/>
                    <a:pt x="429" y="326"/>
                    <a:pt x="428" y="326"/>
                  </a:cubicBezTo>
                  <a:lnTo>
                    <a:pt x="356" y="32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6" name="Freeform 271"/>
            <p:cNvSpPr>
              <a:spLocks noChangeArrowheads="1"/>
            </p:cNvSpPr>
            <p:nvPr/>
          </p:nvSpPr>
          <p:spPr bwMode="auto">
            <a:xfrm>
              <a:off x="4522788" y="2049463"/>
              <a:ext cx="233362" cy="117475"/>
            </a:xfrm>
            <a:custGeom>
              <a:avLst/>
              <a:gdLst/>
              <a:ahLst/>
              <a:cxnLst>
                <a:cxn ang="0">
                  <a:pos x="356" y="322"/>
                </a:cxn>
                <a:cxn ang="0">
                  <a:pos x="258" y="297"/>
                </a:cxn>
                <a:cxn ang="0">
                  <a:pos x="223" y="251"/>
                </a:cxn>
                <a:cxn ang="0">
                  <a:pos x="82" y="276"/>
                </a:cxn>
                <a:cxn ang="0">
                  <a:pos x="20" y="259"/>
                </a:cxn>
                <a:cxn ang="0">
                  <a:pos x="17" y="255"/>
                </a:cxn>
                <a:cxn ang="0">
                  <a:pos x="0" y="196"/>
                </a:cxn>
                <a:cxn ang="0">
                  <a:pos x="1" y="193"/>
                </a:cxn>
                <a:cxn ang="0">
                  <a:pos x="4" y="190"/>
                </a:cxn>
                <a:cxn ang="0">
                  <a:pos x="33" y="182"/>
                </a:cxn>
                <a:cxn ang="0">
                  <a:pos x="34" y="182"/>
                </a:cxn>
                <a:cxn ang="0">
                  <a:pos x="37" y="182"/>
                </a:cxn>
                <a:cxn ang="0">
                  <a:pos x="72" y="205"/>
                </a:cxn>
                <a:cxn ang="0">
                  <a:pos x="90" y="183"/>
                </a:cxn>
                <a:cxn ang="0">
                  <a:pos x="94" y="182"/>
                </a:cxn>
                <a:cxn ang="0">
                  <a:pos x="95" y="182"/>
                </a:cxn>
                <a:cxn ang="0">
                  <a:pos x="150" y="199"/>
                </a:cxn>
                <a:cxn ang="0">
                  <a:pos x="240" y="165"/>
                </a:cxn>
                <a:cxn ang="0">
                  <a:pos x="242" y="165"/>
                </a:cxn>
                <a:cxn ang="0">
                  <a:pos x="244" y="165"/>
                </a:cxn>
                <a:cxn ang="0">
                  <a:pos x="284" y="181"/>
                </a:cxn>
                <a:cxn ang="0">
                  <a:pos x="296" y="175"/>
                </a:cxn>
                <a:cxn ang="0">
                  <a:pos x="288" y="102"/>
                </a:cxn>
                <a:cxn ang="0">
                  <a:pos x="290" y="98"/>
                </a:cxn>
                <a:cxn ang="0">
                  <a:pos x="366" y="35"/>
                </a:cxn>
                <a:cxn ang="0">
                  <a:pos x="369" y="34"/>
                </a:cxn>
                <a:cxn ang="0">
                  <a:pos x="431" y="46"/>
                </a:cxn>
                <a:cxn ang="0">
                  <a:pos x="471" y="1"/>
                </a:cxn>
                <a:cxn ang="0">
                  <a:pos x="475" y="0"/>
                </a:cxn>
                <a:cxn ang="0">
                  <a:pos x="476" y="0"/>
                </a:cxn>
                <a:cxn ang="0">
                  <a:pos x="612" y="29"/>
                </a:cxn>
                <a:cxn ang="0">
                  <a:pos x="615" y="32"/>
                </a:cxn>
                <a:cxn ang="0">
                  <a:pos x="649" y="121"/>
                </a:cxn>
                <a:cxn ang="0">
                  <a:pos x="645" y="166"/>
                </a:cxn>
                <a:cxn ang="0">
                  <a:pos x="640" y="170"/>
                </a:cxn>
                <a:cxn ang="0">
                  <a:pos x="602" y="170"/>
                </a:cxn>
                <a:cxn ang="0">
                  <a:pos x="594" y="250"/>
                </a:cxn>
                <a:cxn ang="0">
                  <a:pos x="592" y="254"/>
                </a:cxn>
                <a:cxn ang="0">
                  <a:pos x="562" y="275"/>
                </a:cxn>
                <a:cxn ang="0">
                  <a:pos x="430" y="326"/>
                </a:cxn>
                <a:cxn ang="0">
                  <a:pos x="428" y="326"/>
                </a:cxn>
                <a:cxn ang="0">
                  <a:pos x="356" y="322"/>
                </a:cxn>
              </a:cxnLst>
              <a:rect l="0" t="0" r="r" b="b"/>
              <a:pathLst>
                <a:path w="650" h="327">
                  <a:moveTo>
                    <a:pt x="356" y="322"/>
                  </a:moveTo>
                  <a:lnTo>
                    <a:pt x="258" y="297"/>
                  </a:lnTo>
                  <a:lnTo>
                    <a:pt x="223" y="251"/>
                  </a:lnTo>
                  <a:lnTo>
                    <a:pt x="82" y="276"/>
                  </a:lnTo>
                  <a:lnTo>
                    <a:pt x="20" y="259"/>
                  </a:lnTo>
                  <a:cubicBezTo>
                    <a:pt x="19" y="258"/>
                    <a:pt x="18" y="257"/>
                    <a:pt x="17" y="255"/>
                  </a:cubicBezTo>
                  <a:lnTo>
                    <a:pt x="0" y="196"/>
                  </a:lnTo>
                  <a:cubicBezTo>
                    <a:pt x="0" y="195"/>
                    <a:pt x="0" y="194"/>
                    <a:pt x="1" y="193"/>
                  </a:cubicBezTo>
                  <a:cubicBezTo>
                    <a:pt x="1" y="192"/>
                    <a:pt x="2" y="191"/>
                    <a:pt x="4" y="190"/>
                  </a:cubicBezTo>
                  <a:lnTo>
                    <a:pt x="33" y="182"/>
                  </a:lnTo>
                  <a:cubicBezTo>
                    <a:pt x="34" y="182"/>
                    <a:pt x="34" y="182"/>
                    <a:pt x="34" y="182"/>
                  </a:cubicBezTo>
                  <a:cubicBezTo>
                    <a:pt x="35" y="182"/>
                    <a:pt x="36" y="182"/>
                    <a:pt x="37" y="182"/>
                  </a:cubicBezTo>
                  <a:lnTo>
                    <a:pt x="72" y="205"/>
                  </a:lnTo>
                  <a:lnTo>
                    <a:pt x="90" y="183"/>
                  </a:lnTo>
                  <a:cubicBezTo>
                    <a:pt x="91" y="182"/>
                    <a:pt x="92" y="182"/>
                    <a:pt x="94" y="182"/>
                  </a:cubicBezTo>
                  <a:lnTo>
                    <a:pt x="95" y="182"/>
                  </a:lnTo>
                  <a:lnTo>
                    <a:pt x="150" y="199"/>
                  </a:lnTo>
                  <a:lnTo>
                    <a:pt x="240" y="165"/>
                  </a:lnTo>
                  <a:cubicBezTo>
                    <a:pt x="241" y="165"/>
                    <a:pt x="241" y="165"/>
                    <a:pt x="242" y="165"/>
                  </a:cubicBezTo>
                  <a:cubicBezTo>
                    <a:pt x="243" y="165"/>
                    <a:pt x="243" y="165"/>
                    <a:pt x="244" y="165"/>
                  </a:cubicBezTo>
                  <a:lnTo>
                    <a:pt x="284" y="181"/>
                  </a:lnTo>
                  <a:lnTo>
                    <a:pt x="296" y="175"/>
                  </a:lnTo>
                  <a:lnTo>
                    <a:pt x="288" y="102"/>
                  </a:lnTo>
                  <a:cubicBezTo>
                    <a:pt x="288" y="101"/>
                    <a:pt x="289" y="99"/>
                    <a:pt x="290" y="98"/>
                  </a:cubicBezTo>
                  <a:lnTo>
                    <a:pt x="366" y="35"/>
                  </a:lnTo>
                  <a:cubicBezTo>
                    <a:pt x="367" y="34"/>
                    <a:pt x="368" y="34"/>
                    <a:pt x="369" y="34"/>
                  </a:cubicBezTo>
                  <a:lnTo>
                    <a:pt x="431" y="46"/>
                  </a:lnTo>
                  <a:lnTo>
                    <a:pt x="471" y="1"/>
                  </a:lnTo>
                  <a:cubicBezTo>
                    <a:pt x="472" y="0"/>
                    <a:pt x="474" y="0"/>
                    <a:pt x="475" y="0"/>
                  </a:cubicBezTo>
                  <a:lnTo>
                    <a:pt x="476" y="0"/>
                  </a:lnTo>
                  <a:lnTo>
                    <a:pt x="612" y="29"/>
                  </a:lnTo>
                  <a:cubicBezTo>
                    <a:pt x="613" y="30"/>
                    <a:pt x="614" y="31"/>
                    <a:pt x="615" y="32"/>
                  </a:cubicBezTo>
                  <a:lnTo>
                    <a:pt x="649" y="121"/>
                  </a:lnTo>
                  <a:lnTo>
                    <a:pt x="645" y="166"/>
                  </a:lnTo>
                  <a:cubicBezTo>
                    <a:pt x="645" y="168"/>
                    <a:pt x="643" y="170"/>
                    <a:pt x="640" y="170"/>
                  </a:cubicBezTo>
                  <a:lnTo>
                    <a:pt x="602" y="170"/>
                  </a:lnTo>
                  <a:lnTo>
                    <a:pt x="594" y="250"/>
                  </a:lnTo>
                  <a:cubicBezTo>
                    <a:pt x="594" y="252"/>
                    <a:pt x="593" y="253"/>
                    <a:pt x="592" y="254"/>
                  </a:cubicBezTo>
                  <a:lnTo>
                    <a:pt x="562" y="275"/>
                  </a:lnTo>
                  <a:lnTo>
                    <a:pt x="430" y="326"/>
                  </a:lnTo>
                  <a:cubicBezTo>
                    <a:pt x="429" y="326"/>
                    <a:pt x="429" y="326"/>
                    <a:pt x="428" y="326"/>
                  </a:cubicBezTo>
                  <a:lnTo>
                    <a:pt x="356" y="32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7" name="Freeform 272"/>
            <p:cNvSpPr>
              <a:spLocks noChangeArrowheads="1"/>
            </p:cNvSpPr>
            <p:nvPr/>
          </p:nvSpPr>
          <p:spPr bwMode="auto">
            <a:xfrm>
              <a:off x="4324350" y="1938338"/>
              <a:ext cx="106363" cy="87312"/>
            </a:xfrm>
            <a:custGeom>
              <a:avLst/>
              <a:gdLst/>
              <a:ahLst/>
              <a:cxnLst>
                <a:cxn ang="0">
                  <a:pos x="181" y="221"/>
                </a:cxn>
                <a:cxn ang="0">
                  <a:pos x="178" y="216"/>
                </a:cxn>
                <a:cxn ang="0">
                  <a:pos x="178" y="176"/>
                </a:cxn>
                <a:cxn ang="0">
                  <a:pos x="124" y="187"/>
                </a:cxn>
                <a:cxn ang="0">
                  <a:pos x="119" y="184"/>
                </a:cxn>
                <a:cxn ang="0">
                  <a:pos x="102" y="142"/>
                </a:cxn>
                <a:cxn ang="0">
                  <a:pos x="3" y="81"/>
                </a:cxn>
                <a:cxn ang="0">
                  <a:pos x="0" y="77"/>
                </a:cxn>
                <a:cxn ang="0">
                  <a:pos x="0" y="43"/>
                </a:cxn>
                <a:cxn ang="0">
                  <a:pos x="3" y="39"/>
                </a:cxn>
                <a:cxn ang="0">
                  <a:pos x="58" y="5"/>
                </a:cxn>
                <a:cxn ang="0">
                  <a:pos x="60" y="4"/>
                </a:cxn>
                <a:cxn ang="0">
                  <a:pos x="62" y="5"/>
                </a:cxn>
                <a:cxn ang="0">
                  <a:pos x="91" y="21"/>
                </a:cxn>
                <a:cxn ang="0">
                  <a:pos x="191" y="0"/>
                </a:cxn>
                <a:cxn ang="0">
                  <a:pos x="194" y="1"/>
                </a:cxn>
                <a:cxn ang="0">
                  <a:pos x="236" y="26"/>
                </a:cxn>
                <a:cxn ang="0">
                  <a:pos x="238" y="29"/>
                </a:cxn>
                <a:cxn ang="0">
                  <a:pos x="246" y="74"/>
                </a:cxn>
                <a:cxn ang="0">
                  <a:pos x="270" y="85"/>
                </a:cxn>
                <a:cxn ang="0">
                  <a:pos x="293" y="125"/>
                </a:cxn>
                <a:cxn ang="0">
                  <a:pos x="293" y="130"/>
                </a:cxn>
                <a:cxn ang="0">
                  <a:pos x="276" y="164"/>
                </a:cxn>
                <a:cxn ang="0">
                  <a:pos x="239" y="197"/>
                </a:cxn>
                <a:cxn ang="0">
                  <a:pos x="251" y="236"/>
                </a:cxn>
                <a:cxn ang="0">
                  <a:pos x="250" y="241"/>
                </a:cxn>
                <a:cxn ang="0">
                  <a:pos x="246" y="242"/>
                </a:cxn>
                <a:cxn ang="0">
                  <a:pos x="245" y="242"/>
                </a:cxn>
                <a:cxn ang="0">
                  <a:pos x="181" y="221"/>
                </a:cxn>
              </a:cxnLst>
              <a:rect l="0" t="0" r="r" b="b"/>
              <a:pathLst>
                <a:path w="295" h="243">
                  <a:moveTo>
                    <a:pt x="181" y="221"/>
                  </a:moveTo>
                  <a:cubicBezTo>
                    <a:pt x="179" y="220"/>
                    <a:pt x="178" y="218"/>
                    <a:pt x="178" y="216"/>
                  </a:cubicBezTo>
                  <a:lnTo>
                    <a:pt x="178" y="176"/>
                  </a:lnTo>
                  <a:lnTo>
                    <a:pt x="124" y="187"/>
                  </a:lnTo>
                  <a:cubicBezTo>
                    <a:pt x="122" y="187"/>
                    <a:pt x="120" y="186"/>
                    <a:pt x="119" y="184"/>
                  </a:cubicBezTo>
                  <a:lnTo>
                    <a:pt x="102" y="142"/>
                  </a:lnTo>
                  <a:lnTo>
                    <a:pt x="3" y="81"/>
                  </a:lnTo>
                  <a:cubicBezTo>
                    <a:pt x="1" y="80"/>
                    <a:pt x="0" y="79"/>
                    <a:pt x="0" y="77"/>
                  </a:cubicBezTo>
                  <a:lnTo>
                    <a:pt x="0" y="43"/>
                  </a:lnTo>
                  <a:cubicBezTo>
                    <a:pt x="0" y="41"/>
                    <a:pt x="1" y="40"/>
                    <a:pt x="3" y="39"/>
                  </a:cubicBezTo>
                  <a:lnTo>
                    <a:pt x="58" y="5"/>
                  </a:lnTo>
                  <a:cubicBezTo>
                    <a:pt x="58" y="5"/>
                    <a:pt x="59" y="4"/>
                    <a:pt x="60" y="4"/>
                  </a:cubicBezTo>
                  <a:cubicBezTo>
                    <a:pt x="61" y="4"/>
                    <a:pt x="62" y="5"/>
                    <a:pt x="62" y="5"/>
                  </a:cubicBezTo>
                  <a:lnTo>
                    <a:pt x="91" y="21"/>
                  </a:lnTo>
                  <a:lnTo>
                    <a:pt x="191" y="0"/>
                  </a:lnTo>
                  <a:cubicBezTo>
                    <a:pt x="192" y="0"/>
                    <a:pt x="193" y="0"/>
                    <a:pt x="194" y="1"/>
                  </a:cubicBezTo>
                  <a:lnTo>
                    <a:pt x="236" y="26"/>
                  </a:lnTo>
                  <a:cubicBezTo>
                    <a:pt x="237" y="27"/>
                    <a:pt x="238" y="28"/>
                    <a:pt x="238" y="29"/>
                  </a:cubicBezTo>
                  <a:lnTo>
                    <a:pt x="246" y="74"/>
                  </a:lnTo>
                  <a:lnTo>
                    <a:pt x="270" y="85"/>
                  </a:lnTo>
                  <a:lnTo>
                    <a:pt x="293" y="125"/>
                  </a:lnTo>
                  <a:cubicBezTo>
                    <a:pt x="294" y="127"/>
                    <a:pt x="294" y="128"/>
                    <a:pt x="293" y="130"/>
                  </a:cubicBezTo>
                  <a:lnTo>
                    <a:pt x="276" y="164"/>
                  </a:lnTo>
                  <a:lnTo>
                    <a:pt x="239" y="197"/>
                  </a:lnTo>
                  <a:lnTo>
                    <a:pt x="251" y="236"/>
                  </a:lnTo>
                  <a:cubicBezTo>
                    <a:pt x="251" y="238"/>
                    <a:pt x="251" y="240"/>
                    <a:pt x="250" y="241"/>
                  </a:cubicBezTo>
                  <a:cubicBezTo>
                    <a:pt x="249" y="242"/>
                    <a:pt x="248" y="242"/>
                    <a:pt x="246" y="242"/>
                  </a:cubicBezTo>
                  <a:lnTo>
                    <a:pt x="245" y="242"/>
                  </a:lnTo>
                  <a:lnTo>
                    <a:pt x="181" y="22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8" name="Freeform 273"/>
            <p:cNvSpPr>
              <a:spLocks noChangeArrowheads="1"/>
            </p:cNvSpPr>
            <p:nvPr/>
          </p:nvSpPr>
          <p:spPr bwMode="auto">
            <a:xfrm>
              <a:off x="4324350" y="1938338"/>
              <a:ext cx="106363" cy="87312"/>
            </a:xfrm>
            <a:custGeom>
              <a:avLst/>
              <a:gdLst/>
              <a:ahLst/>
              <a:cxnLst>
                <a:cxn ang="0">
                  <a:pos x="245" y="242"/>
                </a:cxn>
                <a:cxn ang="0">
                  <a:pos x="181" y="221"/>
                </a:cxn>
                <a:cxn ang="0">
                  <a:pos x="178" y="216"/>
                </a:cxn>
                <a:cxn ang="0">
                  <a:pos x="178" y="176"/>
                </a:cxn>
                <a:cxn ang="0">
                  <a:pos x="124" y="187"/>
                </a:cxn>
                <a:cxn ang="0">
                  <a:pos x="119" y="184"/>
                </a:cxn>
                <a:cxn ang="0">
                  <a:pos x="102" y="142"/>
                </a:cxn>
                <a:cxn ang="0">
                  <a:pos x="3" y="81"/>
                </a:cxn>
                <a:cxn ang="0">
                  <a:pos x="0" y="77"/>
                </a:cxn>
                <a:cxn ang="0">
                  <a:pos x="0" y="43"/>
                </a:cxn>
                <a:cxn ang="0">
                  <a:pos x="3" y="39"/>
                </a:cxn>
                <a:cxn ang="0">
                  <a:pos x="58" y="5"/>
                </a:cxn>
                <a:cxn ang="0">
                  <a:pos x="60" y="4"/>
                </a:cxn>
                <a:cxn ang="0">
                  <a:pos x="62" y="5"/>
                </a:cxn>
                <a:cxn ang="0">
                  <a:pos x="91" y="21"/>
                </a:cxn>
                <a:cxn ang="0">
                  <a:pos x="191" y="0"/>
                </a:cxn>
                <a:cxn ang="0">
                  <a:pos x="194" y="1"/>
                </a:cxn>
                <a:cxn ang="0">
                  <a:pos x="236" y="26"/>
                </a:cxn>
                <a:cxn ang="0">
                  <a:pos x="238" y="29"/>
                </a:cxn>
                <a:cxn ang="0">
                  <a:pos x="246" y="74"/>
                </a:cxn>
                <a:cxn ang="0">
                  <a:pos x="270" y="85"/>
                </a:cxn>
                <a:cxn ang="0">
                  <a:pos x="293" y="125"/>
                </a:cxn>
                <a:cxn ang="0">
                  <a:pos x="293" y="130"/>
                </a:cxn>
                <a:cxn ang="0">
                  <a:pos x="276" y="164"/>
                </a:cxn>
                <a:cxn ang="0">
                  <a:pos x="239" y="197"/>
                </a:cxn>
                <a:cxn ang="0">
                  <a:pos x="251" y="236"/>
                </a:cxn>
                <a:cxn ang="0">
                  <a:pos x="250" y="241"/>
                </a:cxn>
                <a:cxn ang="0">
                  <a:pos x="246" y="242"/>
                </a:cxn>
                <a:cxn ang="0">
                  <a:pos x="245" y="242"/>
                </a:cxn>
              </a:cxnLst>
              <a:rect l="0" t="0" r="r" b="b"/>
              <a:pathLst>
                <a:path w="295" h="243">
                  <a:moveTo>
                    <a:pt x="245" y="242"/>
                  </a:moveTo>
                  <a:lnTo>
                    <a:pt x="181" y="221"/>
                  </a:lnTo>
                  <a:cubicBezTo>
                    <a:pt x="179" y="220"/>
                    <a:pt x="178" y="218"/>
                    <a:pt x="178" y="216"/>
                  </a:cubicBezTo>
                  <a:lnTo>
                    <a:pt x="178" y="176"/>
                  </a:lnTo>
                  <a:lnTo>
                    <a:pt x="124" y="187"/>
                  </a:lnTo>
                  <a:cubicBezTo>
                    <a:pt x="122" y="187"/>
                    <a:pt x="120" y="186"/>
                    <a:pt x="119" y="184"/>
                  </a:cubicBezTo>
                  <a:lnTo>
                    <a:pt x="102" y="142"/>
                  </a:lnTo>
                  <a:lnTo>
                    <a:pt x="3" y="81"/>
                  </a:lnTo>
                  <a:cubicBezTo>
                    <a:pt x="1" y="80"/>
                    <a:pt x="0" y="79"/>
                    <a:pt x="0" y="77"/>
                  </a:cubicBezTo>
                  <a:lnTo>
                    <a:pt x="0" y="43"/>
                  </a:lnTo>
                  <a:cubicBezTo>
                    <a:pt x="0" y="41"/>
                    <a:pt x="1" y="40"/>
                    <a:pt x="3" y="39"/>
                  </a:cubicBezTo>
                  <a:lnTo>
                    <a:pt x="58" y="5"/>
                  </a:lnTo>
                  <a:cubicBezTo>
                    <a:pt x="58" y="5"/>
                    <a:pt x="59" y="4"/>
                    <a:pt x="60" y="4"/>
                  </a:cubicBezTo>
                  <a:cubicBezTo>
                    <a:pt x="61" y="4"/>
                    <a:pt x="62" y="5"/>
                    <a:pt x="62" y="5"/>
                  </a:cubicBezTo>
                  <a:lnTo>
                    <a:pt x="91" y="21"/>
                  </a:lnTo>
                  <a:lnTo>
                    <a:pt x="191" y="0"/>
                  </a:lnTo>
                  <a:cubicBezTo>
                    <a:pt x="192" y="0"/>
                    <a:pt x="193" y="0"/>
                    <a:pt x="194" y="1"/>
                  </a:cubicBezTo>
                  <a:lnTo>
                    <a:pt x="236" y="26"/>
                  </a:lnTo>
                  <a:cubicBezTo>
                    <a:pt x="237" y="27"/>
                    <a:pt x="238" y="28"/>
                    <a:pt x="238" y="29"/>
                  </a:cubicBezTo>
                  <a:lnTo>
                    <a:pt x="246" y="74"/>
                  </a:lnTo>
                  <a:lnTo>
                    <a:pt x="270" y="85"/>
                  </a:lnTo>
                  <a:lnTo>
                    <a:pt x="293" y="125"/>
                  </a:lnTo>
                  <a:cubicBezTo>
                    <a:pt x="294" y="127"/>
                    <a:pt x="294" y="128"/>
                    <a:pt x="293" y="130"/>
                  </a:cubicBezTo>
                  <a:lnTo>
                    <a:pt x="276" y="164"/>
                  </a:lnTo>
                  <a:lnTo>
                    <a:pt x="239" y="197"/>
                  </a:lnTo>
                  <a:lnTo>
                    <a:pt x="251" y="236"/>
                  </a:lnTo>
                  <a:cubicBezTo>
                    <a:pt x="251" y="238"/>
                    <a:pt x="251" y="240"/>
                    <a:pt x="250" y="241"/>
                  </a:cubicBezTo>
                  <a:cubicBezTo>
                    <a:pt x="249" y="242"/>
                    <a:pt x="248" y="242"/>
                    <a:pt x="246" y="242"/>
                  </a:cubicBezTo>
                  <a:lnTo>
                    <a:pt x="245" y="24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79" name="Freeform 274"/>
            <p:cNvSpPr>
              <a:spLocks noChangeArrowheads="1"/>
            </p:cNvSpPr>
            <p:nvPr/>
          </p:nvSpPr>
          <p:spPr bwMode="auto">
            <a:xfrm>
              <a:off x="5211763" y="2592388"/>
              <a:ext cx="73025" cy="42862"/>
            </a:xfrm>
            <a:custGeom>
              <a:avLst/>
              <a:gdLst/>
              <a:ahLst/>
              <a:cxnLst>
                <a:cxn ang="0">
                  <a:pos x="24" y="107"/>
                </a:cxn>
                <a:cxn ang="0">
                  <a:pos x="1" y="75"/>
                </a:cxn>
                <a:cxn ang="0">
                  <a:pos x="0" y="72"/>
                </a:cxn>
                <a:cxn ang="0">
                  <a:pos x="2" y="69"/>
                </a:cxn>
                <a:cxn ang="0">
                  <a:pos x="61" y="35"/>
                </a:cxn>
                <a:cxn ang="0">
                  <a:pos x="148" y="26"/>
                </a:cxn>
                <a:cxn ang="0">
                  <a:pos x="193" y="1"/>
                </a:cxn>
                <a:cxn ang="0">
                  <a:pos x="195" y="0"/>
                </a:cxn>
                <a:cxn ang="0">
                  <a:pos x="199" y="2"/>
                </a:cxn>
                <a:cxn ang="0">
                  <a:pos x="199" y="7"/>
                </a:cxn>
                <a:cxn ang="0">
                  <a:pos x="153" y="83"/>
                </a:cxn>
                <a:cxn ang="0">
                  <a:pos x="70" y="119"/>
                </a:cxn>
                <a:cxn ang="0">
                  <a:pos x="68" y="120"/>
                </a:cxn>
                <a:cxn ang="0">
                  <a:pos x="67" y="119"/>
                </a:cxn>
                <a:cxn ang="0">
                  <a:pos x="24" y="107"/>
                </a:cxn>
              </a:cxnLst>
              <a:rect l="0" t="0" r="r" b="b"/>
              <a:pathLst>
                <a:path w="201" h="121">
                  <a:moveTo>
                    <a:pt x="24" y="107"/>
                  </a:moveTo>
                  <a:lnTo>
                    <a:pt x="1" y="75"/>
                  </a:lnTo>
                  <a:cubicBezTo>
                    <a:pt x="0" y="74"/>
                    <a:pt x="0" y="73"/>
                    <a:pt x="0" y="72"/>
                  </a:cubicBezTo>
                  <a:cubicBezTo>
                    <a:pt x="0" y="70"/>
                    <a:pt x="1" y="69"/>
                    <a:pt x="2" y="69"/>
                  </a:cubicBezTo>
                  <a:lnTo>
                    <a:pt x="61" y="35"/>
                  </a:lnTo>
                  <a:lnTo>
                    <a:pt x="148" y="26"/>
                  </a:lnTo>
                  <a:lnTo>
                    <a:pt x="193" y="1"/>
                  </a:lnTo>
                  <a:cubicBezTo>
                    <a:pt x="194" y="0"/>
                    <a:pt x="194" y="0"/>
                    <a:pt x="195" y="0"/>
                  </a:cubicBezTo>
                  <a:cubicBezTo>
                    <a:pt x="197" y="0"/>
                    <a:pt x="198" y="1"/>
                    <a:pt x="199" y="2"/>
                  </a:cubicBezTo>
                  <a:cubicBezTo>
                    <a:pt x="200" y="3"/>
                    <a:pt x="200" y="6"/>
                    <a:pt x="199" y="7"/>
                  </a:cubicBezTo>
                  <a:lnTo>
                    <a:pt x="153" y="83"/>
                  </a:lnTo>
                  <a:lnTo>
                    <a:pt x="70" y="119"/>
                  </a:lnTo>
                  <a:cubicBezTo>
                    <a:pt x="69" y="119"/>
                    <a:pt x="69" y="120"/>
                    <a:pt x="68" y="120"/>
                  </a:cubicBezTo>
                  <a:cubicBezTo>
                    <a:pt x="68" y="120"/>
                    <a:pt x="67" y="120"/>
                    <a:pt x="67" y="119"/>
                  </a:cubicBezTo>
                  <a:lnTo>
                    <a:pt x="24" y="10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0" name="Freeform 275"/>
            <p:cNvSpPr>
              <a:spLocks noChangeArrowheads="1"/>
            </p:cNvSpPr>
            <p:nvPr/>
          </p:nvSpPr>
          <p:spPr bwMode="auto">
            <a:xfrm>
              <a:off x="5211763" y="2592388"/>
              <a:ext cx="73025" cy="42862"/>
            </a:xfrm>
            <a:custGeom>
              <a:avLst/>
              <a:gdLst/>
              <a:ahLst/>
              <a:cxnLst>
                <a:cxn ang="0">
                  <a:pos x="67" y="119"/>
                </a:cxn>
                <a:cxn ang="0">
                  <a:pos x="24" y="107"/>
                </a:cxn>
                <a:cxn ang="0">
                  <a:pos x="1" y="75"/>
                </a:cxn>
                <a:cxn ang="0">
                  <a:pos x="0" y="72"/>
                </a:cxn>
                <a:cxn ang="0">
                  <a:pos x="2" y="69"/>
                </a:cxn>
                <a:cxn ang="0">
                  <a:pos x="61" y="35"/>
                </a:cxn>
                <a:cxn ang="0">
                  <a:pos x="148" y="26"/>
                </a:cxn>
                <a:cxn ang="0">
                  <a:pos x="193" y="1"/>
                </a:cxn>
                <a:cxn ang="0">
                  <a:pos x="195" y="0"/>
                </a:cxn>
                <a:cxn ang="0">
                  <a:pos x="199" y="2"/>
                </a:cxn>
                <a:cxn ang="0">
                  <a:pos x="199" y="7"/>
                </a:cxn>
                <a:cxn ang="0">
                  <a:pos x="153" y="83"/>
                </a:cxn>
                <a:cxn ang="0">
                  <a:pos x="70" y="119"/>
                </a:cxn>
                <a:cxn ang="0">
                  <a:pos x="68" y="120"/>
                </a:cxn>
                <a:cxn ang="0">
                  <a:pos x="67" y="119"/>
                </a:cxn>
              </a:cxnLst>
              <a:rect l="0" t="0" r="r" b="b"/>
              <a:pathLst>
                <a:path w="201" h="121">
                  <a:moveTo>
                    <a:pt x="67" y="119"/>
                  </a:moveTo>
                  <a:lnTo>
                    <a:pt x="24" y="107"/>
                  </a:lnTo>
                  <a:lnTo>
                    <a:pt x="1" y="75"/>
                  </a:lnTo>
                  <a:cubicBezTo>
                    <a:pt x="0" y="74"/>
                    <a:pt x="0" y="73"/>
                    <a:pt x="0" y="72"/>
                  </a:cubicBezTo>
                  <a:cubicBezTo>
                    <a:pt x="0" y="70"/>
                    <a:pt x="1" y="69"/>
                    <a:pt x="2" y="69"/>
                  </a:cubicBezTo>
                  <a:lnTo>
                    <a:pt x="61" y="35"/>
                  </a:lnTo>
                  <a:lnTo>
                    <a:pt x="148" y="26"/>
                  </a:lnTo>
                  <a:lnTo>
                    <a:pt x="193" y="1"/>
                  </a:lnTo>
                  <a:cubicBezTo>
                    <a:pt x="194" y="0"/>
                    <a:pt x="194" y="0"/>
                    <a:pt x="195" y="0"/>
                  </a:cubicBezTo>
                  <a:cubicBezTo>
                    <a:pt x="197" y="0"/>
                    <a:pt x="198" y="1"/>
                    <a:pt x="199" y="2"/>
                  </a:cubicBezTo>
                  <a:cubicBezTo>
                    <a:pt x="200" y="3"/>
                    <a:pt x="200" y="6"/>
                    <a:pt x="199" y="7"/>
                  </a:cubicBezTo>
                  <a:lnTo>
                    <a:pt x="153" y="83"/>
                  </a:lnTo>
                  <a:lnTo>
                    <a:pt x="70" y="119"/>
                  </a:lnTo>
                  <a:cubicBezTo>
                    <a:pt x="69" y="119"/>
                    <a:pt x="69" y="120"/>
                    <a:pt x="68" y="120"/>
                  </a:cubicBezTo>
                  <a:cubicBezTo>
                    <a:pt x="68" y="120"/>
                    <a:pt x="67" y="120"/>
                    <a:pt x="67" y="11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1" name="Freeform 276"/>
            <p:cNvSpPr>
              <a:spLocks noChangeArrowheads="1"/>
            </p:cNvSpPr>
            <p:nvPr/>
          </p:nvSpPr>
          <p:spPr bwMode="auto">
            <a:xfrm>
              <a:off x="4722813" y="2070100"/>
              <a:ext cx="204787" cy="125413"/>
            </a:xfrm>
            <a:custGeom>
              <a:avLst/>
              <a:gdLst/>
              <a:ahLst/>
              <a:cxnLst>
                <a:cxn ang="0">
                  <a:pos x="154" y="347"/>
                </a:cxn>
                <a:cxn ang="0">
                  <a:pos x="2" y="215"/>
                </a:cxn>
                <a:cxn ang="0">
                  <a:pos x="0" y="212"/>
                </a:cxn>
                <a:cxn ang="0">
                  <a:pos x="2" y="208"/>
                </a:cxn>
                <a:cxn ang="0">
                  <a:pos x="30" y="188"/>
                </a:cxn>
                <a:cxn ang="0">
                  <a:pos x="38" y="106"/>
                </a:cxn>
                <a:cxn ang="0">
                  <a:pos x="43" y="102"/>
                </a:cxn>
                <a:cxn ang="0">
                  <a:pos x="81" y="102"/>
                </a:cxn>
                <a:cxn ang="0">
                  <a:pos x="85" y="63"/>
                </a:cxn>
                <a:cxn ang="0">
                  <a:pos x="87" y="60"/>
                </a:cxn>
                <a:cxn ang="0">
                  <a:pos x="89" y="59"/>
                </a:cxn>
                <a:cxn ang="0">
                  <a:pos x="92" y="60"/>
                </a:cxn>
                <a:cxn ang="0">
                  <a:pos x="147" y="98"/>
                </a:cxn>
                <a:cxn ang="0">
                  <a:pos x="197" y="97"/>
                </a:cxn>
                <a:cxn ang="0">
                  <a:pos x="221" y="65"/>
                </a:cxn>
                <a:cxn ang="0">
                  <a:pos x="224" y="64"/>
                </a:cxn>
                <a:cxn ang="0">
                  <a:pos x="322" y="47"/>
                </a:cxn>
                <a:cxn ang="0">
                  <a:pos x="387" y="1"/>
                </a:cxn>
                <a:cxn ang="0">
                  <a:pos x="389" y="0"/>
                </a:cxn>
                <a:cxn ang="0">
                  <a:pos x="509" y="17"/>
                </a:cxn>
                <a:cxn ang="0">
                  <a:pos x="566" y="73"/>
                </a:cxn>
                <a:cxn ang="0">
                  <a:pos x="568" y="77"/>
                </a:cxn>
                <a:cxn ang="0">
                  <a:pos x="565" y="81"/>
                </a:cxn>
                <a:cxn ang="0">
                  <a:pos x="498" y="123"/>
                </a:cxn>
                <a:cxn ang="0">
                  <a:pos x="427" y="277"/>
                </a:cxn>
                <a:cxn ang="0">
                  <a:pos x="425" y="280"/>
                </a:cxn>
                <a:cxn ang="0">
                  <a:pos x="348" y="305"/>
                </a:cxn>
                <a:cxn ang="0">
                  <a:pos x="301" y="301"/>
                </a:cxn>
                <a:cxn ang="0">
                  <a:pos x="224" y="326"/>
                </a:cxn>
                <a:cxn ang="0">
                  <a:pos x="159" y="348"/>
                </a:cxn>
                <a:cxn ang="0">
                  <a:pos x="157" y="348"/>
                </a:cxn>
                <a:cxn ang="0">
                  <a:pos x="154" y="347"/>
                </a:cxn>
              </a:cxnLst>
              <a:rect l="0" t="0" r="r" b="b"/>
              <a:pathLst>
                <a:path w="569" h="349">
                  <a:moveTo>
                    <a:pt x="154" y="347"/>
                  </a:moveTo>
                  <a:lnTo>
                    <a:pt x="2" y="215"/>
                  </a:lnTo>
                  <a:cubicBezTo>
                    <a:pt x="1" y="215"/>
                    <a:pt x="0" y="213"/>
                    <a:pt x="0" y="212"/>
                  </a:cubicBezTo>
                  <a:cubicBezTo>
                    <a:pt x="0" y="210"/>
                    <a:pt x="1" y="209"/>
                    <a:pt x="2" y="208"/>
                  </a:cubicBezTo>
                  <a:lnTo>
                    <a:pt x="30" y="188"/>
                  </a:lnTo>
                  <a:lnTo>
                    <a:pt x="38" y="106"/>
                  </a:lnTo>
                  <a:cubicBezTo>
                    <a:pt x="38" y="103"/>
                    <a:pt x="40" y="102"/>
                    <a:pt x="43" y="102"/>
                  </a:cubicBezTo>
                  <a:lnTo>
                    <a:pt x="81" y="102"/>
                  </a:lnTo>
                  <a:lnTo>
                    <a:pt x="85" y="63"/>
                  </a:lnTo>
                  <a:cubicBezTo>
                    <a:pt x="85" y="62"/>
                    <a:pt x="86" y="60"/>
                    <a:pt x="87" y="60"/>
                  </a:cubicBezTo>
                  <a:cubicBezTo>
                    <a:pt x="88" y="59"/>
                    <a:pt x="89" y="59"/>
                    <a:pt x="89" y="59"/>
                  </a:cubicBezTo>
                  <a:cubicBezTo>
                    <a:pt x="90" y="59"/>
                    <a:pt x="91" y="60"/>
                    <a:pt x="92" y="60"/>
                  </a:cubicBezTo>
                  <a:lnTo>
                    <a:pt x="147" y="98"/>
                  </a:lnTo>
                  <a:lnTo>
                    <a:pt x="197" y="97"/>
                  </a:lnTo>
                  <a:lnTo>
                    <a:pt x="221" y="65"/>
                  </a:lnTo>
                  <a:cubicBezTo>
                    <a:pt x="222" y="64"/>
                    <a:pt x="223" y="64"/>
                    <a:pt x="224" y="64"/>
                  </a:cubicBezTo>
                  <a:lnTo>
                    <a:pt x="322" y="47"/>
                  </a:lnTo>
                  <a:lnTo>
                    <a:pt x="387" y="1"/>
                  </a:lnTo>
                  <a:cubicBezTo>
                    <a:pt x="387" y="0"/>
                    <a:pt x="388" y="0"/>
                    <a:pt x="389" y="0"/>
                  </a:cubicBezTo>
                  <a:lnTo>
                    <a:pt x="509" y="17"/>
                  </a:lnTo>
                  <a:lnTo>
                    <a:pt x="566" y="73"/>
                  </a:lnTo>
                  <a:cubicBezTo>
                    <a:pt x="567" y="74"/>
                    <a:pt x="568" y="76"/>
                    <a:pt x="568" y="77"/>
                  </a:cubicBezTo>
                  <a:cubicBezTo>
                    <a:pt x="567" y="79"/>
                    <a:pt x="567" y="80"/>
                    <a:pt x="565" y="81"/>
                  </a:cubicBezTo>
                  <a:lnTo>
                    <a:pt x="498" y="123"/>
                  </a:lnTo>
                  <a:lnTo>
                    <a:pt x="427" y="277"/>
                  </a:lnTo>
                  <a:cubicBezTo>
                    <a:pt x="427" y="279"/>
                    <a:pt x="426" y="280"/>
                    <a:pt x="425" y="280"/>
                  </a:cubicBezTo>
                  <a:lnTo>
                    <a:pt x="348" y="305"/>
                  </a:lnTo>
                  <a:lnTo>
                    <a:pt x="301" y="301"/>
                  </a:lnTo>
                  <a:lnTo>
                    <a:pt x="224" y="326"/>
                  </a:lnTo>
                  <a:lnTo>
                    <a:pt x="159" y="348"/>
                  </a:lnTo>
                  <a:cubicBezTo>
                    <a:pt x="158" y="348"/>
                    <a:pt x="158" y="348"/>
                    <a:pt x="157" y="348"/>
                  </a:cubicBezTo>
                  <a:cubicBezTo>
                    <a:pt x="156" y="348"/>
                    <a:pt x="155" y="348"/>
                    <a:pt x="154" y="34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2" name="Freeform 277"/>
            <p:cNvSpPr>
              <a:spLocks noChangeArrowheads="1"/>
            </p:cNvSpPr>
            <p:nvPr/>
          </p:nvSpPr>
          <p:spPr bwMode="auto">
            <a:xfrm>
              <a:off x="4722813" y="2070100"/>
              <a:ext cx="204787" cy="125413"/>
            </a:xfrm>
            <a:custGeom>
              <a:avLst/>
              <a:gdLst/>
              <a:ahLst/>
              <a:cxnLst>
                <a:cxn ang="0">
                  <a:pos x="157" y="348"/>
                </a:cxn>
                <a:cxn ang="0">
                  <a:pos x="154" y="347"/>
                </a:cxn>
                <a:cxn ang="0">
                  <a:pos x="2" y="215"/>
                </a:cxn>
                <a:cxn ang="0">
                  <a:pos x="0" y="212"/>
                </a:cxn>
                <a:cxn ang="0">
                  <a:pos x="2" y="208"/>
                </a:cxn>
                <a:cxn ang="0">
                  <a:pos x="30" y="188"/>
                </a:cxn>
                <a:cxn ang="0">
                  <a:pos x="38" y="106"/>
                </a:cxn>
                <a:cxn ang="0">
                  <a:pos x="43" y="102"/>
                </a:cxn>
                <a:cxn ang="0">
                  <a:pos x="81" y="102"/>
                </a:cxn>
                <a:cxn ang="0">
                  <a:pos x="85" y="63"/>
                </a:cxn>
                <a:cxn ang="0">
                  <a:pos x="87" y="60"/>
                </a:cxn>
                <a:cxn ang="0">
                  <a:pos x="89" y="59"/>
                </a:cxn>
                <a:cxn ang="0">
                  <a:pos x="92" y="60"/>
                </a:cxn>
                <a:cxn ang="0">
                  <a:pos x="147" y="98"/>
                </a:cxn>
                <a:cxn ang="0">
                  <a:pos x="197" y="97"/>
                </a:cxn>
                <a:cxn ang="0">
                  <a:pos x="221" y="65"/>
                </a:cxn>
                <a:cxn ang="0">
                  <a:pos x="224" y="64"/>
                </a:cxn>
                <a:cxn ang="0">
                  <a:pos x="322" y="47"/>
                </a:cxn>
                <a:cxn ang="0">
                  <a:pos x="387" y="1"/>
                </a:cxn>
                <a:cxn ang="0">
                  <a:pos x="389" y="0"/>
                </a:cxn>
                <a:cxn ang="0">
                  <a:pos x="509" y="17"/>
                </a:cxn>
                <a:cxn ang="0">
                  <a:pos x="566" y="73"/>
                </a:cxn>
                <a:cxn ang="0">
                  <a:pos x="568" y="77"/>
                </a:cxn>
                <a:cxn ang="0">
                  <a:pos x="565" y="81"/>
                </a:cxn>
                <a:cxn ang="0">
                  <a:pos x="498" y="123"/>
                </a:cxn>
                <a:cxn ang="0">
                  <a:pos x="427" y="277"/>
                </a:cxn>
                <a:cxn ang="0">
                  <a:pos x="425" y="280"/>
                </a:cxn>
                <a:cxn ang="0">
                  <a:pos x="348" y="305"/>
                </a:cxn>
                <a:cxn ang="0">
                  <a:pos x="301" y="301"/>
                </a:cxn>
                <a:cxn ang="0">
                  <a:pos x="224" y="326"/>
                </a:cxn>
                <a:cxn ang="0">
                  <a:pos x="159" y="348"/>
                </a:cxn>
                <a:cxn ang="0">
                  <a:pos x="157" y="348"/>
                </a:cxn>
              </a:cxnLst>
              <a:rect l="0" t="0" r="r" b="b"/>
              <a:pathLst>
                <a:path w="569" h="349">
                  <a:moveTo>
                    <a:pt x="157" y="348"/>
                  </a:moveTo>
                  <a:cubicBezTo>
                    <a:pt x="156" y="348"/>
                    <a:pt x="155" y="348"/>
                    <a:pt x="154" y="347"/>
                  </a:cubicBezTo>
                  <a:lnTo>
                    <a:pt x="2" y="215"/>
                  </a:lnTo>
                  <a:cubicBezTo>
                    <a:pt x="1" y="215"/>
                    <a:pt x="0" y="213"/>
                    <a:pt x="0" y="212"/>
                  </a:cubicBezTo>
                  <a:cubicBezTo>
                    <a:pt x="0" y="210"/>
                    <a:pt x="1" y="209"/>
                    <a:pt x="2" y="208"/>
                  </a:cubicBezTo>
                  <a:lnTo>
                    <a:pt x="30" y="188"/>
                  </a:lnTo>
                  <a:lnTo>
                    <a:pt x="38" y="106"/>
                  </a:lnTo>
                  <a:cubicBezTo>
                    <a:pt x="38" y="103"/>
                    <a:pt x="40" y="102"/>
                    <a:pt x="43" y="102"/>
                  </a:cubicBezTo>
                  <a:lnTo>
                    <a:pt x="81" y="102"/>
                  </a:lnTo>
                  <a:lnTo>
                    <a:pt x="85" y="63"/>
                  </a:lnTo>
                  <a:cubicBezTo>
                    <a:pt x="85" y="62"/>
                    <a:pt x="86" y="60"/>
                    <a:pt x="87" y="60"/>
                  </a:cubicBezTo>
                  <a:cubicBezTo>
                    <a:pt x="88" y="59"/>
                    <a:pt x="89" y="59"/>
                    <a:pt x="89" y="59"/>
                  </a:cubicBezTo>
                  <a:cubicBezTo>
                    <a:pt x="90" y="59"/>
                    <a:pt x="91" y="60"/>
                    <a:pt x="92" y="60"/>
                  </a:cubicBezTo>
                  <a:lnTo>
                    <a:pt x="147" y="98"/>
                  </a:lnTo>
                  <a:lnTo>
                    <a:pt x="197" y="97"/>
                  </a:lnTo>
                  <a:lnTo>
                    <a:pt x="221" y="65"/>
                  </a:lnTo>
                  <a:cubicBezTo>
                    <a:pt x="222" y="64"/>
                    <a:pt x="223" y="64"/>
                    <a:pt x="224" y="64"/>
                  </a:cubicBezTo>
                  <a:lnTo>
                    <a:pt x="322" y="47"/>
                  </a:lnTo>
                  <a:lnTo>
                    <a:pt x="387" y="1"/>
                  </a:lnTo>
                  <a:cubicBezTo>
                    <a:pt x="387" y="0"/>
                    <a:pt x="388" y="0"/>
                    <a:pt x="389" y="0"/>
                  </a:cubicBezTo>
                  <a:lnTo>
                    <a:pt x="509" y="17"/>
                  </a:lnTo>
                  <a:lnTo>
                    <a:pt x="566" y="73"/>
                  </a:lnTo>
                  <a:cubicBezTo>
                    <a:pt x="567" y="74"/>
                    <a:pt x="568" y="76"/>
                    <a:pt x="568" y="77"/>
                  </a:cubicBezTo>
                  <a:cubicBezTo>
                    <a:pt x="567" y="79"/>
                    <a:pt x="567" y="80"/>
                    <a:pt x="565" y="81"/>
                  </a:cubicBezTo>
                  <a:lnTo>
                    <a:pt x="498" y="123"/>
                  </a:lnTo>
                  <a:lnTo>
                    <a:pt x="427" y="277"/>
                  </a:lnTo>
                  <a:cubicBezTo>
                    <a:pt x="427" y="279"/>
                    <a:pt x="426" y="280"/>
                    <a:pt x="425" y="280"/>
                  </a:cubicBezTo>
                  <a:lnTo>
                    <a:pt x="348" y="305"/>
                  </a:lnTo>
                  <a:lnTo>
                    <a:pt x="301" y="301"/>
                  </a:lnTo>
                  <a:lnTo>
                    <a:pt x="224" y="326"/>
                  </a:lnTo>
                  <a:lnTo>
                    <a:pt x="159" y="348"/>
                  </a:lnTo>
                  <a:cubicBezTo>
                    <a:pt x="158" y="348"/>
                    <a:pt x="158" y="348"/>
                    <a:pt x="157" y="34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3" name="Freeform 278"/>
            <p:cNvSpPr>
              <a:spLocks noChangeArrowheads="1"/>
            </p:cNvSpPr>
            <p:nvPr/>
          </p:nvSpPr>
          <p:spPr bwMode="auto">
            <a:xfrm>
              <a:off x="4678363" y="1743075"/>
              <a:ext cx="15875" cy="17463"/>
            </a:xfrm>
            <a:custGeom>
              <a:avLst/>
              <a:gdLst/>
              <a:ahLst/>
              <a:cxnLst>
                <a:cxn ang="0">
                  <a:pos x="37" y="48"/>
                </a:cxn>
                <a:cxn ang="0">
                  <a:pos x="3" y="35"/>
                </a:cxn>
                <a:cxn ang="0">
                  <a:pos x="0" y="31"/>
                </a:cxn>
                <a:cxn ang="0">
                  <a:pos x="0" y="5"/>
                </a:cxn>
                <a:cxn ang="0">
                  <a:pos x="3" y="1"/>
                </a:cxn>
                <a:cxn ang="0">
                  <a:pos x="5" y="0"/>
                </a:cxn>
                <a:cxn ang="0">
                  <a:pos x="8" y="2"/>
                </a:cxn>
                <a:cxn ang="0">
                  <a:pos x="42" y="40"/>
                </a:cxn>
                <a:cxn ang="0">
                  <a:pos x="43" y="46"/>
                </a:cxn>
                <a:cxn ang="0">
                  <a:pos x="39" y="48"/>
                </a:cxn>
                <a:cxn ang="0">
                  <a:pos x="37" y="48"/>
                </a:cxn>
              </a:cxnLst>
              <a:rect l="0" t="0" r="r" b="b"/>
              <a:pathLst>
                <a:path w="45" h="49">
                  <a:moveTo>
                    <a:pt x="37" y="48"/>
                  </a:moveTo>
                  <a:lnTo>
                    <a:pt x="3" y="35"/>
                  </a:lnTo>
                  <a:cubicBezTo>
                    <a:pt x="1" y="34"/>
                    <a:pt x="0" y="32"/>
                    <a:pt x="0" y="31"/>
                  </a:cubicBezTo>
                  <a:lnTo>
                    <a:pt x="0" y="5"/>
                  </a:lnTo>
                  <a:cubicBezTo>
                    <a:pt x="0" y="3"/>
                    <a:pt x="1" y="1"/>
                    <a:pt x="3" y="1"/>
                  </a:cubicBezTo>
                  <a:cubicBezTo>
                    <a:pt x="4" y="1"/>
                    <a:pt x="4" y="0"/>
                    <a:pt x="5" y="0"/>
                  </a:cubicBezTo>
                  <a:cubicBezTo>
                    <a:pt x="6" y="0"/>
                    <a:pt x="7" y="1"/>
                    <a:pt x="8" y="2"/>
                  </a:cubicBezTo>
                  <a:lnTo>
                    <a:pt x="42" y="40"/>
                  </a:lnTo>
                  <a:cubicBezTo>
                    <a:pt x="44" y="42"/>
                    <a:pt x="44" y="44"/>
                    <a:pt x="43" y="46"/>
                  </a:cubicBezTo>
                  <a:cubicBezTo>
                    <a:pt x="42" y="47"/>
                    <a:pt x="40" y="48"/>
                    <a:pt x="39" y="48"/>
                  </a:cubicBezTo>
                  <a:cubicBezTo>
                    <a:pt x="38" y="48"/>
                    <a:pt x="38" y="48"/>
                    <a:pt x="37" y="4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4" name="Freeform 279"/>
            <p:cNvSpPr>
              <a:spLocks noChangeArrowheads="1"/>
            </p:cNvSpPr>
            <p:nvPr/>
          </p:nvSpPr>
          <p:spPr bwMode="auto">
            <a:xfrm>
              <a:off x="4678363" y="1743075"/>
              <a:ext cx="15875" cy="17463"/>
            </a:xfrm>
            <a:custGeom>
              <a:avLst/>
              <a:gdLst/>
              <a:ahLst/>
              <a:cxnLst>
                <a:cxn ang="0">
                  <a:pos x="39" y="48"/>
                </a:cxn>
                <a:cxn ang="0">
                  <a:pos x="37" y="48"/>
                </a:cxn>
                <a:cxn ang="0">
                  <a:pos x="3" y="35"/>
                </a:cxn>
                <a:cxn ang="0">
                  <a:pos x="0" y="31"/>
                </a:cxn>
                <a:cxn ang="0">
                  <a:pos x="0" y="5"/>
                </a:cxn>
                <a:cxn ang="0">
                  <a:pos x="3" y="1"/>
                </a:cxn>
                <a:cxn ang="0">
                  <a:pos x="5" y="0"/>
                </a:cxn>
                <a:cxn ang="0">
                  <a:pos x="8" y="2"/>
                </a:cxn>
                <a:cxn ang="0">
                  <a:pos x="42" y="40"/>
                </a:cxn>
                <a:cxn ang="0">
                  <a:pos x="43" y="46"/>
                </a:cxn>
                <a:cxn ang="0">
                  <a:pos x="39" y="48"/>
                </a:cxn>
              </a:cxnLst>
              <a:rect l="0" t="0" r="r" b="b"/>
              <a:pathLst>
                <a:path w="45" h="49">
                  <a:moveTo>
                    <a:pt x="39" y="48"/>
                  </a:moveTo>
                  <a:cubicBezTo>
                    <a:pt x="38" y="48"/>
                    <a:pt x="38" y="48"/>
                    <a:pt x="37" y="48"/>
                  </a:cubicBezTo>
                  <a:lnTo>
                    <a:pt x="3" y="35"/>
                  </a:lnTo>
                  <a:cubicBezTo>
                    <a:pt x="1" y="34"/>
                    <a:pt x="0" y="32"/>
                    <a:pt x="0" y="31"/>
                  </a:cubicBezTo>
                  <a:lnTo>
                    <a:pt x="0" y="5"/>
                  </a:lnTo>
                  <a:cubicBezTo>
                    <a:pt x="0" y="3"/>
                    <a:pt x="1" y="1"/>
                    <a:pt x="3" y="1"/>
                  </a:cubicBezTo>
                  <a:cubicBezTo>
                    <a:pt x="4" y="1"/>
                    <a:pt x="4" y="0"/>
                    <a:pt x="5" y="0"/>
                  </a:cubicBezTo>
                  <a:cubicBezTo>
                    <a:pt x="6" y="0"/>
                    <a:pt x="7" y="1"/>
                    <a:pt x="8" y="2"/>
                  </a:cubicBezTo>
                  <a:lnTo>
                    <a:pt x="42" y="40"/>
                  </a:lnTo>
                  <a:cubicBezTo>
                    <a:pt x="44" y="42"/>
                    <a:pt x="44" y="44"/>
                    <a:pt x="43" y="46"/>
                  </a:cubicBezTo>
                  <a:cubicBezTo>
                    <a:pt x="42" y="47"/>
                    <a:pt x="40" y="48"/>
                    <a:pt x="39" y="4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5" name="Freeform 280"/>
            <p:cNvSpPr>
              <a:spLocks noChangeArrowheads="1"/>
            </p:cNvSpPr>
            <p:nvPr/>
          </p:nvSpPr>
          <p:spPr bwMode="auto">
            <a:xfrm>
              <a:off x="4479925" y="1608138"/>
              <a:ext cx="87313" cy="158750"/>
            </a:xfrm>
            <a:custGeom>
              <a:avLst/>
              <a:gdLst/>
              <a:ahLst/>
              <a:cxnLst>
                <a:cxn ang="0">
                  <a:pos x="128" y="441"/>
                </a:cxn>
                <a:cxn ang="0">
                  <a:pos x="55" y="433"/>
                </a:cxn>
                <a:cxn ang="0">
                  <a:pos x="51" y="428"/>
                </a:cxn>
                <a:cxn ang="0">
                  <a:pos x="51" y="371"/>
                </a:cxn>
                <a:cxn ang="0">
                  <a:pos x="6" y="339"/>
                </a:cxn>
                <a:cxn ang="0">
                  <a:pos x="5" y="335"/>
                </a:cxn>
                <a:cxn ang="0">
                  <a:pos x="0" y="212"/>
                </a:cxn>
                <a:cxn ang="0">
                  <a:pos x="22" y="131"/>
                </a:cxn>
                <a:cxn ang="0">
                  <a:pos x="197" y="1"/>
                </a:cxn>
                <a:cxn ang="0">
                  <a:pos x="200" y="0"/>
                </a:cxn>
                <a:cxn ang="0">
                  <a:pos x="202" y="1"/>
                </a:cxn>
                <a:cxn ang="0">
                  <a:pos x="204" y="4"/>
                </a:cxn>
                <a:cxn ang="0">
                  <a:pos x="213" y="81"/>
                </a:cxn>
                <a:cxn ang="0">
                  <a:pos x="177" y="169"/>
                </a:cxn>
                <a:cxn ang="0">
                  <a:pos x="192" y="169"/>
                </a:cxn>
                <a:cxn ang="0">
                  <a:pos x="195" y="171"/>
                </a:cxn>
                <a:cxn ang="0">
                  <a:pos x="196" y="176"/>
                </a:cxn>
                <a:cxn ang="0">
                  <a:pos x="186" y="198"/>
                </a:cxn>
                <a:cxn ang="0">
                  <a:pos x="238" y="195"/>
                </a:cxn>
                <a:cxn ang="0">
                  <a:pos x="241" y="196"/>
                </a:cxn>
                <a:cxn ang="0">
                  <a:pos x="243" y="199"/>
                </a:cxn>
                <a:cxn ang="0">
                  <a:pos x="243" y="225"/>
                </a:cxn>
                <a:cxn ang="0">
                  <a:pos x="241" y="228"/>
                </a:cxn>
                <a:cxn ang="0">
                  <a:pos x="211" y="254"/>
                </a:cxn>
                <a:cxn ang="0">
                  <a:pos x="208" y="255"/>
                </a:cxn>
                <a:cxn ang="0">
                  <a:pos x="206" y="254"/>
                </a:cxn>
                <a:cxn ang="0">
                  <a:pos x="196" y="249"/>
                </a:cxn>
                <a:cxn ang="0">
                  <a:pos x="196" y="276"/>
                </a:cxn>
                <a:cxn ang="0">
                  <a:pos x="193" y="280"/>
                </a:cxn>
                <a:cxn ang="0">
                  <a:pos x="159" y="292"/>
                </a:cxn>
                <a:cxn ang="0">
                  <a:pos x="162" y="313"/>
                </a:cxn>
                <a:cxn ang="0">
                  <a:pos x="161" y="317"/>
                </a:cxn>
                <a:cxn ang="0">
                  <a:pos x="158" y="318"/>
                </a:cxn>
                <a:cxn ang="0">
                  <a:pos x="140" y="318"/>
                </a:cxn>
                <a:cxn ang="0">
                  <a:pos x="145" y="328"/>
                </a:cxn>
                <a:cxn ang="0">
                  <a:pos x="128" y="404"/>
                </a:cxn>
                <a:cxn ang="0">
                  <a:pos x="145" y="434"/>
                </a:cxn>
                <a:cxn ang="0">
                  <a:pos x="145" y="439"/>
                </a:cxn>
                <a:cxn ang="0">
                  <a:pos x="141" y="441"/>
                </a:cxn>
                <a:cxn ang="0">
                  <a:pos x="128" y="441"/>
                </a:cxn>
              </a:cxnLst>
              <a:rect l="0" t="0" r="r" b="b"/>
              <a:pathLst>
                <a:path w="244" h="442">
                  <a:moveTo>
                    <a:pt x="128" y="441"/>
                  </a:moveTo>
                  <a:lnTo>
                    <a:pt x="55" y="433"/>
                  </a:lnTo>
                  <a:cubicBezTo>
                    <a:pt x="53" y="432"/>
                    <a:pt x="51" y="430"/>
                    <a:pt x="51" y="428"/>
                  </a:cubicBezTo>
                  <a:lnTo>
                    <a:pt x="51" y="371"/>
                  </a:lnTo>
                  <a:lnTo>
                    <a:pt x="6" y="339"/>
                  </a:lnTo>
                  <a:cubicBezTo>
                    <a:pt x="5" y="338"/>
                    <a:pt x="5" y="336"/>
                    <a:pt x="5" y="335"/>
                  </a:cubicBezTo>
                  <a:lnTo>
                    <a:pt x="0" y="212"/>
                  </a:lnTo>
                  <a:lnTo>
                    <a:pt x="22" y="131"/>
                  </a:lnTo>
                  <a:lnTo>
                    <a:pt x="197" y="1"/>
                  </a:lnTo>
                  <a:cubicBezTo>
                    <a:pt x="198" y="0"/>
                    <a:pt x="199" y="0"/>
                    <a:pt x="200" y="0"/>
                  </a:cubicBezTo>
                  <a:cubicBezTo>
                    <a:pt x="201" y="0"/>
                    <a:pt x="201" y="0"/>
                    <a:pt x="202" y="1"/>
                  </a:cubicBezTo>
                  <a:cubicBezTo>
                    <a:pt x="203" y="1"/>
                    <a:pt x="204" y="3"/>
                    <a:pt x="204" y="4"/>
                  </a:cubicBezTo>
                  <a:lnTo>
                    <a:pt x="213" y="81"/>
                  </a:lnTo>
                  <a:lnTo>
                    <a:pt x="177" y="169"/>
                  </a:lnTo>
                  <a:lnTo>
                    <a:pt x="192" y="169"/>
                  </a:lnTo>
                  <a:cubicBezTo>
                    <a:pt x="193" y="169"/>
                    <a:pt x="195" y="170"/>
                    <a:pt x="195" y="171"/>
                  </a:cubicBezTo>
                  <a:cubicBezTo>
                    <a:pt x="196" y="173"/>
                    <a:pt x="196" y="174"/>
                    <a:pt x="196" y="176"/>
                  </a:cubicBezTo>
                  <a:lnTo>
                    <a:pt x="186" y="198"/>
                  </a:lnTo>
                  <a:lnTo>
                    <a:pt x="238" y="195"/>
                  </a:lnTo>
                  <a:cubicBezTo>
                    <a:pt x="239" y="195"/>
                    <a:pt x="240" y="195"/>
                    <a:pt x="241" y="196"/>
                  </a:cubicBezTo>
                  <a:cubicBezTo>
                    <a:pt x="242" y="197"/>
                    <a:pt x="243" y="198"/>
                    <a:pt x="243" y="199"/>
                  </a:cubicBezTo>
                  <a:lnTo>
                    <a:pt x="243" y="225"/>
                  </a:lnTo>
                  <a:cubicBezTo>
                    <a:pt x="243" y="226"/>
                    <a:pt x="242" y="228"/>
                    <a:pt x="241" y="228"/>
                  </a:cubicBezTo>
                  <a:lnTo>
                    <a:pt x="211" y="254"/>
                  </a:lnTo>
                  <a:cubicBezTo>
                    <a:pt x="211" y="255"/>
                    <a:pt x="210" y="255"/>
                    <a:pt x="208" y="255"/>
                  </a:cubicBezTo>
                  <a:cubicBezTo>
                    <a:pt x="208" y="255"/>
                    <a:pt x="207" y="255"/>
                    <a:pt x="206" y="254"/>
                  </a:cubicBezTo>
                  <a:lnTo>
                    <a:pt x="196" y="249"/>
                  </a:lnTo>
                  <a:lnTo>
                    <a:pt x="196" y="276"/>
                  </a:lnTo>
                  <a:cubicBezTo>
                    <a:pt x="196" y="278"/>
                    <a:pt x="195" y="279"/>
                    <a:pt x="193" y="280"/>
                  </a:cubicBezTo>
                  <a:lnTo>
                    <a:pt x="159" y="292"/>
                  </a:lnTo>
                  <a:lnTo>
                    <a:pt x="162" y="313"/>
                  </a:lnTo>
                  <a:cubicBezTo>
                    <a:pt x="162" y="314"/>
                    <a:pt x="162" y="316"/>
                    <a:pt x="161" y="317"/>
                  </a:cubicBezTo>
                  <a:cubicBezTo>
                    <a:pt x="160" y="318"/>
                    <a:pt x="159" y="318"/>
                    <a:pt x="158" y="318"/>
                  </a:cubicBezTo>
                  <a:lnTo>
                    <a:pt x="140" y="318"/>
                  </a:lnTo>
                  <a:lnTo>
                    <a:pt x="145" y="328"/>
                  </a:lnTo>
                  <a:lnTo>
                    <a:pt x="128" y="404"/>
                  </a:lnTo>
                  <a:lnTo>
                    <a:pt x="145" y="434"/>
                  </a:lnTo>
                  <a:cubicBezTo>
                    <a:pt x="146" y="436"/>
                    <a:pt x="145" y="437"/>
                    <a:pt x="145" y="439"/>
                  </a:cubicBezTo>
                  <a:cubicBezTo>
                    <a:pt x="144" y="440"/>
                    <a:pt x="142" y="441"/>
                    <a:pt x="141" y="441"/>
                  </a:cubicBezTo>
                  <a:lnTo>
                    <a:pt x="128" y="44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6" name="Freeform 281"/>
            <p:cNvSpPr>
              <a:spLocks noChangeArrowheads="1"/>
            </p:cNvSpPr>
            <p:nvPr/>
          </p:nvSpPr>
          <p:spPr bwMode="auto">
            <a:xfrm>
              <a:off x="4479925" y="1608138"/>
              <a:ext cx="87313" cy="158750"/>
            </a:xfrm>
            <a:custGeom>
              <a:avLst/>
              <a:gdLst/>
              <a:ahLst/>
              <a:cxnLst>
                <a:cxn ang="0">
                  <a:pos x="128" y="441"/>
                </a:cxn>
                <a:cxn ang="0">
                  <a:pos x="55" y="433"/>
                </a:cxn>
                <a:cxn ang="0">
                  <a:pos x="51" y="428"/>
                </a:cxn>
                <a:cxn ang="0">
                  <a:pos x="51" y="371"/>
                </a:cxn>
                <a:cxn ang="0">
                  <a:pos x="6" y="339"/>
                </a:cxn>
                <a:cxn ang="0">
                  <a:pos x="5" y="335"/>
                </a:cxn>
                <a:cxn ang="0">
                  <a:pos x="0" y="212"/>
                </a:cxn>
                <a:cxn ang="0">
                  <a:pos x="22" y="131"/>
                </a:cxn>
                <a:cxn ang="0">
                  <a:pos x="197" y="1"/>
                </a:cxn>
                <a:cxn ang="0">
                  <a:pos x="200" y="0"/>
                </a:cxn>
                <a:cxn ang="0">
                  <a:pos x="202" y="1"/>
                </a:cxn>
                <a:cxn ang="0">
                  <a:pos x="204" y="4"/>
                </a:cxn>
                <a:cxn ang="0">
                  <a:pos x="213" y="81"/>
                </a:cxn>
                <a:cxn ang="0">
                  <a:pos x="177" y="169"/>
                </a:cxn>
                <a:cxn ang="0">
                  <a:pos x="192" y="169"/>
                </a:cxn>
                <a:cxn ang="0">
                  <a:pos x="195" y="171"/>
                </a:cxn>
                <a:cxn ang="0">
                  <a:pos x="196" y="176"/>
                </a:cxn>
                <a:cxn ang="0">
                  <a:pos x="186" y="198"/>
                </a:cxn>
                <a:cxn ang="0">
                  <a:pos x="238" y="195"/>
                </a:cxn>
                <a:cxn ang="0">
                  <a:pos x="241" y="196"/>
                </a:cxn>
                <a:cxn ang="0">
                  <a:pos x="243" y="199"/>
                </a:cxn>
                <a:cxn ang="0">
                  <a:pos x="243" y="225"/>
                </a:cxn>
                <a:cxn ang="0">
                  <a:pos x="241" y="228"/>
                </a:cxn>
                <a:cxn ang="0">
                  <a:pos x="211" y="254"/>
                </a:cxn>
                <a:cxn ang="0">
                  <a:pos x="208" y="255"/>
                </a:cxn>
                <a:cxn ang="0">
                  <a:pos x="206" y="254"/>
                </a:cxn>
                <a:cxn ang="0">
                  <a:pos x="196" y="249"/>
                </a:cxn>
                <a:cxn ang="0">
                  <a:pos x="196" y="276"/>
                </a:cxn>
                <a:cxn ang="0">
                  <a:pos x="193" y="280"/>
                </a:cxn>
                <a:cxn ang="0">
                  <a:pos x="159" y="292"/>
                </a:cxn>
                <a:cxn ang="0">
                  <a:pos x="162" y="313"/>
                </a:cxn>
                <a:cxn ang="0">
                  <a:pos x="161" y="317"/>
                </a:cxn>
                <a:cxn ang="0">
                  <a:pos x="158" y="318"/>
                </a:cxn>
                <a:cxn ang="0">
                  <a:pos x="140" y="318"/>
                </a:cxn>
                <a:cxn ang="0">
                  <a:pos x="145" y="328"/>
                </a:cxn>
                <a:cxn ang="0">
                  <a:pos x="128" y="404"/>
                </a:cxn>
                <a:cxn ang="0">
                  <a:pos x="145" y="434"/>
                </a:cxn>
                <a:cxn ang="0">
                  <a:pos x="145" y="439"/>
                </a:cxn>
                <a:cxn ang="0">
                  <a:pos x="141" y="441"/>
                </a:cxn>
                <a:cxn ang="0">
                  <a:pos x="128" y="441"/>
                </a:cxn>
              </a:cxnLst>
              <a:rect l="0" t="0" r="r" b="b"/>
              <a:pathLst>
                <a:path w="244" h="442">
                  <a:moveTo>
                    <a:pt x="128" y="441"/>
                  </a:moveTo>
                  <a:lnTo>
                    <a:pt x="55" y="433"/>
                  </a:lnTo>
                  <a:cubicBezTo>
                    <a:pt x="53" y="432"/>
                    <a:pt x="51" y="430"/>
                    <a:pt x="51" y="428"/>
                  </a:cubicBezTo>
                  <a:lnTo>
                    <a:pt x="51" y="371"/>
                  </a:lnTo>
                  <a:lnTo>
                    <a:pt x="6" y="339"/>
                  </a:lnTo>
                  <a:cubicBezTo>
                    <a:pt x="5" y="338"/>
                    <a:pt x="5" y="336"/>
                    <a:pt x="5" y="335"/>
                  </a:cubicBezTo>
                  <a:lnTo>
                    <a:pt x="0" y="212"/>
                  </a:lnTo>
                  <a:lnTo>
                    <a:pt x="22" y="131"/>
                  </a:lnTo>
                  <a:lnTo>
                    <a:pt x="197" y="1"/>
                  </a:lnTo>
                  <a:cubicBezTo>
                    <a:pt x="198" y="0"/>
                    <a:pt x="199" y="0"/>
                    <a:pt x="200" y="0"/>
                  </a:cubicBezTo>
                  <a:cubicBezTo>
                    <a:pt x="201" y="0"/>
                    <a:pt x="201" y="0"/>
                    <a:pt x="202" y="1"/>
                  </a:cubicBezTo>
                  <a:cubicBezTo>
                    <a:pt x="203" y="1"/>
                    <a:pt x="204" y="3"/>
                    <a:pt x="204" y="4"/>
                  </a:cubicBezTo>
                  <a:lnTo>
                    <a:pt x="213" y="81"/>
                  </a:lnTo>
                  <a:lnTo>
                    <a:pt x="177" y="169"/>
                  </a:lnTo>
                  <a:lnTo>
                    <a:pt x="192" y="169"/>
                  </a:lnTo>
                  <a:cubicBezTo>
                    <a:pt x="193" y="169"/>
                    <a:pt x="195" y="170"/>
                    <a:pt x="195" y="171"/>
                  </a:cubicBezTo>
                  <a:cubicBezTo>
                    <a:pt x="196" y="173"/>
                    <a:pt x="196" y="174"/>
                    <a:pt x="196" y="176"/>
                  </a:cubicBezTo>
                  <a:lnTo>
                    <a:pt x="186" y="198"/>
                  </a:lnTo>
                  <a:lnTo>
                    <a:pt x="238" y="195"/>
                  </a:lnTo>
                  <a:cubicBezTo>
                    <a:pt x="239" y="195"/>
                    <a:pt x="240" y="195"/>
                    <a:pt x="241" y="196"/>
                  </a:cubicBezTo>
                  <a:cubicBezTo>
                    <a:pt x="242" y="197"/>
                    <a:pt x="243" y="198"/>
                    <a:pt x="243" y="199"/>
                  </a:cubicBezTo>
                  <a:lnTo>
                    <a:pt x="243" y="225"/>
                  </a:lnTo>
                  <a:cubicBezTo>
                    <a:pt x="243" y="226"/>
                    <a:pt x="242" y="228"/>
                    <a:pt x="241" y="228"/>
                  </a:cubicBezTo>
                  <a:lnTo>
                    <a:pt x="211" y="254"/>
                  </a:lnTo>
                  <a:cubicBezTo>
                    <a:pt x="211" y="255"/>
                    <a:pt x="210" y="255"/>
                    <a:pt x="208" y="255"/>
                  </a:cubicBezTo>
                  <a:cubicBezTo>
                    <a:pt x="208" y="255"/>
                    <a:pt x="207" y="255"/>
                    <a:pt x="206" y="254"/>
                  </a:cubicBezTo>
                  <a:lnTo>
                    <a:pt x="196" y="249"/>
                  </a:lnTo>
                  <a:lnTo>
                    <a:pt x="196" y="276"/>
                  </a:lnTo>
                  <a:cubicBezTo>
                    <a:pt x="196" y="278"/>
                    <a:pt x="195" y="279"/>
                    <a:pt x="193" y="280"/>
                  </a:cubicBezTo>
                  <a:lnTo>
                    <a:pt x="159" y="292"/>
                  </a:lnTo>
                  <a:lnTo>
                    <a:pt x="162" y="313"/>
                  </a:lnTo>
                  <a:cubicBezTo>
                    <a:pt x="162" y="314"/>
                    <a:pt x="162" y="316"/>
                    <a:pt x="161" y="317"/>
                  </a:cubicBezTo>
                  <a:cubicBezTo>
                    <a:pt x="160" y="318"/>
                    <a:pt x="159" y="318"/>
                    <a:pt x="158" y="318"/>
                  </a:cubicBezTo>
                  <a:lnTo>
                    <a:pt x="140" y="318"/>
                  </a:lnTo>
                  <a:lnTo>
                    <a:pt x="145" y="328"/>
                  </a:lnTo>
                  <a:lnTo>
                    <a:pt x="128" y="404"/>
                  </a:lnTo>
                  <a:lnTo>
                    <a:pt x="145" y="434"/>
                  </a:lnTo>
                  <a:cubicBezTo>
                    <a:pt x="146" y="436"/>
                    <a:pt x="145" y="437"/>
                    <a:pt x="145" y="439"/>
                  </a:cubicBezTo>
                  <a:cubicBezTo>
                    <a:pt x="144" y="440"/>
                    <a:pt x="142" y="441"/>
                    <a:pt x="141" y="441"/>
                  </a:cubicBezTo>
                  <a:lnTo>
                    <a:pt x="128" y="44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7" name="Freeform 282"/>
            <p:cNvSpPr>
              <a:spLocks noChangeArrowheads="1"/>
            </p:cNvSpPr>
            <p:nvPr/>
          </p:nvSpPr>
          <p:spPr bwMode="auto">
            <a:xfrm>
              <a:off x="4559300" y="1754188"/>
              <a:ext cx="9525" cy="20637"/>
            </a:xfrm>
            <a:custGeom>
              <a:avLst/>
              <a:gdLst/>
              <a:ahLst/>
              <a:cxnLst>
                <a:cxn ang="0">
                  <a:pos x="14" y="56"/>
                </a:cxn>
                <a:cxn ang="0">
                  <a:pos x="9" y="53"/>
                </a:cxn>
                <a:cxn ang="0">
                  <a:pos x="1" y="32"/>
                </a:cxn>
                <a:cxn ang="0">
                  <a:pos x="1" y="28"/>
                </a:cxn>
                <a:cxn ang="0">
                  <a:pos x="19" y="2"/>
                </a:cxn>
                <a:cxn ang="0">
                  <a:pos x="22" y="0"/>
                </a:cxn>
                <a:cxn ang="0">
                  <a:pos x="24" y="1"/>
                </a:cxn>
                <a:cxn ang="0">
                  <a:pos x="27" y="6"/>
                </a:cxn>
                <a:cxn ang="0">
                  <a:pos x="19" y="52"/>
                </a:cxn>
                <a:cxn ang="0">
                  <a:pos x="14" y="56"/>
                </a:cxn>
              </a:cxnLst>
              <a:rect l="0" t="0" r="r" b="b"/>
              <a:pathLst>
                <a:path w="28" h="57">
                  <a:moveTo>
                    <a:pt x="14" y="56"/>
                  </a:moveTo>
                  <a:cubicBezTo>
                    <a:pt x="12" y="56"/>
                    <a:pt x="10" y="55"/>
                    <a:pt x="9" y="53"/>
                  </a:cubicBezTo>
                  <a:lnTo>
                    <a:pt x="1" y="32"/>
                  </a:lnTo>
                  <a:cubicBezTo>
                    <a:pt x="0" y="31"/>
                    <a:pt x="1" y="29"/>
                    <a:pt x="1" y="28"/>
                  </a:cubicBezTo>
                  <a:lnTo>
                    <a:pt x="19" y="2"/>
                  </a:lnTo>
                  <a:cubicBezTo>
                    <a:pt x="19" y="1"/>
                    <a:pt x="21" y="0"/>
                    <a:pt x="22" y="0"/>
                  </a:cubicBezTo>
                  <a:cubicBezTo>
                    <a:pt x="23" y="0"/>
                    <a:pt x="24" y="0"/>
                    <a:pt x="24" y="1"/>
                  </a:cubicBezTo>
                  <a:cubicBezTo>
                    <a:pt x="26" y="1"/>
                    <a:pt x="27" y="4"/>
                    <a:pt x="27" y="6"/>
                  </a:cubicBezTo>
                  <a:lnTo>
                    <a:pt x="19" y="52"/>
                  </a:lnTo>
                  <a:cubicBezTo>
                    <a:pt x="18" y="54"/>
                    <a:pt x="16" y="56"/>
                    <a:pt x="14" y="5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8" name="Freeform 283"/>
            <p:cNvSpPr>
              <a:spLocks noChangeArrowheads="1"/>
            </p:cNvSpPr>
            <p:nvPr/>
          </p:nvSpPr>
          <p:spPr bwMode="auto">
            <a:xfrm>
              <a:off x="4559300" y="1754188"/>
              <a:ext cx="9525" cy="20637"/>
            </a:xfrm>
            <a:custGeom>
              <a:avLst/>
              <a:gdLst/>
              <a:ahLst/>
              <a:cxnLst>
                <a:cxn ang="0">
                  <a:pos x="14" y="56"/>
                </a:cxn>
                <a:cxn ang="0">
                  <a:pos x="9" y="53"/>
                </a:cxn>
                <a:cxn ang="0">
                  <a:pos x="1" y="32"/>
                </a:cxn>
                <a:cxn ang="0">
                  <a:pos x="1" y="28"/>
                </a:cxn>
                <a:cxn ang="0">
                  <a:pos x="19" y="2"/>
                </a:cxn>
                <a:cxn ang="0">
                  <a:pos x="22" y="0"/>
                </a:cxn>
                <a:cxn ang="0">
                  <a:pos x="24" y="1"/>
                </a:cxn>
                <a:cxn ang="0">
                  <a:pos x="27" y="6"/>
                </a:cxn>
                <a:cxn ang="0">
                  <a:pos x="19" y="52"/>
                </a:cxn>
                <a:cxn ang="0">
                  <a:pos x="14" y="56"/>
                </a:cxn>
              </a:cxnLst>
              <a:rect l="0" t="0" r="r" b="b"/>
              <a:pathLst>
                <a:path w="28" h="57">
                  <a:moveTo>
                    <a:pt x="14" y="56"/>
                  </a:moveTo>
                  <a:cubicBezTo>
                    <a:pt x="12" y="56"/>
                    <a:pt x="10" y="55"/>
                    <a:pt x="9" y="53"/>
                  </a:cubicBezTo>
                  <a:lnTo>
                    <a:pt x="1" y="32"/>
                  </a:lnTo>
                  <a:cubicBezTo>
                    <a:pt x="0" y="31"/>
                    <a:pt x="1" y="29"/>
                    <a:pt x="1" y="28"/>
                  </a:cubicBezTo>
                  <a:lnTo>
                    <a:pt x="19" y="2"/>
                  </a:lnTo>
                  <a:cubicBezTo>
                    <a:pt x="19" y="1"/>
                    <a:pt x="21" y="0"/>
                    <a:pt x="22" y="0"/>
                  </a:cubicBezTo>
                  <a:cubicBezTo>
                    <a:pt x="23" y="0"/>
                    <a:pt x="24" y="0"/>
                    <a:pt x="24" y="1"/>
                  </a:cubicBezTo>
                  <a:cubicBezTo>
                    <a:pt x="26" y="1"/>
                    <a:pt x="27" y="4"/>
                    <a:pt x="27" y="6"/>
                  </a:cubicBezTo>
                  <a:lnTo>
                    <a:pt x="19" y="52"/>
                  </a:lnTo>
                  <a:cubicBezTo>
                    <a:pt x="18" y="54"/>
                    <a:pt x="16" y="56"/>
                    <a:pt x="14" y="5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89" name="Freeform 284"/>
            <p:cNvSpPr>
              <a:spLocks noChangeArrowheads="1"/>
            </p:cNvSpPr>
            <p:nvPr/>
          </p:nvSpPr>
          <p:spPr bwMode="auto">
            <a:xfrm>
              <a:off x="4530725" y="1724025"/>
              <a:ext cx="38100" cy="34925"/>
            </a:xfrm>
            <a:custGeom>
              <a:avLst/>
              <a:gdLst/>
              <a:ahLst/>
              <a:cxnLst>
                <a:cxn ang="0">
                  <a:pos x="30" y="91"/>
                </a:cxn>
                <a:cxn ang="0">
                  <a:pos x="1" y="23"/>
                </a:cxn>
                <a:cxn ang="0">
                  <a:pos x="1" y="19"/>
                </a:cxn>
                <a:cxn ang="0">
                  <a:pos x="4" y="17"/>
                </a:cxn>
                <a:cxn ang="0">
                  <a:pos x="30" y="13"/>
                </a:cxn>
                <a:cxn ang="0">
                  <a:pos x="76" y="0"/>
                </a:cxn>
                <a:cxn ang="0">
                  <a:pos x="77" y="0"/>
                </a:cxn>
                <a:cxn ang="0">
                  <a:pos x="81" y="3"/>
                </a:cxn>
                <a:cxn ang="0">
                  <a:pos x="103" y="53"/>
                </a:cxn>
                <a:cxn ang="0">
                  <a:pos x="99" y="81"/>
                </a:cxn>
                <a:cxn ang="0">
                  <a:pos x="95" y="85"/>
                </a:cxn>
                <a:cxn ang="0">
                  <a:pos x="35" y="94"/>
                </a:cxn>
                <a:cxn ang="0">
                  <a:pos x="30" y="91"/>
                </a:cxn>
              </a:cxnLst>
              <a:rect l="0" t="0" r="r" b="b"/>
              <a:pathLst>
                <a:path w="104" h="95">
                  <a:moveTo>
                    <a:pt x="30" y="91"/>
                  </a:moveTo>
                  <a:lnTo>
                    <a:pt x="1" y="23"/>
                  </a:lnTo>
                  <a:cubicBezTo>
                    <a:pt x="0" y="22"/>
                    <a:pt x="0" y="20"/>
                    <a:pt x="1" y="19"/>
                  </a:cubicBezTo>
                  <a:cubicBezTo>
                    <a:pt x="2" y="18"/>
                    <a:pt x="3" y="17"/>
                    <a:pt x="4" y="17"/>
                  </a:cubicBezTo>
                  <a:lnTo>
                    <a:pt x="30" y="13"/>
                  </a:lnTo>
                  <a:lnTo>
                    <a:pt x="76" y="0"/>
                  </a:lnTo>
                  <a:lnTo>
                    <a:pt x="77" y="0"/>
                  </a:lnTo>
                  <a:cubicBezTo>
                    <a:pt x="79" y="0"/>
                    <a:pt x="81" y="1"/>
                    <a:pt x="81" y="3"/>
                  </a:cubicBezTo>
                  <a:lnTo>
                    <a:pt x="103" y="53"/>
                  </a:lnTo>
                  <a:lnTo>
                    <a:pt x="99" y="81"/>
                  </a:lnTo>
                  <a:cubicBezTo>
                    <a:pt x="99" y="83"/>
                    <a:pt x="97" y="85"/>
                    <a:pt x="95" y="85"/>
                  </a:cubicBezTo>
                  <a:lnTo>
                    <a:pt x="35" y="94"/>
                  </a:lnTo>
                  <a:cubicBezTo>
                    <a:pt x="33" y="94"/>
                    <a:pt x="31" y="93"/>
                    <a:pt x="30" y="9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0" name="Freeform 285"/>
            <p:cNvSpPr>
              <a:spLocks noChangeArrowheads="1"/>
            </p:cNvSpPr>
            <p:nvPr/>
          </p:nvSpPr>
          <p:spPr bwMode="auto">
            <a:xfrm>
              <a:off x="4530725" y="1724025"/>
              <a:ext cx="38100" cy="34925"/>
            </a:xfrm>
            <a:custGeom>
              <a:avLst/>
              <a:gdLst/>
              <a:ahLst/>
              <a:cxnLst>
                <a:cxn ang="0">
                  <a:pos x="35" y="94"/>
                </a:cxn>
                <a:cxn ang="0">
                  <a:pos x="30" y="91"/>
                </a:cxn>
                <a:cxn ang="0">
                  <a:pos x="1" y="23"/>
                </a:cxn>
                <a:cxn ang="0">
                  <a:pos x="1" y="19"/>
                </a:cxn>
                <a:cxn ang="0">
                  <a:pos x="4" y="17"/>
                </a:cxn>
                <a:cxn ang="0">
                  <a:pos x="30" y="13"/>
                </a:cxn>
                <a:cxn ang="0">
                  <a:pos x="76" y="0"/>
                </a:cxn>
                <a:cxn ang="0">
                  <a:pos x="77" y="0"/>
                </a:cxn>
                <a:cxn ang="0">
                  <a:pos x="81" y="3"/>
                </a:cxn>
                <a:cxn ang="0">
                  <a:pos x="103" y="53"/>
                </a:cxn>
                <a:cxn ang="0">
                  <a:pos x="99" y="81"/>
                </a:cxn>
                <a:cxn ang="0">
                  <a:pos x="95" y="85"/>
                </a:cxn>
                <a:cxn ang="0">
                  <a:pos x="35" y="94"/>
                </a:cxn>
              </a:cxnLst>
              <a:rect l="0" t="0" r="r" b="b"/>
              <a:pathLst>
                <a:path w="104" h="95">
                  <a:moveTo>
                    <a:pt x="35" y="94"/>
                  </a:moveTo>
                  <a:cubicBezTo>
                    <a:pt x="33" y="94"/>
                    <a:pt x="31" y="93"/>
                    <a:pt x="30" y="91"/>
                  </a:cubicBezTo>
                  <a:lnTo>
                    <a:pt x="1" y="23"/>
                  </a:lnTo>
                  <a:cubicBezTo>
                    <a:pt x="0" y="22"/>
                    <a:pt x="0" y="20"/>
                    <a:pt x="1" y="19"/>
                  </a:cubicBezTo>
                  <a:cubicBezTo>
                    <a:pt x="2" y="18"/>
                    <a:pt x="3" y="17"/>
                    <a:pt x="4" y="17"/>
                  </a:cubicBezTo>
                  <a:lnTo>
                    <a:pt x="30" y="13"/>
                  </a:lnTo>
                  <a:lnTo>
                    <a:pt x="76" y="0"/>
                  </a:lnTo>
                  <a:lnTo>
                    <a:pt x="77" y="0"/>
                  </a:lnTo>
                  <a:cubicBezTo>
                    <a:pt x="79" y="0"/>
                    <a:pt x="81" y="1"/>
                    <a:pt x="81" y="3"/>
                  </a:cubicBezTo>
                  <a:lnTo>
                    <a:pt x="103" y="53"/>
                  </a:lnTo>
                  <a:lnTo>
                    <a:pt x="99" y="81"/>
                  </a:lnTo>
                  <a:cubicBezTo>
                    <a:pt x="99" y="83"/>
                    <a:pt x="97" y="85"/>
                    <a:pt x="95" y="85"/>
                  </a:cubicBezTo>
                  <a:lnTo>
                    <a:pt x="35" y="9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1" name="Freeform 286"/>
            <p:cNvSpPr>
              <a:spLocks noChangeArrowheads="1"/>
            </p:cNvSpPr>
            <p:nvPr/>
          </p:nvSpPr>
          <p:spPr bwMode="auto">
            <a:xfrm>
              <a:off x="4572000" y="1758950"/>
              <a:ext cx="26988" cy="19050"/>
            </a:xfrm>
            <a:custGeom>
              <a:avLst/>
              <a:gdLst/>
              <a:ahLst/>
              <a:cxnLst>
                <a:cxn ang="0">
                  <a:pos x="3" y="39"/>
                </a:cxn>
                <a:cxn ang="0">
                  <a:pos x="0" y="34"/>
                </a:cxn>
                <a:cxn ang="0">
                  <a:pos x="0" y="9"/>
                </a:cxn>
                <a:cxn ang="0">
                  <a:pos x="3" y="4"/>
                </a:cxn>
                <a:cxn ang="0">
                  <a:pos x="25" y="0"/>
                </a:cxn>
                <a:cxn ang="0">
                  <a:pos x="57" y="13"/>
                </a:cxn>
                <a:cxn ang="0">
                  <a:pos x="59" y="16"/>
                </a:cxn>
                <a:cxn ang="0">
                  <a:pos x="72" y="45"/>
                </a:cxn>
                <a:cxn ang="0">
                  <a:pos x="71" y="50"/>
                </a:cxn>
                <a:cxn ang="0">
                  <a:pos x="68" y="52"/>
                </a:cxn>
                <a:cxn ang="0">
                  <a:pos x="3" y="39"/>
                </a:cxn>
              </a:cxnLst>
              <a:rect l="0" t="0" r="r" b="b"/>
              <a:pathLst>
                <a:path w="74" h="53">
                  <a:moveTo>
                    <a:pt x="3" y="39"/>
                  </a:moveTo>
                  <a:cubicBezTo>
                    <a:pt x="1" y="39"/>
                    <a:pt x="0" y="37"/>
                    <a:pt x="0" y="34"/>
                  </a:cubicBezTo>
                  <a:lnTo>
                    <a:pt x="0" y="9"/>
                  </a:lnTo>
                  <a:cubicBezTo>
                    <a:pt x="0" y="7"/>
                    <a:pt x="1" y="5"/>
                    <a:pt x="3" y="4"/>
                  </a:cubicBezTo>
                  <a:lnTo>
                    <a:pt x="25" y="0"/>
                  </a:lnTo>
                  <a:lnTo>
                    <a:pt x="57" y="13"/>
                  </a:lnTo>
                  <a:cubicBezTo>
                    <a:pt x="58" y="14"/>
                    <a:pt x="59" y="14"/>
                    <a:pt x="59" y="16"/>
                  </a:cubicBezTo>
                  <a:lnTo>
                    <a:pt x="72" y="45"/>
                  </a:lnTo>
                  <a:cubicBezTo>
                    <a:pt x="73" y="47"/>
                    <a:pt x="73" y="49"/>
                    <a:pt x="71" y="50"/>
                  </a:cubicBezTo>
                  <a:cubicBezTo>
                    <a:pt x="71" y="51"/>
                    <a:pt x="69" y="52"/>
                    <a:pt x="68" y="52"/>
                  </a:cubicBezTo>
                  <a:lnTo>
                    <a:pt x="3" y="3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2" name="Freeform 287"/>
            <p:cNvSpPr>
              <a:spLocks noChangeArrowheads="1"/>
            </p:cNvSpPr>
            <p:nvPr/>
          </p:nvSpPr>
          <p:spPr bwMode="auto">
            <a:xfrm>
              <a:off x="4572000" y="1758950"/>
              <a:ext cx="26988" cy="19050"/>
            </a:xfrm>
            <a:custGeom>
              <a:avLst/>
              <a:gdLst/>
              <a:ahLst/>
              <a:cxnLst>
                <a:cxn ang="0">
                  <a:pos x="3" y="39"/>
                </a:cxn>
                <a:cxn ang="0">
                  <a:pos x="0" y="34"/>
                </a:cxn>
                <a:cxn ang="0">
                  <a:pos x="0" y="9"/>
                </a:cxn>
                <a:cxn ang="0">
                  <a:pos x="3" y="4"/>
                </a:cxn>
                <a:cxn ang="0">
                  <a:pos x="25" y="0"/>
                </a:cxn>
                <a:cxn ang="0">
                  <a:pos x="57" y="13"/>
                </a:cxn>
                <a:cxn ang="0">
                  <a:pos x="59" y="16"/>
                </a:cxn>
                <a:cxn ang="0">
                  <a:pos x="72" y="45"/>
                </a:cxn>
                <a:cxn ang="0">
                  <a:pos x="71" y="50"/>
                </a:cxn>
                <a:cxn ang="0">
                  <a:pos x="68" y="52"/>
                </a:cxn>
                <a:cxn ang="0">
                  <a:pos x="3" y="39"/>
                </a:cxn>
              </a:cxnLst>
              <a:rect l="0" t="0" r="r" b="b"/>
              <a:pathLst>
                <a:path w="74" h="53">
                  <a:moveTo>
                    <a:pt x="3" y="39"/>
                  </a:moveTo>
                  <a:cubicBezTo>
                    <a:pt x="1" y="39"/>
                    <a:pt x="0" y="37"/>
                    <a:pt x="0" y="34"/>
                  </a:cubicBezTo>
                  <a:lnTo>
                    <a:pt x="0" y="9"/>
                  </a:lnTo>
                  <a:cubicBezTo>
                    <a:pt x="0" y="7"/>
                    <a:pt x="1" y="5"/>
                    <a:pt x="3" y="4"/>
                  </a:cubicBezTo>
                  <a:lnTo>
                    <a:pt x="25" y="0"/>
                  </a:lnTo>
                  <a:lnTo>
                    <a:pt x="57" y="13"/>
                  </a:lnTo>
                  <a:cubicBezTo>
                    <a:pt x="58" y="14"/>
                    <a:pt x="59" y="14"/>
                    <a:pt x="59" y="16"/>
                  </a:cubicBezTo>
                  <a:lnTo>
                    <a:pt x="72" y="45"/>
                  </a:lnTo>
                  <a:cubicBezTo>
                    <a:pt x="73" y="47"/>
                    <a:pt x="73" y="49"/>
                    <a:pt x="71" y="50"/>
                  </a:cubicBezTo>
                  <a:cubicBezTo>
                    <a:pt x="71" y="51"/>
                    <a:pt x="69" y="52"/>
                    <a:pt x="68" y="52"/>
                  </a:cubicBezTo>
                  <a:lnTo>
                    <a:pt x="3" y="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3" name="Freeform 288"/>
            <p:cNvSpPr>
              <a:spLocks noChangeArrowheads="1"/>
            </p:cNvSpPr>
            <p:nvPr/>
          </p:nvSpPr>
          <p:spPr bwMode="auto">
            <a:xfrm>
              <a:off x="4594225" y="1758950"/>
              <a:ext cx="12700" cy="23813"/>
            </a:xfrm>
            <a:custGeom>
              <a:avLst/>
              <a:gdLst/>
              <a:ahLst/>
              <a:cxnLst>
                <a:cxn ang="0">
                  <a:pos x="22" y="64"/>
                </a:cxn>
                <a:cxn ang="0">
                  <a:pos x="17" y="61"/>
                </a:cxn>
                <a:cxn ang="0">
                  <a:pos x="0" y="6"/>
                </a:cxn>
                <a:cxn ang="0">
                  <a:pos x="2" y="1"/>
                </a:cxn>
                <a:cxn ang="0">
                  <a:pos x="5" y="0"/>
                </a:cxn>
                <a:cxn ang="0">
                  <a:pos x="7" y="0"/>
                </a:cxn>
                <a:cxn ang="0">
                  <a:pos x="32" y="13"/>
                </a:cxn>
                <a:cxn ang="0">
                  <a:pos x="35" y="18"/>
                </a:cxn>
                <a:cxn ang="0">
                  <a:pos x="26" y="61"/>
                </a:cxn>
                <a:cxn ang="0">
                  <a:pos x="22" y="64"/>
                </a:cxn>
              </a:cxnLst>
              <a:rect l="0" t="0" r="r" b="b"/>
              <a:pathLst>
                <a:path w="36" h="65">
                  <a:moveTo>
                    <a:pt x="22" y="64"/>
                  </a:moveTo>
                  <a:cubicBezTo>
                    <a:pt x="20" y="64"/>
                    <a:pt x="18" y="63"/>
                    <a:pt x="17" y="61"/>
                  </a:cubicBezTo>
                  <a:lnTo>
                    <a:pt x="0" y="6"/>
                  </a:lnTo>
                  <a:cubicBezTo>
                    <a:pt x="0" y="4"/>
                    <a:pt x="0" y="2"/>
                    <a:pt x="2" y="1"/>
                  </a:cubicBezTo>
                  <a:cubicBezTo>
                    <a:pt x="3" y="0"/>
                    <a:pt x="4" y="0"/>
                    <a:pt x="5" y="0"/>
                  </a:cubicBezTo>
                  <a:cubicBezTo>
                    <a:pt x="6" y="0"/>
                    <a:pt x="6" y="0"/>
                    <a:pt x="7" y="0"/>
                  </a:cubicBezTo>
                  <a:lnTo>
                    <a:pt x="32" y="13"/>
                  </a:lnTo>
                  <a:cubicBezTo>
                    <a:pt x="34" y="14"/>
                    <a:pt x="35" y="16"/>
                    <a:pt x="35" y="18"/>
                  </a:cubicBezTo>
                  <a:lnTo>
                    <a:pt x="26" y="61"/>
                  </a:lnTo>
                  <a:cubicBezTo>
                    <a:pt x="26" y="63"/>
                    <a:pt x="24" y="64"/>
                    <a:pt x="22" y="6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4" name="Freeform 289"/>
            <p:cNvSpPr>
              <a:spLocks noChangeArrowheads="1"/>
            </p:cNvSpPr>
            <p:nvPr/>
          </p:nvSpPr>
          <p:spPr bwMode="auto">
            <a:xfrm>
              <a:off x="4594225" y="1758950"/>
              <a:ext cx="12700" cy="23813"/>
            </a:xfrm>
            <a:custGeom>
              <a:avLst/>
              <a:gdLst/>
              <a:ahLst/>
              <a:cxnLst>
                <a:cxn ang="0">
                  <a:pos x="22" y="64"/>
                </a:cxn>
                <a:cxn ang="0">
                  <a:pos x="17" y="61"/>
                </a:cxn>
                <a:cxn ang="0">
                  <a:pos x="0" y="6"/>
                </a:cxn>
                <a:cxn ang="0">
                  <a:pos x="2" y="1"/>
                </a:cxn>
                <a:cxn ang="0">
                  <a:pos x="5" y="0"/>
                </a:cxn>
                <a:cxn ang="0">
                  <a:pos x="7" y="0"/>
                </a:cxn>
                <a:cxn ang="0">
                  <a:pos x="32" y="13"/>
                </a:cxn>
                <a:cxn ang="0">
                  <a:pos x="35" y="18"/>
                </a:cxn>
                <a:cxn ang="0">
                  <a:pos x="26" y="61"/>
                </a:cxn>
                <a:cxn ang="0">
                  <a:pos x="22" y="64"/>
                </a:cxn>
              </a:cxnLst>
              <a:rect l="0" t="0" r="r" b="b"/>
              <a:pathLst>
                <a:path w="36" h="65">
                  <a:moveTo>
                    <a:pt x="22" y="64"/>
                  </a:moveTo>
                  <a:cubicBezTo>
                    <a:pt x="20" y="64"/>
                    <a:pt x="18" y="63"/>
                    <a:pt x="17" y="61"/>
                  </a:cubicBezTo>
                  <a:lnTo>
                    <a:pt x="0" y="6"/>
                  </a:lnTo>
                  <a:cubicBezTo>
                    <a:pt x="0" y="4"/>
                    <a:pt x="0" y="2"/>
                    <a:pt x="2" y="1"/>
                  </a:cubicBezTo>
                  <a:cubicBezTo>
                    <a:pt x="3" y="0"/>
                    <a:pt x="4" y="0"/>
                    <a:pt x="5" y="0"/>
                  </a:cubicBezTo>
                  <a:cubicBezTo>
                    <a:pt x="6" y="0"/>
                    <a:pt x="6" y="0"/>
                    <a:pt x="7" y="0"/>
                  </a:cubicBezTo>
                  <a:lnTo>
                    <a:pt x="32" y="13"/>
                  </a:lnTo>
                  <a:cubicBezTo>
                    <a:pt x="34" y="14"/>
                    <a:pt x="35" y="16"/>
                    <a:pt x="35" y="18"/>
                  </a:cubicBezTo>
                  <a:lnTo>
                    <a:pt x="26" y="61"/>
                  </a:lnTo>
                  <a:cubicBezTo>
                    <a:pt x="26" y="63"/>
                    <a:pt x="24" y="64"/>
                    <a:pt x="22" y="6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5" name="Freeform 290"/>
            <p:cNvSpPr>
              <a:spLocks noChangeArrowheads="1"/>
            </p:cNvSpPr>
            <p:nvPr/>
          </p:nvSpPr>
          <p:spPr bwMode="auto">
            <a:xfrm>
              <a:off x="4568825" y="1697038"/>
              <a:ext cx="55563" cy="65087"/>
            </a:xfrm>
            <a:custGeom>
              <a:avLst/>
              <a:gdLst/>
              <a:ahLst/>
              <a:cxnLst>
                <a:cxn ang="0">
                  <a:pos x="72" y="171"/>
                </a:cxn>
                <a:cxn ang="0">
                  <a:pos x="68" y="165"/>
                </a:cxn>
                <a:cxn ang="0">
                  <a:pos x="71" y="153"/>
                </a:cxn>
                <a:cxn ang="0">
                  <a:pos x="33" y="145"/>
                </a:cxn>
                <a:cxn ang="0">
                  <a:pos x="30" y="142"/>
                </a:cxn>
                <a:cxn ang="0">
                  <a:pos x="17" y="87"/>
                </a:cxn>
                <a:cxn ang="0">
                  <a:pos x="2" y="72"/>
                </a:cxn>
                <a:cxn ang="0">
                  <a:pos x="0" y="68"/>
                </a:cxn>
                <a:cxn ang="0">
                  <a:pos x="3" y="64"/>
                </a:cxn>
                <a:cxn ang="0">
                  <a:pos x="49" y="41"/>
                </a:cxn>
                <a:cxn ang="0">
                  <a:pos x="43" y="28"/>
                </a:cxn>
                <a:cxn ang="0">
                  <a:pos x="43" y="24"/>
                </a:cxn>
                <a:cxn ang="0">
                  <a:pos x="47" y="22"/>
                </a:cxn>
                <a:cxn ang="0">
                  <a:pos x="77" y="26"/>
                </a:cxn>
                <a:cxn ang="0">
                  <a:pos x="82" y="31"/>
                </a:cxn>
                <a:cxn ang="0">
                  <a:pos x="82" y="47"/>
                </a:cxn>
                <a:cxn ang="0">
                  <a:pos x="85" y="37"/>
                </a:cxn>
                <a:cxn ang="0">
                  <a:pos x="85" y="26"/>
                </a:cxn>
                <a:cxn ang="0">
                  <a:pos x="87" y="22"/>
                </a:cxn>
                <a:cxn ang="0">
                  <a:pos x="121" y="1"/>
                </a:cxn>
                <a:cxn ang="0">
                  <a:pos x="123" y="0"/>
                </a:cxn>
                <a:cxn ang="0">
                  <a:pos x="125" y="1"/>
                </a:cxn>
                <a:cxn ang="0">
                  <a:pos x="128" y="4"/>
                </a:cxn>
                <a:cxn ang="0">
                  <a:pos x="153" y="71"/>
                </a:cxn>
                <a:cxn ang="0">
                  <a:pos x="152" y="77"/>
                </a:cxn>
                <a:cxn ang="0">
                  <a:pos x="121" y="100"/>
                </a:cxn>
                <a:cxn ang="0">
                  <a:pos x="136" y="134"/>
                </a:cxn>
                <a:cxn ang="0">
                  <a:pos x="136" y="139"/>
                </a:cxn>
                <a:cxn ang="0">
                  <a:pos x="133" y="141"/>
                </a:cxn>
                <a:cxn ang="0">
                  <a:pos x="111" y="145"/>
                </a:cxn>
                <a:cxn ang="0">
                  <a:pos x="111" y="174"/>
                </a:cxn>
                <a:cxn ang="0">
                  <a:pos x="109" y="178"/>
                </a:cxn>
                <a:cxn ang="0">
                  <a:pos x="107" y="179"/>
                </a:cxn>
                <a:cxn ang="0">
                  <a:pos x="105" y="179"/>
                </a:cxn>
                <a:cxn ang="0">
                  <a:pos x="72" y="171"/>
                </a:cxn>
              </a:cxnLst>
              <a:rect l="0" t="0" r="r" b="b"/>
              <a:pathLst>
                <a:path w="155" h="180">
                  <a:moveTo>
                    <a:pt x="72" y="171"/>
                  </a:moveTo>
                  <a:cubicBezTo>
                    <a:pt x="69" y="170"/>
                    <a:pt x="67" y="167"/>
                    <a:pt x="68" y="165"/>
                  </a:cubicBezTo>
                  <a:lnTo>
                    <a:pt x="71" y="153"/>
                  </a:lnTo>
                  <a:lnTo>
                    <a:pt x="33" y="145"/>
                  </a:lnTo>
                  <a:cubicBezTo>
                    <a:pt x="32" y="145"/>
                    <a:pt x="30" y="143"/>
                    <a:pt x="30" y="142"/>
                  </a:cubicBezTo>
                  <a:lnTo>
                    <a:pt x="17" y="87"/>
                  </a:lnTo>
                  <a:lnTo>
                    <a:pt x="2" y="72"/>
                  </a:lnTo>
                  <a:cubicBezTo>
                    <a:pt x="1" y="71"/>
                    <a:pt x="0" y="69"/>
                    <a:pt x="0" y="68"/>
                  </a:cubicBezTo>
                  <a:cubicBezTo>
                    <a:pt x="1" y="66"/>
                    <a:pt x="1" y="65"/>
                    <a:pt x="3" y="64"/>
                  </a:cubicBezTo>
                  <a:lnTo>
                    <a:pt x="49" y="41"/>
                  </a:lnTo>
                  <a:lnTo>
                    <a:pt x="43" y="28"/>
                  </a:lnTo>
                  <a:cubicBezTo>
                    <a:pt x="42" y="27"/>
                    <a:pt x="42" y="25"/>
                    <a:pt x="43" y="24"/>
                  </a:cubicBezTo>
                  <a:cubicBezTo>
                    <a:pt x="44" y="22"/>
                    <a:pt x="46" y="22"/>
                    <a:pt x="47" y="22"/>
                  </a:cubicBezTo>
                  <a:lnTo>
                    <a:pt x="77" y="26"/>
                  </a:lnTo>
                  <a:cubicBezTo>
                    <a:pt x="80" y="26"/>
                    <a:pt x="82" y="28"/>
                    <a:pt x="82" y="31"/>
                  </a:cubicBezTo>
                  <a:lnTo>
                    <a:pt x="82" y="47"/>
                  </a:lnTo>
                  <a:lnTo>
                    <a:pt x="85" y="37"/>
                  </a:lnTo>
                  <a:lnTo>
                    <a:pt x="85" y="26"/>
                  </a:lnTo>
                  <a:cubicBezTo>
                    <a:pt x="85" y="25"/>
                    <a:pt x="86" y="23"/>
                    <a:pt x="87" y="22"/>
                  </a:cubicBezTo>
                  <a:lnTo>
                    <a:pt x="121" y="1"/>
                  </a:lnTo>
                  <a:cubicBezTo>
                    <a:pt x="122" y="1"/>
                    <a:pt x="122" y="0"/>
                    <a:pt x="123" y="0"/>
                  </a:cubicBezTo>
                  <a:cubicBezTo>
                    <a:pt x="124" y="0"/>
                    <a:pt x="124" y="1"/>
                    <a:pt x="125" y="1"/>
                  </a:cubicBezTo>
                  <a:cubicBezTo>
                    <a:pt x="126" y="1"/>
                    <a:pt x="127" y="2"/>
                    <a:pt x="128" y="4"/>
                  </a:cubicBezTo>
                  <a:lnTo>
                    <a:pt x="153" y="71"/>
                  </a:lnTo>
                  <a:cubicBezTo>
                    <a:pt x="154" y="73"/>
                    <a:pt x="153" y="75"/>
                    <a:pt x="152" y="77"/>
                  </a:cubicBezTo>
                  <a:lnTo>
                    <a:pt x="121" y="100"/>
                  </a:lnTo>
                  <a:lnTo>
                    <a:pt x="136" y="134"/>
                  </a:lnTo>
                  <a:cubicBezTo>
                    <a:pt x="137" y="136"/>
                    <a:pt x="137" y="137"/>
                    <a:pt x="136" y="139"/>
                  </a:cubicBezTo>
                  <a:cubicBezTo>
                    <a:pt x="135" y="140"/>
                    <a:pt x="134" y="141"/>
                    <a:pt x="133" y="141"/>
                  </a:cubicBezTo>
                  <a:lnTo>
                    <a:pt x="111" y="145"/>
                  </a:lnTo>
                  <a:lnTo>
                    <a:pt x="111" y="174"/>
                  </a:lnTo>
                  <a:cubicBezTo>
                    <a:pt x="111" y="176"/>
                    <a:pt x="111" y="177"/>
                    <a:pt x="109" y="178"/>
                  </a:cubicBezTo>
                  <a:cubicBezTo>
                    <a:pt x="109" y="179"/>
                    <a:pt x="107" y="179"/>
                    <a:pt x="107" y="179"/>
                  </a:cubicBezTo>
                  <a:cubicBezTo>
                    <a:pt x="107" y="179"/>
                    <a:pt x="106" y="179"/>
                    <a:pt x="105" y="179"/>
                  </a:cubicBezTo>
                  <a:lnTo>
                    <a:pt x="72" y="17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6" name="Freeform 291"/>
            <p:cNvSpPr>
              <a:spLocks noChangeArrowheads="1"/>
            </p:cNvSpPr>
            <p:nvPr/>
          </p:nvSpPr>
          <p:spPr bwMode="auto">
            <a:xfrm>
              <a:off x="4568825" y="1697038"/>
              <a:ext cx="55563" cy="65087"/>
            </a:xfrm>
            <a:custGeom>
              <a:avLst/>
              <a:gdLst/>
              <a:ahLst/>
              <a:cxnLst>
                <a:cxn ang="0">
                  <a:pos x="105" y="179"/>
                </a:cxn>
                <a:cxn ang="0">
                  <a:pos x="72" y="171"/>
                </a:cxn>
                <a:cxn ang="0">
                  <a:pos x="68" y="165"/>
                </a:cxn>
                <a:cxn ang="0">
                  <a:pos x="71" y="153"/>
                </a:cxn>
                <a:cxn ang="0">
                  <a:pos x="33" y="145"/>
                </a:cxn>
                <a:cxn ang="0">
                  <a:pos x="30" y="142"/>
                </a:cxn>
                <a:cxn ang="0">
                  <a:pos x="17" y="87"/>
                </a:cxn>
                <a:cxn ang="0">
                  <a:pos x="2" y="72"/>
                </a:cxn>
                <a:cxn ang="0">
                  <a:pos x="0" y="68"/>
                </a:cxn>
                <a:cxn ang="0">
                  <a:pos x="3" y="64"/>
                </a:cxn>
                <a:cxn ang="0">
                  <a:pos x="49" y="41"/>
                </a:cxn>
                <a:cxn ang="0">
                  <a:pos x="43" y="28"/>
                </a:cxn>
                <a:cxn ang="0">
                  <a:pos x="43" y="24"/>
                </a:cxn>
                <a:cxn ang="0">
                  <a:pos x="47" y="22"/>
                </a:cxn>
                <a:cxn ang="0">
                  <a:pos x="77" y="26"/>
                </a:cxn>
                <a:cxn ang="0">
                  <a:pos x="82" y="31"/>
                </a:cxn>
                <a:cxn ang="0">
                  <a:pos x="82" y="47"/>
                </a:cxn>
                <a:cxn ang="0">
                  <a:pos x="85" y="37"/>
                </a:cxn>
                <a:cxn ang="0">
                  <a:pos x="85" y="26"/>
                </a:cxn>
                <a:cxn ang="0">
                  <a:pos x="87" y="22"/>
                </a:cxn>
                <a:cxn ang="0">
                  <a:pos x="121" y="1"/>
                </a:cxn>
                <a:cxn ang="0">
                  <a:pos x="123" y="0"/>
                </a:cxn>
                <a:cxn ang="0">
                  <a:pos x="125" y="1"/>
                </a:cxn>
                <a:cxn ang="0">
                  <a:pos x="128" y="4"/>
                </a:cxn>
                <a:cxn ang="0">
                  <a:pos x="153" y="71"/>
                </a:cxn>
                <a:cxn ang="0">
                  <a:pos x="152" y="77"/>
                </a:cxn>
                <a:cxn ang="0">
                  <a:pos x="121" y="100"/>
                </a:cxn>
                <a:cxn ang="0">
                  <a:pos x="136" y="134"/>
                </a:cxn>
                <a:cxn ang="0">
                  <a:pos x="136" y="139"/>
                </a:cxn>
                <a:cxn ang="0">
                  <a:pos x="133" y="141"/>
                </a:cxn>
                <a:cxn ang="0">
                  <a:pos x="111" y="145"/>
                </a:cxn>
                <a:cxn ang="0">
                  <a:pos x="111" y="174"/>
                </a:cxn>
                <a:cxn ang="0">
                  <a:pos x="109" y="178"/>
                </a:cxn>
                <a:cxn ang="0">
                  <a:pos x="107" y="179"/>
                </a:cxn>
                <a:cxn ang="0">
                  <a:pos x="105" y="179"/>
                </a:cxn>
              </a:cxnLst>
              <a:rect l="0" t="0" r="r" b="b"/>
              <a:pathLst>
                <a:path w="155" h="180">
                  <a:moveTo>
                    <a:pt x="105" y="179"/>
                  </a:moveTo>
                  <a:lnTo>
                    <a:pt x="72" y="171"/>
                  </a:lnTo>
                  <a:cubicBezTo>
                    <a:pt x="69" y="170"/>
                    <a:pt x="67" y="167"/>
                    <a:pt x="68" y="165"/>
                  </a:cubicBezTo>
                  <a:lnTo>
                    <a:pt x="71" y="153"/>
                  </a:lnTo>
                  <a:lnTo>
                    <a:pt x="33" y="145"/>
                  </a:lnTo>
                  <a:cubicBezTo>
                    <a:pt x="32" y="145"/>
                    <a:pt x="30" y="143"/>
                    <a:pt x="30" y="142"/>
                  </a:cubicBezTo>
                  <a:lnTo>
                    <a:pt x="17" y="87"/>
                  </a:lnTo>
                  <a:lnTo>
                    <a:pt x="2" y="72"/>
                  </a:lnTo>
                  <a:cubicBezTo>
                    <a:pt x="1" y="71"/>
                    <a:pt x="0" y="69"/>
                    <a:pt x="0" y="68"/>
                  </a:cubicBezTo>
                  <a:cubicBezTo>
                    <a:pt x="1" y="66"/>
                    <a:pt x="1" y="65"/>
                    <a:pt x="3" y="64"/>
                  </a:cubicBezTo>
                  <a:lnTo>
                    <a:pt x="49" y="41"/>
                  </a:lnTo>
                  <a:lnTo>
                    <a:pt x="43" y="28"/>
                  </a:lnTo>
                  <a:cubicBezTo>
                    <a:pt x="42" y="27"/>
                    <a:pt x="42" y="25"/>
                    <a:pt x="43" y="24"/>
                  </a:cubicBezTo>
                  <a:cubicBezTo>
                    <a:pt x="44" y="22"/>
                    <a:pt x="46" y="22"/>
                    <a:pt x="47" y="22"/>
                  </a:cubicBezTo>
                  <a:lnTo>
                    <a:pt x="77" y="26"/>
                  </a:lnTo>
                  <a:cubicBezTo>
                    <a:pt x="80" y="26"/>
                    <a:pt x="82" y="28"/>
                    <a:pt x="82" y="31"/>
                  </a:cubicBezTo>
                  <a:lnTo>
                    <a:pt x="82" y="47"/>
                  </a:lnTo>
                  <a:lnTo>
                    <a:pt x="85" y="37"/>
                  </a:lnTo>
                  <a:lnTo>
                    <a:pt x="85" y="26"/>
                  </a:lnTo>
                  <a:cubicBezTo>
                    <a:pt x="85" y="25"/>
                    <a:pt x="86" y="23"/>
                    <a:pt x="87" y="22"/>
                  </a:cubicBezTo>
                  <a:lnTo>
                    <a:pt x="121" y="1"/>
                  </a:lnTo>
                  <a:cubicBezTo>
                    <a:pt x="122" y="1"/>
                    <a:pt x="122" y="0"/>
                    <a:pt x="123" y="0"/>
                  </a:cubicBezTo>
                  <a:cubicBezTo>
                    <a:pt x="124" y="0"/>
                    <a:pt x="124" y="1"/>
                    <a:pt x="125" y="1"/>
                  </a:cubicBezTo>
                  <a:cubicBezTo>
                    <a:pt x="126" y="1"/>
                    <a:pt x="127" y="2"/>
                    <a:pt x="128" y="4"/>
                  </a:cubicBezTo>
                  <a:lnTo>
                    <a:pt x="153" y="71"/>
                  </a:lnTo>
                  <a:cubicBezTo>
                    <a:pt x="154" y="73"/>
                    <a:pt x="153" y="75"/>
                    <a:pt x="152" y="77"/>
                  </a:cubicBezTo>
                  <a:lnTo>
                    <a:pt x="121" y="100"/>
                  </a:lnTo>
                  <a:lnTo>
                    <a:pt x="136" y="134"/>
                  </a:lnTo>
                  <a:cubicBezTo>
                    <a:pt x="137" y="136"/>
                    <a:pt x="137" y="137"/>
                    <a:pt x="136" y="139"/>
                  </a:cubicBezTo>
                  <a:cubicBezTo>
                    <a:pt x="135" y="140"/>
                    <a:pt x="134" y="141"/>
                    <a:pt x="133" y="141"/>
                  </a:cubicBezTo>
                  <a:lnTo>
                    <a:pt x="111" y="145"/>
                  </a:lnTo>
                  <a:lnTo>
                    <a:pt x="111" y="174"/>
                  </a:lnTo>
                  <a:cubicBezTo>
                    <a:pt x="111" y="176"/>
                    <a:pt x="111" y="177"/>
                    <a:pt x="109" y="178"/>
                  </a:cubicBezTo>
                  <a:cubicBezTo>
                    <a:pt x="109" y="179"/>
                    <a:pt x="107" y="179"/>
                    <a:pt x="107" y="179"/>
                  </a:cubicBezTo>
                  <a:cubicBezTo>
                    <a:pt x="107" y="179"/>
                    <a:pt x="106" y="179"/>
                    <a:pt x="105" y="17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7" name="Freeform 292"/>
            <p:cNvSpPr>
              <a:spLocks noChangeArrowheads="1"/>
            </p:cNvSpPr>
            <p:nvPr/>
          </p:nvSpPr>
          <p:spPr bwMode="auto">
            <a:xfrm>
              <a:off x="4630738" y="1774825"/>
              <a:ext cx="20637" cy="23813"/>
            </a:xfrm>
            <a:custGeom>
              <a:avLst/>
              <a:gdLst/>
              <a:ahLst/>
              <a:cxnLst>
                <a:cxn ang="0">
                  <a:pos x="3" y="52"/>
                </a:cxn>
                <a:cxn ang="0">
                  <a:pos x="0" y="47"/>
                </a:cxn>
                <a:cxn ang="0">
                  <a:pos x="4" y="21"/>
                </a:cxn>
                <a:cxn ang="0">
                  <a:pos x="7" y="18"/>
                </a:cxn>
                <a:cxn ang="0">
                  <a:pos x="9" y="17"/>
                </a:cxn>
                <a:cxn ang="0">
                  <a:pos x="11" y="18"/>
                </a:cxn>
                <a:cxn ang="0">
                  <a:pos x="20" y="23"/>
                </a:cxn>
                <a:cxn ang="0">
                  <a:pos x="13" y="7"/>
                </a:cxn>
                <a:cxn ang="0">
                  <a:pos x="14" y="2"/>
                </a:cxn>
                <a:cxn ang="0">
                  <a:pos x="17" y="0"/>
                </a:cxn>
                <a:cxn ang="0">
                  <a:pos x="19" y="1"/>
                </a:cxn>
                <a:cxn ang="0">
                  <a:pos x="49" y="13"/>
                </a:cxn>
                <a:cxn ang="0">
                  <a:pos x="52" y="18"/>
                </a:cxn>
                <a:cxn ang="0">
                  <a:pos x="52" y="35"/>
                </a:cxn>
                <a:cxn ang="0">
                  <a:pos x="56" y="59"/>
                </a:cxn>
                <a:cxn ang="0">
                  <a:pos x="54" y="63"/>
                </a:cxn>
                <a:cxn ang="0">
                  <a:pos x="51" y="65"/>
                </a:cxn>
                <a:cxn ang="0">
                  <a:pos x="50" y="64"/>
                </a:cxn>
                <a:cxn ang="0">
                  <a:pos x="3" y="52"/>
                </a:cxn>
              </a:cxnLst>
              <a:rect l="0" t="0" r="r" b="b"/>
              <a:pathLst>
                <a:path w="57" h="66">
                  <a:moveTo>
                    <a:pt x="3" y="52"/>
                  </a:moveTo>
                  <a:cubicBezTo>
                    <a:pt x="1" y="51"/>
                    <a:pt x="0" y="49"/>
                    <a:pt x="0" y="47"/>
                  </a:cubicBezTo>
                  <a:lnTo>
                    <a:pt x="4" y="21"/>
                  </a:lnTo>
                  <a:cubicBezTo>
                    <a:pt x="4" y="20"/>
                    <a:pt x="5" y="18"/>
                    <a:pt x="7" y="18"/>
                  </a:cubicBezTo>
                  <a:cubicBezTo>
                    <a:pt x="7" y="17"/>
                    <a:pt x="8" y="17"/>
                    <a:pt x="9" y="17"/>
                  </a:cubicBezTo>
                  <a:cubicBezTo>
                    <a:pt x="10" y="17"/>
                    <a:pt x="10" y="17"/>
                    <a:pt x="11" y="18"/>
                  </a:cubicBezTo>
                  <a:lnTo>
                    <a:pt x="20" y="23"/>
                  </a:lnTo>
                  <a:lnTo>
                    <a:pt x="13" y="7"/>
                  </a:lnTo>
                  <a:cubicBezTo>
                    <a:pt x="12" y="5"/>
                    <a:pt x="13" y="3"/>
                    <a:pt x="14" y="2"/>
                  </a:cubicBezTo>
                  <a:cubicBezTo>
                    <a:pt x="15" y="1"/>
                    <a:pt x="16" y="0"/>
                    <a:pt x="17" y="0"/>
                  </a:cubicBezTo>
                  <a:cubicBezTo>
                    <a:pt x="18" y="0"/>
                    <a:pt x="19" y="0"/>
                    <a:pt x="19" y="1"/>
                  </a:cubicBezTo>
                  <a:lnTo>
                    <a:pt x="49" y="13"/>
                  </a:lnTo>
                  <a:cubicBezTo>
                    <a:pt x="50" y="14"/>
                    <a:pt x="52" y="16"/>
                    <a:pt x="52" y="18"/>
                  </a:cubicBezTo>
                  <a:lnTo>
                    <a:pt x="52" y="35"/>
                  </a:lnTo>
                  <a:lnTo>
                    <a:pt x="56" y="59"/>
                  </a:lnTo>
                  <a:cubicBezTo>
                    <a:pt x="56" y="61"/>
                    <a:pt x="55" y="62"/>
                    <a:pt x="54" y="63"/>
                  </a:cubicBezTo>
                  <a:cubicBezTo>
                    <a:pt x="53" y="64"/>
                    <a:pt x="52" y="65"/>
                    <a:pt x="51" y="65"/>
                  </a:cubicBezTo>
                  <a:cubicBezTo>
                    <a:pt x="51" y="65"/>
                    <a:pt x="50" y="65"/>
                    <a:pt x="50" y="64"/>
                  </a:cubicBezTo>
                  <a:lnTo>
                    <a:pt x="3" y="5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8" name="Freeform 293"/>
            <p:cNvSpPr>
              <a:spLocks noChangeArrowheads="1"/>
            </p:cNvSpPr>
            <p:nvPr/>
          </p:nvSpPr>
          <p:spPr bwMode="auto">
            <a:xfrm>
              <a:off x="4630738" y="1774825"/>
              <a:ext cx="20637" cy="23813"/>
            </a:xfrm>
            <a:custGeom>
              <a:avLst/>
              <a:gdLst/>
              <a:ahLst/>
              <a:cxnLst>
                <a:cxn ang="0">
                  <a:pos x="50" y="64"/>
                </a:cxn>
                <a:cxn ang="0">
                  <a:pos x="3" y="52"/>
                </a:cxn>
                <a:cxn ang="0">
                  <a:pos x="0" y="47"/>
                </a:cxn>
                <a:cxn ang="0">
                  <a:pos x="4" y="21"/>
                </a:cxn>
                <a:cxn ang="0">
                  <a:pos x="7" y="18"/>
                </a:cxn>
                <a:cxn ang="0">
                  <a:pos x="9" y="17"/>
                </a:cxn>
                <a:cxn ang="0">
                  <a:pos x="11" y="18"/>
                </a:cxn>
                <a:cxn ang="0">
                  <a:pos x="20" y="23"/>
                </a:cxn>
                <a:cxn ang="0">
                  <a:pos x="13" y="7"/>
                </a:cxn>
                <a:cxn ang="0">
                  <a:pos x="14" y="2"/>
                </a:cxn>
                <a:cxn ang="0">
                  <a:pos x="17" y="0"/>
                </a:cxn>
                <a:cxn ang="0">
                  <a:pos x="19" y="1"/>
                </a:cxn>
                <a:cxn ang="0">
                  <a:pos x="49" y="13"/>
                </a:cxn>
                <a:cxn ang="0">
                  <a:pos x="52" y="18"/>
                </a:cxn>
                <a:cxn ang="0">
                  <a:pos x="52" y="35"/>
                </a:cxn>
                <a:cxn ang="0">
                  <a:pos x="56" y="59"/>
                </a:cxn>
                <a:cxn ang="0">
                  <a:pos x="54" y="63"/>
                </a:cxn>
                <a:cxn ang="0">
                  <a:pos x="51" y="65"/>
                </a:cxn>
                <a:cxn ang="0">
                  <a:pos x="50" y="64"/>
                </a:cxn>
              </a:cxnLst>
              <a:rect l="0" t="0" r="r" b="b"/>
              <a:pathLst>
                <a:path w="57" h="66">
                  <a:moveTo>
                    <a:pt x="50" y="64"/>
                  </a:moveTo>
                  <a:lnTo>
                    <a:pt x="3" y="52"/>
                  </a:lnTo>
                  <a:cubicBezTo>
                    <a:pt x="1" y="51"/>
                    <a:pt x="0" y="49"/>
                    <a:pt x="0" y="47"/>
                  </a:cubicBezTo>
                  <a:lnTo>
                    <a:pt x="4" y="21"/>
                  </a:lnTo>
                  <a:cubicBezTo>
                    <a:pt x="4" y="20"/>
                    <a:pt x="5" y="18"/>
                    <a:pt x="7" y="18"/>
                  </a:cubicBezTo>
                  <a:cubicBezTo>
                    <a:pt x="7" y="17"/>
                    <a:pt x="8" y="17"/>
                    <a:pt x="9" y="17"/>
                  </a:cubicBezTo>
                  <a:cubicBezTo>
                    <a:pt x="10" y="17"/>
                    <a:pt x="10" y="17"/>
                    <a:pt x="11" y="18"/>
                  </a:cubicBezTo>
                  <a:lnTo>
                    <a:pt x="20" y="23"/>
                  </a:lnTo>
                  <a:lnTo>
                    <a:pt x="13" y="7"/>
                  </a:lnTo>
                  <a:cubicBezTo>
                    <a:pt x="12" y="5"/>
                    <a:pt x="13" y="3"/>
                    <a:pt x="14" y="2"/>
                  </a:cubicBezTo>
                  <a:cubicBezTo>
                    <a:pt x="15" y="1"/>
                    <a:pt x="16" y="0"/>
                    <a:pt x="17" y="0"/>
                  </a:cubicBezTo>
                  <a:cubicBezTo>
                    <a:pt x="18" y="0"/>
                    <a:pt x="19" y="0"/>
                    <a:pt x="19" y="1"/>
                  </a:cubicBezTo>
                  <a:lnTo>
                    <a:pt x="49" y="13"/>
                  </a:lnTo>
                  <a:cubicBezTo>
                    <a:pt x="50" y="14"/>
                    <a:pt x="52" y="16"/>
                    <a:pt x="52" y="18"/>
                  </a:cubicBezTo>
                  <a:lnTo>
                    <a:pt x="52" y="35"/>
                  </a:lnTo>
                  <a:lnTo>
                    <a:pt x="56" y="59"/>
                  </a:lnTo>
                  <a:cubicBezTo>
                    <a:pt x="56" y="61"/>
                    <a:pt x="55" y="62"/>
                    <a:pt x="54" y="63"/>
                  </a:cubicBezTo>
                  <a:cubicBezTo>
                    <a:pt x="53" y="64"/>
                    <a:pt x="52" y="65"/>
                    <a:pt x="51" y="65"/>
                  </a:cubicBezTo>
                  <a:cubicBezTo>
                    <a:pt x="51" y="65"/>
                    <a:pt x="50" y="65"/>
                    <a:pt x="50" y="6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299" name="Freeform 294"/>
            <p:cNvSpPr>
              <a:spLocks noChangeArrowheads="1"/>
            </p:cNvSpPr>
            <p:nvPr/>
          </p:nvSpPr>
          <p:spPr bwMode="auto">
            <a:xfrm>
              <a:off x="4630738" y="1774825"/>
              <a:ext cx="20637" cy="23813"/>
            </a:xfrm>
            <a:custGeom>
              <a:avLst/>
              <a:gdLst/>
              <a:ahLst/>
              <a:cxnLst>
                <a:cxn ang="0">
                  <a:pos x="3" y="52"/>
                </a:cxn>
                <a:cxn ang="0">
                  <a:pos x="0" y="47"/>
                </a:cxn>
                <a:cxn ang="0">
                  <a:pos x="4" y="21"/>
                </a:cxn>
                <a:cxn ang="0">
                  <a:pos x="7" y="18"/>
                </a:cxn>
                <a:cxn ang="0">
                  <a:pos x="9" y="17"/>
                </a:cxn>
                <a:cxn ang="0">
                  <a:pos x="11" y="18"/>
                </a:cxn>
                <a:cxn ang="0">
                  <a:pos x="20" y="23"/>
                </a:cxn>
                <a:cxn ang="0">
                  <a:pos x="13" y="7"/>
                </a:cxn>
                <a:cxn ang="0">
                  <a:pos x="14" y="2"/>
                </a:cxn>
                <a:cxn ang="0">
                  <a:pos x="17" y="0"/>
                </a:cxn>
                <a:cxn ang="0">
                  <a:pos x="19" y="1"/>
                </a:cxn>
                <a:cxn ang="0">
                  <a:pos x="49" y="13"/>
                </a:cxn>
                <a:cxn ang="0">
                  <a:pos x="52" y="18"/>
                </a:cxn>
                <a:cxn ang="0">
                  <a:pos x="52" y="35"/>
                </a:cxn>
                <a:cxn ang="0">
                  <a:pos x="56" y="59"/>
                </a:cxn>
                <a:cxn ang="0">
                  <a:pos x="54" y="63"/>
                </a:cxn>
                <a:cxn ang="0">
                  <a:pos x="51" y="65"/>
                </a:cxn>
                <a:cxn ang="0">
                  <a:pos x="50" y="64"/>
                </a:cxn>
                <a:cxn ang="0">
                  <a:pos x="3" y="52"/>
                </a:cxn>
              </a:cxnLst>
              <a:rect l="0" t="0" r="r" b="b"/>
              <a:pathLst>
                <a:path w="57" h="66">
                  <a:moveTo>
                    <a:pt x="3" y="52"/>
                  </a:moveTo>
                  <a:cubicBezTo>
                    <a:pt x="1" y="51"/>
                    <a:pt x="0" y="49"/>
                    <a:pt x="0" y="47"/>
                  </a:cubicBezTo>
                  <a:lnTo>
                    <a:pt x="4" y="21"/>
                  </a:lnTo>
                  <a:cubicBezTo>
                    <a:pt x="4" y="20"/>
                    <a:pt x="5" y="18"/>
                    <a:pt x="7" y="18"/>
                  </a:cubicBezTo>
                  <a:cubicBezTo>
                    <a:pt x="7" y="17"/>
                    <a:pt x="8" y="17"/>
                    <a:pt x="9" y="17"/>
                  </a:cubicBezTo>
                  <a:cubicBezTo>
                    <a:pt x="10" y="17"/>
                    <a:pt x="10" y="17"/>
                    <a:pt x="11" y="18"/>
                  </a:cubicBezTo>
                  <a:lnTo>
                    <a:pt x="20" y="23"/>
                  </a:lnTo>
                  <a:lnTo>
                    <a:pt x="13" y="7"/>
                  </a:lnTo>
                  <a:cubicBezTo>
                    <a:pt x="12" y="5"/>
                    <a:pt x="13" y="3"/>
                    <a:pt x="14" y="2"/>
                  </a:cubicBezTo>
                  <a:cubicBezTo>
                    <a:pt x="15" y="1"/>
                    <a:pt x="16" y="0"/>
                    <a:pt x="17" y="0"/>
                  </a:cubicBezTo>
                  <a:cubicBezTo>
                    <a:pt x="18" y="0"/>
                    <a:pt x="19" y="0"/>
                    <a:pt x="19" y="1"/>
                  </a:cubicBezTo>
                  <a:lnTo>
                    <a:pt x="49" y="13"/>
                  </a:lnTo>
                  <a:cubicBezTo>
                    <a:pt x="50" y="14"/>
                    <a:pt x="52" y="16"/>
                    <a:pt x="52" y="18"/>
                  </a:cubicBezTo>
                  <a:lnTo>
                    <a:pt x="52" y="35"/>
                  </a:lnTo>
                  <a:lnTo>
                    <a:pt x="56" y="59"/>
                  </a:lnTo>
                  <a:cubicBezTo>
                    <a:pt x="56" y="61"/>
                    <a:pt x="55" y="62"/>
                    <a:pt x="54" y="63"/>
                  </a:cubicBezTo>
                  <a:cubicBezTo>
                    <a:pt x="53" y="64"/>
                    <a:pt x="52" y="65"/>
                    <a:pt x="51" y="65"/>
                  </a:cubicBezTo>
                  <a:cubicBezTo>
                    <a:pt x="51" y="65"/>
                    <a:pt x="50" y="65"/>
                    <a:pt x="50" y="64"/>
                  </a:cubicBezTo>
                  <a:lnTo>
                    <a:pt x="3" y="5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0" name="Freeform 295"/>
            <p:cNvSpPr>
              <a:spLocks noChangeArrowheads="1"/>
            </p:cNvSpPr>
            <p:nvPr/>
          </p:nvSpPr>
          <p:spPr bwMode="auto">
            <a:xfrm>
              <a:off x="4630738" y="1774825"/>
              <a:ext cx="20637" cy="23813"/>
            </a:xfrm>
            <a:custGeom>
              <a:avLst/>
              <a:gdLst/>
              <a:ahLst/>
              <a:cxnLst>
                <a:cxn ang="0">
                  <a:pos x="50" y="64"/>
                </a:cxn>
                <a:cxn ang="0">
                  <a:pos x="3" y="52"/>
                </a:cxn>
                <a:cxn ang="0">
                  <a:pos x="0" y="47"/>
                </a:cxn>
                <a:cxn ang="0">
                  <a:pos x="4" y="21"/>
                </a:cxn>
                <a:cxn ang="0">
                  <a:pos x="7" y="18"/>
                </a:cxn>
                <a:cxn ang="0">
                  <a:pos x="9" y="17"/>
                </a:cxn>
                <a:cxn ang="0">
                  <a:pos x="11" y="18"/>
                </a:cxn>
                <a:cxn ang="0">
                  <a:pos x="20" y="23"/>
                </a:cxn>
                <a:cxn ang="0">
                  <a:pos x="13" y="7"/>
                </a:cxn>
                <a:cxn ang="0">
                  <a:pos x="14" y="2"/>
                </a:cxn>
                <a:cxn ang="0">
                  <a:pos x="17" y="0"/>
                </a:cxn>
                <a:cxn ang="0">
                  <a:pos x="19" y="1"/>
                </a:cxn>
                <a:cxn ang="0">
                  <a:pos x="49" y="13"/>
                </a:cxn>
                <a:cxn ang="0">
                  <a:pos x="52" y="18"/>
                </a:cxn>
                <a:cxn ang="0">
                  <a:pos x="52" y="35"/>
                </a:cxn>
                <a:cxn ang="0">
                  <a:pos x="56" y="59"/>
                </a:cxn>
                <a:cxn ang="0">
                  <a:pos x="54" y="63"/>
                </a:cxn>
                <a:cxn ang="0">
                  <a:pos x="51" y="65"/>
                </a:cxn>
                <a:cxn ang="0">
                  <a:pos x="50" y="64"/>
                </a:cxn>
              </a:cxnLst>
              <a:rect l="0" t="0" r="r" b="b"/>
              <a:pathLst>
                <a:path w="57" h="66">
                  <a:moveTo>
                    <a:pt x="50" y="64"/>
                  </a:moveTo>
                  <a:lnTo>
                    <a:pt x="3" y="52"/>
                  </a:lnTo>
                  <a:cubicBezTo>
                    <a:pt x="1" y="51"/>
                    <a:pt x="0" y="49"/>
                    <a:pt x="0" y="47"/>
                  </a:cubicBezTo>
                  <a:lnTo>
                    <a:pt x="4" y="21"/>
                  </a:lnTo>
                  <a:cubicBezTo>
                    <a:pt x="4" y="20"/>
                    <a:pt x="5" y="18"/>
                    <a:pt x="7" y="18"/>
                  </a:cubicBezTo>
                  <a:cubicBezTo>
                    <a:pt x="7" y="17"/>
                    <a:pt x="8" y="17"/>
                    <a:pt x="9" y="17"/>
                  </a:cubicBezTo>
                  <a:cubicBezTo>
                    <a:pt x="10" y="17"/>
                    <a:pt x="10" y="17"/>
                    <a:pt x="11" y="18"/>
                  </a:cubicBezTo>
                  <a:lnTo>
                    <a:pt x="20" y="23"/>
                  </a:lnTo>
                  <a:lnTo>
                    <a:pt x="13" y="7"/>
                  </a:lnTo>
                  <a:cubicBezTo>
                    <a:pt x="12" y="5"/>
                    <a:pt x="13" y="3"/>
                    <a:pt x="14" y="2"/>
                  </a:cubicBezTo>
                  <a:cubicBezTo>
                    <a:pt x="15" y="1"/>
                    <a:pt x="16" y="0"/>
                    <a:pt x="17" y="0"/>
                  </a:cubicBezTo>
                  <a:cubicBezTo>
                    <a:pt x="18" y="0"/>
                    <a:pt x="19" y="0"/>
                    <a:pt x="19" y="1"/>
                  </a:cubicBezTo>
                  <a:lnTo>
                    <a:pt x="49" y="13"/>
                  </a:lnTo>
                  <a:cubicBezTo>
                    <a:pt x="50" y="14"/>
                    <a:pt x="52" y="16"/>
                    <a:pt x="52" y="18"/>
                  </a:cubicBezTo>
                  <a:lnTo>
                    <a:pt x="52" y="35"/>
                  </a:lnTo>
                  <a:lnTo>
                    <a:pt x="56" y="59"/>
                  </a:lnTo>
                  <a:cubicBezTo>
                    <a:pt x="56" y="61"/>
                    <a:pt x="55" y="62"/>
                    <a:pt x="54" y="63"/>
                  </a:cubicBezTo>
                  <a:cubicBezTo>
                    <a:pt x="53" y="64"/>
                    <a:pt x="52" y="65"/>
                    <a:pt x="51" y="65"/>
                  </a:cubicBezTo>
                  <a:cubicBezTo>
                    <a:pt x="51" y="65"/>
                    <a:pt x="50" y="65"/>
                    <a:pt x="50" y="6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1" name="Freeform 296"/>
            <p:cNvSpPr>
              <a:spLocks noChangeArrowheads="1"/>
            </p:cNvSpPr>
            <p:nvPr/>
          </p:nvSpPr>
          <p:spPr bwMode="auto">
            <a:xfrm>
              <a:off x="4418013" y="1760538"/>
              <a:ext cx="271462" cy="366712"/>
            </a:xfrm>
            <a:custGeom>
              <a:avLst/>
              <a:gdLst/>
              <a:ahLst/>
              <a:cxnLst>
                <a:cxn ang="0">
                  <a:pos x="322" y="992"/>
                </a:cxn>
                <a:cxn ang="0">
                  <a:pos x="236" y="978"/>
                </a:cxn>
                <a:cxn ang="0">
                  <a:pos x="129" y="981"/>
                </a:cxn>
                <a:cxn ang="0">
                  <a:pos x="127" y="919"/>
                </a:cxn>
                <a:cxn ang="0">
                  <a:pos x="63" y="784"/>
                </a:cxn>
                <a:cxn ang="0">
                  <a:pos x="21" y="736"/>
                </a:cxn>
                <a:cxn ang="0">
                  <a:pos x="5" y="658"/>
                </a:cxn>
                <a:cxn ang="0">
                  <a:pos x="20" y="623"/>
                </a:cxn>
                <a:cxn ang="0">
                  <a:pos x="0" y="424"/>
                </a:cxn>
                <a:cxn ang="0">
                  <a:pos x="5" y="419"/>
                </a:cxn>
                <a:cxn ang="0">
                  <a:pos x="84" y="373"/>
                </a:cxn>
                <a:cxn ang="0">
                  <a:pos x="51" y="330"/>
                </a:cxn>
                <a:cxn ang="0">
                  <a:pos x="77" y="311"/>
                </a:cxn>
                <a:cxn ang="0">
                  <a:pos x="94" y="241"/>
                </a:cxn>
                <a:cxn ang="0">
                  <a:pos x="91" y="220"/>
                </a:cxn>
                <a:cxn ang="0">
                  <a:pos x="107" y="185"/>
                </a:cxn>
                <a:cxn ang="0">
                  <a:pos x="148" y="178"/>
                </a:cxn>
                <a:cxn ang="0">
                  <a:pos x="179" y="186"/>
                </a:cxn>
                <a:cxn ang="0">
                  <a:pos x="210" y="200"/>
                </a:cxn>
                <a:cxn ang="0">
                  <a:pos x="214" y="199"/>
                </a:cxn>
                <a:cxn ang="0">
                  <a:pos x="219" y="206"/>
                </a:cxn>
                <a:cxn ang="0">
                  <a:pos x="220" y="165"/>
                </a:cxn>
                <a:cxn ang="0">
                  <a:pos x="221" y="92"/>
                </a:cxn>
                <a:cxn ang="0">
                  <a:pos x="249" y="63"/>
                </a:cxn>
                <a:cxn ang="0">
                  <a:pos x="221" y="2"/>
                </a:cxn>
                <a:cxn ang="0">
                  <a:pos x="298" y="9"/>
                </a:cxn>
                <a:cxn ang="0">
                  <a:pos x="327" y="22"/>
                </a:cxn>
                <a:cxn ang="0">
                  <a:pos x="342" y="81"/>
                </a:cxn>
                <a:cxn ang="0">
                  <a:pos x="424" y="87"/>
                </a:cxn>
                <a:cxn ang="0">
                  <a:pos x="402" y="140"/>
                </a:cxn>
                <a:cxn ang="0">
                  <a:pos x="548" y="69"/>
                </a:cxn>
                <a:cxn ang="0">
                  <a:pos x="555" y="69"/>
                </a:cxn>
                <a:cxn ang="0">
                  <a:pos x="546" y="89"/>
                </a:cxn>
                <a:cxn ang="0">
                  <a:pos x="581" y="76"/>
                </a:cxn>
                <a:cxn ang="0">
                  <a:pos x="686" y="166"/>
                </a:cxn>
                <a:cxn ang="0">
                  <a:pos x="688" y="299"/>
                </a:cxn>
                <a:cxn ang="0">
                  <a:pos x="708" y="317"/>
                </a:cxn>
                <a:cxn ang="0">
                  <a:pos x="750" y="493"/>
                </a:cxn>
                <a:cxn ang="0">
                  <a:pos x="734" y="569"/>
                </a:cxn>
                <a:cxn ang="0">
                  <a:pos x="729" y="572"/>
                </a:cxn>
                <a:cxn ang="0">
                  <a:pos x="690" y="539"/>
                </a:cxn>
                <a:cxn ang="0">
                  <a:pos x="685" y="567"/>
                </a:cxn>
                <a:cxn ang="0">
                  <a:pos x="530" y="661"/>
                </a:cxn>
                <a:cxn ang="0">
                  <a:pos x="517" y="652"/>
                </a:cxn>
                <a:cxn ang="0">
                  <a:pos x="660" y="835"/>
                </a:cxn>
                <a:cxn ang="0">
                  <a:pos x="660" y="842"/>
                </a:cxn>
                <a:cxn ang="0">
                  <a:pos x="594" y="977"/>
                </a:cxn>
                <a:cxn ang="0">
                  <a:pos x="575" y="991"/>
                </a:cxn>
                <a:cxn ang="0">
                  <a:pos x="571" y="991"/>
                </a:cxn>
                <a:cxn ang="0">
                  <a:pos x="438" y="1008"/>
                </a:cxn>
                <a:cxn ang="0">
                  <a:pos x="364" y="1015"/>
                </a:cxn>
                <a:cxn ang="0">
                  <a:pos x="358" y="1016"/>
                </a:cxn>
              </a:cxnLst>
              <a:rect l="0" t="0" r="r" b="b"/>
              <a:pathLst>
                <a:path w="752" h="1018">
                  <a:moveTo>
                    <a:pt x="358" y="1016"/>
                  </a:moveTo>
                  <a:lnTo>
                    <a:pt x="322" y="992"/>
                  </a:lnTo>
                  <a:lnTo>
                    <a:pt x="294" y="999"/>
                  </a:lnTo>
                  <a:lnTo>
                    <a:pt x="236" y="978"/>
                  </a:lnTo>
                  <a:lnTo>
                    <a:pt x="132" y="983"/>
                  </a:lnTo>
                  <a:cubicBezTo>
                    <a:pt x="131" y="983"/>
                    <a:pt x="129" y="982"/>
                    <a:pt x="129" y="981"/>
                  </a:cubicBezTo>
                  <a:cubicBezTo>
                    <a:pt x="127" y="981"/>
                    <a:pt x="127" y="979"/>
                    <a:pt x="127" y="978"/>
                  </a:cubicBezTo>
                  <a:lnTo>
                    <a:pt x="127" y="919"/>
                  </a:lnTo>
                  <a:lnTo>
                    <a:pt x="168" y="812"/>
                  </a:lnTo>
                  <a:lnTo>
                    <a:pt x="63" y="784"/>
                  </a:lnTo>
                  <a:lnTo>
                    <a:pt x="22" y="740"/>
                  </a:lnTo>
                  <a:cubicBezTo>
                    <a:pt x="21" y="739"/>
                    <a:pt x="21" y="737"/>
                    <a:pt x="21" y="736"/>
                  </a:cubicBezTo>
                  <a:lnTo>
                    <a:pt x="25" y="711"/>
                  </a:lnTo>
                  <a:lnTo>
                    <a:pt x="5" y="658"/>
                  </a:lnTo>
                  <a:cubicBezTo>
                    <a:pt x="4" y="657"/>
                    <a:pt x="4" y="656"/>
                    <a:pt x="5" y="654"/>
                  </a:cubicBezTo>
                  <a:lnTo>
                    <a:pt x="20" y="623"/>
                  </a:lnTo>
                  <a:lnTo>
                    <a:pt x="1" y="587"/>
                  </a:lnTo>
                  <a:lnTo>
                    <a:pt x="0" y="424"/>
                  </a:lnTo>
                  <a:cubicBezTo>
                    <a:pt x="0" y="422"/>
                    <a:pt x="1" y="421"/>
                    <a:pt x="2" y="420"/>
                  </a:cubicBezTo>
                  <a:cubicBezTo>
                    <a:pt x="2" y="420"/>
                    <a:pt x="4" y="419"/>
                    <a:pt x="5" y="419"/>
                  </a:cubicBezTo>
                  <a:lnTo>
                    <a:pt x="49" y="423"/>
                  </a:lnTo>
                  <a:lnTo>
                    <a:pt x="84" y="373"/>
                  </a:lnTo>
                  <a:lnTo>
                    <a:pt x="52" y="334"/>
                  </a:lnTo>
                  <a:cubicBezTo>
                    <a:pt x="51" y="333"/>
                    <a:pt x="51" y="331"/>
                    <a:pt x="51" y="330"/>
                  </a:cubicBezTo>
                  <a:cubicBezTo>
                    <a:pt x="51" y="329"/>
                    <a:pt x="52" y="328"/>
                    <a:pt x="53" y="327"/>
                  </a:cubicBezTo>
                  <a:lnTo>
                    <a:pt x="77" y="311"/>
                  </a:lnTo>
                  <a:lnTo>
                    <a:pt x="89" y="245"/>
                  </a:lnTo>
                  <a:cubicBezTo>
                    <a:pt x="89" y="243"/>
                    <a:pt x="92" y="241"/>
                    <a:pt x="94" y="241"/>
                  </a:cubicBezTo>
                  <a:lnTo>
                    <a:pt x="118" y="244"/>
                  </a:lnTo>
                  <a:lnTo>
                    <a:pt x="91" y="220"/>
                  </a:lnTo>
                  <a:cubicBezTo>
                    <a:pt x="89" y="219"/>
                    <a:pt x="88" y="216"/>
                    <a:pt x="90" y="214"/>
                  </a:cubicBezTo>
                  <a:lnTo>
                    <a:pt x="107" y="185"/>
                  </a:lnTo>
                  <a:cubicBezTo>
                    <a:pt x="107" y="183"/>
                    <a:pt x="109" y="182"/>
                    <a:pt x="110" y="182"/>
                  </a:cubicBezTo>
                  <a:lnTo>
                    <a:pt x="148" y="178"/>
                  </a:lnTo>
                  <a:lnTo>
                    <a:pt x="175" y="182"/>
                  </a:lnTo>
                  <a:cubicBezTo>
                    <a:pt x="177" y="183"/>
                    <a:pt x="178" y="184"/>
                    <a:pt x="179" y="186"/>
                  </a:cubicBezTo>
                  <a:lnTo>
                    <a:pt x="186" y="210"/>
                  </a:lnTo>
                  <a:lnTo>
                    <a:pt x="210" y="200"/>
                  </a:lnTo>
                  <a:cubicBezTo>
                    <a:pt x="211" y="199"/>
                    <a:pt x="212" y="199"/>
                    <a:pt x="212" y="199"/>
                  </a:cubicBezTo>
                  <a:cubicBezTo>
                    <a:pt x="213" y="199"/>
                    <a:pt x="214" y="199"/>
                    <a:pt x="214" y="199"/>
                  </a:cubicBezTo>
                  <a:cubicBezTo>
                    <a:pt x="215" y="200"/>
                    <a:pt x="216" y="201"/>
                    <a:pt x="217" y="202"/>
                  </a:cubicBezTo>
                  <a:lnTo>
                    <a:pt x="219" y="206"/>
                  </a:lnTo>
                  <a:lnTo>
                    <a:pt x="216" y="170"/>
                  </a:lnTo>
                  <a:cubicBezTo>
                    <a:pt x="216" y="168"/>
                    <a:pt x="217" y="166"/>
                    <a:pt x="220" y="165"/>
                  </a:cubicBezTo>
                  <a:lnTo>
                    <a:pt x="256" y="154"/>
                  </a:lnTo>
                  <a:lnTo>
                    <a:pt x="221" y="92"/>
                  </a:lnTo>
                  <a:cubicBezTo>
                    <a:pt x="220" y="90"/>
                    <a:pt x="220" y="87"/>
                    <a:pt x="222" y="86"/>
                  </a:cubicBezTo>
                  <a:lnTo>
                    <a:pt x="249" y="63"/>
                  </a:lnTo>
                  <a:lnTo>
                    <a:pt x="221" y="7"/>
                  </a:lnTo>
                  <a:cubicBezTo>
                    <a:pt x="220" y="5"/>
                    <a:pt x="220" y="4"/>
                    <a:pt x="221" y="2"/>
                  </a:cubicBezTo>
                  <a:cubicBezTo>
                    <a:pt x="222" y="1"/>
                    <a:pt x="224" y="0"/>
                    <a:pt x="225" y="0"/>
                  </a:cubicBezTo>
                  <a:lnTo>
                    <a:pt x="298" y="9"/>
                  </a:lnTo>
                  <a:lnTo>
                    <a:pt x="324" y="17"/>
                  </a:lnTo>
                  <a:cubicBezTo>
                    <a:pt x="326" y="18"/>
                    <a:pt x="327" y="20"/>
                    <a:pt x="327" y="22"/>
                  </a:cubicBezTo>
                  <a:lnTo>
                    <a:pt x="327" y="64"/>
                  </a:lnTo>
                  <a:lnTo>
                    <a:pt x="342" y="81"/>
                  </a:lnTo>
                  <a:lnTo>
                    <a:pt x="420" y="85"/>
                  </a:lnTo>
                  <a:cubicBezTo>
                    <a:pt x="422" y="85"/>
                    <a:pt x="423" y="86"/>
                    <a:pt x="424" y="87"/>
                  </a:cubicBezTo>
                  <a:cubicBezTo>
                    <a:pt x="425" y="88"/>
                    <a:pt x="425" y="90"/>
                    <a:pt x="424" y="91"/>
                  </a:cubicBezTo>
                  <a:lnTo>
                    <a:pt x="402" y="140"/>
                  </a:lnTo>
                  <a:lnTo>
                    <a:pt x="454" y="140"/>
                  </a:lnTo>
                  <a:lnTo>
                    <a:pt x="548" y="69"/>
                  </a:lnTo>
                  <a:cubicBezTo>
                    <a:pt x="549" y="68"/>
                    <a:pt x="550" y="68"/>
                    <a:pt x="551" y="68"/>
                  </a:cubicBezTo>
                  <a:cubicBezTo>
                    <a:pt x="553" y="68"/>
                    <a:pt x="554" y="68"/>
                    <a:pt x="555" y="69"/>
                  </a:cubicBezTo>
                  <a:cubicBezTo>
                    <a:pt x="556" y="71"/>
                    <a:pt x="556" y="73"/>
                    <a:pt x="555" y="75"/>
                  </a:cubicBezTo>
                  <a:lnTo>
                    <a:pt x="546" y="89"/>
                  </a:lnTo>
                  <a:lnTo>
                    <a:pt x="579" y="77"/>
                  </a:lnTo>
                  <a:cubicBezTo>
                    <a:pt x="580" y="76"/>
                    <a:pt x="580" y="76"/>
                    <a:pt x="581" y="76"/>
                  </a:cubicBezTo>
                  <a:cubicBezTo>
                    <a:pt x="582" y="76"/>
                    <a:pt x="583" y="77"/>
                    <a:pt x="584" y="77"/>
                  </a:cubicBezTo>
                  <a:lnTo>
                    <a:pt x="686" y="166"/>
                  </a:lnTo>
                  <a:lnTo>
                    <a:pt x="704" y="232"/>
                  </a:lnTo>
                  <a:lnTo>
                    <a:pt x="688" y="299"/>
                  </a:lnTo>
                  <a:lnTo>
                    <a:pt x="707" y="314"/>
                  </a:lnTo>
                  <a:cubicBezTo>
                    <a:pt x="708" y="315"/>
                    <a:pt x="708" y="316"/>
                    <a:pt x="708" y="317"/>
                  </a:cubicBezTo>
                  <a:lnTo>
                    <a:pt x="725" y="461"/>
                  </a:lnTo>
                  <a:lnTo>
                    <a:pt x="750" y="493"/>
                  </a:lnTo>
                  <a:cubicBezTo>
                    <a:pt x="751" y="494"/>
                    <a:pt x="751" y="495"/>
                    <a:pt x="751" y="497"/>
                  </a:cubicBezTo>
                  <a:lnTo>
                    <a:pt x="734" y="569"/>
                  </a:lnTo>
                  <a:cubicBezTo>
                    <a:pt x="733" y="570"/>
                    <a:pt x="732" y="572"/>
                    <a:pt x="730" y="572"/>
                  </a:cubicBezTo>
                  <a:cubicBezTo>
                    <a:pt x="730" y="572"/>
                    <a:pt x="730" y="572"/>
                    <a:pt x="729" y="572"/>
                  </a:cubicBezTo>
                  <a:cubicBezTo>
                    <a:pt x="728" y="572"/>
                    <a:pt x="727" y="572"/>
                    <a:pt x="726" y="571"/>
                  </a:cubicBezTo>
                  <a:lnTo>
                    <a:pt x="690" y="539"/>
                  </a:lnTo>
                  <a:lnTo>
                    <a:pt x="687" y="564"/>
                  </a:lnTo>
                  <a:cubicBezTo>
                    <a:pt x="687" y="565"/>
                    <a:pt x="686" y="567"/>
                    <a:pt x="685" y="567"/>
                  </a:cubicBezTo>
                  <a:lnTo>
                    <a:pt x="533" y="660"/>
                  </a:lnTo>
                  <a:cubicBezTo>
                    <a:pt x="532" y="661"/>
                    <a:pt x="531" y="661"/>
                    <a:pt x="530" y="661"/>
                  </a:cubicBezTo>
                  <a:cubicBezTo>
                    <a:pt x="529" y="661"/>
                    <a:pt x="528" y="661"/>
                    <a:pt x="527" y="660"/>
                  </a:cubicBezTo>
                  <a:lnTo>
                    <a:pt x="517" y="652"/>
                  </a:lnTo>
                  <a:lnTo>
                    <a:pt x="556" y="739"/>
                  </a:lnTo>
                  <a:lnTo>
                    <a:pt x="660" y="835"/>
                  </a:lnTo>
                  <a:cubicBezTo>
                    <a:pt x="661" y="836"/>
                    <a:pt x="662" y="837"/>
                    <a:pt x="662" y="838"/>
                  </a:cubicBezTo>
                  <a:cubicBezTo>
                    <a:pt x="662" y="840"/>
                    <a:pt x="661" y="841"/>
                    <a:pt x="660" y="842"/>
                  </a:cubicBezTo>
                  <a:lnTo>
                    <a:pt x="586" y="904"/>
                  </a:lnTo>
                  <a:lnTo>
                    <a:pt x="594" y="977"/>
                  </a:lnTo>
                  <a:cubicBezTo>
                    <a:pt x="594" y="979"/>
                    <a:pt x="593" y="981"/>
                    <a:pt x="591" y="982"/>
                  </a:cubicBezTo>
                  <a:lnTo>
                    <a:pt x="575" y="991"/>
                  </a:lnTo>
                  <a:cubicBezTo>
                    <a:pt x="574" y="991"/>
                    <a:pt x="573" y="991"/>
                    <a:pt x="572" y="991"/>
                  </a:cubicBezTo>
                  <a:lnTo>
                    <a:pt x="571" y="991"/>
                  </a:lnTo>
                  <a:lnTo>
                    <a:pt x="530" y="975"/>
                  </a:lnTo>
                  <a:lnTo>
                    <a:pt x="438" y="1008"/>
                  </a:lnTo>
                  <a:lnTo>
                    <a:pt x="384" y="992"/>
                  </a:lnTo>
                  <a:lnTo>
                    <a:pt x="364" y="1015"/>
                  </a:lnTo>
                  <a:cubicBezTo>
                    <a:pt x="363" y="1016"/>
                    <a:pt x="362" y="1017"/>
                    <a:pt x="361" y="1017"/>
                  </a:cubicBezTo>
                  <a:cubicBezTo>
                    <a:pt x="360" y="1017"/>
                    <a:pt x="359" y="1016"/>
                    <a:pt x="358" y="1016"/>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2" name="Freeform 297"/>
            <p:cNvSpPr>
              <a:spLocks noChangeArrowheads="1"/>
            </p:cNvSpPr>
            <p:nvPr/>
          </p:nvSpPr>
          <p:spPr bwMode="auto">
            <a:xfrm>
              <a:off x="4418013" y="1760538"/>
              <a:ext cx="271462" cy="366712"/>
            </a:xfrm>
            <a:custGeom>
              <a:avLst/>
              <a:gdLst/>
              <a:ahLst/>
              <a:cxnLst>
                <a:cxn ang="0">
                  <a:pos x="358" y="1016"/>
                </a:cxn>
                <a:cxn ang="0">
                  <a:pos x="294" y="999"/>
                </a:cxn>
                <a:cxn ang="0">
                  <a:pos x="132" y="983"/>
                </a:cxn>
                <a:cxn ang="0">
                  <a:pos x="127" y="978"/>
                </a:cxn>
                <a:cxn ang="0">
                  <a:pos x="168" y="812"/>
                </a:cxn>
                <a:cxn ang="0">
                  <a:pos x="22" y="740"/>
                </a:cxn>
                <a:cxn ang="0">
                  <a:pos x="25" y="711"/>
                </a:cxn>
                <a:cxn ang="0">
                  <a:pos x="5" y="654"/>
                </a:cxn>
                <a:cxn ang="0">
                  <a:pos x="1" y="587"/>
                </a:cxn>
                <a:cxn ang="0">
                  <a:pos x="2" y="420"/>
                </a:cxn>
                <a:cxn ang="0">
                  <a:pos x="49" y="423"/>
                </a:cxn>
                <a:cxn ang="0">
                  <a:pos x="52" y="334"/>
                </a:cxn>
                <a:cxn ang="0">
                  <a:pos x="53" y="327"/>
                </a:cxn>
                <a:cxn ang="0">
                  <a:pos x="89" y="245"/>
                </a:cxn>
                <a:cxn ang="0">
                  <a:pos x="118" y="244"/>
                </a:cxn>
                <a:cxn ang="0">
                  <a:pos x="90" y="214"/>
                </a:cxn>
                <a:cxn ang="0">
                  <a:pos x="110" y="182"/>
                </a:cxn>
                <a:cxn ang="0">
                  <a:pos x="175" y="182"/>
                </a:cxn>
                <a:cxn ang="0">
                  <a:pos x="186" y="210"/>
                </a:cxn>
                <a:cxn ang="0">
                  <a:pos x="212" y="199"/>
                </a:cxn>
                <a:cxn ang="0">
                  <a:pos x="217" y="202"/>
                </a:cxn>
                <a:cxn ang="0">
                  <a:pos x="216" y="170"/>
                </a:cxn>
                <a:cxn ang="0">
                  <a:pos x="256" y="154"/>
                </a:cxn>
                <a:cxn ang="0">
                  <a:pos x="222" y="86"/>
                </a:cxn>
                <a:cxn ang="0">
                  <a:pos x="221" y="7"/>
                </a:cxn>
                <a:cxn ang="0">
                  <a:pos x="225" y="0"/>
                </a:cxn>
                <a:cxn ang="0">
                  <a:pos x="324" y="17"/>
                </a:cxn>
                <a:cxn ang="0">
                  <a:pos x="327" y="64"/>
                </a:cxn>
                <a:cxn ang="0">
                  <a:pos x="420" y="85"/>
                </a:cxn>
                <a:cxn ang="0">
                  <a:pos x="424" y="91"/>
                </a:cxn>
                <a:cxn ang="0">
                  <a:pos x="454" y="140"/>
                </a:cxn>
                <a:cxn ang="0">
                  <a:pos x="551" y="68"/>
                </a:cxn>
                <a:cxn ang="0">
                  <a:pos x="555" y="75"/>
                </a:cxn>
                <a:cxn ang="0">
                  <a:pos x="579" y="77"/>
                </a:cxn>
                <a:cxn ang="0">
                  <a:pos x="584" y="77"/>
                </a:cxn>
                <a:cxn ang="0">
                  <a:pos x="704" y="232"/>
                </a:cxn>
                <a:cxn ang="0">
                  <a:pos x="707" y="314"/>
                </a:cxn>
                <a:cxn ang="0">
                  <a:pos x="725" y="461"/>
                </a:cxn>
                <a:cxn ang="0">
                  <a:pos x="751" y="497"/>
                </a:cxn>
                <a:cxn ang="0">
                  <a:pos x="730" y="572"/>
                </a:cxn>
                <a:cxn ang="0">
                  <a:pos x="726" y="571"/>
                </a:cxn>
                <a:cxn ang="0">
                  <a:pos x="687" y="564"/>
                </a:cxn>
                <a:cxn ang="0">
                  <a:pos x="533" y="660"/>
                </a:cxn>
                <a:cxn ang="0">
                  <a:pos x="527" y="660"/>
                </a:cxn>
                <a:cxn ang="0">
                  <a:pos x="556" y="739"/>
                </a:cxn>
                <a:cxn ang="0">
                  <a:pos x="662" y="838"/>
                </a:cxn>
                <a:cxn ang="0">
                  <a:pos x="586" y="904"/>
                </a:cxn>
                <a:cxn ang="0">
                  <a:pos x="591" y="982"/>
                </a:cxn>
                <a:cxn ang="0">
                  <a:pos x="572" y="991"/>
                </a:cxn>
                <a:cxn ang="0">
                  <a:pos x="530" y="975"/>
                </a:cxn>
                <a:cxn ang="0">
                  <a:pos x="384" y="992"/>
                </a:cxn>
                <a:cxn ang="0">
                  <a:pos x="361" y="1017"/>
                </a:cxn>
              </a:cxnLst>
              <a:rect l="0" t="0" r="r" b="b"/>
              <a:pathLst>
                <a:path w="752" h="1018">
                  <a:moveTo>
                    <a:pt x="361" y="1017"/>
                  </a:moveTo>
                  <a:cubicBezTo>
                    <a:pt x="360" y="1017"/>
                    <a:pt x="359" y="1016"/>
                    <a:pt x="358" y="1016"/>
                  </a:cubicBezTo>
                  <a:lnTo>
                    <a:pt x="322" y="992"/>
                  </a:lnTo>
                  <a:lnTo>
                    <a:pt x="294" y="999"/>
                  </a:lnTo>
                  <a:lnTo>
                    <a:pt x="236" y="978"/>
                  </a:lnTo>
                  <a:lnTo>
                    <a:pt x="132" y="983"/>
                  </a:lnTo>
                  <a:cubicBezTo>
                    <a:pt x="131" y="983"/>
                    <a:pt x="129" y="982"/>
                    <a:pt x="129" y="981"/>
                  </a:cubicBezTo>
                  <a:cubicBezTo>
                    <a:pt x="127" y="981"/>
                    <a:pt x="127" y="979"/>
                    <a:pt x="127" y="978"/>
                  </a:cubicBezTo>
                  <a:lnTo>
                    <a:pt x="127" y="919"/>
                  </a:lnTo>
                  <a:lnTo>
                    <a:pt x="168" y="812"/>
                  </a:lnTo>
                  <a:lnTo>
                    <a:pt x="63" y="784"/>
                  </a:lnTo>
                  <a:lnTo>
                    <a:pt x="22" y="740"/>
                  </a:lnTo>
                  <a:cubicBezTo>
                    <a:pt x="21" y="739"/>
                    <a:pt x="21" y="737"/>
                    <a:pt x="21" y="736"/>
                  </a:cubicBezTo>
                  <a:lnTo>
                    <a:pt x="25" y="711"/>
                  </a:lnTo>
                  <a:lnTo>
                    <a:pt x="5" y="658"/>
                  </a:lnTo>
                  <a:cubicBezTo>
                    <a:pt x="4" y="657"/>
                    <a:pt x="4" y="656"/>
                    <a:pt x="5" y="654"/>
                  </a:cubicBezTo>
                  <a:lnTo>
                    <a:pt x="20" y="623"/>
                  </a:lnTo>
                  <a:lnTo>
                    <a:pt x="1" y="587"/>
                  </a:lnTo>
                  <a:lnTo>
                    <a:pt x="0" y="424"/>
                  </a:lnTo>
                  <a:cubicBezTo>
                    <a:pt x="0" y="422"/>
                    <a:pt x="1" y="421"/>
                    <a:pt x="2" y="420"/>
                  </a:cubicBezTo>
                  <a:cubicBezTo>
                    <a:pt x="2" y="420"/>
                    <a:pt x="4" y="419"/>
                    <a:pt x="5" y="419"/>
                  </a:cubicBezTo>
                  <a:lnTo>
                    <a:pt x="49" y="423"/>
                  </a:lnTo>
                  <a:lnTo>
                    <a:pt x="84" y="373"/>
                  </a:lnTo>
                  <a:lnTo>
                    <a:pt x="52" y="334"/>
                  </a:lnTo>
                  <a:cubicBezTo>
                    <a:pt x="51" y="333"/>
                    <a:pt x="51" y="331"/>
                    <a:pt x="51" y="330"/>
                  </a:cubicBezTo>
                  <a:cubicBezTo>
                    <a:pt x="51" y="329"/>
                    <a:pt x="52" y="328"/>
                    <a:pt x="53" y="327"/>
                  </a:cubicBezTo>
                  <a:lnTo>
                    <a:pt x="77" y="311"/>
                  </a:lnTo>
                  <a:lnTo>
                    <a:pt x="89" y="245"/>
                  </a:lnTo>
                  <a:cubicBezTo>
                    <a:pt x="89" y="243"/>
                    <a:pt x="92" y="241"/>
                    <a:pt x="94" y="241"/>
                  </a:cubicBezTo>
                  <a:lnTo>
                    <a:pt x="118" y="244"/>
                  </a:lnTo>
                  <a:lnTo>
                    <a:pt x="91" y="220"/>
                  </a:lnTo>
                  <a:cubicBezTo>
                    <a:pt x="89" y="219"/>
                    <a:pt x="88" y="216"/>
                    <a:pt x="90" y="214"/>
                  </a:cubicBezTo>
                  <a:lnTo>
                    <a:pt x="107" y="185"/>
                  </a:lnTo>
                  <a:cubicBezTo>
                    <a:pt x="107" y="183"/>
                    <a:pt x="109" y="182"/>
                    <a:pt x="110" y="182"/>
                  </a:cubicBezTo>
                  <a:lnTo>
                    <a:pt x="148" y="178"/>
                  </a:lnTo>
                  <a:lnTo>
                    <a:pt x="175" y="182"/>
                  </a:lnTo>
                  <a:cubicBezTo>
                    <a:pt x="177" y="183"/>
                    <a:pt x="178" y="184"/>
                    <a:pt x="179" y="186"/>
                  </a:cubicBezTo>
                  <a:lnTo>
                    <a:pt x="186" y="210"/>
                  </a:lnTo>
                  <a:lnTo>
                    <a:pt x="210" y="200"/>
                  </a:lnTo>
                  <a:cubicBezTo>
                    <a:pt x="211" y="199"/>
                    <a:pt x="212" y="199"/>
                    <a:pt x="212" y="199"/>
                  </a:cubicBezTo>
                  <a:cubicBezTo>
                    <a:pt x="213" y="199"/>
                    <a:pt x="214" y="199"/>
                    <a:pt x="214" y="199"/>
                  </a:cubicBezTo>
                  <a:cubicBezTo>
                    <a:pt x="215" y="200"/>
                    <a:pt x="216" y="201"/>
                    <a:pt x="217" y="202"/>
                  </a:cubicBezTo>
                  <a:lnTo>
                    <a:pt x="219" y="206"/>
                  </a:lnTo>
                  <a:lnTo>
                    <a:pt x="216" y="170"/>
                  </a:lnTo>
                  <a:cubicBezTo>
                    <a:pt x="216" y="168"/>
                    <a:pt x="217" y="166"/>
                    <a:pt x="220" y="165"/>
                  </a:cubicBezTo>
                  <a:lnTo>
                    <a:pt x="256" y="154"/>
                  </a:lnTo>
                  <a:lnTo>
                    <a:pt x="221" y="92"/>
                  </a:lnTo>
                  <a:cubicBezTo>
                    <a:pt x="220" y="90"/>
                    <a:pt x="220" y="87"/>
                    <a:pt x="222" y="86"/>
                  </a:cubicBezTo>
                  <a:lnTo>
                    <a:pt x="249" y="63"/>
                  </a:lnTo>
                  <a:lnTo>
                    <a:pt x="221" y="7"/>
                  </a:lnTo>
                  <a:cubicBezTo>
                    <a:pt x="220" y="5"/>
                    <a:pt x="220" y="4"/>
                    <a:pt x="221" y="2"/>
                  </a:cubicBezTo>
                  <a:cubicBezTo>
                    <a:pt x="222" y="1"/>
                    <a:pt x="224" y="0"/>
                    <a:pt x="225" y="0"/>
                  </a:cubicBezTo>
                  <a:lnTo>
                    <a:pt x="298" y="9"/>
                  </a:lnTo>
                  <a:lnTo>
                    <a:pt x="324" y="17"/>
                  </a:lnTo>
                  <a:cubicBezTo>
                    <a:pt x="326" y="18"/>
                    <a:pt x="327" y="20"/>
                    <a:pt x="327" y="22"/>
                  </a:cubicBezTo>
                  <a:lnTo>
                    <a:pt x="327" y="64"/>
                  </a:lnTo>
                  <a:lnTo>
                    <a:pt x="342" y="81"/>
                  </a:lnTo>
                  <a:lnTo>
                    <a:pt x="420" y="85"/>
                  </a:lnTo>
                  <a:cubicBezTo>
                    <a:pt x="422" y="85"/>
                    <a:pt x="423" y="86"/>
                    <a:pt x="424" y="87"/>
                  </a:cubicBezTo>
                  <a:cubicBezTo>
                    <a:pt x="425" y="88"/>
                    <a:pt x="425" y="90"/>
                    <a:pt x="424" y="91"/>
                  </a:cubicBezTo>
                  <a:lnTo>
                    <a:pt x="402" y="140"/>
                  </a:lnTo>
                  <a:lnTo>
                    <a:pt x="454" y="140"/>
                  </a:lnTo>
                  <a:lnTo>
                    <a:pt x="548" y="69"/>
                  </a:lnTo>
                  <a:cubicBezTo>
                    <a:pt x="549" y="68"/>
                    <a:pt x="550" y="68"/>
                    <a:pt x="551" y="68"/>
                  </a:cubicBezTo>
                  <a:cubicBezTo>
                    <a:pt x="553" y="68"/>
                    <a:pt x="554" y="68"/>
                    <a:pt x="555" y="69"/>
                  </a:cubicBezTo>
                  <a:cubicBezTo>
                    <a:pt x="556" y="71"/>
                    <a:pt x="556" y="73"/>
                    <a:pt x="555" y="75"/>
                  </a:cubicBezTo>
                  <a:lnTo>
                    <a:pt x="546" y="89"/>
                  </a:lnTo>
                  <a:lnTo>
                    <a:pt x="579" y="77"/>
                  </a:lnTo>
                  <a:cubicBezTo>
                    <a:pt x="580" y="76"/>
                    <a:pt x="580" y="76"/>
                    <a:pt x="581" y="76"/>
                  </a:cubicBezTo>
                  <a:cubicBezTo>
                    <a:pt x="582" y="76"/>
                    <a:pt x="583" y="77"/>
                    <a:pt x="584" y="77"/>
                  </a:cubicBezTo>
                  <a:lnTo>
                    <a:pt x="686" y="166"/>
                  </a:lnTo>
                  <a:lnTo>
                    <a:pt x="704" y="232"/>
                  </a:lnTo>
                  <a:lnTo>
                    <a:pt x="688" y="299"/>
                  </a:lnTo>
                  <a:lnTo>
                    <a:pt x="707" y="314"/>
                  </a:lnTo>
                  <a:cubicBezTo>
                    <a:pt x="708" y="315"/>
                    <a:pt x="708" y="316"/>
                    <a:pt x="708" y="317"/>
                  </a:cubicBezTo>
                  <a:lnTo>
                    <a:pt x="725" y="461"/>
                  </a:lnTo>
                  <a:lnTo>
                    <a:pt x="750" y="493"/>
                  </a:lnTo>
                  <a:cubicBezTo>
                    <a:pt x="751" y="494"/>
                    <a:pt x="751" y="495"/>
                    <a:pt x="751" y="497"/>
                  </a:cubicBezTo>
                  <a:lnTo>
                    <a:pt x="734" y="569"/>
                  </a:lnTo>
                  <a:cubicBezTo>
                    <a:pt x="733" y="570"/>
                    <a:pt x="732" y="572"/>
                    <a:pt x="730" y="572"/>
                  </a:cubicBezTo>
                  <a:cubicBezTo>
                    <a:pt x="730" y="572"/>
                    <a:pt x="730" y="572"/>
                    <a:pt x="729" y="572"/>
                  </a:cubicBezTo>
                  <a:cubicBezTo>
                    <a:pt x="728" y="572"/>
                    <a:pt x="727" y="572"/>
                    <a:pt x="726" y="571"/>
                  </a:cubicBezTo>
                  <a:lnTo>
                    <a:pt x="690" y="539"/>
                  </a:lnTo>
                  <a:lnTo>
                    <a:pt x="687" y="564"/>
                  </a:lnTo>
                  <a:cubicBezTo>
                    <a:pt x="687" y="565"/>
                    <a:pt x="686" y="567"/>
                    <a:pt x="685" y="567"/>
                  </a:cubicBezTo>
                  <a:lnTo>
                    <a:pt x="533" y="660"/>
                  </a:lnTo>
                  <a:cubicBezTo>
                    <a:pt x="532" y="661"/>
                    <a:pt x="531" y="661"/>
                    <a:pt x="530" y="661"/>
                  </a:cubicBezTo>
                  <a:cubicBezTo>
                    <a:pt x="529" y="661"/>
                    <a:pt x="528" y="661"/>
                    <a:pt x="527" y="660"/>
                  </a:cubicBezTo>
                  <a:lnTo>
                    <a:pt x="517" y="652"/>
                  </a:lnTo>
                  <a:lnTo>
                    <a:pt x="556" y="739"/>
                  </a:lnTo>
                  <a:lnTo>
                    <a:pt x="660" y="835"/>
                  </a:lnTo>
                  <a:cubicBezTo>
                    <a:pt x="661" y="836"/>
                    <a:pt x="662" y="837"/>
                    <a:pt x="662" y="838"/>
                  </a:cubicBezTo>
                  <a:cubicBezTo>
                    <a:pt x="662" y="840"/>
                    <a:pt x="661" y="841"/>
                    <a:pt x="660" y="842"/>
                  </a:cubicBezTo>
                  <a:lnTo>
                    <a:pt x="586" y="904"/>
                  </a:lnTo>
                  <a:lnTo>
                    <a:pt x="594" y="977"/>
                  </a:lnTo>
                  <a:cubicBezTo>
                    <a:pt x="594" y="979"/>
                    <a:pt x="593" y="981"/>
                    <a:pt x="591" y="982"/>
                  </a:cubicBezTo>
                  <a:lnTo>
                    <a:pt x="575" y="991"/>
                  </a:lnTo>
                  <a:cubicBezTo>
                    <a:pt x="574" y="991"/>
                    <a:pt x="573" y="991"/>
                    <a:pt x="572" y="991"/>
                  </a:cubicBezTo>
                  <a:lnTo>
                    <a:pt x="571" y="991"/>
                  </a:lnTo>
                  <a:lnTo>
                    <a:pt x="530" y="975"/>
                  </a:lnTo>
                  <a:lnTo>
                    <a:pt x="438" y="1008"/>
                  </a:lnTo>
                  <a:lnTo>
                    <a:pt x="384" y="992"/>
                  </a:lnTo>
                  <a:lnTo>
                    <a:pt x="364" y="1015"/>
                  </a:lnTo>
                  <a:cubicBezTo>
                    <a:pt x="363" y="1016"/>
                    <a:pt x="362" y="1017"/>
                    <a:pt x="361" y="101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3" name="Freeform 298"/>
            <p:cNvSpPr>
              <a:spLocks noChangeArrowheads="1"/>
            </p:cNvSpPr>
            <p:nvPr/>
          </p:nvSpPr>
          <p:spPr bwMode="auto">
            <a:xfrm>
              <a:off x="4662488" y="1766888"/>
              <a:ext cx="301625" cy="280987"/>
            </a:xfrm>
            <a:custGeom>
              <a:avLst/>
              <a:gdLst/>
              <a:ahLst/>
              <a:cxnLst>
                <a:cxn ang="0">
                  <a:pos x="612" y="737"/>
                </a:cxn>
                <a:cxn ang="0">
                  <a:pos x="485" y="761"/>
                </a:cxn>
                <a:cxn ang="0">
                  <a:pos x="414" y="737"/>
                </a:cxn>
                <a:cxn ang="0">
                  <a:pos x="410" y="737"/>
                </a:cxn>
                <a:cxn ang="0">
                  <a:pos x="303" y="656"/>
                </a:cxn>
                <a:cxn ang="0">
                  <a:pos x="298" y="626"/>
                </a:cxn>
                <a:cxn ang="0">
                  <a:pos x="225" y="638"/>
                </a:cxn>
                <a:cxn ang="0">
                  <a:pos x="221" y="640"/>
                </a:cxn>
                <a:cxn ang="0">
                  <a:pos x="150" y="566"/>
                </a:cxn>
                <a:cxn ang="0">
                  <a:pos x="54" y="555"/>
                </a:cxn>
                <a:cxn ang="0">
                  <a:pos x="49" y="554"/>
                </a:cxn>
                <a:cxn ang="0">
                  <a:pos x="64" y="480"/>
                </a:cxn>
                <a:cxn ang="0">
                  <a:pos x="22" y="304"/>
                </a:cxn>
                <a:cxn ang="0">
                  <a:pos x="1" y="283"/>
                </a:cxn>
                <a:cxn ang="0">
                  <a:pos x="1" y="154"/>
                </a:cxn>
                <a:cxn ang="0">
                  <a:pos x="5" y="148"/>
                </a:cxn>
                <a:cxn ang="0">
                  <a:pos x="28" y="159"/>
                </a:cxn>
                <a:cxn ang="0">
                  <a:pos x="13" y="145"/>
                </a:cxn>
                <a:cxn ang="0">
                  <a:pos x="11" y="137"/>
                </a:cxn>
                <a:cxn ang="0">
                  <a:pos x="262" y="9"/>
                </a:cxn>
                <a:cxn ang="0">
                  <a:pos x="387" y="3"/>
                </a:cxn>
                <a:cxn ang="0">
                  <a:pos x="394" y="34"/>
                </a:cxn>
                <a:cxn ang="0">
                  <a:pos x="389" y="35"/>
                </a:cxn>
                <a:cxn ang="0">
                  <a:pos x="394" y="75"/>
                </a:cxn>
                <a:cxn ang="0">
                  <a:pos x="577" y="68"/>
                </a:cxn>
                <a:cxn ang="0">
                  <a:pos x="732" y="60"/>
                </a:cxn>
                <a:cxn ang="0">
                  <a:pos x="793" y="110"/>
                </a:cxn>
                <a:cxn ang="0">
                  <a:pos x="818" y="296"/>
                </a:cxn>
                <a:cxn ang="0">
                  <a:pos x="769" y="356"/>
                </a:cxn>
                <a:cxn ang="0">
                  <a:pos x="789" y="450"/>
                </a:cxn>
                <a:cxn ang="0">
                  <a:pos x="834" y="583"/>
                </a:cxn>
                <a:cxn ang="0">
                  <a:pos x="725" y="734"/>
                </a:cxn>
                <a:cxn ang="0">
                  <a:pos x="720" y="780"/>
                </a:cxn>
              </a:cxnLst>
              <a:rect l="0" t="0" r="r" b="b"/>
              <a:pathLst>
                <a:path w="837" h="781">
                  <a:moveTo>
                    <a:pt x="699" y="780"/>
                  </a:moveTo>
                  <a:lnTo>
                    <a:pt x="612" y="737"/>
                  </a:lnTo>
                  <a:lnTo>
                    <a:pt x="488" y="763"/>
                  </a:lnTo>
                  <a:cubicBezTo>
                    <a:pt x="487" y="763"/>
                    <a:pt x="486" y="762"/>
                    <a:pt x="485" y="761"/>
                  </a:cubicBezTo>
                  <a:lnTo>
                    <a:pt x="449" y="725"/>
                  </a:lnTo>
                  <a:lnTo>
                    <a:pt x="414" y="737"/>
                  </a:lnTo>
                  <a:cubicBezTo>
                    <a:pt x="413" y="737"/>
                    <a:pt x="413" y="737"/>
                    <a:pt x="412" y="737"/>
                  </a:cubicBezTo>
                  <a:cubicBezTo>
                    <a:pt x="411" y="737"/>
                    <a:pt x="411" y="737"/>
                    <a:pt x="410" y="737"/>
                  </a:cubicBezTo>
                  <a:lnTo>
                    <a:pt x="367" y="711"/>
                  </a:lnTo>
                  <a:lnTo>
                    <a:pt x="303" y="656"/>
                  </a:lnTo>
                  <a:cubicBezTo>
                    <a:pt x="302" y="655"/>
                    <a:pt x="302" y="654"/>
                    <a:pt x="302" y="653"/>
                  </a:cubicBezTo>
                  <a:lnTo>
                    <a:pt x="298" y="626"/>
                  </a:lnTo>
                  <a:lnTo>
                    <a:pt x="241" y="615"/>
                  </a:lnTo>
                  <a:lnTo>
                    <a:pt x="225" y="638"/>
                  </a:lnTo>
                  <a:cubicBezTo>
                    <a:pt x="225" y="639"/>
                    <a:pt x="223" y="640"/>
                    <a:pt x="222" y="640"/>
                  </a:cubicBezTo>
                  <a:lnTo>
                    <a:pt x="221" y="640"/>
                  </a:lnTo>
                  <a:cubicBezTo>
                    <a:pt x="220" y="640"/>
                    <a:pt x="219" y="639"/>
                    <a:pt x="218" y="638"/>
                  </a:cubicBezTo>
                  <a:lnTo>
                    <a:pt x="150" y="566"/>
                  </a:lnTo>
                  <a:lnTo>
                    <a:pt x="90" y="535"/>
                  </a:lnTo>
                  <a:lnTo>
                    <a:pt x="54" y="555"/>
                  </a:lnTo>
                  <a:cubicBezTo>
                    <a:pt x="54" y="555"/>
                    <a:pt x="53" y="555"/>
                    <a:pt x="52" y="555"/>
                  </a:cubicBezTo>
                  <a:cubicBezTo>
                    <a:pt x="51" y="555"/>
                    <a:pt x="50" y="555"/>
                    <a:pt x="49" y="554"/>
                  </a:cubicBezTo>
                  <a:cubicBezTo>
                    <a:pt x="48" y="553"/>
                    <a:pt x="47" y="551"/>
                    <a:pt x="47" y="550"/>
                  </a:cubicBezTo>
                  <a:lnTo>
                    <a:pt x="64" y="480"/>
                  </a:lnTo>
                  <a:lnTo>
                    <a:pt x="40" y="448"/>
                  </a:lnTo>
                  <a:lnTo>
                    <a:pt x="22" y="304"/>
                  </a:lnTo>
                  <a:lnTo>
                    <a:pt x="3" y="288"/>
                  </a:lnTo>
                  <a:cubicBezTo>
                    <a:pt x="1" y="287"/>
                    <a:pt x="0" y="285"/>
                    <a:pt x="1" y="283"/>
                  </a:cubicBezTo>
                  <a:lnTo>
                    <a:pt x="18" y="215"/>
                  </a:lnTo>
                  <a:lnTo>
                    <a:pt x="1" y="154"/>
                  </a:lnTo>
                  <a:cubicBezTo>
                    <a:pt x="0" y="152"/>
                    <a:pt x="1" y="150"/>
                    <a:pt x="2" y="149"/>
                  </a:cubicBezTo>
                  <a:cubicBezTo>
                    <a:pt x="3" y="149"/>
                    <a:pt x="4" y="148"/>
                    <a:pt x="5" y="148"/>
                  </a:cubicBezTo>
                  <a:cubicBezTo>
                    <a:pt x="6" y="148"/>
                    <a:pt x="7" y="148"/>
                    <a:pt x="8" y="149"/>
                  </a:cubicBezTo>
                  <a:lnTo>
                    <a:pt x="28" y="159"/>
                  </a:lnTo>
                  <a:lnTo>
                    <a:pt x="33" y="148"/>
                  </a:lnTo>
                  <a:lnTo>
                    <a:pt x="13" y="145"/>
                  </a:lnTo>
                  <a:cubicBezTo>
                    <a:pt x="11" y="145"/>
                    <a:pt x="10" y="143"/>
                    <a:pt x="9" y="142"/>
                  </a:cubicBezTo>
                  <a:cubicBezTo>
                    <a:pt x="9" y="140"/>
                    <a:pt x="9" y="138"/>
                    <a:pt x="11" y="137"/>
                  </a:cubicBezTo>
                  <a:lnTo>
                    <a:pt x="23" y="124"/>
                  </a:lnTo>
                  <a:lnTo>
                    <a:pt x="262" y="9"/>
                  </a:lnTo>
                  <a:lnTo>
                    <a:pt x="382" y="0"/>
                  </a:lnTo>
                  <a:cubicBezTo>
                    <a:pt x="384" y="0"/>
                    <a:pt x="386" y="1"/>
                    <a:pt x="387" y="3"/>
                  </a:cubicBezTo>
                  <a:lnTo>
                    <a:pt x="395" y="29"/>
                  </a:lnTo>
                  <a:cubicBezTo>
                    <a:pt x="396" y="31"/>
                    <a:pt x="395" y="32"/>
                    <a:pt x="394" y="34"/>
                  </a:cubicBezTo>
                  <a:cubicBezTo>
                    <a:pt x="393" y="34"/>
                    <a:pt x="392" y="35"/>
                    <a:pt x="391" y="35"/>
                  </a:cubicBezTo>
                  <a:cubicBezTo>
                    <a:pt x="390" y="35"/>
                    <a:pt x="390" y="35"/>
                    <a:pt x="389" y="35"/>
                  </a:cubicBezTo>
                  <a:lnTo>
                    <a:pt x="374" y="30"/>
                  </a:lnTo>
                  <a:lnTo>
                    <a:pt x="394" y="75"/>
                  </a:lnTo>
                  <a:lnTo>
                    <a:pt x="461" y="51"/>
                  </a:lnTo>
                  <a:lnTo>
                    <a:pt x="577" y="68"/>
                  </a:lnTo>
                  <a:lnTo>
                    <a:pt x="729" y="59"/>
                  </a:lnTo>
                  <a:cubicBezTo>
                    <a:pt x="730" y="59"/>
                    <a:pt x="731" y="60"/>
                    <a:pt x="732" y="60"/>
                  </a:cubicBezTo>
                  <a:lnTo>
                    <a:pt x="791" y="107"/>
                  </a:lnTo>
                  <a:cubicBezTo>
                    <a:pt x="792" y="108"/>
                    <a:pt x="793" y="109"/>
                    <a:pt x="793" y="110"/>
                  </a:cubicBezTo>
                  <a:lnTo>
                    <a:pt x="797" y="131"/>
                  </a:lnTo>
                  <a:lnTo>
                    <a:pt x="818" y="296"/>
                  </a:lnTo>
                  <a:cubicBezTo>
                    <a:pt x="818" y="298"/>
                    <a:pt x="818" y="299"/>
                    <a:pt x="817" y="300"/>
                  </a:cubicBezTo>
                  <a:lnTo>
                    <a:pt x="769" y="356"/>
                  </a:lnTo>
                  <a:lnTo>
                    <a:pt x="792" y="391"/>
                  </a:lnTo>
                  <a:lnTo>
                    <a:pt x="789" y="450"/>
                  </a:lnTo>
                  <a:lnTo>
                    <a:pt x="835" y="579"/>
                  </a:lnTo>
                  <a:cubicBezTo>
                    <a:pt x="836" y="580"/>
                    <a:pt x="835" y="582"/>
                    <a:pt x="834" y="583"/>
                  </a:cubicBezTo>
                  <a:lnTo>
                    <a:pt x="749" y="676"/>
                  </a:lnTo>
                  <a:lnTo>
                    <a:pt x="725" y="734"/>
                  </a:lnTo>
                  <a:lnTo>
                    <a:pt x="725" y="775"/>
                  </a:lnTo>
                  <a:cubicBezTo>
                    <a:pt x="725" y="777"/>
                    <a:pt x="723" y="780"/>
                    <a:pt x="720" y="780"/>
                  </a:cubicBezTo>
                  <a:lnTo>
                    <a:pt x="699" y="78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4" name="Freeform 299"/>
            <p:cNvSpPr>
              <a:spLocks noChangeArrowheads="1"/>
            </p:cNvSpPr>
            <p:nvPr/>
          </p:nvSpPr>
          <p:spPr bwMode="auto">
            <a:xfrm>
              <a:off x="4662488" y="1766888"/>
              <a:ext cx="301625" cy="280987"/>
            </a:xfrm>
            <a:custGeom>
              <a:avLst/>
              <a:gdLst/>
              <a:ahLst/>
              <a:cxnLst>
                <a:cxn ang="0">
                  <a:pos x="612" y="737"/>
                </a:cxn>
                <a:cxn ang="0">
                  <a:pos x="485" y="761"/>
                </a:cxn>
                <a:cxn ang="0">
                  <a:pos x="414" y="737"/>
                </a:cxn>
                <a:cxn ang="0">
                  <a:pos x="410" y="737"/>
                </a:cxn>
                <a:cxn ang="0">
                  <a:pos x="303" y="656"/>
                </a:cxn>
                <a:cxn ang="0">
                  <a:pos x="298" y="626"/>
                </a:cxn>
                <a:cxn ang="0">
                  <a:pos x="225" y="638"/>
                </a:cxn>
                <a:cxn ang="0">
                  <a:pos x="221" y="640"/>
                </a:cxn>
                <a:cxn ang="0">
                  <a:pos x="150" y="566"/>
                </a:cxn>
                <a:cxn ang="0">
                  <a:pos x="54" y="555"/>
                </a:cxn>
                <a:cxn ang="0">
                  <a:pos x="49" y="554"/>
                </a:cxn>
                <a:cxn ang="0">
                  <a:pos x="64" y="480"/>
                </a:cxn>
                <a:cxn ang="0">
                  <a:pos x="22" y="304"/>
                </a:cxn>
                <a:cxn ang="0">
                  <a:pos x="1" y="283"/>
                </a:cxn>
                <a:cxn ang="0">
                  <a:pos x="1" y="154"/>
                </a:cxn>
                <a:cxn ang="0">
                  <a:pos x="5" y="148"/>
                </a:cxn>
                <a:cxn ang="0">
                  <a:pos x="28" y="159"/>
                </a:cxn>
                <a:cxn ang="0">
                  <a:pos x="13" y="145"/>
                </a:cxn>
                <a:cxn ang="0">
                  <a:pos x="11" y="137"/>
                </a:cxn>
                <a:cxn ang="0">
                  <a:pos x="262" y="9"/>
                </a:cxn>
                <a:cxn ang="0">
                  <a:pos x="387" y="3"/>
                </a:cxn>
                <a:cxn ang="0">
                  <a:pos x="394" y="34"/>
                </a:cxn>
                <a:cxn ang="0">
                  <a:pos x="389" y="35"/>
                </a:cxn>
                <a:cxn ang="0">
                  <a:pos x="394" y="75"/>
                </a:cxn>
                <a:cxn ang="0">
                  <a:pos x="577" y="68"/>
                </a:cxn>
                <a:cxn ang="0">
                  <a:pos x="732" y="60"/>
                </a:cxn>
                <a:cxn ang="0">
                  <a:pos x="793" y="110"/>
                </a:cxn>
                <a:cxn ang="0">
                  <a:pos x="818" y="296"/>
                </a:cxn>
                <a:cxn ang="0">
                  <a:pos x="769" y="356"/>
                </a:cxn>
                <a:cxn ang="0">
                  <a:pos x="789" y="450"/>
                </a:cxn>
                <a:cxn ang="0">
                  <a:pos x="834" y="583"/>
                </a:cxn>
                <a:cxn ang="0">
                  <a:pos x="725" y="734"/>
                </a:cxn>
                <a:cxn ang="0">
                  <a:pos x="720" y="780"/>
                </a:cxn>
              </a:cxnLst>
              <a:rect l="0" t="0" r="r" b="b"/>
              <a:pathLst>
                <a:path w="837" h="781">
                  <a:moveTo>
                    <a:pt x="699" y="780"/>
                  </a:moveTo>
                  <a:lnTo>
                    <a:pt x="612" y="737"/>
                  </a:lnTo>
                  <a:lnTo>
                    <a:pt x="488" y="763"/>
                  </a:lnTo>
                  <a:cubicBezTo>
                    <a:pt x="487" y="763"/>
                    <a:pt x="486" y="762"/>
                    <a:pt x="485" y="761"/>
                  </a:cubicBezTo>
                  <a:lnTo>
                    <a:pt x="449" y="725"/>
                  </a:lnTo>
                  <a:lnTo>
                    <a:pt x="414" y="737"/>
                  </a:lnTo>
                  <a:cubicBezTo>
                    <a:pt x="413" y="737"/>
                    <a:pt x="413" y="737"/>
                    <a:pt x="412" y="737"/>
                  </a:cubicBezTo>
                  <a:cubicBezTo>
                    <a:pt x="411" y="737"/>
                    <a:pt x="411" y="737"/>
                    <a:pt x="410" y="737"/>
                  </a:cubicBezTo>
                  <a:lnTo>
                    <a:pt x="367" y="711"/>
                  </a:lnTo>
                  <a:lnTo>
                    <a:pt x="303" y="656"/>
                  </a:lnTo>
                  <a:cubicBezTo>
                    <a:pt x="302" y="655"/>
                    <a:pt x="302" y="654"/>
                    <a:pt x="302" y="653"/>
                  </a:cubicBezTo>
                  <a:lnTo>
                    <a:pt x="298" y="626"/>
                  </a:lnTo>
                  <a:lnTo>
                    <a:pt x="241" y="615"/>
                  </a:lnTo>
                  <a:lnTo>
                    <a:pt x="225" y="638"/>
                  </a:lnTo>
                  <a:cubicBezTo>
                    <a:pt x="225" y="639"/>
                    <a:pt x="223" y="640"/>
                    <a:pt x="222" y="640"/>
                  </a:cubicBezTo>
                  <a:lnTo>
                    <a:pt x="221" y="640"/>
                  </a:lnTo>
                  <a:cubicBezTo>
                    <a:pt x="220" y="640"/>
                    <a:pt x="219" y="639"/>
                    <a:pt x="218" y="638"/>
                  </a:cubicBezTo>
                  <a:lnTo>
                    <a:pt x="150" y="566"/>
                  </a:lnTo>
                  <a:lnTo>
                    <a:pt x="90" y="535"/>
                  </a:lnTo>
                  <a:lnTo>
                    <a:pt x="54" y="555"/>
                  </a:lnTo>
                  <a:cubicBezTo>
                    <a:pt x="54" y="555"/>
                    <a:pt x="53" y="555"/>
                    <a:pt x="52" y="555"/>
                  </a:cubicBezTo>
                  <a:cubicBezTo>
                    <a:pt x="51" y="555"/>
                    <a:pt x="50" y="555"/>
                    <a:pt x="49" y="554"/>
                  </a:cubicBezTo>
                  <a:cubicBezTo>
                    <a:pt x="48" y="553"/>
                    <a:pt x="47" y="551"/>
                    <a:pt x="47" y="550"/>
                  </a:cubicBezTo>
                  <a:lnTo>
                    <a:pt x="64" y="480"/>
                  </a:lnTo>
                  <a:lnTo>
                    <a:pt x="40" y="448"/>
                  </a:lnTo>
                  <a:lnTo>
                    <a:pt x="22" y="304"/>
                  </a:lnTo>
                  <a:lnTo>
                    <a:pt x="3" y="288"/>
                  </a:lnTo>
                  <a:cubicBezTo>
                    <a:pt x="1" y="287"/>
                    <a:pt x="0" y="285"/>
                    <a:pt x="1" y="283"/>
                  </a:cubicBezTo>
                  <a:lnTo>
                    <a:pt x="18" y="215"/>
                  </a:lnTo>
                  <a:lnTo>
                    <a:pt x="1" y="154"/>
                  </a:lnTo>
                  <a:cubicBezTo>
                    <a:pt x="0" y="152"/>
                    <a:pt x="1" y="150"/>
                    <a:pt x="2" y="149"/>
                  </a:cubicBezTo>
                  <a:cubicBezTo>
                    <a:pt x="3" y="149"/>
                    <a:pt x="4" y="148"/>
                    <a:pt x="5" y="148"/>
                  </a:cubicBezTo>
                  <a:cubicBezTo>
                    <a:pt x="6" y="148"/>
                    <a:pt x="7" y="148"/>
                    <a:pt x="8" y="149"/>
                  </a:cubicBezTo>
                  <a:lnTo>
                    <a:pt x="28" y="159"/>
                  </a:lnTo>
                  <a:lnTo>
                    <a:pt x="33" y="148"/>
                  </a:lnTo>
                  <a:lnTo>
                    <a:pt x="13" y="145"/>
                  </a:lnTo>
                  <a:cubicBezTo>
                    <a:pt x="11" y="145"/>
                    <a:pt x="10" y="143"/>
                    <a:pt x="9" y="142"/>
                  </a:cubicBezTo>
                  <a:cubicBezTo>
                    <a:pt x="9" y="140"/>
                    <a:pt x="9" y="138"/>
                    <a:pt x="11" y="137"/>
                  </a:cubicBezTo>
                  <a:lnTo>
                    <a:pt x="23" y="124"/>
                  </a:lnTo>
                  <a:lnTo>
                    <a:pt x="262" y="9"/>
                  </a:lnTo>
                  <a:lnTo>
                    <a:pt x="382" y="0"/>
                  </a:lnTo>
                  <a:cubicBezTo>
                    <a:pt x="384" y="0"/>
                    <a:pt x="386" y="1"/>
                    <a:pt x="387" y="3"/>
                  </a:cubicBezTo>
                  <a:lnTo>
                    <a:pt x="395" y="29"/>
                  </a:lnTo>
                  <a:cubicBezTo>
                    <a:pt x="396" y="31"/>
                    <a:pt x="395" y="32"/>
                    <a:pt x="394" y="34"/>
                  </a:cubicBezTo>
                  <a:cubicBezTo>
                    <a:pt x="393" y="34"/>
                    <a:pt x="392" y="35"/>
                    <a:pt x="391" y="35"/>
                  </a:cubicBezTo>
                  <a:cubicBezTo>
                    <a:pt x="390" y="35"/>
                    <a:pt x="390" y="35"/>
                    <a:pt x="389" y="35"/>
                  </a:cubicBezTo>
                  <a:lnTo>
                    <a:pt x="374" y="30"/>
                  </a:lnTo>
                  <a:lnTo>
                    <a:pt x="394" y="75"/>
                  </a:lnTo>
                  <a:lnTo>
                    <a:pt x="461" y="51"/>
                  </a:lnTo>
                  <a:lnTo>
                    <a:pt x="577" y="68"/>
                  </a:lnTo>
                  <a:lnTo>
                    <a:pt x="729" y="59"/>
                  </a:lnTo>
                  <a:cubicBezTo>
                    <a:pt x="730" y="59"/>
                    <a:pt x="731" y="60"/>
                    <a:pt x="732" y="60"/>
                  </a:cubicBezTo>
                  <a:lnTo>
                    <a:pt x="791" y="107"/>
                  </a:lnTo>
                  <a:cubicBezTo>
                    <a:pt x="792" y="108"/>
                    <a:pt x="793" y="109"/>
                    <a:pt x="793" y="110"/>
                  </a:cubicBezTo>
                  <a:lnTo>
                    <a:pt x="797" y="131"/>
                  </a:lnTo>
                  <a:lnTo>
                    <a:pt x="818" y="296"/>
                  </a:lnTo>
                  <a:cubicBezTo>
                    <a:pt x="818" y="298"/>
                    <a:pt x="818" y="299"/>
                    <a:pt x="817" y="300"/>
                  </a:cubicBezTo>
                  <a:lnTo>
                    <a:pt x="769" y="356"/>
                  </a:lnTo>
                  <a:lnTo>
                    <a:pt x="792" y="391"/>
                  </a:lnTo>
                  <a:lnTo>
                    <a:pt x="789" y="450"/>
                  </a:lnTo>
                  <a:lnTo>
                    <a:pt x="835" y="579"/>
                  </a:lnTo>
                  <a:cubicBezTo>
                    <a:pt x="836" y="580"/>
                    <a:pt x="835" y="582"/>
                    <a:pt x="834" y="583"/>
                  </a:cubicBezTo>
                  <a:lnTo>
                    <a:pt x="749" y="676"/>
                  </a:lnTo>
                  <a:lnTo>
                    <a:pt x="725" y="734"/>
                  </a:lnTo>
                  <a:lnTo>
                    <a:pt x="725" y="775"/>
                  </a:lnTo>
                  <a:cubicBezTo>
                    <a:pt x="725" y="777"/>
                    <a:pt x="723" y="780"/>
                    <a:pt x="720" y="780"/>
                  </a:cubicBezTo>
                  <a:lnTo>
                    <a:pt x="699" y="78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5" name="Freeform 300"/>
            <p:cNvSpPr>
              <a:spLocks noChangeArrowheads="1"/>
            </p:cNvSpPr>
            <p:nvPr/>
          </p:nvSpPr>
          <p:spPr bwMode="auto">
            <a:xfrm>
              <a:off x="4845050" y="2357438"/>
              <a:ext cx="193675" cy="163512"/>
            </a:xfrm>
            <a:custGeom>
              <a:avLst/>
              <a:gdLst/>
              <a:ahLst/>
              <a:cxnLst>
                <a:cxn ang="0">
                  <a:pos x="290" y="419"/>
                </a:cxn>
                <a:cxn ang="0">
                  <a:pos x="228" y="412"/>
                </a:cxn>
                <a:cxn ang="0">
                  <a:pos x="245" y="394"/>
                </a:cxn>
                <a:cxn ang="0">
                  <a:pos x="84" y="381"/>
                </a:cxn>
                <a:cxn ang="0">
                  <a:pos x="46" y="324"/>
                </a:cxn>
                <a:cxn ang="0">
                  <a:pos x="50" y="317"/>
                </a:cxn>
                <a:cxn ang="0">
                  <a:pos x="76" y="313"/>
                </a:cxn>
                <a:cxn ang="0">
                  <a:pos x="1" y="240"/>
                </a:cxn>
                <a:cxn ang="0">
                  <a:pos x="75" y="139"/>
                </a:cxn>
                <a:cxn ang="0">
                  <a:pos x="70" y="101"/>
                </a:cxn>
                <a:cxn ang="0">
                  <a:pos x="359" y="21"/>
                </a:cxn>
                <a:cxn ang="0">
                  <a:pos x="472" y="47"/>
                </a:cxn>
                <a:cxn ang="0">
                  <a:pos x="499" y="4"/>
                </a:cxn>
                <a:cxn ang="0">
                  <a:pos x="516" y="0"/>
                </a:cxn>
                <a:cxn ang="0">
                  <a:pos x="538" y="36"/>
                </a:cxn>
                <a:cxn ang="0">
                  <a:pos x="499" y="120"/>
                </a:cxn>
                <a:cxn ang="0">
                  <a:pos x="494" y="123"/>
                </a:cxn>
                <a:cxn ang="0">
                  <a:pos x="360" y="102"/>
                </a:cxn>
                <a:cxn ang="0">
                  <a:pos x="350" y="174"/>
                </a:cxn>
                <a:cxn ang="0">
                  <a:pos x="347" y="182"/>
                </a:cxn>
                <a:cxn ang="0">
                  <a:pos x="313" y="169"/>
                </a:cxn>
                <a:cxn ang="0">
                  <a:pos x="324" y="207"/>
                </a:cxn>
                <a:cxn ang="0">
                  <a:pos x="319" y="207"/>
                </a:cxn>
                <a:cxn ang="0">
                  <a:pos x="288" y="207"/>
                </a:cxn>
                <a:cxn ang="0">
                  <a:pos x="283" y="212"/>
                </a:cxn>
                <a:cxn ang="0">
                  <a:pos x="221" y="156"/>
                </a:cxn>
                <a:cxn ang="0">
                  <a:pos x="224" y="142"/>
                </a:cxn>
                <a:cxn ang="0">
                  <a:pos x="216" y="203"/>
                </a:cxn>
                <a:cxn ang="0">
                  <a:pos x="262" y="286"/>
                </a:cxn>
                <a:cxn ang="0">
                  <a:pos x="256" y="288"/>
                </a:cxn>
                <a:cxn ang="0">
                  <a:pos x="241" y="308"/>
                </a:cxn>
                <a:cxn ang="0">
                  <a:pos x="211" y="319"/>
                </a:cxn>
                <a:cxn ang="0">
                  <a:pos x="326" y="393"/>
                </a:cxn>
                <a:cxn ang="0">
                  <a:pos x="328" y="453"/>
                </a:cxn>
                <a:cxn ang="0">
                  <a:pos x="322" y="452"/>
                </a:cxn>
              </a:cxnLst>
              <a:rect l="0" t="0" r="r" b="b"/>
              <a:pathLst>
                <a:path w="539" h="454">
                  <a:moveTo>
                    <a:pt x="322" y="452"/>
                  </a:moveTo>
                  <a:lnTo>
                    <a:pt x="290" y="419"/>
                  </a:lnTo>
                  <a:lnTo>
                    <a:pt x="232" y="415"/>
                  </a:lnTo>
                  <a:cubicBezTo>
                    <a:pt x="230" y="415"/>
                    <a:pt x="229" y="414"/>
                    <a:pt x="228" y="412"/>
                  </a:cubicBezTo>
                  <a:cubicBezTo>
                    <a:pt x="227" y="410"/>
                    <a:pt x="228" y="408"/>
                    <a:pt x="229" y="407"/>
                  </a:cubicBezTo>
                  <a:lnTo>
                    <a:pt x="245" y="394"/>
                  </a:lnTo>
                  <a:lnTo>
                    <a:pt x="209" y="377"/>
                  </a:lnTo>
                  <a:lnTo>
                    <a:pt x="84" y="381"/>
                  </a:lnTo>
                  <a:cubicBezTo>
                    <a:pt x="83" y="381"/>
                    <a:pt x="81" y="381"/>
                    <a:pt x="80" y="379"/>
                  </a:cubicBezTo>
                  <a:lnTo>
                    <a:pt x="46" y="324"/>
                  </a:lnTo>
                  <a:cubicBezTo>
                    <a:pt x="45" y="323"/>
                    <a:pt x="45" y="321"/>
                    <a:pt x="46" y="319"/>
                  </a:cubicBezTo>
                  <a:cubicBezTo>
                    <a:pt x="47" y="318"/>
                    <a:pt x="49" y="317"/>
                    <a:pt x="50" y="317"/>
                  </a:cubicBezTo>
                  <a:lnTo>
                    <a:pt x="78" y="317"/>
                  </a:lnTo>
                  <a:lnTo>
                    <a:pt x="76" y="313"/>
                  </a:lnTo>
                  <a:lnTo>
                    <a:pt x="49" y="305"/>
                  </a:lnTo>
                  <a:lnTo>
                    <a:pt x="1" y="240"/>
                  </a:lnTo>
                  <a:cubicBezTo>
                    <a:pt x="0" y="238"/>
                    <a:pt x="0" y="236"/>
                    <a:pt x="1" y="234"/>
                  </a:cubicBezTo>
                  <a:lnTo>
                    <a:pt x="75" y="139"/>
                  </a:lnTo>
                  <a:lnTo>
                    <a:pt x="67" y="107"/>
                  </a:lnTo>
                  <a:cubicBezTo>
                    <a:pt x="66" y="105"/>
                    <a:pt x="68" y="102"/>
                    <a:pt x="70" y="101"/>
                  </a:cubicBezTo>
                  <a:lnTo>
                    <a:pt x="235" y="46"/>
                  </a:lnTo>
                  <a:lnTo>
                    <a:pt x="359" y="21"/>
                  </a:lnTo>
                  <a:lnTo>
                    <a:pt x="448" y="58"/>
                  </a:lnTo>
                  <a:lnTo>
                    <a:pt x="472" y="47"/>
                  </a:lnTo>
                  <a:lnTo>
                    <a:pt x="499" y="31"/>
                  </a:lnTo>
                  <a:lnTo>
                    <a:pt x="499" y="4"/>
                  </a:lnTo>
                  <a:cubicBezTo>
                    <a:pt x="499" y="2"/>
                    <a:pt x="501" y="0"/>
                    <a:pt x="504" y="0"/>
                  </a:cubicBezTo>
                  <a:lnTo>
                    <a:pt x="516" y="0"/>
                  </a:lnTo>
                  <a:cubicBezTo>
                    <a:pt x="518" y="0"/>
                    <a:pt x="520" y="1"/>
                    <a:pt x="521" y="2"/>
                  </a:cubicBezTo>
                  <a:lnTo>
                    <a:pt x="538" y="36"/>
                  </a:lnTo>
                  <a:cubicBezTo>
                    <a:pt x="538" y="37"/>
                    <a:pt x="538" y="39"/>
                    <a:pt x="538" y="40"/>
                  </a:cubicBezTo>
                  <a:lnTo>
                    <a:pt x="499" y="120"/>
                  </a:lnTo>
                  <a:cubicBezTo>
                    <a:pt x="499" y="122"/>
                    <a:pt x="497" y="123"/>
                    <a:pt x="495" y="123"/>
                  </a:cubicBezTo>
                  <a:lnTo>
                    <a:pt x="494" y="123"/>
                  </a:lnTo>
                  <a:lnTo>
                    <a:pt x="405" y="98"/>
                  </a:lnTo>
                  <a:lnTo>
                    <a:pt x="360" y="102"/>
                  </a:lnTo>
                  <a:lnTo>
                    <a:pt x="304" y="136"/>
                  </a:lnTo>
                  <a:lnTo>
                    <a:pt x="350" y="174"/>
                  </a:lnTo>
                  <a:cubicBezTo>
                    <a:pt x="352" y="176"/>
                    <a:pt x="352" y="178"/>
                    <a:pt x="351" y="180"/>
                  </a:cubicBezTo>
                  <a:cubicBezTo>
                    <a:pt x="350" y="182"/>
                    <a:pt x="348" y="182"/>
                    <a:pt x="347" y="182"/>
                  </a:cubicBezTo>
                  <a:cubicBezTo>
                    <a:pt x="346" y="182"/>
                    <a:pt x="346" y="182"/>
                    <a:pt x="345" y="182"/>
                  </a:cubicBezTo>
                  <a:lnTo>
                    <a:pt x="313" y="169"/>
                  </a:lnTo>
                  <a:lnTo>
                    <a:pt x="326" y="201"/>
                  </a:lnTo>
                  <a:cubicBezTo>
                    <a:pt x="327" y="203"/>
                    <a:pt x="326" y="206"/>
                    <a:pt x="324" y="207"/>
                  </a:cubicBezTo>
                  <a:cubicBezTo>
                    <a:pt x="323" y="207"/>
                    <a:pt x="322" y="208"/>
                    <a:pt x="321" y="208"/>
                  </a:cubicBezTo>
                  <a:cubicBezTo>
                    <a:pt x="320" y="208"/>
                    <a:pt x="320" y="207"/>
                    <a:pt x="319" y="207"/>
                  </a:cubicBezTo>
                  <a:lnTo>
                    <a:pt x="285" y="183"/>
                  </a:lnTo>
                  <a:lnTo>
                    <a:pt x="288" y="207"/>
                  </a:lnTo>
                  <a:cubicBezTo>
                    <a:pt x="288" y="209"/>
                    <a:pt x="287" y="211"/>
                    <a:pt x="286" y="211"/>
                  </a:cubicBezTo>
                  <a:cubicBezTo>
                    <a:pt x="285" y="212"/>
                    <a:pt x="284" y="212"/>
                    <a:pt x="283" y="212"/>
                  </a:cubicBezTo>
                  <a:cubicBezTo>
                    <a:pt x="282" y="212"/>
                    <a:pt x="281" y="212"/>
                    <a:pt x="280" y="211"/>
                  </a:cubicBezTo>
                  <a:lnTo>
                    <a:pt x="221" y="156"/>
                  </a:lnTo>
                  <a:cubicBezTo>
                    <a:pt x="219" y="154"/>
                    <a:pt x="219" y="152"/>
                    <a:pt x="220" y="150"/>
                  </a:cubicBezTo>
                  <a:lnTo>
                    <a:pt x="224" y="142"/>
                  </a:lnTo>
                  <a:lnTo>
                    <a:pt x="216" y="143"/>
                  </a:lnTo>
                  <a:lnTo>
                    <a:pt x="216" y="203"/>
                  </a:lnTo>
                  <a:lnTo>
                    <a:pt x="262" y="281"/>
                  </a:lnTo>
                  <a:cubicBezTo>
                    <a:pt x="263" y="283"/>
                    <a:pt x="263" y="285"/>
                    <a:pt x="262" y="286"/>
                  </a:cubicBezTo>
                  <a:cubicBezTo>
                    <a:pt x="261" y="287"/>
                    <a:pt x="259" y="288"/>
                    <a:pt x="258" y="288"/>
                  </a:cubicBezTo>
                  <a:cubicBezTo>
                    <a:pt x="258" y="288"/>
                    <a:pt x="257" y="288"/>
                    <a:pt x="256" y="288"/>
                  </a:cubicBezTo>
                  <a:lnTo>
                    <a:pt x="238" y="282"/>
                  </a:lnTo>
                  <a:lnTo>
                    <a:pt x="241" y="308"/>
                  </a:lnTo>
                  <a:cubicBezTo>
                    <a:pt x="242" y="311"/>
                    <a:pt x="240" y="313"/>
                    <a:pt x="238" y="313"/>
                  </a:cubicBezTo>
                  <a:lnTo>
                    <a:pt x="211" y="319"/>
                  </a:lnTo>
                  <a:lnTo>
                    <a:pt x="324" y="389"/>
                  </a:lnTo>
                  <a:cubicBezTo>
                    <a:pt x="325" y="390"/>
                    <a:pt x="326" y="391"/>
                    <a:pt x="326" y="393"/>
                  </a:cubicBezTo>
                  <a:lnTo>
                    <a:pt x="330" y="448"/>
                  </a:lnTo>
                  <a:cubicBezTo>
                    <a:pt x="330" y="450"/>
                    <a:pt x="329" y="452"/>
                    <a:pt x="328" y="453"/>
                  </a:cubicBezTo>
                  <a:cubicBezTo>
                    <a:pt x="327" y="453"/>
                    <a:pt x="326" y="453"/>
                    <a:pt x="326" y="453"/>
                  </a:cubicBezTo>
                  <a:cubicBezTo>
                    <a:pt x="324" y="453"/>
                    <a:pt x="323" y="453"/>
                    <a:pt x="322" y="45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6" name="Freeform 301"/>
            <p:cNvSpPr>
              <a:spLocks noChangeArrowheads="1"/>
            </p:cNvSpPr>
            <p:nvPr/>
          </p:nvSpPr>
          <p:spPr bwMode="auto">
            <a:xfrm>
              <a:off x="4845050" y="2357438"/>
              <a:ext cx="193675" cy="163512"/>
            </a:xfrm>
            <a:custGeom>
              <a:avLst/>
              <a:gdLst/>
              <a:ahLst/>
              <a:cxnLst>
                <a:cxn ang="0">
                  <a:pos x="322" y="452"/>
                </a:cxn>
                <a:cxn ang="0">
                  <a:pos x="232" y="415"/>
                </a:cxn>
                <a:cxn ang="0">
                  <a:pos x="229" y="407"/>
                </a:cxn>
                <a:cxn ang="0">
                  <a:pos x="209" y="377"/>
                </a:cxn>
                <a:cxn ang="0">
                  <a:pos x="80" y="379"/>
                </a:cxn>
                <a:cxn ang="0">
                  <a:pos x="46" y="319"/>
                </a:cxn>
                <a:cxn ang="0">
                  <a:pos x="78" y="317"/>
                </a:cxn>
                <a:cxn ang="0">
                  <a:pos x="49" y="305"/>
                </a:cxn>
                <a:cxn ang="0">
                  <a:pos x="1" y="234"/>
                </a:cxn>
                <a:cxn ang="0">
                  <a:pos x="67" y="107"/>
                </a:cxn>
                <a:cxn ang="0">
                  <a:pos x="235" y="46"/>
                </a:cxn>
                <a:cxn ang="0">
                  <a:pos x="448" y="58"/>
                </a:cxn>
                <a:cxn ang="0">
                  <a:pos x="499" y="31"/>
                </a:cxn>
                <a:cxn ang="0">
                  <a:pos x="504" y="0"/>
                </a:cxn>
                <a:cxn ang="0">
                  <a:pos x="521" y="2"/>
                </a:cxn>
                <a:cxn ang="0">
                  <a:pos x="538" y="40"/>
                </a:cxn>
                <a:cxn ang="0">
                  <a:pos x="495" y="123"/>
                </a:cxn>
                <a:cxn ang="0">
                  <a:pos x="405" y="98"/>
                </a:cxn>
                <a:cxn ang="0">
                  <a:pos x="304" y="136"/>
                </a:cxn>
                <a:cxn ang="0">
                  <a:pos x="351" y="180"/>
                </a:cxn>
                <a:cxn ang="0">
                  <a:pos x="345" y="182"/>
                </a:cxn>
                <a:cxn ang="0">
                  <a:pos x="326" y="201"/>
                </a:cxn>
                <a:cxn ang="0">
                  <a:pos x="321" y="208"/>
                </a:cxn>
                <a:cxn ang="0">
                  <a:pos x="285" y="183"/>
                </a:cxn>
                <a:cxn ang="0">
                  <a:pos x="286" y="211"/>
                </a:cxn>
                <a:cxn ang="0">
                  <a:pos x="280" y="211"/>
                </a:cxn>
                <a:cxn ang="0">
                  <a:pos x="220" y="150"/>
                </a:cxn>
                <a:cxn ang="0">
                  <a:pos x="216" y="143"/>
                </a:cxn>
                <a:cxn ang="0">
                  <a:pos x="262" y="281"/>
                </a:cxn>
                <a:cxn ang="0">
                  <a:pos x="258" y="288"/>
                </a:cxn>
                <a:cxn ang="0">
                  <a:pos x="238" y="282"/>
                </a:cxn>
                <a:cxn ang="0">
                  <a:pos x="238" y="313"/>
                </a:cxn>
                <a:cxn ang="0">
                  <a:pos x="324" y="389"/>
                </a:cxn>
                <a:cxn ang="0">
                  <a:pos x="330" y="448"/>
                </a:cxn>
                <a:cxn ang="0">
                  <a:pos x="326" y="453"/>
                </a:cxn>
              </a:cxnLst>
              <a:rect l="0" t="0" r="r" b="b"/>
              <a:pathLst>
                <a:path w="539" h="454">
                  <a:moveTo>
                    <a:pt x="326" y="453"/>
                  </a:moveTo>
                  <a:cubicBezTo>
                    <a:pt x="324" y="453"/>
                    <a:pt x="323" y="453"/>
                    <a:pt x="322" y="452"/>
                  </a:cubicBezTo>
                  <a:lnTo>
                    <a:pt x="290" y="419"/>
                  </a:lnTo>
                  <a:lnTo>
                    <a:pt x="232" y="415"/>
                  </a:lnTo>
                  <a:cubicBezTo>
                    <a:pt x="230" y="415"/>
                    <a:pt x="229" y="414"/>
                    <a:pt x="228" y="412"/>
                  </a:cubicBezTo>
                  <a:cubicBezTo>
                    <a:pt x="227" y="410"/>
                    <a:pt x="228" y="408"/>
                    <a:pt x="229" y="407"/>
                  </a:cubicBezTo>
                  <a:lnTo>
                    <a:pt x="245" y="394"/>
                  </a:lnTo>
                  <a:lnTo>
                    <a:pt x="209" y="377"/>
                  </a:lnTo>
                  <a:lnTo>
                    <a:pt x="84" y="381"/>
                  </a:lnTo>
                  <a:cubicBezTo>
                    <a:pt x="83" y="381"/>
                    <a:pt x="81" y="381"/>
                    <a:pt x="80" y="379"/>
                  </a:cubicBezTo>
                  <a:lnTo>
                    <a:pt x="46" y="324"/>
                  </a:lnTo>
                  <a:cubicBezTo>
                    <a:pt x="45" y="323"/>
                    <a:pt x="45" y="321"/>
                    <a:pt x="46" y="319"/>
                  </a:cubicBezTo>
                  <a:cubicBezTo>
                    <a:pt x="47" y="318"/>
                    <a:pt x="49" y="317"/>
                    <a:pt x="50" y="317"/>
                  </a:cubicBezTo>
                  <a:lnTo>
                    <a:pt x="78" y="317"/>
                  </a:lnTo>
                  <a:lnTo>
                    <a:pt x="76" y="313"/>
                  </a:lnTo>
                  <a:lnTo>
                    <a:pt x="49" y="305"/>
                  </a:lnTo>
                  <a:lnTo>
                    <a:pt x="1" y="240"/>
                  </a:lnTo>
                  <a:cubicBezTo>
                    <a:pt x="0" y="238"/>
                    <a:pt x="0" y="236"/>
                    <a:pt x="1" y="234"/>
                  </a:cubicBezTo>
                  <a:lnTo>
                    <a:pt x="75" y="139"/>
                  </a:lnTo>
                  <a:lnTo>
                    <a:pt x="67" y="107"/>
                  </a:lnTo>
                  <a:cubicBezTo>
                    <a:pt x="66" y="105"/>
                    <a:pt x="68" y="102"/>
                    <a:pt x="70" y="101"/>
                  </a:cubicBezTo>
                  <a:lnTo>
                    <a:pt x="235" y="46"/>
                  </a:lnTo>
                  <a:lnTo>
                    <a:pt x="359" y="21"/>
                  </a:lnTo>
                  <a:lnTo>
                    <a:pt x="448" y="58"/>
                  </a:lnTo>
                  <a:lnTo>
                    <a:pt x="472" y="47"/>
                  </a:lnTo>
                  <a:lnTo>
                    <a:pt x="499" y="31"/>
                  </a:lnTo>
                  <a:lnTo>
                    <a:pt x="499" y="4"/>
                  </a:lnTo>
                  <a:cubicBezTo>
                    <a:pt x="499" y="2"/>
                    <a:pt x="501" y="0"/>
                    <a:pt x="504" y="0"/>
                  </a:cubicBezTo>
                  <a:lnTo>
                    <a:pt x="516" y="0"/>
                  </a:lnTo>
                  <a:cubicBezTo>
                    <a:pt x="518" y="0"/>
                    <a:pt x="520" y="1"/>
                    <a:pt x="521" y="2"/>
                  </a:cubicBezTo>
                  <a:lnTo>
                    <a:pt x="538" y="36"/>
                  </a:lnTo>
                  <a:cubicBezTo>
                    <a:pt x="538" y="37"/>
                    <a:pt x="538" y="39"/>
                    <a:pt x="538" y="40"/>
                  </a:cubicBezTo>
                  <a:lnTo>
                    <a:pt x="499" y="120"/>
                  </a:lnTo>
                  <a:cubicBezTo>
                    <a:pt x="499" y="122"/>
                    <a:pt x="497" y="123"/>
                    <a:pt x="495" y="123"/>
                  </a:cubicBezTo>
                  <a:lnTo>
                    <a:pt x="494" y="123"/>
                  </a:lnTo>
                  <a:lnTo>
                    <a:pt x="405" y="98"/>
                  </a:lnTo>
                  <a:lnTo>
                    <a:pt x="360" y="102"/>
                  </a:lnTo>
                  <a:lnTo>
                    <a:pt x="304" y="136"/>
                  </a:lnTo>
                  <a:lnTo>
                    <a:pt x="350" y="174"/>
                  </a:lnTo>
                  <a:cubicBezTo>
                    <a:pt x="352" y="176"/>
                    <a:pt x="352" y="178"/>
                    <a:pt x="351" y="180"/>
                  </a:cubicBezTo>
                  <a:cubicBezTo>
                    <a:pt x="350" y="182"/>
                    <a:pt x="348" y="182"/>
                    <a:pt x="347" y="182"/>
                  </a:cubicBezTo>
                  <a:cubicBezTo>
                    <a:pt x="346" y="182"/>
                    <a:pt x="346" y="182"/>
                    <a:pt x="345" y="182"/>
                  </a:cubicBezTo>
                  <a:lnTo>
                    <a:pt x="313" y="169"/>
                  </a:lnTo>
                  <a:lnTo>
                    <a:pt x="326" y="201"/>
                  </a:lnTo>
                  <a:cubicBezTo>
                    <a:pt x="327" y="203"/>
                    <a:pt x="326" y="206"/>
                    <a:pt x="324" y="207"/>
                  </a:cubicBezTo>
                  <a:cubicBezTo>
                    <a:pt x="323" y="207"/>
                    <a:pt x="322" y="208"/>
                    <a:pt x="321" y="208"/>
                  </a:cubicBezTo>
                  <a:cubicBezTo>
                    <a:pt x="320" y="208"/>
                    <a:pt x="320" y="207"/>
                    <a:pt x="319" y="207"/>
                  </a:cubicBezTo>
                  <a:lnTo>
                    <a:pt x="285" y="183"/>
                  </a:lnTo>
                  <a:lnTo>
                    <a:pt x="288" y="207"/>
                  </a:lnTo>
                  <a:cubicBezTo>
                    <a:pt x="288" y="209"/>
                    <a:pt x="287" y="211"/>
                    <a:pt x="286" y="211"/>
                  </a:cubicBezTo>
                  <a:cubicBezTo>
                    <a:pt x="285" y="212"/>
                    <a:pt x="284" y="212"/>
                    <a:pt x="283" y="212"/>
                  </a:cubicBezTo>
                  <a:cubicBezTo>
                    <a:pt x="282" y="212"/>
                    <a:pt x="281" y="212"/>
                    <a:pt x="280" y="211"/>
                  </a:cubicBezTo>
                  <a:lnTo>
                    <a:pt x="221" y="156"/>
                  </a:lnTo>
                  <a:cubicBezTo>
                    <a:pt x="219" y="154"/>
                    <a:pt x="219" y="152"/>
                    <a:pt x="220" y="150"/>
                  </a:cubicBezTo>
                  <a:lnTo>
                    <a:pt x="224" y="142"/>
                  </a:lnTo>
                  <a:lnTo>
                    <a:pt x="216" y="143"/>
                  </a:lnTo>
                  <a:lnTo>
                    <a:pt x="216" y="203"/>
                  </a:lnTo>
                  <a:lnTo>
                    <a:pt x="262" y="281"/>
                  </a:lnTo>
                  <a:cubicBezTo>
                    <a:pt x="263" y="283"/>
                    <a:pt x="263" y="285"/>
                    <a:pt x="262" y="286"/>
                  </a:cubicBezTo>
                  <a:cubicBezTo>
                    <a:pt x="261" y="287"/>
                    <a:pt x="259" y="288"/>
                    <a:pt x="258" y="288"/>
                  </a:cubicBezTo>
                  <a:cubicBezTo>
                    <a:pt x="258" y="288"/>
                    <a:pt x="257" y="288"/>
                    <a:pt x="256" y="288"/>
                  </a:cubicBezTo>
                  <a:lnTo>
                    <a:pt x="238" y="282"/>
                  </a:lnTo>
                  <a:lnTo>
                    <a:pt x="241" y="308"/>
                  </a:lnTo>
                  <a:cubicBezTo>
                    <a:pt x="242" y="311"/>
                    <a:pt x="240" y="313"/>
                    <a:pt x="238" y="313"/>
                  </a:cubicBezTo>
                  <a:lnTo>
                    <a:pt x="211" y="319"/>
                  </a:lnTo>
                  <a:lnTo>
                    <a:pt x="324" y="389"/>
                  </a:lnTo>
                  <a:cubicBezTo>
                    <a:pt x="325" y="390"/>
                    <a:pt x="326" y="391"/>
                    <a:pt x="326" y="393"/>
                  </a:cubicBezTo>
                  <a:lnTo>
                    <a:pt x="330" y="448"/>
                  </a:lnTo>
                  <a:cubicBezTo>
                    <a:pt x="330" y="450"/>
                    <a:pt x="329" y="452"/>
                    <a:pt x="328" y="453"/>
                  </a:cubicBezTo>
                  <a:cubicBezTo>
                    <a:pt x="327" y="453"/>
                    <a:pt x="326" y="453"/>
                    <a:pt x="326" y="45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7" name="Freeform 302"/>
            <p:cNvSpPr>
              <a:spLocks noChangeArrowheads="1"/>
            </p:cNvSpPr>
            <p:nvPr/>
          </p:nvSpPr>
          <p:spPr bwMode="auto">
            <a:xfrm>
              <a:off x="4830763" y="2439988"/>
              <a:ext cx="15875" cy="15875"/>
            </a:xfrm>
            <a:custGeom>
              <a:avLst/>
              <a:gdLst/>
              <a:ahLst/>
              <a:cxnLst>
                <a:cxn ang="0">
                  <a:pos x="36" y="42"/>
                </a:cxn>
                <a:cxn ang="0">
                  <a:pos x="2" y="8"/>
                </a:cxn>
                <a:cxn ang="0">
                  <a:pos x="1" y="3"/>
                </a:cxn>
                <a:cxn ang="0">
                  <a:pos x="5" y="0"/>
                </a:cxn>
                <a:cxn ang="0">
                  <a:pos x="22" y="0"/>
                </a:cxn>
                <a:cxn ang="0">
                  <a:pos x="27" y="3"/>
                </a:cxn>
                <a:cxn ang="0">
                  <a:pos x="44" y="37"/>
                </a:cxn>
                <a:cxn ang="0">
                  <a:pos x="42" y="43"/>
                </a:cxn>
                <a:cxn ang="0">
                  <a:pos x="39" y="43"/>
                </a:cxn>
                <a:cxn ang="0">
                  <a:pos x="36" y="42"/>
                </a:cxn>
              </a:cxnLst>
              <a:rect l="0" t="0" r="r" b="b"/>
              <a:pathLst>
                <a:path w="46" h="44">
                  <a:moveTo>
                    <a:pt x="36" y="42"/>
                  </a:moveTo>
                  <a:lnTo>
                    <a:pt x="2" y="8"/>
                  </a:lnTo>
                  <a:cubicBezTo>
                    <a:pt x="1" y="7"/>
                    <a:pt x="0" y="5"/>
                    <a:pt x="1" y="3"/>
                  </a:cubicBezTo>
                  <a:cubicBezTo>
                    <a:pt x="2" y="1"/>
                    <a:pt x="4" y="0"/>
                    <a:pt x="5" y="0"/>
                  </a:cubicBezTo>
                  <a:lnTo>
                    <a:pt x="22" y="0"/>
                  </a:lnTo>
                  <a:cubicBezTo>
                    <a:pt x="24" y="0"/>
                    <a:pt x="26" y="1"/>
                    <a:pt x="27" y="3"/>
                  </a:cubicBezTo>
                  <a:lnTo>
                    <a:pt x="44" y="37"/>
                  </a:lnTo>
                  <a:cubicBezTo>
                    <a:pt x="45" y="39"/>
                    <a:pt x="44" y="41"/>
                    <a:pt x="42" y="43"/>
                  </a:cubicBezTo>
                  <a:cubicBezTo>
                    <a:pt x="41" y="43"/>
                    <a:pt x="40" y="43"/>
                    <a:pt x="39" y="43"/>
                  </a:cubicBezTo>
                  <a:cubicBezTo>
                    <a:pt x="38" y="43"/>
                    <a:pt x="37" y="43"/>
                    <a:pt x="36" y="4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8" name="Freeform 303"/>
            <p:cNvSpPr>
              <a:spLocks noChangeArrowheads="1"/>
            </p:cNvSpPr>
            <p:nvPr/>
          </p:nvSpPr>
          <p:spPr bwMode="auto">
            <a:xfrm>
              <a:off x="4830763" y="2439988"/>
              <a:ext cx="15875" cy="15875"/>
            </a:xfrm>
            <a:custGeom>
              <a:avLst/>
              <a:gdLst/>
              <a:ahLst/>
              <a:cxnLst>
                <a:cxn ang="0">
                  <a:pos x="39" y="43"/>
                </a:cxn>
                <a:cxn ang="0">
                  <a:pos x="36" y="42"/>
                </a:cxn>
                <a:cxn ang="0">
                  <a:pos x="2" y="8"/>
                </a:cxn>
                <a:cxn ang="0">
                  <a:pos x="1" y="3"/>
                </a:cxn>
                <a:cxn ang="0">
                  <a:pos x="5" y="0"/>
                </a:cxn>
                <a:cxn ang="0">
                  <a:pos x="22" y="0"/>
                </a:cxn>
                <a:cxn ang="0">
                  <a:pos x="27" y="3"/>
                </a:cxn>
                <a:cxn ang="0">
                  <a:pos x="44" y="37"/>
                </a:cxn>
                <a:cxn ang="0">
                  <a:pos x="42" y="43"/>
                </a:cxn>
                <a:cxn ang="0">
                  <a:pos x="39" y="43"/>
                </a:cxn>
              </a:cxnLst>
              <a:rect l="0" t="0" r="r" b="b"/>
              <a:pathLst>
                <a:path w="46" h="44">
                  <a:moveTo>
                    <a:pt x="39" y="43"/>
                  </a:moveTo>
                  <a:cubicBezTo>
                    <a:pt x="38" y="43"/>
                    <a:pt x="37" y="43"/>
                    <a:pt x="36" y="42"/>
                  </a:cubicBezTo>
                  <a:lnTo>
                    <a:pt x="2" y="8"/>
                  </a:lnTo>
                  <a:cubicBezTo>
                    <a:pt x="1" y="7"/>
                    <a:pt x="0" y="5"/>
                    <a:pt x="1" y="3"/>
                  </a:cubicBezTo>
                  <a:cubicBezTo>
                    <a:pt x="2" y="1"/>
                    <a:pt x="4" y="0"/>
                    <a:pt x="5" y="0"/>
                  </a:cubicBezTo>
                  <a:lnTo>
                    <a:pt x="22" y="0"/>
                  </a:lnTo>
                  <a:cubicBezTo>
                    <a:pt x="24" y="0"/>
                    <a:pt x="26" y="1"/>
                    <a:pt x="27" y="3"/>
                  </a:cubicBezTo>
                  <a:lnTo>
                    <a:pt x="44" y="37"/>
                  </a:lnTo>
                  <a:cubicBezTo>
                    <a:pt x="45" y="39"/>
                    <a:pt x="44" y="41"/>
                    <a:pt x="42" y="43"/>
                  </a:cubicBezTo>
                  <a:cubicBezTo>
                    <a:pt x="41" y="43"/>
                    <a:pt x="40" y="43"/>
                    <a:pt x="39" y="4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09" name="Freeform 304"/>
            <p:cNvSpPr>
              <a:spLocks noChangeArrowheads="1"/>
            </p:cNvSpPr>
            <p:nvPr/>
          </p:nvSpPr>
          <p:spPr bwMode="auto">
            <a:xfrm>
              <a:off x="4851400" y="2490788"/>
              <a:ext cx="14288" cy="17462"/>
            </a:xfrm>
            <a:custGeom>
              <a:avLst/>
              <a:gdLst/>
              <a:ahLst/>
              <a:cxnLst>
                <a:cxn ang="0">
                  <a:pos x="32" y="46"/>
                </a:cxn>
                <a:cxn ang="0">
                  <a:pos x="2" y="25"/>
                </a:cxn>
                <a:cxn ang="0">
                  <a:pos x="0" y="21"/>
                </a:cxn>
                <a:cxn ang="0">
                  <a:pos x="2" y="18"/>
                </a:cxn>
                <a:cxn ang="0">
                  <a:pos x="23" y="1"/>
                </a:cxn>
                <a:cxn ang="0">
                  <a:pos x="26" y="0"/>
                </a:cxn>
                <a:cxn ang="0">
                  <a:pos x="28" y="0"/>
                </a:cxn>
                <a:cxn ang="0">
                  <a:pos x="31" y="3"/>
                </a:cxn>
                <a:cxn ang="0">
                  <a:pos x="39" y="42"/>
                </a:cxn>
                <a:cxn ang="0">
                  <a:pos x="37" y="47"/>
                </a:cxn>
                <a:cxn ang="0">
                  <a:pos x="34" y="47"/>
                </a:cxn>
                <a:cxn ang="0">
                  <a:pos x="32" y="46"/>
                </a:cxn>
              </a:cxnLst>
              <a:rect l="0" t="0" r="r" b="b"/>
              <a:pathLst>
                <a:path w="41" h="48">
                  <a:moveTo>
                    <a:pt x="32" y="46"/>
                  </a:moveTo>
                  <a:lnTo>
                    <a:pt x="2" y="25"/>
                  </a:lnTo>
                  <a:cubicBezTo>
                    <a:pt x="1" y="24"/>
                    <a:pt x="0" y="23"/>
                    <a:pt x="0" y="21"/>
                  </a:cubicBezTo>
                  <a:cubicBezTo>
                    <a:pt x="0" y="20"/>
                    <a:pt x="1" y="19"/>
                    <a:pt x="2" y="18"/>
                  </a:cubicBezTo>
                  <a:lnTo>
                    <a:pt x="23" y="1"/>
                  </a:lnTo>
                  <a:cubicBezTo>
                    <a:pt x="24" y="0"/>
                    <a:pt x="25" y="0"/>
                    <a:pt x="26" y="0"/>
                  </a:cubicBezTo>
                  <a:cubicBezTo>
                    <a:pt x="26" y="0"/>
                    <a:pt x="27" y="0"/>
                    <a:pt x="28" y="0"/>
                  </a:cubicBezTo>
                  <a:cubicBezTo>
                    <a:pt x="29" y="1"/>
                    <a:pt x="30" y="2"/>
                    <a:pt x="31" y="3"/>
                  </a:cubicBezTo>
                  <a:lnTo>
                    <a:pt x="39" y="42"/>
                  </a:lnTo>
                  <a:cubicBezTo>
                    <a:pt x="40" y="43"/>
                    <a:pt x="39" y="45"/>
                    <a:pt x="37" y="47"/>
                  </a:cubicBezTo>
                  <a:cubicBezTo>
                    <a:pt x="36" y="47"/>
                    <a:pt x="35" y="47"/>
                    <a:pt x="34" y="47"/>
                  </a:cubicBezTo>
                  <a:cubicBezTo>
                    <a:pt x="34" y="47"/>
                    <a:pt x="32" y="47"/>
                    <a:pt x="32" y="4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0" name="Freeform 305"/>
            <p:cNvSpPr>
              <a:spLocks noChangeArrowheads="1"/>
            </p:cNvSpPr>
            <p:nvPr/>
          </p:nvSpPr>
          <p:spPr bwMode="auto">
            <a:xfrm>
              <a:off x="4851400" y="2490788"/>
              <a:ext cx="14288" cy="17462"/>
            </a:xfrm>
            <a:custGeom>
              <a:avLst/>
              <a:gdLst/>
              <a:ahLst/>
              <a:cxnLst>
                <a:cxn ang="0">
                  <a:pos x="34" y="47"/>
                </a:cxn>
                <a:cxn ang="0">
                  <a:pos x="32" y="46"/>
                </a:cxn>
                <a:cxn ang="0">
                  <a:pos x="2" y="25"/>
                </a:cxn>
                <a:cxn ang="0">
                  <a:pos x="0" y="21"/>
                </a:cxn>
                <a:cxn ang="0">
                  <a:pos x="2" y="18"/>
                </a:cxn>
                <a:cxn ang="0">
                  <a:pos x="23" y="1"/>
                </a:cxn>
                <a:cxn ang="0">
                  <a:pos x="26" y="0"/>
                </a:cxn>
                <a:cxn ang="0">
                  <a:pos x="28" y="0"/>
                </a:cxn>
                <a:cxn ang="0">
                  <a:pos x="31" y="3"/>
                </a:cxn>
                <a:cxn ang="0">
                  <a:pos x="39" y="42"/>
                </a:cxn>
                <a:cxn ang="0">
                  <a:pos x="37" y="47"/>
                </a:cxn>
                <a:cxn ang="0">
                  <a:pos x="34" y="47"/>
                </a:cxn>
              </a:cxnLst>
              <a:rect l="0" t="0" r="r" b="b"/>
              <a:pathLst>
                <a:path w="41" h="48">
                  <a:moveTo>
                    <a:pt x="34" y="47"/>
                  </a:moveTo>
                  <a:cubicBezTo>
                    <a:pt x="34" y="47"/>
                    <a:pt x="32" y="47"/>
                    <a:pt x="32" y="46"/>
                  </a:cubicBezTo>
                  <a:lnTo>
                    <a:pt x="2" y="25"/>
                  </a:lnTo>
                  <a:cubicBezTo>
                    <a:pt x="1" y="24"/>
                    <a:pt x="0" y="23"/>
                    <a:pt x="0" y="21"/>
                  </a:cubicBezTo>
                  <a:cubicBezTo>
                    <a:pt x="0" y="20"/>
                    <a:pt x="1" y="19"/>
                    <a:pt x="2" y="18"/>
                  </a:cubicBezTo>
                  <a:lnTo>
                    <a:pt x="23" y="1"/>
                  </a:lnTo>
                  <a:cubicBezTo>
                    <a:pt x="24" y="0"/>
                    <a:pt x="25" y="0"/>
                    <a:pt x="26" y="0"/>
                  </a:cubicBezTo>
                  <a:cubicBezTo>
                    <a:pt x="26" y="0"/>
                    <a:pt x="27" y="0"/>
                    <a:pt x="28" y="0"/>
                  </a:cubicBezTo>
                  <a:cubicBezTo>
                    <a:pt x="29" y="1"/>
                    <a:pt x="30" y="2"/>
                    <a:pt x="31" y="3"/>
                  </a:cubicBezTo>
                  <a:lnTo>
                    <a:pt x="39" y="42"/>
                  </a:lnTo>
                  <a:cubicBezTo>
                    <a:pt x="40" y="43"/>
                    <a:pt x="39" y="45"/>
                    <a:pt x="37" y="47"/>
                  </a:cubicBezTo>
                  <a:cubicBezTo>
                    <a:pt x="36" y="47"/>
                    <a:pt x="35" y="47"/>
                    <a:pt x="34" y="4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1" name="Freeform 306"/>
            <p:cNvSpPr>
              <a:spLocks noChangeArrowheads="1"/>
            </p:cNvSpPr>
            <p:nvPr/>
          </p:nvSpPr>
          <p:spPr bwMode="auto">
            <a:xfrm>
              <a:off x="4873625" y="2495550"/>
              <a:ext cx="73025" cy="73025"/>
            </a:xfrm>
            <a:custGeom>
              <a:avLst/>
              <a:gdLst/>
              <a:ahLst/>
              <a:cxnLst>
                <a:cxn ang="0">
                  <a:pos x="102" y="204"/>
                </a:cxn>
                <a:cxn ang="0">
                  <a:pos x="98" y="201"/>
                </a:cxn>
                <a:cxn ang="0">
                  <a:pos x="76" y="147"/>
                </a:cxn>
                <a:cxn ang="0">
                  <a:pos x="64" y="168"/>
                </a:cxn>
                <a:cxn ang="0">
                  <a:pos x="61" y="171"/>
                </a:cxn>
                <a:cxn ang="0">
                  <a:pos x="60" y="171"/>
                </a:cxn>
                <a:cxn ang="0">
                  <a:pos x="57" y="169"/>
                </a:cxn>
                <a:cxn ang="0">
                  <a:pos x="44" y="157"/>
                </a:cxn>
                <a:cxn ang="0">
                  <a:pos x="43" y="153"/>
                </a:cxn>
                <a:cxn ang="0">
                  <a:pos x="43" y="111"/>
                </a:cxn>
                <a:cxn ang="0">
                  <a:pos x="2" y="59"/>
                </a:cxn>
                <a:cxn ang="0">
                  <a:pos x="1" y="54"/>
                </a:cxn>
                <a:cxn ang="0">
                  <a:pos x="22" y="12"/>
                </a:cxn>
                <a:cxn ang="0">
                  <a:pos x="26" y="9"/>
                </a:cxn>
                <a:cxn ang="0">
                  <a:pos x="76" y="0"/>
                </a:cxn>
                <a:cxn ang="0">
                  <a:pos x="172" y="35"/>
                </a:cxn>
                <a:cxn ang="0">
                  <a:pos x="175" y="37"/>
                </a:cxn>
                <a:cxn ang="0">
                  <a:pos x="200" y="88"/>
                </a:cxn>
                <a:cxn ang="0">
                  <a:pos x="199" y="93"/>
                </a:cxn>
                <a:cxn ang="0">
                  <a:pos x="174" y="115"/>
                </a:cxn>
                <a:cxn ang="0">
                  <a:pos x="170" y="116"/>
                </a:cxn>
                <a:cxn ang="0">
                  <a:pos x="167" y="114"/>
                </a:cxn>
                <a:cxn ang="0">
                  <a:pos x="146" y="95"/>
                </a:cxn>
                <a:cxn ang="0">
                  <a:pos x="175" y="198"/>
                </a:cxn>
                <a:cxn ang="0">
                  <a:pos x="173" y="204"/>
                </a:cxn>
                <a:cxn ang="0">
                  <a:pos x="170" y="204"/>
                </a:cxn>
                <a:cxn ang="0">
                  <a:pos x="167" y="203"/>
                </a:cxn>
                <a:cxn ang="0">
                  <a:pos x="133" y="169"/>
                </a:cxn>
                <a:cxn ang="0">
                  <a:pos x="106" y="203"/>
                </a:cxn>
                <a:cxn ang="0">
                  <a:pos x="103" y="204"/>
                </a:cxn>
                <a:cxn ang="0">
                  <a:pos x="102" y="204"/>
                </a:cxn>
              </a:cxnLst>
              <a:rect l="0" t="0" r="r" b="b"/>
              <a:pathLst>
                <a:path w="202" h="205">
                  <a:moveTo>
                    <a:pt x="102" y="204"/>
                  </a:moveTo>
                  <a:cubicBezTo>
                    <a:pt x="101" y="204"/>
                    <a:pt x="99" y="203"/>
                    <a:pt x="98" y="201"/>
                  </a:cubicBezTo>
                  <a:lnTo>
                    <a:pt x="76" y="147"/>
                  </a:lnTo>
                  <a:lnTo>
                    <a:pt x="64" y="168"/>
                  </a:lnTo>
                  <a:cubicBezTo>
                    <a:pt x="64" y="170"/>
                    <a:pt x="62" y="170"/>
                    <a:pt x="61" y="171"/>
                  </a:cubicBezTo>
                  <a:lnTo>
                    <a:pt x="60" y="171"/>
                  </a:lnTo>
                  <a:cubicBezTo>
                    <a:pt x="59" y="171"/>
                    <a:pt x="58" y="170"/>
                    <a:pt x="57" y="169"/>
                  </a:cubicBezTo>
                  <a:lnTo>
                    <a:pt x="44" y="157"/>
                  </a:lnTo>
                  <a:cubicBezTo>
                    <a:pt x="43" y="156"/>
                    <a:pt x="43" y="154"/>
                    <a:pt x="43" y="153"/>
                  </a:cubicBezTo>
                  <a:lnTo>
                    <a:pt x="43" y="111"/>
                  </a:lnTo>
                  <a:lnTo>
                    <a:pt x="2" y="59"/>
                  </a:lnTo>
                  <a:cubicBezTo>
                    <a:pt x="0" y="57"/>
                    <a:pt x="0" y="55"/>
                    <a:pt x="1" y="54"/>
                  </a:cubicBezTo>
                  <a:lnTo>
                    <a:pt x="22" y="12"/>
                  </a:lnTo>
                  <a:cubicBezTo>
                    <a:pt x="23" y="10"/>
                    <a:pt x="24" y="9"/>
                    <a:pt x="26" y="9"/>
                  </a:cubicBezTo>
                  <a:lnTo>
                    <a:pt x="76" y="0"/>
                  </a:lnTo>
                  <a:lnTo>
                    <a:pt x="172" y="35"/>
                  </a:lnTo>
                  <a:cubicBezTo>
                    <a:pt x="173" y="35"/>
                    <a:pt x="174" y="36"/>
                    <a:pt x="175" y="37"/>
                  </a:cubicBezTo>
                  <a:lnTo>
                    <a:pt x="200" y="88"/>
                  </a:lnTo>
                  <a:cubicBezTo>
                    <a:pt x="201" y="90"/>
                    <a:pt x="201" y="92"/>
                    <a:pt x="199" y="93"/>
                  </a:cubicBezTo>
                  <a:lnTo>
                    <a:pt x="174" y="115"/>
                  </a:lnTo>
                  <a:cubicBezTo>
                    <a:pt x="173" y="115"/>
                    <a:pt x="172" y="116"/>
                    <a:pt x="170" y="116"/>
                  </a:cubicBezTo>
                  <a:cubicBezTo>
                    <a:pt x="169" y="116"/>
                    <a:pt x="168" y="115"/>
                    <a:pt x="167" y="114"/>
                  </a:cubicBezTo>
                  <a:lnTo>
                    <a:pt x="146" y="95"/>
                  </a:lnTo>
                  <a:lnTo>
                    <a:pt x="175" y="198"/>
                  </a:lnTo>
                  <a:cubicBezTo>
                    <a:pt x="176" y="201"/>
                    <a:pt x="175" y="203"/>
                    <a:pt x="173" y="204"/>
                  </a:cubicBezTo>
                  <a:cubicBezTo>
                    <a:pt x="172" y="204"/>
                    <a:pt x="171" y="204"/>
                    <a:pt x="170" y="204"/>
                  </a:cubicBezTo>
                  <a:cubicBezTo>
                    <a:pt x="169" y="204"/>
                    <a:pt x="168" y="204"/>
                    <a:pt x="167" y="203"/>
                  </a:cubicBezTo>
                  <a:lnTo>
                    <a:pt x="133" y="169"/>
                  </a:lnTo>
                  <a:lnTo>
                    <a:pt x="106" y="203"/>
                  </a:lnTo>
                  <a:cubicBezTo>
                    <a:pt x="106" y="204"/>
                    <a:pt x="104" y="204"/>
                    <a:pt x="103" y="204"/>
                  </a:cubicBezTo>
                  <a:lnTo>
                    <a:pt x="102" y="20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2" name="Freeform 307"/>
            <p:cNvSpPr>
              <a:spLocks noChangeArrowheads="1"/>
            </p:cNvSpPr>
            <p:nvPr/>
          </p:nvSpPr>
          <p:spPr bwMode="auto">
            <a:xfrm>
              <a:off x="4873625" y="2495550"/>
              <a:ext cx="73025" cy="73025"/>
            </a:xfrm>
            <a:custGeom>
              <a:avLst/>
              <a:gdLst/>
              <a:ahLst/>
              <a:cxnLst>
                <a:cxn ang="0">
                  <a:pos x="102" y="204"/>
                </a:cxn>
                <a:cxn ang="0">
                  <a:pos x="98" y="201"/>
                </a:cxn>
                <a:cxn ang="0">
                  <a:pos x="76" y="147"/>
                </a:cxn>
                <a:cxn ang="0">
                  <a:pos x="64" y="168"/>
                </a:cxn>
                <a:cxn ang="0">
                  <a:pos x="61" y="171"/>
                </a:cxn>
                <a:cxn ang="0">
                  <a:pos x="60" y="171"/>
                </a:cxn>
                <a:cxn ang="0">
                  <a:pos x="57" y="169"/>
                </a:cxn>
                <a:cxn ang="0">
                  <a:pos x="44" y="157"/>
                </a:cxn>
                <a:cxn ang="0">
                  <a:pos x="43" y="153"/>
                </a:cxn>
                <a:cxn ang="0">
                  <a:pos x="43" y="111"/>
                </a:cxn>
                <a:cxn ang="0">
                  <a:pos x="2" y="59"/>
                </a:cxn>
                <a:cxn ang="0">
                  <a:pos x="1" y="54"/>
                </a:cxn>
                <a:cxn ang="0">
                  <a:pos x="22" y="12"/>
                </a:cxn>
                <a:cxn ang="0">
                  <a:pos x="26" y="9"/>
                </a:cxn>
                <a:cxn ang="0">
                  <a:pos x="76" y="0"/>
                </a:cxn>
                <a:cxn ang="0">
                  <a:pos x="172" y="35"/>
                </a:cxn>
                <a:cxn ang="0">
                  <a:pos x="175" y="37"/>
                </a:cxn>
                <a:cxn ang="0">
                  <a:pos x="200" y="88"/>
                </a:cxn>
                <a:cxn ang="0">
                  <a:pos x="199" y="93"/>
                </a:cxn>
                <a:cxn ang="0">
                  <a:pos x="174" y="115"/>
                </a:cxn>
                <a:cxn ang="0">
                  <a:pos x="170" y="116"/>
                </a:cxn>
                <a:cxn ang="0">
                  <a:pos x="167" y="114"/>
                </a:cxn>
                <a:cxn ang="0">
                  <a:pos x="146" y="95"/>
                </a:cxn>
                <a:cxn ang="0">
                  <a:pos x="175" y="198"/>
                </a:cxn>
                <a:cxn ang="0">
                  <a:pos x="173" y="204"/>
                </a:cxn>
                <a:cxn ang="0">
                  <a:pos x="170" y="204"/>
                </a:cxn>
                <a:cxn ang="0">
                  <a:pos x="167" y="203"/>
                </a:cxn>
                <a:cxn ang="0">
                  <a:pos x="133" y="169"/>
                </a:cxn>
                <a:cxn ang="0">
                  <a:pos x="106" y="203"/>
                </a:cxn>
                <a:cxn ang="0">
                  <a:pos x="103" y="204"/>
                </a:cxn>
                <a:cxn ang="0">
                  <a:pos x="102" y="204"/>
                </a:cxn>
              </a:cxnLst>
              <a:rect l="0" t="0" r="r" b="b"/>
              <a:pathLst>
                <a:path w="202" h="205">
                  <a:moveTo>
                    <a:pt x="102" y="204"/>
                  </a:moveTo>
                  <a:cubicBezTo>
                    <a:pt x="101" y="204"/>
                    <a:pt x="99" y="203"/>
                    <a:pt x="98" y="201"/>
                  </a:cubicBezTo>
                  <a:lnTo>
                    <a:pt x="76" y="147"/>
                  </a:lnTo>
                  <a:lnTo>
                    <a:pt x="64" y="168"/>
                  </a:lnTo>
                  <a:cubicBezTo>
                    <a:pt x="64" y="170"/>
                    <a:pt x="62" y="170"/>
                    <a:pt x="61" y="171"/>
                  </a:cubicBezTo>
                  <a:lnTo>
                    <a:pt x="60" y="171"/>
                  </a:lnTo>
                  <a:cubicBezTo>
                    <a:pt x="59" y="171"/>
                    <a:pt x="58" y="170"/>
                    <a:pt x="57" y="169"/>
                  </a:cubicBezTo>
                  <a:lnTo>
                    <a:pt x="44" y="157"/>
                  </a:lnTo>
                  <a:cubicBezTo>
                    <a:pt x="43" y="156"/>
                    <a:pt x="43" y="154"/>
                    <a:pt x="43" y="153"/>
                  </a:cubicBezTo>
                  <a:lnTo>
                    <a:pt x="43" y="111"/>
                  </a:lnTo>
                  <a:lnTo>
                    <a:pt x="2" y="59"/>
                  </a:lnTo>
                  <a:cubicBezTo>
                    <a:pt x="0" y="57"/>
                    <a:pt x="0" y="55"/>
                    <a:pt x="1" y="54"/>
                  </a:cubicBezTo>
                  <a:lnTo>
                    <a:pt x="22" y="12"/>
                  </a:lnTo>
                  <a:cubicBezTo>
                    <a:pt x="23" y="10"/>
                    <a:pt x="24" y="9"/>
                    <a:pt x="26" y="9"/>
                  </a:cubicBezTo>
                  <a:lnTo>
                    <a:pt x="76" y="0"/>
                  </a:lnTo>
                  <a:lnTo>
                    <a:pt x="172" y="35"/>
                  </a:lnTo>
                  <a:cubicBezTo>
                    <a:pt x="173" y="35"/>
                    <a:pt x="174" y="36"/>
                    <a:pt x="175" y="37"/>
                  </a:cubicBezTo>
                  <a:lnTo>
                    <a:pt x="200" y="88"/>
                  </a:lnTo>
                  <a:cubicBezTo>
                    <a:pt x="201" y="90"/>
                    <a:pt x="201" y="92"/>
                    <a:pt x="199" y="93"/>
                  </a:cubicBezTo>
                  <a:lnTo>
                    <a:pt x="174" y="115"/>
                  </a:lnTo>
                  <a:cubicBezTo>
                    <a:pt x="173" y="115"/>
                    <a:pt x="172" y="116"/>
                    <a:pt x="170" y="116"/>
                  </a:cubicBezTo>
                  <a:cubicBezTo>
                    <a:pt x="169" y="116"/>
                    <a:pt x="168" y="115"/>
                    <a:pt x="167" y="114"/>
                  </a:cubicBezTo>
                  <a:lnTo>
                    <a:pt x="146" y="95"/>
                  </a:lnTo>
                  <a:lnTo>
                    <a:pt x="175" y="198"/>
                  </a:lnTo>
                  <a:cubicBezTo>
                    <a:pt x="176" y="201"/>
                    <a:pt x="175" y="203"/>
                    <a:pt x="173" y="204"/>
                  </a:cubicBezTo>
                  <a:cubicBezTo>
                    <a:pt x="172" y="204"/>
                    <a:pt x="171" y="204"/>
                    <a:pt x="170" y="204"/>
                  </a:cubicBezTo>
                  <a:cubicBezTo>
                    <a:pt x="169" y="204"/>
                    <a:pt x="168" y="204"/>
                    <a:pt x="167" y="203"/>
                  </a:cubicBezTo>
                  <a:lnTo>
                    <a:pt x="133" y="169"/>
                  </a:lnTo>
                  <a:lnTo>
                    <a:pt x="106" y="203"/>
                  </a:lnTo>
                  <a:cubicBezTo>
                    <a:pt x="106" y="204"/>
                    <a:pt x="104" y="204"/>
                    <a:pt x="103" y="204"/>
                  </a:cubicBezTo>
                  <a:lnTo>
                    <a:pt x="102" y="20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3" name="Freeform 308"/>
            <p:cNvSpPr>
              <a:spLocks noChangeArrowheads="1"/>
            </p:cNvSpPr>
            <p:nvPr/>
          </p:nvSpPr>
          <p:spPr bwMode="auto">
            <a:xfrm>
              <a:off x="4983163" y="2506663"/>
              <a:ext cx="11112" cy="15875"/>
            </a:xfrm>
            <a:custGeom>
              <a:avLst/>
              <a:gdLst/>
              <a:ahLst/>
              <a:cxnLst>
                <a:cxn ang="0">
                  <a:pos x="23" y="41"/>
                </a:cxn>
                <a:cxn ang="0">
                  <a:pos x="1" y="7"/>
                </a:cxn>
                <a:cxn ang="0">
                  <a:pos x="2" y="2"/>
                </a:cxn>
                <a:cxn ang="0">
                  <a:pos x="5" y="0"/>
                </a:cxn>
                <a:cxn ang="0">
                  <a:pos x="7" y="1"/>
                </a:cxn>
                <a:cxn ang="0">
                  <a:pos x="28" y="9"/>
                </a:cxn>
                <a:cxn ang="0">
                  <a:pos x="31" y="13"/>
                </a:cxn>
                <a:cxn ang="0">
                  <a:pos x="31" y="39"/>
                </a:cxn>
                <a:cxn ang="0">
                  <a:pos x="28" y="43"/>
                </a:cxn>
                <a:cxn ang="0">
                  <a:pos x="26" y="44"/>
                </a:cxn>
                <a:cxn ang="0">
                  <a:pos x="23" y="41"/>
                </a:cxn>
              </a:cxnLst>
              <a:rect l="0" t="0" r="r" b="b"/>
              <a:pathLst>
                <a:path w="32" h="45">
                  <a:moveTo>
                    <a:pt x="23" y="41"/>
                  </a:moveTo>
                  <a:lnTo>
                    <a:pt x="1" y="7"/>
                  </a:lnTo>
                  <a:cubicBezTo>
                    <a:pt x="0" y="6"/>
                    <a:pt x="0" y="4"/>
                    <a:pt x="2" y="2"/>
                  </a:cubicBezTo>
                  <a:cubicBezTo>
                    <a:pt x="3" y="1"/>
                    <a:pt x="4" y="0"/>
                    <a:pt x="5" y="0"/>
                  </a:cubicBezTo>
                  <a:cubicBezTo>
                    <a:pt x="6" y="0"/>
                    <a:pt x="7" y="0"/>
                    <a:pt x="7" y="1"/>
                  </a:cubicBezTo>
                  <a:lnTo>
                    <a:pt x="28" y="9"/>
                  </a:lnTo>
                  <a:cubicBezTo>
                    <a:pt x="30" y="10"/>
                    <a:pt x="31" y="12"/>
                    <a:pt x="31" y="13"/>
                  </a:cubicBezTo>
                  <a:lnTo>
                    <a:pt x="31" y="39"/>
                  </a:lnTo>
                  <a:cubicBezTo>
                    <a:pt x="31" y="41"/>
                    <a:pt x="30" y="43"/>
                    <a:pt x="28" y="43"/>
                  </a:cubicBezTo>
                  <a:cubicBezTo>
                    <a:pt x="27" y="44"/>
                    <a:pt x="27" y="44"/>
                    <a:pt x="26" y="44"/>
                  </a:cubicBezTo>
                  <a:cubicBezTo>
                    <a:pt x="25" y="44"/>
                    <a:pt x="23" y="43"/>
                    <a:pt x="23" y="4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4" name="Freeform 309"/>
            <p:cNvSpPr>
              <a:spLocks noChangeArrowheads="1"/>
            </p:cNvSpPr>
            <p:nvPr/>
          </p:nvSpPr>
          <p:spPr bwMode="auto">
            <a:xfrm>
              <a:off x="4983163" y="2506663"/>
              <a:ext cx="11112" cy="15875"/>
            </a:xfrm>
            <a:custGeom>
              <a:avLst/>
              <a:gdLst/>
              <a:ahLst/>
              <a:cxnLst>
                <a:cxn ang="0">
                  <a:pos x="26" y="44"/>
                </a:cxn>
                <a:cxn ang="0">
                  <a:pos x="23" y="41"/>
                </a:cxn>
                <a:cxn ang="0">
                  <a:pos x="1" y="7"/>
                </a:cxn>
                <a:cxn ang="0">
                  <a:pos x="2" y="2"/>
                </a:cxn>
                <a:cxn ang="0">
                  <a:pos x="5" y="0"/>
                </a:cxn>
                <a:cxn ang="0">
                  <a:pos x="7" y="1"/>
                </a:cxn>
                <a:cxn ang="0">
                  <a:pos x="28" y="9"/>
                </a:cxn>
                <a:cxn ang="0">
                  <a:pos x="31" y="13"/>
                </a:cxn>
                <a:cxn ang="0">
                  <a:pos x="31" y="39"/>
                </a:cxn>
                <a:cxn ang="0">
                  <a:pos x="28" y="43"/>
                </a:cxn>
                <a:cxn ang="0">
                  <a:pos x="26" y="44"/>
                </a:cxn>
              </a:cxnLst>
              <a:rect l="0" t="0" r="r" b="b"/>
              <a:pathLst>
                <a:path w="32" h="45">
                  <a:moveTo>
                    <a:pt x="26" y="44"/>
                  </a:moveTo>
                  <a:cubicBezTo>
                    <a:pt x="25" y="44"/>
                    <a:pt x="23" y="43"/>
                    <a:pt x="23" y="41"/>
                  </a:cubicBezTo>
                  <a:lnTo>
                    <a:pt x="1" y="7"/>
                  </a:lnTo>
                  <a:cubicBezTo>
                    <a:pt x="0" y="6"/>
                    <a:pt x="0" y="4"/>
                    <a:pt x="2" y="2"/>
                  </a:cubicBezTo>
                  <a:cubicBezTo>
                    <a:pt x="3" y="1"/>
                    <a:pt x="4" y="0"/>
                    <a:pt x="5" y="0"/>
                  </a:cubicBezTo>
                  <a:cubicBezTo>
                    <a:pt x="6" y="0"/>
                    <a:pt x="7" y="0"/>
                    <a:pt x="7" y="1"/>
                  </a:cubicBezTo>
                  <a:lnTo>
                    <a:pt x="28" y="9"/>
                  </a:lnTo>
                  <a:cubicBezTo>
                    <a:pt x="30" y="10"/>
                    <a:pt x="31" y="12"/>
                    <a:pt x="31" y="13"/>
                  </a:cubicBezTo>
                  <a:lnTo>
                    <a:pt x="31" y="39"/>
                  </a:lnTo>
                  <a:cubicBezTo>
                    <a:pt x="31" y="41"/>
                    <a:pt x="30" y="43"/>
                    <a:pt x="28" y="43"/>
                  </a:cubicBezTo>
                  <a:cubicBezTo>
                    <a:pt x="27" y="44"/>
                    <a:pt x="27" y="44"/>
                    <a:pt x="26" y="4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5" name="Freeform 310"/>
            <p:cNvSpPr>
              <a:spLocks noChangeArrowheads="1"/>
            </p:cNvSpPr>
            <p:nvPr/>
          </p:nvSpPr>
          <p:spPr bwMode="auto">
            <a:xfrm>
              <a:off x="4946650" y="2595563"/>
              <a:ext cx="85725" cy="31750"/>
            </a:xfrm>
            <a:custGeom>
              <a:avLst/>
              <a:gdLst/>
              <a:ahLst/>
              <a:cxnLst>
                <a:cxn ang="0">
                  <a:pos x="107" y="84"/>
                </a:cxn>
                <a:cxn ang="0">
                  <a:pos x="83" y="55"/>
                </a:cxn>
                <a:cxn ang="0">
                  <a:pos x="4" y="51"/>
                </a:cxn>
                <a:cxn ang="0">
                  <a:pos x="0" y="49"/>
                </a:cxn>
                <a:cxn ang="0">
                  <a:pos x="0" y="45"/>
                </a:cxn>
                <a:cxn ang="0">
                  <a:pos x="17" y="3"/>
                </a:cxn>
                <a:cxn ang="0">
                  <a:pos x="21" y="0"/>
                </a:cxn>
                <a:cxn ang="0">
                  <a:pos x="55" y="0"/>
                </a:cxn>
                <a:cxn ang="0">
                  <a:pos x="59" y="2"/>
                </a:cxn>
                <a:cxn ang="0">
                  <a:pos x="75" y="25"/>
                </a:cxn>
                <a:cxn ang="0">
                  <a:pos x="131" y="21"/>
                </a:cxn>
                <a:cxn ang="0">
                  <a:pos x="209" y="46"/>
                </a:cxn>
                <a:cxn ang="0">
                  <a:pos x="232" y="38"/>
                </a:cxn>
                <a:cxn ang="0">
                  <a:pos x="233" y="38"/>
                </a:cxn>
                <a:cxn ang="0">
                  <a:pos x="237" y="39"/>
                </a:cxn>
                <a:cxn ang="0">
                  <a:pos x="238" y="44"/>
                </a:cxn>
                <a:cxn ang="0">
                  <a:pos x="229" y="69"/>
                </a:cxn>
                <a:cxn ang="0">
                  <a:pos x="225" y="73"/>
                </a:cxn>
                <a:cxn ang="0">
                  <a:pos x="110" y="85"/>
                </a:cxn>
                <a:cxn ang="0">
                  <a:pos x="107" y="84"/>
                </a:cxn>
              </a:cxnLst>
              <a:rect l="0" t="0" r="r" b="b"/>
              <a:pathLst>
                <a:path w="239" h="86">
                  <a:moveTo>
                    <a:pt x="107" y="84"/>
                  </a:moveTo>
                  <a:lnTo>
                    <a:pt x="83" y="55"/>
                  </a:lnTo>
                  <a:lnTo>
                    <a:pt x="4" y="51"/>
                  </a:lnTo>
                  <a:cubicBezTo>
                    <a:pt x="3" y="51"/>
                    <a:pt x="1" y="51"/>
                    <a:pt x="0" y="49"/>
                  </a:cubicBezTo>
                  <a:cubicBezTo>
                    <a:pt x="0" y="48"/>
                    <a:pt x="0" y="46"/>
                    <a:pt x="0" y="45"/>
                  </a:cubicBezTo>
                  <a:lnTo>
                    <a:pt x="17" y="3"/>
                  </a:lnTo>
                  <a:cubicBezTo>
                    <a:pt x="18" y="1"/>
                    <a:pt x="19" y="0"/>
                    <a:pt x="21" y="0"/>
                  </a:cubicBezTo>
                  <a:lnTo>
                    <a:pt x="55" y="0"/>
                  </a:lnTo>
                  <a:cubicBezTo>
                    <a:pt x="57" y="0"/>
                    <a:pt x="58" y="0"/>
                    <a:pt x="59" y="2"/>
                  </a:cubicBezTo>
                  <a:lnTo>
                    <a:pt x="75" y="25"/>
                  </a:lnTo>
                  <a:lnTo>
                    <a:pt x="131" y="21"/>
                  </a:lnTo>
                  <a:lnTo>
                    <a:pt x="209" y="46"/>
                  </a:lnTo>
                  <a:lnTo>
                    <a:pt x="232" y="38"/>
                  </a:lnTo>
                  <a:lnTo>
                    <a:pt x="233" y="38"/>
                  </a:lnTo>
                  <a:cubicBezTo>
                    <a:pt x="235" y="38"/>
                    <a:pt x="236" y="38"/>
                    <a:pt x="237" y="39"/>
                  </a:cubicBezTo>
                  <a:cubicBezTo>
                    <a:pt x="238" y="40"/>
                    <a:pt x="238" y="42"/>
                    <a:pt x="238" y="44"/>
                  </a:cubicBezTo>
                  <a:lnTo>
                    <a:pt x="229" y="69"/>
                  </a:lnTo>
                  <a:cubicBezTo>
                    <a:pt x="229" y="71"/>
                    <a:pt x="227" y="72"/>
                    <a:pt x="225" y="73"/>
                  </a:cubicBezTo>
                  <a:lnTo>
                    <a:pt x="110" y="85"/>
                  </a:lnTo>
                  <a:cubicBezTo>
                    <a:pt x="109" y="85"/>
                    <a:pt x="108" y="85"/>
                    <a:pt x="107" y="8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6" name="Freeform 311"/>
            <p:cNvSpPr>
              <a:spLocks noChangeArrowheads="1"/>
            </p:cNvSpPr>
            <p:nvPr/>
          </p:nvSpPr>
          <p:spPr bwMode="auto">
            <a:xfrm>
              <a:off x="4946650" y="2595563"/>
              <a:ext cx="85725" cy="31750"/>
            </a:xfrm>
            <a:custGeom>
              <a:avLst/>
              <a:gdLst/>
              <a:ahLst/>
              <a:cxnLst>
                <a:cxn ang="0">
                  <a:pos x="110" y="85"/>
                </a:cxn>
                <a:cxn ang="0">
                  <a:pos x="107" y="84"/>
                </a:cxn>
                <a:cxn ang="0">
                  <a:pos x="83" y="55"/>
                </a:cxn>
                <a:cxn ang="0">
                  <a:pos x="4" y="51"/>
                </a:cxn>
                <a:cxn ang="0">
                  <a:pos x="0" y="49"/>
                </a:cxn>
                <a:cxn ang="0">
                  <a:pos x="0" y="45"/>
                </a:cxn>
                <a:cxn ang="0">
                  <a:pos x="17" y="3"/>
                </a:cxn>
                <a:cxn ang="0">
                  <a:pos x="21" y="0"/>
                </a:cxn>
                <a:cxn ang="0">
                  <a:pos x="55" y="0"/>
                </a:cxn>
                <a:cxn ang="0">
                  <a:pos x="59" y="2"/>
                </a:cxn>
                <a:cxn ang="0">
                  <a:pos x="75" y="25"/>
                </a:cxn>
                <a:cxn ang="0">
                  <a:pos x="131" y="21"/>
                </a:cxn>
                <a:cxn ang="0">
                  <a:pos x="209" y="46"/>
                </a:cxn>
                <a:cxn ang="0">
                  <a:pos x="232" y="38"/>
                </a:cxn>
                <a:cxn ang="0">
                  <a:pos x="233" y="38"/>
                </a:cxn>
                <a:cxn ang="0">
                  <a:pos x="237" y="39"/>
                </a:cxn>
                <a:cxn ang="0">
                  <a:pos x="238" y="44"/>
                </a:cxn>
                <a:cxn ang="0">
                  <a:pos x="229" y="69"/>
                </a:cxn>
                <a:cxn ang="0">
                  <a:pos x="225" y="73"/>
                </a:cxn>
                <a:cxn ang="0">
                  <a:pos x="110" y="85"/>
                </a:cxn>
              </a:cxnLst>
              <a:rect l="0" t="0" r="r" b="b"/>
              <a:pathLst>
                <a:path w="239" h="86">
                  <a:moveTo>
                    <a:pt x="110" y="85"/>
                  </a:moveTo>
                  <a:cubicBezTo>
                    <a:pt x="109" y="85"/>
                    <a:pt x="108" y="85"/>
                    <a:pt x="107" y="84"/>
                  </a:cubicBezTo>
                  <a:lnTo>
                    <a:pt x="83" y="55"/>
                  </a:lnTo>
                  <a:lnTo>
                    <a:pt x="4" y="51"/>
                  </a:lnTo>
                  <a:cubicBezTo>
                    <a:pt x="3" y="51"/>
                    <a:pt x="1" y="51"/>
                    <a:pt x="0" y="49"/>
                  </a:cubicBezTo>
                  <a:cubicBezTo>
                    <a:pt x="0" y="48"/>
                    <a:pt x="0" y="46"/>
                    <a:pt x="0" y="45"/>
                  </a:cubicBezTo>
                  <a:lnTo>
                    <a:pt x="17" y="3"/>
                  </a:lnTo>
                  <a:cubicBezTo>
                    <a:pt x="18" y="1"/>
                    <a:pt x="19" y="0"/>
                    <a:pt x="21" y="0"/>
                  </a:cubicBezTo>
                  <a:lnTo>
                    <a:pt x="55" y="0"/>
                  </a:lnTo>
                  <a:cubicBezTo>
                    <a:pt x="57" y="0"/>
                    <a:pt x="58" y="0"/>
                    <a:pt x="59" y="2"/>
                  </a:cubicBezTo>
                  <a:lnTo>
                    <a:pt x="75" y="25"/>
                  </a:lnTo>
                  <a:lnTo>
                    <a:pt x="131" y="21"/>
                  </a:lnTo>
                  <a:lnTo>
                    <a:pt x="209" y="46"/>
                  </a:lnTo>
                  <a:lnTo>
                    <a:pt x="232" y="38"/>
                  </a:lnTo>
                  <a:lnTo>
                    <a:pt x="233" y="38"/>
                  </a:lnTo>
                  <a:cubicBezTo>
                    <a:pt x="235" y="38"/>
                    <a:pt x="236" y="38"/>
                    <a:pt x="237" y="39"/>
                  </a:cubicBezTo>
                  <a:cubicBezTo>
                    <a:pt x="238" y="40"/>
                    <a:pt x="238" y="42"/>
                    <a:pt x="238" y="44"/>
                  </a:cubicBezTo>
                  <a:lnTo>
                    <a:pt x="229" y="69"/>
                  </a:lnTo>
                  <a:cubicBezTo>
                    <a:pt x="229" y="71"/>
                    <a:pt x="227" y="72"/>
                    <a:pt x="225" y="73"/>
                  </a:cubicBezTo>
                  <a:lnTo>
                    <a:pt x="110" y="8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7" name="Freeform 312"/>
            <p:cNvSpPr>
              <a:spLocks noChangeArrowheads="1"/>
            </p:cNvSpPr>
            <p:nvPr/>
          </p:nvSpPr>
          <p:spPr bwMode="auto">
            <a:xfrm>
              <a:off x="5073650" y="2563813"/>
              <a:ext cx="19050" cy="23812"/>
            </a:xfrm>
            <a:custGeom>
              <a:avLst/>
              <a:gdLst/>
              <a:ahLst/>
              <a:cxnLst>
                <a:cxn ang="0">
                  <a:pos x="3" y="63"/>
                </a:cxn>
                <a:cxn ang="0">
                  <a:pos x="0" y="59"/>
                </a:cxn>
                <a:cxn ang="0">
                  <a:pos x="0" y="34"/>
                </a:cxn>
                <a:cxn ang="0">
                  <a:pos x="3" y="30"/>
                </a:cxn>
                <a:cxn ang="0">
                  <a:pos x="45" y="1"/>
                </a:cxn>
                <a:cxn ang="0">
                  <a:pos x="48" y="0"/>
                </a:cxn>
                <a:cxn ang="0">
                  <a:pos x="51" y="1"/>
                </a:cxn>
                <a:cxn ang="0">
                  <a:pos x="52" y="6"/>
                </a:cxn>
                <a:cxn ang="0">
                  <a:pos x="35" y="49"/>
                </a:cxn>
                <a:cxn ang="0">
                  <a:pos x="33" y="51"/>
                </a:cxn>
                <a:cxn ang="0">
                  <a:pos x="7" y="64"/>
                </a:cxn>
                <a:cxn ang="0">
                  <a:pos x="5" y="64"/>
                </a:cxn>
                <a:cxn ang="0">
                  <a:pos x="3" y="63"/>
                </a:cxn>
              </a:cxnLst>
              <a:rect l="0" t="0" r="r" b="b"/>
              <a:pathLst>
                <a:path w="54" h="65">
                  <a:moveTo>
                    <a:pt x="3" y="63"/>
                  </a:moveTo>
                  <a:cubicBezTo>
                    <a:pt x="1" y="63"/>
                    <a:pt x="0" y="61"/>
                    <a:pt x="0" y="59"/>
                  </a:cubicBezTo>
                  <a:lnTo>
                    <a:pt x="0" y="34"/>
                  </a:lnTo>
                  <a:cubicBezTo>
                    <a:pt x="0" y="33"/>
                    <a:pt x="1" y="31"/>
                    <a:pt x="3" y="30"/>
                  </a:cubicBezTo>
                  <a:lnTo>
                    <a:pt x="45" y="1"/>
                  </a:lnTo>
                  <a:cubicBezTo>
                    <a:pt x="46" y="0"/>
                    <a:pt x="47" y="0"/>
                    <a:pt x="48" y="0"/>
                  </a:cubicBezTo>
                  <a:cubicBezTo>
                    <a:pt x="49" y="0"/>
                    <a:pt x="50" y="0"/>
                    <a:pt x="51" y="1"/>
                  </a:cubicBezTo>
                  <a:cubicBezTo>
                    <a:pt x="52" y="2"/>
                    <a:pt x="53" y="4"/>
                    <a:pt x="52" y="6"/>
                  </a:cubicBezTo>
                  <a:lnTo>
                    <a:pt x="35" y="49"/>
                  </a:lnTo>
                  <a:cubicBezTo>
                    <a:pt x="35" y="50"/>
                    <a:pt x="34" y="51"/>
                    <a:pt x="33" y="51"/>
                  </a:cubicBezTo>
                  <a:lnTo>
                    <a:pt x="7" y="64"/>
                  </a:lnTo>
                  <a:cubicBezTo>
                    <a:pt x="7" y="64"/>
                    <a:pt x="6" y="64"/>
                    <a:pt x="5" y="64"/>
                  </a:cubicBezTo>
                  <a:cubicBezTo>
                    <a:pt x="4" y="64"/>
                    <a:pt x="4" y="64"/>
                    <a:pt x="3" y="6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8" name="Freeform 313"/>
            <p:cNvSpPr>
              <a:spLocks noChangeArrowheads="1"/>
            </p:cNvSpPr>
            <p:nvPr/>
          </p:nvSpPr>
          <p:spPr bwMode="auto">
            <a:xfrm>
              <a:off x="5073650" y="2563813"/>
              <a:ext cx="19050" cy="23812"/>
            </a:xfrm>
            <a:custGeom>
              <a:avLst/>
              <a:gdLst/>
              <a:ahLst/>
              <a:cxnLst>
                <a:cxn ang="0">
                  <a:pos x="5" y="64"/>
                </a:cxn>
                <a:cxn ang="0">
                  <a:pos x="3" y="63"/>
                </a:cxn>
                <a:cxn ang="0">
                  <a:pos x="0" y="59"/>
                </a:cxn>
                <a:cxn ang="0">
                  <a:pos x="0" y="34"/>
                </a:cxn>
                <a:cxn ang="0">
                  <a:pos x="3" y="30"/>
                </a:cxn>
                <a:cxn ang="0">
                  <a:pos x="45" y="1"/>
                </a:cxn>
                <a:cxn ang="0">
                  <a:pos x="48" y="0"/>
                </a:cxn>
                <a:cxn ang="0">
                  <a:pos x="51" y="1"/>
                </a:cxn>
                <a:cxn ang="0">
                  <a:pos x="52" y="6"/>
                </a:cxn>
                <a:cxn ang="0">
                  <a:pos x="35" y="49"/>
                </a:cxn>
                <a:cxn ang="0">
                  <a:pos x="33" y="51"/>
                </a:cxn>
                <a:cxn ang="0">
                  <a:pos x="7" y="64"/>
                </a:cxn>
                <a:cxn ang="0">
                  <a:pos x="5" y="64"/>
                </a:cxn>
              </a:cxnLst>
              <a:rect l="0" t="0" r="r" b="b"/>
              <a:pathLst>
                <a:path w="54" h="65">
                  <a:moveTo>
                    <a:pt x="5" y="64"/>
                  </a:moveTo>
                  <a:cubicBezTo>
                    <a:pt x="4" y="64"/>
                    <a:pt x="4" y="64"/>
                    <a:pt x="3" y="63"/>
                  </a:cubicBezTo>
                  <a:cubicBezTo>
                    <a:pt x="1" y="63"/>
                    <a:pt x="0" y="61"/>
                    <a:pt x="0" y="59"/>
                  </a:cubicBezTo>
                  <a:lnTo>
                    <a:pt x="0" y="34"/>
                  </a:lnTo>
                  <a:cubicBezTo>
                    <a:pt x="0" y="33"/>
                    <a:pt x="1" y="31"/>
                    <a:pt x="3" y="30"/>
                  </a:cubicBezTo>
                  <a:lnTo>
                    <a:pt x="45" y="1"/>
                  </a:lnTo>
                  <a:cubicBezTo>
                    <a:pt x="46" y="0"/>
                    <a:pt x="47" y="0"/>
                    <a:pt x="48" y="0"/>
                  </a:cubicBezTo>
                  <a:cubicBezTo>
                    <a:pt x="49" y="0"/>
                    <a:pt x="50" y="0"/>
                    <a:pt x="51" y="1"/>
                  </a:cubicBezTo>
                  <a:cubicBezTo>
                    <a:pt x="52" y="2"/>
                    <a:pt x="53" y="4"/>
                    <a:pt x="52" y="6"/>
                  </a:cubicBezTo>
                  <a:lnTo>
                    <a:pt x="35" y="49"/>
                  </a:lnTo>
                  <a:cubicBezTo>
                    <a:pt x="35" y="50"/>
                    <a:pt x="34" y="51"/>
                    <a:pt x="33" y="51"/>
                  </a:cubicBezTo>
                  <a:lnTo>
                    <a:pt x="7" y="64"/>
                  </a:lnTo>
                  <a:cubicBezTo>
                    <a:pt x="7" y="64"/>
                    <a:pt x="6" y="64"/>
                    <a:pt x="5" y="6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19" name="Freeform 314"/>
            <p:cNvSpPr>
              <a:spLocks noChangeArrowheads="1"/>
            </p:cNvSpPr>
            <p:nvPr/>
          </p:nvSpPr>
          <p:spPr bwMode="auto">
            <a:xfrm>
              <a:off x="5016500" y="2481263"/>
              <a:ext cx="12700" cy="19050"/>
            </a:xfrm>
            <a:custGeom>
              <a:avLst/>
              <a:gdLst/>
              <a:ahLst/>
              <a:cxnLst>
                <a:cxn ang="0">
                  <a:pos x="9" y="48"/>
                </a:cxn>
                <a:cxn ang="0">
                  <a:pos x="1" y="6"/>
                </a:cxn>
                <a:cxn ang="0">
                  <a:pos x="2" y="1"/>
                </a:cxn>
                <a:cxn ang="0">
                  <a:pos x="5" y="0"/>
                </a:cxn>
                <a:cxn ang="0">
                  <a:pos x="7" y="1"/>
                </a:cxn>
                <a:cxn ang="0">
                  <a:pos x="33" y="14"/>
                </a:cxn>
                <a:cxn ang="0">
                  <a:pos x="35" y="16"/>
                </a:cxn>
                <a:cxn ang="0">
                  <a:pos x="35" y="20"/>
                </a:cxn>
                <a:cxn ang="0">
                  <a:pos x="18" y="50"/>
                </a:cxn>
                <a:cxn ang="0">
                  <a:pos x="14" y="52"/>
                </a:cxn>
                <a:cxn ang="0">
                  <a:pos x="13" y="52"/>
                </a:cxn>
                <a:cxn ang="0">
                  <a:pos x="9" y="48"/>
                </a:cxn>
              </a:cxnLst>
              <a:rect l="0" t="0" r="r" b="b"/>
              <a:pathLst>
                <a:path w="37" h="53">
                  <a:moveTo>
                    <a:pt x="9" y="48"/>
                  </a:moveTo>
                  <a:lnTo>
                    <a:pt x="1" y="6"/>
                  </a:lnTo>
                  <a:cubicBezTo>
                    <a:pt x="0" y="4"/>
                    <a:pt x="1" y="2"/>
                    <a:pt x="2" y="1"/>
                  </a:cubicBezTo>
                  <a:cubicBezTo>
                    <a:pt x="3" y="1"/>
                    <a:pt x="4" y="0"/>
                    <a:pt x="5" y="0"/>
                  </a:cubicBezTo>
                  <a:cubicBezTo>
                    <a:pt x="6" y="0"/>
                    <a:pt x="7" y="1"/>
                    <a:pt x="7" y="1"/>
                  </a:cubicBezTo>
                  <a:lnTo>
                    <a:pt x="33" y="14"/>
                  </a:lnTo>
                  <a:cubicBezTo>
                    <a:pt x="34" y="14"/>
                    <a:pt x="35" y="15"/>
                    <a:pt x="35" y="16"/>
                  </a:cubicBezTo>
                  <a:cubicBezTo>
                    <a:pt x="36" y="18"/>
                    <a:pt x="35" y="19"/>
                    <a:pt x="35" y="20"/>
                  </a:cubicBezTo>
                  <a:lnTo>
                    <a:pt x="18" y="50"/>
                  </a:lnTo>
                  <a:cubicBezTo>
                    <a:pt x="17" y="51"/>
                    <a:pt x="15" y="52"/>
                    <a:pt x="14" y="52"/>
                  </a:cubicBezTo>
                  <a:lnTo>
                    <a:pt x="13" y="52"/>
                  </a:lnTo>
                  <a:cubicBezTo>
                    <a:pt x="11" y="52"/>
                    <a:pt x="10" y="50"/>
                    <a:pt x="9" y="4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0" name="Freeform 315"/>
            <p:cNvSpPr>
              <a:spLocks noChangeArrowheads="1"/>
            </p:cNvSpPr>
            <p:nvPr/>
          </p:nvSpPr>
          <p:spPr bwMode="auto">
            <a:xfrm>
              <a:off x="5016500" y="2481263"/>
              <a:ext cx="12700" cy="19050"/>
            </a:xfrm>
            <a:custGeom>
              <a:avLst/>
              <a:gdLst/>
              <a:ahLst/>
              <a:cxnLst>
                <a:cxn ang="0">
                  <a:pos x="13" y="52"/>
                </a:cxn>
                <a:cxn ang="0">
                  <a:pos x="9" y="48"/>
                </a:cxn>
                <a:cxn ang="0">
                  <a:pos x="1" y="6"/>
                </a:cxn>
                <a:cxn ang="0">
                  <a:pos x="2" y="1"/>
                </a:cxn>
                <a:cxn ang="0">
                  <a:pos x="5" y="0"/>
                </a:cxn>
                <a:cxn ang="0">
                  <a:pos x="7" y="1"/>
                </a:cxn>
                <a:cxn ang="0">
                  <a:pos x="33" y="14"/>
                </a:cxn>
                <a:cxn ang="0">
                  <a:pos x="35" y="16"/>
                </a:cxn>
                <a:cxn ang="0">
                  <a:pos x="35" y="20"/>
                </a:cxn>
                <a:cxn ang="0">
                  <a:pos x="18" y="50"/>
                </a:cxn>
                <a:cxn ang="0">
                  <a:pos x="14" y="52"/>
                </a:cxn>
                <a:cxn ang="0">
                  <a:pos x="13" y="52"/>
                </a:cxn>
              </a:cxnLst>
              <a:rect l="0" t="0" r="r" b="b"/>
              <a:pathLst>
                <a:path w="37" h="53">
                  <a:moveTo>
                    <a:pt x="13" y="52"/>
                  </a:moveTo>
                  <a:cubicBezTo>
                    <a:pt x="11" y="52"/>
                    <a:pt x="10" y="50"/>
                    <a:pt x="9" y="48"/>
                  </a:cubicBezTo>
                  <a:lnTo>
                    <a:pt x="1" y="6"/>
                  </a:lnTo>
                  <a:cubicBezTo>
                    <a:pt x="0" y="4"/>
                    <a:pt x="1" y="2"/>
                    <a:pt x="2" y="1"/>
                  </a:cubicBezTo>
                  <a:cubicBezTo>
                    <a:pt x="3" y="1"/>
                    <a:pt x="4" y="0"/>
                    <a:pt x="5" y="0"/>
                  </a:cubicBezTo>
                  <a:cubicBezTo>
                    <a:pt x="6" y="0"/>
                    <a:pt x="7" y="1"/>
                    <a:pt x="7" y="1"/>
                  </a:cubicBezTo>
                  <a:lnTo>
                    <a:pt x="33" y="14"/>
                  </a:lnTo>
                  <a:cubicBezTo>
                    <a:pt x="34" y="14"/>
                    <a:pt x="35" y="15"/>
                    <a:pt x="35" y="16"/>
                  </a:cubicBezTo>
                  <a:cubicBezTo>
                    <a:pt x="36" y="18"/>
                    <a:pt x="35" y="19"/>
                    <a:pt x="35" y="20"/>
                  </a:cubicBezTo>
                  <a:lnTo>
                    <a:pt x="18" y="50"/>
                  </a:lnTo>
                  <a:cubicBezTo>
                    <a:pt x="17" y="51"/>
                    <a:pt x="15" y="52"/>
                    <a:pt x="14" y="52"/>
                  </a:cubicBezTo>
                  <a:lnTo>
                    <a:pt x="13" y="5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1" name="Freeform 316"/>
            <p:cNvSpPr>
              <a:spLocks noChangeArrowheads="1"/>
            </p:cNvSpPr>
            <p:nvPr/>
          </p:nvSpPr>
          <p:spPr bwMode="auto">
            <a:xfrm>
              <a:off x="5016500" y="2454275"/>
              <a:ext cx="23813" cy="14288"/>
            </a:xfrm>
            <a:custGeom>
              <a:avLst/>
              <a:gdLst/>
              <a:ahLst/>
              <a:cxnLst>
                <a:cxn ang="0">
                  <a:pos x="5" y="31"/>
                </a:cxn>
                <a:cxn ang="0">
                  <a:pos x="1" y="27"/>
                </a:cxn>
                <a:cxn ang="0">
                  <a:pos x="3" y="22"/>
                </a:cxn>
                <a:cxn ang="0">
                  <a:pos x="41" y="1"/>
                </a:cxn>
                <a:cxn ang="0">
                  <a:pos x="43" y="0"/>
                </a:cxn>
                <a:cxn ang="0">
                  <a:pos x="47" y="2"/>
                </a:cxn>
                <a:cxn ang="0">
                  <a:pos x="64" y="32"/>
                </a:cxn>
                <a:cxn ang="0">
                  <a:pos x="64" y="37"/>
                </a:cxn>
                <a:cxn ang="0">
                  <a:pos x="60" y="39"/>
                </a:cxn>
                <a:cxn ang="0">
                  <a:pos x="5" y="31"/>
                </a:cxn>
              </a:cxnLst>
              <a:rect l="0" t="0" r="r" b="b"/>
              <a:pathLst>
                <a:path w="66" h="40">
                  <a:moveTo>
                    <a:pt x="5" y="31"/>
                  </a:moveTo>
                  <a:cubicBezTo>
                    <a:pt x="3" y="30"/>
                    <a:pt x="1" y="29"/>
                    <a:pt x="1" y="27"/>
                  </a:cubicBezTo>
                  <a:cubicBezTo>
                    <a:pt x="0" y="25"/>
                    <a:pt x="1" y="23"/>
                    <a:pt x="3" y="22"/>
                  </a:cubicBezTo>
                  <a:lnTo>
                    <a:pt x="41" y="1"/>
                  </a:lnTo>
                  <a:cubicBezTo>
                    <a:pt x="42" y="0"/>
                    <a:pt x="43" y="0"/>
                    <a:pt x="43" y="0"/>
                  </a:cubicBezTo>
                  <a:cubicBezTo>
                    <a:pt x="45" y="0"/>
                    <a:pt x="47" y="1"/>
                    <a:pt x="47" y="2"/>
                  </a:cubicBezTo>
                  <a:lnTo>
                    <a:pt x="64" y="32"/>
                  </a:lnTo>
                  <a:cubicBezTo>
                    <a:pt x="65" y="34"/>
                    <a:pt x="65" y="36"/>
                    <a:pt x="64" y="37"/>
                  </a:cubicBezTo>
                  <a:cubicBezTo>
                    <a:pt x="63" y="38"/>
                    <a:pt x="62" y="39"/>
                    <a:pt x="60" y="39"/>
                  </a:cubicBezTo>
                  <a:lnTo>
                    <a:pt x="5" y="3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2" name="Freeform 317"/>
            <p:cNvSpPr>
              <a:spLocks noChangeArrowheads="1"/>
            </p:cNvSpPr>
            <p:nvPr/>
          </p:nvSpPr>
          <p:spPr bwMode="auto">
            <a:xfrm>
              <a:off x="5016500" y="2454275"/>
              <a:ext cx="23813" cy="14288"/>
            </a:xfrm>
            <a:custGeom>
              <a:avLst/>
              <a:gdLst/>
              <a:ahLst/>
              <a:cxnLst>
                <a:cxn ang="0">
                  <a:pos x="5" y="31"/>
                </a:cxn>
                <a:cxn ang="0">
                  <a:pos x="1" y="27"/>
                </a:cxn>
                <a:cxn ang="0">
                  <a:pos x="3" y="22"/>
                </a:cxn>
                <a:cxn ang="0">
                  <a:pos x="41" y="1"/>
                </a:cxn>
                <a:cxn ang="0">
                  <a:pos x="43" y="0"/>
                </a:cxn>
                <a:cxn ang="0">
                  <a:pos x="47" y="2"/>
                </a:cxn>
                <a:cxn ang="0">
                  <a:pos x="64" y="32"/>
                </a:cxn>
                <a:cxn ang="0">
                  <a:pos x="64" y="37"/>
                </a:cxn>
                <a:cxn ang="0">
                  <a:pos x="60" y="39"/>
                </a:cxn>
                <a:cxn ang="0">
                  <a:pos x="5" y="31"/>
                </a:cxn>
              </a:cxnLst>
              <a:rect l="0" t="0" r="r" b="b"/>
              <a:pathLst>
                <a:path w="66" h="40">
                  <a:moveTo>
                    <a:pt x="5" y="31"/>
                  </a:moveTo>
                  <a:cubicBezTo>
                    <a:pt x="3" y="30"/>
                    <a:pt x="1" y="29"/>
                    <a:pt x="1" y="27"/>
                  </a:cubicBezTo>
                  <a:cubicBezTo>
                    <a:pt x="0" y="25"/>
                    <a:pt x="1" y="23"/>
                    <a:pt x="3" y="22"/>
                  </a:cubicBezTo>
                  <a:lnTo>
                    <a:pt x="41" y="1"/>
                  </a:lnTo>
                  <a:cubicBezTo>
                    <a:pt x="42" y="0"/>
                    <a:pt x="43" y="0"/>
                    <a:pt x="43" y="0"/>
                  </a:cubicBezTo>
                  <a:cubicBezTo>
                    <a:pt x="45" y="0"/>
                    <a:pt x="47" y="1"/>
                    <a:pt x="47" y="2"/>
                  </a:cubicBezTo>
                  <a:lnTo>
                    <a:pt x="64" y="32"/>
                  </a:lnTo>
                  <a:cubicBezTo>
                    <a:pt x="65" y="34"/>
                    <a:pt x="65" y="36"/>
                    <a:pt x="64" y="37"/>
                  </a:cubicBezTo>
                  <a:cubicBezTo>
                    <a:pt x="63" y="38"/>
                    <a:pt x="62" y="39"/>
                    <a:pt x="60" y="39"/>
                  </a:cubicBezTo>
                  <a:lnTo>
                    <a:pt x="5" y="3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3" name="Freeform 318"/>
            <p:cNvSpPr>
              <a:spLocks noChangeArrowheads="1"/>
            </p:cNvSpPr>
            <p:nvPr/>
          </p:nvSpPr>
          <p:spPr bwMode="auto">
            <a:xfrm>
              <a:off x="4989513" y="2428875"/>
              <a:ext cx="15875" cy="9525"/>
            </a:xfrm>
            <a:custGeom>
              <a:avLst/>
              <a:gdLst/>
              <a:ahLst/>
              <a:cxnLst>
                <a:cxn ang="0">
                  <a:pos x="2" y="26"/>
                </a:cxn>
                <a:cxn ang="0">
                  <a:pos x="1" y="21"/>
                </a:cxn>
                <a:cxn ang="0">
                  <a:pos x="5" y="4"/>
                </a:cxn>
                <a:cxn ang="0">
                  <a:pos x="9" y="0"/>
                </a:cxn>
                <a:cxn ang="0">
                  <a:pos x="31" y="0"/>
                </a:cxn>
                <a:cxn ang="0">
                  <a:pos x="34" y="2"/>
                </a:cxn>
                <a:cxn ang="0">
                  <a:pos x="38" y="6"/>
                </a:cxn>
                <a:cxn ang="0">
                  <a:pos x="40" y="10"/>
                </a:cxn>
                <a:cxn ang="0">
                  <a:pos x="37" y="14"/>
                </a:cxn>
                <a:cxn ang="0">
                  <a:pos x="7" y="26"/>
                </a:cxn>
                <a:cxn ang="0">
                  <a:pos x="5" y="27"/>
                </a:cxn>
                <a:cxn ang="0">
                  <a:pos x="2" y="26"/>
                </a:cxn>
              </a:cxnLst>
              <a:rect l="0" t="0" r="r" b="b"/>
              <a:pathLst>
                <a:path w="42" h="28">
                  <a:moveTo>
                    <a:pt x="2" y="26"/>
                  </a:moveTo>
                  <a:cubicBezTo>
                    <a:pt x="1" y="25"/>
                    <a:pt x="0" y="23"/>
                    <a:pt x="1" y="21"/>
                  </a:cubicBezTo>
                  <a:lnTo>
                    <a:pt x="5" y="4"/>
                  </a:lnTo>
                  <a:cubicBezTo>
                    <a:pt x="5" y="2"/>
                    <a:pt x="7" y="0"/>
                    <a:pt x="9" y="0"/>
                  </a:cubicBezTo>
                  <a:lnTo>
                    <a:pt x="31" y="0"/>
                  </a:lnTo>
                  <a:cubicBezTo>
                    <a:pt x="32" y="0"/>
                    <a:pt x="33" y="1"/>
                    <a:pt x="34" y="2"/>
                  </a:cubicBezTo>
                  <a:lnTo>
                    <a:pt x="38" y="6"/>
                  </a:lnTo>
                  <a:cubicBezTo>
                    <a:pt x="39" y="7"/>
                    <a:pt x="41" y="8"/>
                    <a:pt x="40" y="10"/>
                  </a:cubicBezTo>
                  <a:cubicBezTo>
                    <a:pt x="40" y="11"/>
                    <a:pt x="38" y="13"/>
                    <a:pt x="37" y="14"/>
                  </a:cubicBezTo>
                  <a:lnTo>
                    <a:pt x="7" y="26"/>
                  </a:lnTo>
                  <a:cubicBezTo>
                    <a:pt x="6" y="27"/>
                    <a:pt x="6" y="27"/>
                    <a:pt x="5" y="27"/>
                  </a:cubicBezTo>
                  <a:cubicBezTo>
                    <a:pt x="4" y="27"/>
                    <a:pt x="3" y="26"/>
                    <a:pt x="2" y="2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4" name="Freeform 319"/>
            <p:cNvSpPr>
              <a:spLocks noChangeArrowheads="1"/>
            </p:cNvSpPr>
            <p:nvPr/>
          </p:nvSpPr>
          <p:spPr bwMode="auto">
            <a:xfrm>
              <a:off x="4989513" y="2428875"/>
              <a:ext cx="15875" cy="9525"/>
            </a:xfrm>
            <a:custGeom>
              <a:avLst/>
              <a:gdLst/>
              <a:ahLst/>
              <a:cxnLst>
                <a:cxn ang="0">
                  <a:pos x="5" y="27"/>
                </a:cxn>
                <a:cxn ang="0">
                  <a:pos x="2" y="26"/>
                </a:cxn>
                <a:cxn ang="0">
                  <a:pos x="1" y="21"/>
                </a:cxn>
                <a:cxn ang="0">
                  <a:pos x="5" y="4"/>
                </a:cxn>
                <a:cxn ang="0">
                  <a:pos x="9" y="0"/>
                </a:cxn>
                <a:cxn ang="0">
                  <a:pos x="31" y="0"/>
                </a:cxn>
                <a:cxn ang="0">
                  <a:pos x="34" y="2"/>
                </a:cxn>
                <a:cxn ang="0">
                  <a:pos x="38" y="6"/>
                </a:cxn>
                <a:cxn ang="0">
                  <a:pos x="40" y="10"/>
                </a:cxn>
                <a:cxn ang="0">
                  <a:pos x="37" y="14"/>
                </a:cxn>
                <a:cxn ang="0">
                  <a:pos x="7" y="26"/>
                </a:cxn>
                <a:cxn ang="0">
                  <a:pos x="5" y="27"/>
                </a:cxn>
              </a:cxnLst>
              <a:rect l="0" t="0" r="r" b="b"/>
              <a:pathLst>
                <a:path w="42" h="28">
                  <a:moveTo>
                    <a:pt x="5" y="27"/>
                  </a:moveTo>
                  <a:cubicBezTo>
                    <a:pt x="4" y="27"/>
                    <a:pt x="3" y="26"/>
                    <a:pt x="2" y="26"/>
                  </a:cubicBezTo>
                  <a:cubicBezTo>
                    <a:pt x="1" y="25"/>
                    <a:pt x="0" y="23"/>
                    <a:pt x="1" y="21"/>
                  </a:cubicBezTo>
                  <a:lnTo>
                    <a:pt x="5" y="4"/>
                  </a:lnTo>
                  <a:cubicBezTo>
                    <a:pt x="5" y="2"/>
                    <a:pt x="7" y="0"/>
                    <a:pt x="9" y="0"/>
                  </a:cubicBezTo>
                  <a:lnTo>
                    <a:pt x="31" y="0"/>
                  </a:lnTo>
                  <a:cubicBezTo>
                    <a:pt x="32" y="0"/>
                    <a:pt x="33" y="1"/>
                    <a:pt x="34" y="2"/>
                  </a:cubicBezTo>
                  <a:lnTo>
                    <a:pt x="38" y="6"/>
                  </a:lnTo>
                  <a:cubicBezTo>
                    <a:pt x="39" y="7"/>
                    <a:pt x="41" y="8"/>
                    <a:pt x="40" y="10"/>
                  </a:cubicBezTo>
                  <a:cubicBezTo>
                    <a:pt x="40" y="11"/>
                    <a:pt x="38" y="13"/>
                    <a:pt x="37" y="14"/>
                  </a:cubicBezTo>
                  <a:lnTo>
                    <a:pt x="7" y="26"/>
                  </a:lnTo>
                  <a:cubicBezTo>
                    <a:pt x="6" y="27"/>
                    <a:pt x="6" y="27"/>
                    <a:pt x="5" y="2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5" name="Freeform 320"/>
            <p:cNvSpPr>
              <a:spLocks noChangeArrowheads="1"/>
            </p:cNvSpPr>
            <p:nvPr/>
          </p:nvSpPr>
          <p:spPr bwMode="auto">
            <a:xfrm>
              <a:off x="4975225" y="2397125"/>
              <a:ext cx="11113" cy="11113"/>
            </a:xfrm>
            <a:custGeom>
              <a:avLst/>
              <a:gdLst/>
              <a:ahLst/>
              <a:cxnLst>
                <a:cxn ang="0">
                  <a:pos x="19" y="29"/>
                </a:cxn>
                <a:cxn ang="0">
                  <a:pos x="2" y="17"/>
                </a:cxn>
                <a:cxn ang="0">
                  <a:pos x="0" y="12"/>
                </a:cxn>
                <a:cxn ang="0">
                  <a:pos x="3" y="8"/>
                </a:cxn>
                <a:cxn ang="0">
                  <a:pos x="25" y="0"/>
                </a:cxn>
                <a:cxn ang="0">
                  <a:pos x="26" y="0"/>
                </a:cxn>
                <a:cxn ang="0">
                  <a:pos x="29" y="1"/>
                </a:cxn>
                <a:cxn ang="0">
                  <a:pos x="31" y="5"/>
                </a:cxn>
                <a:cxn ang="0">
                  <a:pos x="26" y="26"/>
                </a:cxn>
                <a:cxn ang="0">
                  <a:pos x="24" y="30"/>
                </a:cxn>
                <a:cxn ang="0">
                  <a:pos x="22" y="30"/>
                </a:cxn>
                <a:cxn ang="0">
                  <a:pos x="19" y="29"/>
                </a:cxn>
              </a:cxnLst>
              <a:rect l="0" t="0" r="r" b="b"/>
              <a:pathLst>
                <a:path w="32" h="31">
                  <a:moveTo>
                    <a:pt x="19" y="29"/>
                  </a:moveTo>
                  <a:lnTo>
                    <a:pt x="2" y="17"/>
                  </a:lnTo>
                  <a:cubicBezTo>
                    <a:pt x="1" y="16"/>
                    <a:pt x="0" y="14"/>
                    <a:pt x="0" y="12"/>
                  </a:cubicBezTo>
                  <a:cubicBezTo>
                    <a:pt x="0" y="11"/>
                    <a:pt x="2" y="9"/>
                    <a:pt x="3" y="8"/>
                  </a:cubicBezTo>
                  <a:lnTo>
                    <a:pt x="25" y="0"/>
                  </a:lnTo>
                  <a:lnTo>
                    <a:pt x="26" y="0"/>
                  </a:lnTo>
                  <a:cubicBezTo>
                    <a:pt x="27" y="0"/>
                    <a:pt x="28" y="0"/>
                    <a:pt x="29" y="1"/>
                  </a:cubicBezTo>
                  <a:cubicBezTo>
                    <a:pt x="30" y="2"/>
                    <a:pt x="31" y="4"/>
                    <a:pt x="31" y="5"/>
                  </a:cubicBezTo>
                  <a:lnTo>
                    <a:pt x="26" y="26"/>
                  </a:lnTo>
                  <a:cubicBezTo>
                    <a:pt x="26" y="28"/>
                    <a:pt x="25" y="29"/>
                    <a:pt x="24" y="30"/>
                  </a:cubicBezTo>
                  <a:cubicBezTo>
                    <a:pt x="23" y="30"/>
                    <a:pt x="22" y="30"/>
                    <a:pt x="22" y="30"/>
                  </a:cubicBezTo>
                  <a:cubicBezTo>
                    <a:pt x="21" y="30"/>
                    <a:pt x="20" y="30"/>
                    <a:pt x="19" y="2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6" name="Freeform 321"/>
            <p:cNvSpPr>
              <a:spLocks noChangeArrowheads="1"/>
            </p:cNvSpPr>
            <p:nvPr/>
          </p:nvSpPr>
          <p:spPr bwMode="auto">
            <a:xfrm>
              <a:off x="4975225" y="2397125"/>
              <a:ext cx="11113" cy="11113"/>
            </a:xfrm>
            <a:custGeom>
              <a:avLst/>
              <a:gdLst/>
              <a:ahLst/>
              <a:cxnLst>
                <a:cxn ang="0">
                  <a:pos x="22" y="30"/>
                </a:cxn>
                <a:cxn ang="0">
                  <a:pos x="19" y="29"/>
                </a:cxn>
                <a:cxn ang="0">
                  <a:pos x="2" y="17"/>
                </a:cxn>
                <a:cxn ang="0">
                  <a:pos x="0" y="12"/>
                </a:cxn>
                <a:cxn ang="0">
                  <a:pos x="3" y="8"/>
                </a:cxn>
                <a:cxn ang="0">
                  <a:pos x="25" y="0"/>
                </a:cxn>
                <a:cxn ang="0">
                  <a:pos x="26" y="0"/>
                </a:cxn>
                <a:cxn ang="0">
                  <a:pos x="29" y="1"/>
                </a:cxn>
                <a:cxn ang="0">
                  <a:pos x="31" y="5"/>
                </a:cxn>
                <a:cxn ang="0">
                  <a:pos x="26" y="26"/>
                </a:cxn>
                <a:cxn ang="0">
                  <a:pos x="24" y="30"/>
                </a:cxn>
                <a:cxn ang="0">
                  <a:pos x="22" y="30"/>
                </a:cxn>
              </a:cxnLst>
              <a:rect l="0" t="0" r="r" b="b"/>
              <a:pathLst>
                <a:path w="32" h="31">
                  <a:moveTo>
                    <a:pt x="22" y="30"/>
                  </a:moveTo>
                  <a:cubicBezTo>
                    <a:pt x="21" y="30"/>
                    <a:pt x="20" y="30"/>
                    <a:pt x="19" y="29"/>
                  </a:cubicBezTo>
                  <a:lnTo>
                    <a:pt x="2" y="17"/>
                  </a:lnTo>
                  <a:cubicBezTo>
                    <a:pt x="1" y="16"/>
                    <a:pt x="0" y="14"/>
                    <a:pt x="0" y="12"/>
                  </a:cubicBezTo>
                  <a:cubicBezTo>
                    <a:pt x="0" y="11"/>
                    <a:pt x="2" y="9"/>
                    <a:pt x="3" y="8"/>
                  </a:cubicBezTo>
                  <a:lnTo>
                    <a:pt x="25" y="0"/>
                  </a:lnTo>
                  <a:lnTo>
                    <a:pt x="26" y="0"/>
                  </a:lnTo>
                  <a:cubicBezTo>
                    <a:pt x="27" y="0"/>
                    <a:pt x="28" y="0"/>
                    <a:pt x="29" y="1"/>
                  </a:cubicBezTo>
                  <a:cubicBezTo>
                    <a:pt x="30" y="2"/>
                    <a:pt x="31" y="4"/>
                    <a:pt x="31" y="5"/>
                  </a:cubicBezTo>
                  <a:lnTo>
                    <a:pt x="26" y="26"/>
                  </a:lnTo>
                  <a:cubicBezTo>
                    <a:pt x="26" y="28"/>
                    <a:pt x="25" y="29"/>
                    <a:pt x="24" y="30"/>
                  </a:cubicBezTo>
                  <a:cubicBezTo>
                    <a:pt x="23" y="30"/>
                    <a:pt x="22" y="30"/>
                    <a:pt x="22" y="3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7" name="Freeform 322"/>
            <p:cNvSpPr>
              <a:spLocks noChangeArrowheads="1"/>
            </p:cNvSpPr>
            <p:nvPr/>
          </p:nvSpPr>
          <p:spPr bwMode="auto">
            <a:xfrm>
              <a:off x="4932363" y="2465388"/>
              <a:ext cx="50800" cy="44450"/>
            </a:xfrm>
            <a:custGeom>
              <a:avLst/>
              <a:gdLst/>
              <a:ahLst/>
              <a:cxnLst>
                <a:cxn ang="0">
                  <a:pos x="119" y="124"/>
                </a:cxn>
                <a:cxn ang="0">
                  <a:pos x="115" y="121"/>
                </a:cxn>
                <a:cxn ang="0">
                  <a:pos x="98" y="92"/>
                </a:cxn>
                <a:cxn ang="0">
                  <a:pos x="2" y="30"/>
                </a:cxn>
                <a:cxn ang="0">
                  <a:pos x="0" y="26"/>
                </a:cxn>
                <a:cxn ang="0">
                  <a:pos x="2" y="22"/>
                </a:cxn>
                <a:cxn ang="0">
                  <a:pos x="31" y="1"/>
                </a:cxn>
                <a:cxn ang="0">
                  <a:pos x="34" y="0"/>
                </a:cxn>
                <a:cxn ang="0">
                  <a:pos x="36" y="1"/>
                </a:cxn>
                <a:cxn ang="0">
                  <a:pos x="104" y="43"/>
                </a:cxn>
                <a:cxn ang="0">
                  <a:pos x="140" y="104"/>
                </a:cxn>
                <a:cxn ang="0">
                  <a:pos x="140" y="119"/>
                </a:cxn>
                <a:cxn ang="0">
                  <a:pos x="136" y="124"/>
                </a:cxn>
                <a:cxn ang="0">
                  <a:pos x="119" y="124"/>
                </a:cxn>
              </a:cxnLst>
              <a:rect l="0" t="0" r="r" b="b"/>
              <a:pathLst>
                <a:path w="141" h="125">
                  <a:moveTo>
                    <a:pt x="119" y="124"/>
                  </a:moveTo>
                  <a:cubicBezTo>
                    <a:pt x="117" y="124"/>
                    <a:pt x="115" y="123"/>
                    <a:pt x="115" y="121"/>
                  </a:cubicBezTo>
                  <a:lnTo>
                    <a:pt x="98" y="92"/>
                  </a:lnTo>
                  <a:lnTo>
                    <a:pt x="2" y="30"/>
                  </a:lnTo>
                  <a:cubicBezTo>
                    <a:pt x="0" y="29"/>
                    <a:pt x="0" y="28"/>
                    <a:pt x="0" y="26"/>
                  </a:cubicBezTo>
                  <a:cubicBezTo>
                    <a:pt x="0" y="24"/>
                    <a:pt x="0" y="23"/>
                    <a:pt x="2" y="22"/>
                  </a:cubicBezTo>
                  <a:lnTo>
                    <a:pt x="31" y="1"/>
                  </a:lnTo>
                  <a:cubicBezTo>
                    <a:pt x="32" y="0"/>
                    <a:pt x="33" y="0"/>
                    <a:pt x="34" y="0"/>
                  </a:cubicBezTo>
                  <a:cubicBezTo>
                    <a:pt x="35" y="0"/>
                    <a:pt x="36" y="0"/>
                    <a:pt x="36" y="1"/>
                  </a:cubicBezTo>
                  <a:lnTo>
                    <a:pt x="104" y="43"/>
                  </a:lnTo>
                  <a:lnTo>
                    <a:pt x="140" y="104"/>
                  </a:lnTo>
                  <a:lnTo>
                    <a:pt x="140" y="119"/>
                  </a:lnTo>
                  <a:cubicBezTo>
                    <a:pt x="140" y="122"/>
                    <a:pt x="138" y="124"/>
                    <a:pt x="136" y="124"/>
                  </a:cubicBezTo>
                  <a:lnTo>
                    <a:pt x="119" y="12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8" name="Freeform 323"/>
            <p:cNvSpPr>
              <a:spLocks noChangeArrowheads="1"/>
            </p:cNvSpPr>
            <p:nvPr/>
          </p:nvSpPr>
          <p:spPr bwMode="auto">
            <a:xfrm>
              <a:off x="4932363" y="2465388"/>
              <a:ext cx="50800" cy="44450"/>
            </a:xfrm>
            <a:custGeom>
              <a:avLst/>
              <a:gdLst/>
              <a:ahLst/>
              <a:cxnLst>
                <a:cxn ang="0">
                  <a:pos x="119" y="124"/>
                </a:cxn>
                <a:cxn ang="0">
                  <a:pos x="115" y="121"/>
                </a:cxn>
                <a:cxn ang="0">
                  <a:pos x="98" y="92"/>
                </a:cxn>
                <a:cxn ang="0">
                  <a:pos x="2" y="30"/>
                </a:cxn>
                <a:cxn ang="0">
                  <a:pos x="0" y="26"/>
                </a:cxn>
                <a:cxn ang="0">
                  <a:pos x="2" y="22"/>
                </a:cxn>
                <a:cxn ang="0">
                  <a:pos x="31" y="1"/>
                </a:cxn>
                <a:cxn ang="0">
                  <a:pos x="34" y="0"/>
                </a:cxn>
                <a:cxn ang="0">
                  <a:pos x="36" y="1"/>
                </a:cxn>
                <a:cxn ang="0">
                  <a:pos x="104" y="43"/>
                </a:cxn>
                <a:cxn ang="0">
                  <a:pos x="140" y="104"/>
                </a:cxn>
                <a:cxn ang="0">
                  <a:pos x="140" y="119"/>
                </a:cxn>
                <a:cxn ang="0">
                  <a:pos x="136" y="124"/>
                </a:cxn>
                <a:cxn ang="0">
                  <a:pos x="119" y="124"/>
                </a:cxn>
              </a:cxnLst>
              <a:rect l="0" t="0" r="r" b="b"/>
              <a:pathLst>
                <a:path w="141" h="125">
                  <a:moveTo>
                    <a:pt x="119" y="124"/>
                  </a:moveTo>
                  <a:cubicBezTo>
                    <a:pt x="117" y="124"/>
                    <a:pt x="115" y="123"/>
                    <a:pt x="115" y="121"/>
                  </a:cubicBezTo>
                  <a:lnTo>
                    <a:pt x="98" y="92"/>
                  </a:lnTo>
                  <a:lnTo>
                    <a:pt x="2" y="30"/>
                  </a:lnTo>
                  <a:cubicBezTo>
                    <a:pt x="0" y="29"/>
                    <a:pt x="0" y="28"/>
                    <a:pt x="0" y="26"/>
                  </a:cubicBezTo>
                  <a:cubicBezTo>
                    <a:pt x="0" y="24"/>
                    <a:pt x="0" y="23"/>
                    <a:pt x="2" y="22"/>
                  </a:cubicBezTo>
                  <a:lnTo>
                    <a:pt x="31" y="1"/>
                  </a:lnTo>
                  <a:cubicBezTo>
                    <a:pt x="32" y="0"/>
                    <a:pt x="33" y="0"/>
                    <a:pt x="34" y="0"/>
                  </a:cubicBezTo>
                  <a:cubicBezTo>
                    <a:pt x="35" y="0"/>
                    <a:pt x="36" y="0"/>
                    <a:pt x="36" y="1"/>
                  </a:cubicBezTo>
                  <a:lnTo>
                    <a:pt x="104" y="43"/>
                  </a:lnTo>
                  <a:lnTo>
                    <a:pt x="140" y="104"/>
                  </a:lnTo>
                  <a:lnTo>
                    <a:pt x="140" y="119"/>
                  </a:lnTo>
                  <a:cubicBezTo>
                    <a:pt x="140" y="122"/>
                    <a:pt x="138" y="124"/>
                    <a:pt x="136" y="124"/>
                  </a:cubicBezTo>
                  <a:lnTo>
                    <a:pt x="119" y="12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29" name="Freeform 324"/>
            <p:cNvSpPr>
              <a:spLocks noChangeArrowheads="1"/>
            </p:cNvSpPr>
            <p:nvPr/>
          </p:nvSpPr>
          <p:spPr bwMode="auto">
            <a:xfrm>
              <a:off x="4441825" y="2135188"/>
              <a:ext cx="357188" cy="376237"/>
            </a:xfrm>
            <a:custGeom>
              <a:avLst/>
              <a:gdLst/>
              <a:ahLst/>
              <a:cxnLst>
                <a:cxn ang="0">
                  <a:pos x="750" y="1038"/>
                </a:cxn>
                <a:cxn ang="0">
                  <a:pos x="759" y="960"/>
                </a:cxn>
                <a:cxn ang="0">
                  <a:pos x="787" y="942"/>
                </a:cxn>
                <a:cxn ang="0">
                  <a:pos x="732" y="825"/>
                </a:cxn>
                <a:cxn ang="0">
                  <a:pos x="727" y="825"/>
                </a:cxn>
                <a:cxn ang="0">
                  <a:pos x="676" y="754"/>
                </a:cxn>
                <a:cxn ang="0">
                  <a:pos x="637" y="752"/>
                </a:cxn>
                <a:cxn ang="0">
                  <a:pos x="531" y="686"/>
                </a:cxn>
                <a:cxn ang="0">
                  <a:pos x="409" y="562"/>
                </a:cxn>
                <a:cxn ang="0">
                  <a:pos x="370" y="557"/>
                </a:cxn>
                <a:cxn ang="0">
                  <a:pos x="285" y="376"/>
                </a:cxn>
                <a:cxn ang="0">
                  <a:pos x="123" y="380"/>
                </a:cxn>
                <a:cxn ang="0">
                  <a:pos x="73" y="394"/>
                </a:cxn>
                <a:cxn ang="0">
                  <a:pos x="68" y="390"/>
                </a:cxn>
                <a:cxn ang="0">
                  <a:pos x="30" y="352"/>
                </a:cxn>
                <a:cxn ang="0">
                  <a:pos x="14" y="274"/>
                </a:cxn>
                <a:cxn ang="0">
                  <a:pos x="1" y="260"/>
                </a:cxn>
                <a:cxn ang="0">
                  <a:pos x="1" y="159"/>
                </a:cxn>
                <a:cxn ang="0">
                  <a:pos x="3" y="153"/>
                </a:cxn>
                <a:cxn ang="0">
                  <a:pos x="94" y="135"/>
                </a:cxn>
                <a:cxn ang="0">
                  <a:pos x="145" y="85"/>
                </a:cxn>
                <a:cxn ang="0">
                  <a:pos x="149" y="86"/>
                </a:cxn>
                <a:cxn ang="0">
                  <a:pos x="213" y="75"/>
                </a:cxn>
                <a:cxn ang="0">
                  <a:pos x="218" y="72"/>
                </a:cxn>
                <a:cxn ang="0">
                  <a:pos x="276" y="60"/>
                </a:cxn>
                <a:cxn ang="0">
                  <a:pos x="301" y="52"/>
                </a:cxn>
                <a:cxn ang="0">
                  <a:pos x="305" y="25"/>
                </a:cxn>
                <a:cxn ang="0">
                  <a:pos x="454" y="2"/>
                </a:cxn>
                <a:cxn ang="0">
                  <a:pos x="583" y="72"/>
                </a:cxn>
                <a:cxn ang="0">
                  <a:pos x="585" y="79"/>
                </a:cxn>
                <a:cxn ang="0">
                  <a:pos x="573" y="102"/>
                </a:cxn>
                <a:cxn ang="0">
                  <a:pos x="590" y="147"/>
                </a:cxn>
                <a:cxn ang="0">
                  <a:pos x="607" y="180"/>
                </a:cxn>
                <a:cxn ang="0">
                  <a:pos x="583" y="191"/>
                </a:cxn>
                <a:cxn ang="0">
                  <a:pos x="577" y="188"/>
                </a:cxn>
                <a:cxn ang="0">
                  <a:pos x="543" y="170"/>
                </a:cxn>
                <a:cxn ang="0">
                  <a:pos x="472" y="240"/>
                </a:cxn>
                <a:cxn ang="0">
                  <a:pos x="488" y="260"/>
                </a:cxn>
                <a:cxn ang="0">
                  <a:pos x="489" y="350"/>
                </a:cxn>
                <a:cxn ang="0">
                  <a:pos x="624" y="527"/>
                </a:cxn>
                <a:cxn ang="0">
                  <a:pos x="710" y="609"/>
                </a:cxn>
                <a:cxn ang="0">
                  <a:pos x="784" y="598"/>
                </a:cxn>
                <a:cxn ang="0">
                  <a:pos x="793" y="611"/>
                </a:cxn>
                <a:cxn ang="0">
                  <a:pos x="939" y="732"/>
                </a:cxn>
                <a:cxn ang="0">
                  <a:pos x="988" y="810"/>
                </a:cxn>
                <a:cxn ang="0">
                  <a:pos x="976" y="838"/>
                </a:cxn>
                <a:cxn ang="0">
                  <a:pos x="972" y="837"/>
                </a:cxn>
                <a:cxn ang="0">
                  <a:pos x="878" y="763"/>
                </a:cxn>
                <a:cxn ang="0">
                  <a:pos x="828" y="840"/>
                </a:cxn>
                <a:cxn ang="0">
                  <a:pos x="874" y="876"/>
                </a:cxn>
                <a:cxn ang="0">
                  <a:pos x="871" y="927"/>
                </a:cxn>
                <a:cxn ang="0">
                  <a:pos x="828" y="991"/>
                </a:cxn>
                <a:cxn ang="0">
                  <a:pos x="785" y="1042"/>
                </a:cxn>
              </a:cxnLst>
              <a:rect l="0" t="0" r="r" b="b"/>
              <a:pathLst>
                <a:path w="990" h="1043">
                  <a:moveTo>
                    <a:pt x="755" y="1042"/>
                  </a:moveTo>
                  <a:cubicBezTo>
                    <a:pt x="753" y="1042"/>
                    <a:pt x="751" y="1040"/>
                    <a:pt x="750" y="1038"/>
                  </a:cubicBezTo>
                  <a:lnTo>
                    <a:pt x="746" y="1008"/>
                  </a:lnTo>
                  <a:lnTo>
                    <a:pt x="759" y="960"/>
                  </a:lnTo>
                  <a:cubicBezTo>
                    <a:pt x="759" y="958"/>
                    <a:pt x="760" y="957"/>
                    <a:pt x="761" y="957"/>
                  </a:cubicBezTo>
                  <a:lnTo>
                    <a:pt x="787" y="942"/>
                  </a:lnTo>
                  <a:lnTo>
                    <a:pt x="744" y="816"/>
                  </a:lnTo>
                  <a:lnTo>
                    <a:pt x="732" y="825"/>
                  </a:lnTo>
                  <a:cubicBezTo>
                    <a:pt x="732" y="826"/>
                    <a:pt x="731" y="826"/>
                    <a:pt x="730" y="826"/>
                  </a:cubicBezTo>
                  <a:cubicBezTo>
                    <a:pt x="729" y="826"/>
                    <a:pt x="728" y="826"/>
                    <a:pt x="727" y="825"/>
                  </a:cubicBezTo>
                  <a:lnTo>
                    <a:pt x="693" y="800"/>
                  </a:lnTo>
                  <a:lnTo>
                    <a:pt x="676" y="754"/>
                  </a:lnTo>
                  <a:lnTo>
                    <a:pt x="641" y="754"/>
                  </a:lnTo>
                  <a:cubicBezTo>
                    <a:pt x="639" y="754"/>
                    <a:pt x="638" y="753"/>
                    <a:pt x="637" y="752"/>
                  </a:cubicBezTo>
                  <a:lnTo>
                    <a:pt x="583" y="686"/>
                  </a:lnTo>
                  <a:lnTo>
                    <a:pt x="531" y="686"/>
                  </a:lnTo>
                  <a:cubicBezTo>
                    <a:pt x="529" y="686"/>
                    <a:pt x="528" y="686"/>
                    <a:pt x="527" y="685"/>
                  </a:cubicBezTo>
                  <a:lnTo>
                    <a:pt x="409" y="562"/>
                  </a:lnTo>
                  <a:lnTo>
                    <a:pt x="373" y="559"/>
                  </a:lnTo>
                  <a:cubicBezTo>
                    <a:pt x="372" y="559"/>
                    <a:pt x="371" y="559"/>
                    <a:pt x="370" y="557"/>
                  </a:cubicBezTo>
                  <a:lnTo>
                    <a:pt x="319" y="481"/>
                  </a:lnTo>
                  <a:lnTo>
                    <a:pt x="285" y="376"/>
                  </a:lnTo>
                  <a:lnTo>
                    <a:pt x="175" y="332"/>
                  </a:lnTo>
                  <a:lnTo>
                    <a:pt x="123" y="380"/>
                  </a:lnTo>
                  <a:lnTo>
                    <a:pt x="74" y="394"/>
                  </a:lnTo>
                  <a:lnTo>
                    <a:pt x="73" y="394"/>
                  </a:lnTo>
                  <a:cubicBezTo>
                    <a:pt x="72" y="394"/>
                    <a:pt x="71" y="394"/>
                    <a:pt x="70" y="394"/>
                  </a:cubicBezTo>
                  <a:cubicBezTo>
                    <a:pt x="69" y="393"/>
                    <a:pt x="69" y="392"/>
                    <a:pt x="68" y="390"/>
                  </a:cubicBezTo>
                  <a:lnTo>
                    <a:pt x="64" y="356"/>
                  </a:lnTo>
                  <a:lnTo>
                    <a:pt x="30" y="352"/>
                  </a:lnTo>
                  <a:cubicBezTo>
                    <a:pt x="28" y="352"/>
                    <a:pt x="26" y="350"/>
                    <a:pt x="26" y="348"/>
                  </a:cubicBezTo>
                  <a:lnTo>
                    <a:pt x="14" y="274"/>
                  </a:lnTo>
                  <a:lnTo>
                    <a:pt x="3" y="267"/>
                  </a:lnTo>
                  <a:cubicBezTo>
                    <a:pt x="1" y="265"/>
                    <a:pt x="0" y="262"/>
                    <a:pt x="1" y="260"/>
                  </a:cubicBezTo>
                  <a:lnTo>
                    <a:pt x="25" y="220"/>
                  </a:lnTo>
                  <a:lnTo>
                    <a:pt x="1" y="159"/>
                  </a:lnTo>
                  <a:cubicBezTo>
                    <a:pt x="0" y="158"/>
                    <a:pt x="0" y="156"/>
                    <a:pt x="1" y="155"/>
                  </a:cubicBezTo>
                  <a:cubicBezTo>
                    <a:pt x="1" y="154"/>
                    <a:pt x="2" y="153"/>
                    <a:pt x="3" y="153"/>
                  </a:cubicBezTo>
                  <a:lnTo>
                    <a:pt x="25" y="144"/>
                  </a:lnTo>
                  <a:lnTo>
                    <a:pt x="94" y="135"/>
                  </a:lnTo>
                  <a:lnTo>
                    <a:pt x="142" y="86"/>
                  </a:lnTo>
                  <a:cubicBezTo>
                    <a:pt x="143" y="85"/>
                    <a:pt x="144" y="85"/>
                    <a:pt x="145" y="85"/>
                  </a:cubicBezTo>
                  <a:lnTo>
                    <a:pt x="145" y="85"/>
                  </a:lnTo>
                  <a:cubicBezTo>
                    <a:pt x="147" y="85"/>
                    <a:pt x="148" y="85"/>
                    <a:pt x="149" y="86"/>
                  </a:cubicBezTo>
                  <a:lnTo>
                    <a:pt x="190" y="135"/>
                  </a:lnTo>
                  <a:lnTo>
                    <a:pt x="213" y="75"/>
                  </a:lnTo>
                  <a:cubicBezTo>
                    <a:pt x="213" y="73"/>
                    <a:pt x="215" y="72"/>
                    <a:pt x="217" y="72"/>
                  </a:cubicBezTo>
                  <a:cubicBezTo>
                    <a:pt x="218" y="72"/>
                    <a:pt x="218" y="72"/>
                    <a:pt x="218" y="72"/>
                  </a:cubicBezTo>
                  <a:lnTo>
                    <a:pt x="279" y="91"/>
                  </a:lnTo>
                  <a:lnTo>
                    <a:pt x="276" y="60"/>
                  </a:lnTo>
                  <a:cubicBezTo>
                    <a:pt x="276" y="58"/>
                    <a:pt x="277" y="55"/>
                    <a:pt x="280" y="55"/>
                  </a:cubicBezTo>
                  <a:lnTo>
                    <a:pt x="301" y="52"/>
                  </a:lnTo>
                  <a:lnTo>
                    <a:pt x="301" y="30"/>
                  </a:lnTo>
                  <a:cubicBezTo>
                    <a:pt x="301" y="28"/>
                    <a:pt x="303" y="26"/>
                    <a:pt x="305" y="25"/>
                  </a:cubicBezTo>
                  <a:lnTo>
                    <a:pt x="450" y="0"/>
                  </a:lnTo>
                  <a:cubicBezTo>
                    <a:pt x="452" y="0"/>
                    <a:pt x="453" y="1"/>
                    <a:pt x="454" y="2"/>
                  </a:cubicBezTo>
                  <a:lnTo>
                    <a:pt x="488" y="49"/>
                  </a:lnTo>
                  <a:lnTo>
                    <a:pt x="583" y="72"/>
                  </a:lnTo>
                  <a:cubicBezTo>
                    <a:pt x="584" y="72"/>
                    <a:pt x="585" y="74"/>
                    <a:pt x="586" y="75"/>
                  </a:cubicBezTo>
                  <a:cubicBezTo>
                    <a:pt x="586" y="76"/>
                    <a:pt x="586" y="78"/>
                    <a:pt x="585" y="79"/>
                  </a:cubicBezTo>
                  <a:lnTo>
                    <a:pt x="569" y="102"/>
                  </a:lnTo>
                  <a:lnTo>
                    <a:pt x="573" y="102"/>
                  </a:lnTo>
                  <a:cubicBezTo>
                    <a:pt x="575" y="102"/>
                    <a:pt x="577" y="103"/>
                    <a:pt x="577" y="105"/>
                  </a:cubicBezTo>
                  <a:lnTo>
                    <a:pt x="590" y="147"/>
                  </a:lnTo>
                  <a:lnTo>
                    <a:pt x="607" y="176"/>
                  </a:lnTo>
                  <a:cubicBezTo>
                    <a:pt x="607" y="177"/>
                    <a:pt x="608" y="178"/>
                    <a:pt x="607" y="180"/>
                  </a:cubicBezTo>
                  <a:cubicBezTo>
                    <a:pt x="607" y="181"/>
                    <a:pt x="606" y="182"/>
                    <a:pt x="604" y="183"/>
                  </a:cubicBezTo>
                  <a:lnTo>
                    <a:pt x="583" y="191"/>
                  </a:lnTo>
                  <a:cubicBezTo>
                    <a:pt x="583" y="191"/>
                    <a:pt x="582" y="191"/>
                    <a:pt x="581" y="191"/>
                  </a:cubicBezTo>
                  <a:cubicBezTo>
                    <a:pt x="579" y="191"/>
                    <a:pt x="578" y="190"/>
                    <a:pt x="577" y="188"/>
                  </a:cubicBezTo>
                  <a:lnTo>
                    <a:pt x="570" y="170"/>
                  </a:lnTo>
                  <a:lnTo>
                    <a:pt x="543" y="170"/>
                  </a:lnTo>
                  <a:lnTo>
                    <a:pt x="472" y="211"/>
                  </a:lnTo>
                  <a:lnTo>
                    <a:pt x="472" y="240"/>
                  </a:lnTo>
                  <a:lnTo>
                    <a:pt x="487" y="255"/>
                  </a:lnTo>
                  <a:cubicBezTo>
                    <a:pt x="489" y="256"/>
                    <a:pt x="489" y="258"/>
                    <a:pt x="488" y="260"/>
                  </a:cubicBezTo>
                  <a:lnTo>
                    <a:pt x="472" y="301"/>
                  </a:lnTo>
                  <a:lnTo>
                    <a:pt x="489" y="350"/>
                  </a:lnTo>
                  <a:lnTo>
                    <a:pt x="576" y="411"/>
                  </a:lnTo>
                  <a:lnTo>
                    <a:pt x="624" y="527"/>
                  </a:lnTo>
                  <a:lnTo>
                    <a:pt x="670" y="581"/>
                  </a:lnTo>
                  <a:lnTo>
                    <a:pt x="710" y="609"/>
                  </a:lnTo>
                  <a:lnTo>
                    <a:pt x="781" y="596"/>
                  </a:lnTo>
                  <a:cubicBezTo>
                    <a:pt x="782" y="596"/>
                    <a:pt x="783" y="597"/>
                    <a:pt x="784" y="598"/>
                  </a:cubicBezTo>
                  <a:lnTo>
                    <a:pt x="792" y="606"/>
                  </a:lnTo>
                  <a:cubicBezTo>
                    <a:pt x="794" y="608"/>
                    <a:pt x="794" y="609"/>
                    <a:pt x="793" y="611"/>
                  </a:cubicBezTo>
                  <a:lnTo>
                    <a:pt x="778" y="654"/>
                  </a:lnTo>
                  <a:lnTo>
                    <a:pt x="939" y="732"/>
                  </a:lnTo>
                  <a:lnTo>
                    <a:pt x="988" y="806"/>
                  </a:lnTo>
                  <a:cubicBezTo>
                    <a:pt x="989" y="807"/>
                    <a:pt x="989" y="809"/>
                    <a:pt x="988" y="810"/>
                  </a:cubicBezTo>
                  <a:lnTo>
                    <a:pt x="980" y="835"/>
                  </a:lnTo>
                  <a:cubicBezTo>
                    <a:pt x="979" y="837"/>
                    <a:pt x="978" y="838"/>
                    <a:pt x="976" y="838"/>
                  </a:cubicBezTo>
                  <a:cubicBezTo>
                    <a:pt x="976" y="839"/>
                    <a:pt x="976" y="839"/>
                    <a:pt x="976" y="839"/>
                  </a:cubicBezTo>
                  <a:cubicBezTo>
                    <a:pt x="974" y="839"/>
                    <a:pt x="973" y="838"/>
                    <a:pt x="972" y="837"/>
                  </a:cubicBezTo>
                  <a:lnTo>
                    <a:pt x="934" y="795"/>
                  </a:lnTo>
                  <a:lnTo>
                    <a:pt x="878" y="763"/>
                  </a:lnTo>
                  <a:lnTo>
                    <a:pt x="844" y="782"/>
                  </a:lnTo>
                  <a:lnTo>
                    <a:pt x="828" y="840"/>
                  </a:lnTo>
                  <a:lnTo>
                    <a:pt x="872" y="872"/>
                  </a:lnTo>
                  <a:cubicBezTo>
                    <a:pt x="874" y="873"/>
                    <a:pt x="874" y="875"/>
                    <a:pt x="874" y="876"/>
                  </a:cubicBezTo>
                  <a:lnTo>
                    <a:pt x="874" y="923"/>
                  </a:lnTo>
                  <a:cubicBezTo>
                    <a:pt x="874" y="925"/>
                    <a:pt x="873" y="926"/>
                    <a:pt x="871" y="927"/>
                  </a:cubicBezTo>
                  <a:lnTo>
                    <a:pt x="836" y="943"/>
                  </a:lnTo>
                  <a:lnTo>
                    <a:pt x="828" y="991"/>
                  </a:lnTo>
                  <a:lnTo>
                    <a:pt x="788" y="1040"/>
                  </a:lnTo>
                  <a:cubicBezTo>
                    <a:pt x="787" y="1041"/>
                    <a:pt x="786" y="1042"/>
                    <a:pt x="785" y="1042"/>
                  </a:cubicBezTo>
                  <a:lnTo>
                    <a:pt x="755" y="1042"/>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0" name="Freeform 325"/>
            <p:cNvSpPr>
              <a:spLocks noChangeArrowheads="1"/>
            </p:cNvSpPr>
            <p:nvPr/>
          </p:nvSpPr>
          <p:spPr bwMode="auto">
            <a:xfrm>
              <a:off x="4441825" y="2135188"/>
              <a:ext cx="357188" cy="376237"/>
            </a:xfrm>
            <a:custGeom>
              <a:avLst/>
              <a:gdLst/>
              <a:ahLst/>
              <a:cxnLst>
                <a:cxn ang="0">
                  <a:pos x="750" y="1038"/>
                </a:cxn>
                <a:cxn ang="0">
                  <a:pos x="759" y="960"/>
                </a:cxn>
                <a:cxn ang="0">
                  <a:pos x="787" y="942"/>
                </a:cxn>
                <a:cxn ang="0">
                  <a:pos x="732" y="825"/>
                </a:cxn>
                <a:cxn ang="0">
                  <a:pos x="727" y="825"/>
                </a:cxn>
                <a:cxn ang="0">
                  <a:pos x="676" y="754"/>
                </a:cxn>
                <a:cxn ang="0">
                  <a:pos x="637" y="752"/>
                </a:cxn>
                <a:cxn ang="0">
                  <a:pos x="531" y="686"/>
                </a:cxn>
                <a:cxn ang="0">
                  <a:pos x="409" y="562"/>
                </a:cxn>
                <a:cxn ang="0">
                  <a:pos x="370" y="557"/>
                </a:cxn>
                <a:cxn ang="0">
                  <a:pos x="285" y="376"/>
                </a:cxn>
                <a:cxn ang="0">
                  <a:pos x="123" y="380"/>
                </a:cxn>
                <a:cxn ang="0">
                  <a:pos x="73" y="394"/>
                </a:cxn>
                <a:cxn ang="0">
                  <a:pos x="68" y="390"/>
                </a:cxn>
                <a:cxn ang="0">
                  <a:pos x="30" y="352"/>
                </a:cxn>
                <a:cxn ang="0">
                  <a:pos x="14" y="274"/>
                </a:cxn>
                <a:cxn ang="0">
                  <a:pos x="1" y="260"/>
                </a:cxn>
                <a:cxn ang="0">
                  <a:pos x="1" y="159"/>
                </a:cxn>
                <a:cxn ang="0">
                  <a:pos x="3" y="153"/>
                </a:cxn>
                <a:cxn ang="0">
                  <a:pos x="94" y="135"/>
                </a:cxn>
                <a:cxn ang="0">
                  <a:pos x="145" y="85"/>
                </a:cxn>
                <a:cxn ang="0">
                  <a:pos x="149" y="86"/>
                </a:cxn>
                <a:cxn ang="0">
                  <a:pos x="213" y="75"/>
                </a:cxn>
                <a:cxn ang="0">
                  <a:pos x="218" y="72"/>
                </a:cxn>
                <a:cxn ang="0">
                  <a:pos x="276" y="60"/>
                </a:cxn>
                <a:cxn ang="0">
                  <a:pos x="301" y="52"/>
                </a:cxn>
                <a:cxn ang="0">
                  <a:pos x="305" y="25"/>
                </a:cxn>
                <a:cxn ang="0">
                  <a:pos x="454" y="2"/>
                </a:cxn>
                <a:cxn ang="0">
                  <a:pos x="583" y="72"/>
                </a:cxn>
                <a:cxn ang="0">
                  <a:pos x="585" y="79"/>
                </a:cxn>
                <a:cxn ang="0">
                  <a:pos x="573" y="102"/>
                </a:cxn>
                <a:cxn ang="0">
                  <a:pos x="590" y="147"/>
                </a:cxn>
                <a:cxn ang="0">
                  <a:pos x="607" y="180"/>
                </a:cxn>
                <a:cxn ang="0">
                  <a:pos x="583" y="191"/>
                </a:cxn>
                <a:cxn ang="0">
                  <a:pos x="577" y="188"/>
                </a:cxn>
                <a:cxn ang="0">
                  <a:pos x="543" y="170"/>
                </a:cxn>
                <a:cxn ang="0">
                  <a:pos x="472" y="240"/>
                </a:cxn>
                <a:cxn ang="0">
                  <a:pos x="488" y="260"/>
                </a:cxn>
                <a:cxn ang="0">
                  <a:pos x="489" y="350"/>
                </a:cxn>
                <a:cxn ang="0">
                  <a:pos x="624" y="527"/>
                </a:cxn>
                <a:cxn ang="0">
                  <a:pos x="710" y="609"/>
                </a:cxn>
                <a:cxn ang="0">
                  <a:pos x="784" y="598"/>
                </a:cxn>
                <a:cxn ang="0">
                  <a:pos x="793" y="611"/>
                </a:cxn>
                <a:cxn ang="0">
                  <a:pos x="939" y="732"/>
                </a:cxn>
                <a:cxn ang="0">
                  <a:pos x="988" y="810"/>
                </a:cxn>
                <a:cxn ang="0">
                  <a:pos x="976" y="838"/>
                </a:cxn>
                <a:cxn ang="0">
                  <a:pos x="972" y="837"/>
                </a:cxn>
                <a:cxn ang="0">
                  <a:pos x="878" y="763"/>
                </a:cxn>
                <a:cxn ang="0">
                  <a:pos x="828" y="840"/>
                </a:cxn>
                <a:cxn ang="0">
                  <a:pos x="874" y="876"/>
                </a:cxn>
                <a:cxn ang="0">
                  <a:pos x="871" y="927"/>
                </a:cxn>
                <a:cxn ang="0">
                  <a:pos x="828" y="991"/>
                </a:cxn>
                <a:cxn ang="0">
                  <a:pos x="785" y="1042"/>
                </a:cxn>
              </a:cxnLst>
              <a:rect l="0" t="0" r="r" b="b"/>
              <a:pathLst>
                <a:path w="990" h="1043">
                  <a:moveTo>
                    <a:pt x="755" y="1042"/>
                  </a:moveTo>
                  <a:cubicBezTo>
                    <a:pt x="753" y="1042"/>
                    <a:pt x="751" y="1040"/>
                    <a:pt x="750" y="1038"/>
                  </a:cubicBezTo>
                  <a:lnTo>
                    <a:pt x="746" y="1008"/>
                  </a:lnTo>
                  <a:lnTo>
                    <a:pt x="759" y="960"/>
                  </a:lnTo>
                  <a:cubicBezTo>
                    <a:pt x="759" y="958"/>
                    <a:pt x="760" y="957"/>
                    <a:pt x="761" y="957"/>
                  </a:cubicBezTo>
                  <a:lnTo>
                    <a:pt x="787" y="942"/>
                  </a:lnTo>
                  <a:lnTo>
                    <a:pt x="744" y="816"/>
                  </a:lnTo>
                  <a:lnTo>
                    <a:pt x="732" y="825"/>
                  </a:lnTo>
                  <a:cubicBezTo>
                    <a:pt x="732" y="826"/>
                    <a:pt x="731" y="826"/>
                    <a:pt x="730" y="826"/>
                  </a:cubicBezTo>
                  <a:cubicBezTo>
                    <a:pt x="729" y="826"/>
                    <a:pt x="728" y="826"/>
                    <a:pt x="727" y="825"/>
                  </a:cubicBezTo>
                  <a:lnTo>
                    <a:pt x="693" y="800"/>
                  </a:lnTo>
                  <a:lnTo>
                    <a:pt x="676" y="754"/>
                  </a:lnTo>
                  <a:lnTo>
                    <a:pt x="641" y="754"/>
                  </a:lnTo>
                  <a:cubicBezTo>
                    <a:pt x="639" y="754"/>
                    <a:pt x="638" y="753"/>
                    <a:pt x="637" y="752"/>
                  </a:cubicBezTo>
                  <a:lnTo>
                    <a:pt x="583" y="686"/>
                  </a:lnTo>
                  <a:lnTo>
                    <a:pt x="531" y="686"/>
                  </a:lnTo>
                  <a:cubicBezTo>
                    <a:pt x="529" y="686"/>
                    <a:pt x="528" y="686"/>
                    <a:pt x="527" y="685"/>
                  </a:cubicBezTo>
                  <a:lnTo>
                    <a:pt x="409" y="562"/>
                  </a:lnTo>
                  <a:lnTo>
                    <a:pt x="373" y="559"/>
                  </a:lnTo>
                  <a:cubicBezTo>
                    <a:pt x="372" y="559"/>
                    <a:pt x="371" y="559"/>
                    <a:pt x="370" y="557"/>
                  </a:cubicBezTo>
                  <a:lnTo>
                    <a:pt x="319" y="481"/>
                  </a:lnTo>
                  <a:lnTo>
                    <a:pt x="285" y="376"/>
                  </a:lnTo>
                  <a:lnTo>
                    <a:pt x="175" y="332"/>
                  </a:lnTo>
                  <a:lnTo>
                    <a:pt x="123" y="380"/>
                  </a:lnTo>
                  <a:lnTo>
                    <a:pt x="74" y="394"/>
                  </a:lnTo>
                  <a:lnTo>
                    <a:pt x="73" y="394"/>
                  </a:lnTo>
                  <a:cubicBezTo>
                    <a:pt x="72" y="394"/>
                    <a:pt x="71" y="394"/>
                    <a:pt x="70" y="394"/>
                  </a:cubicBezTo>
                  <a:cubicBezTo>
                    <a:pt x="69" y="393"/>
                    <a:pt x="69" y="392"/>
                    <a:pt x="68" y="390"/>
                  </a:cubicBezTo>
                  <a:lnTo>
                    <a:pt x="64" y="356"/>
                  </a:lnTo>
                  <a:lnTo>
                    <a:pt x="30" y="352"/>
                  </a:lnTo>
                  <a:cubicBezTo>
                    <a:pt x="28" y="352"/>
                    <a:pt x="26" y="350"/>
                    <a:pt x="26" y="348"/>
                  </a:cubicBezTo>
                  <a:lnTo>
                    <a:pt x="14" y="274"/>
                  </a:lnTo>
                  <a:lnTo>
                    <a:pt x="3" y="267"/>
                  </a:lnTo>
                  <a:cubicBezTo>
                    <a:pt x="1" y="265"/>
                    <a:pt x="0" y="262"/>
                    <a:pt x="1" y="260"/>
                  </a:cubicBezTo>
                  <a:lnTo>
                    <a:pt x="25" y="220"/>
                  </a:lnTo>
                  <a:lnTo>
                    <a:pt x="1" y="159"/>
                  </a:lnTo>
                  <a:cubicBezTo>
                    <a:pt x="0" y="158"/>
                    <a:pt x="0" y="156"/>
                    <a:pt x="1" y="155"/>
                  </a:cubicBezTo>
                  <a:cubicBezTo>
                    <a:pt x="1" y="154"/>
                    <a:pt x="2" y="153"/>
                    <a:pt x="3" y="153"/>
                  </a:cubicBezTo>
                  <a:lnTo>
                    <a:pt x="25" y="144"/>
                  </a:lnTo>
                  <a:lnTo>
                    <a:pt x="94" y="135"/>
                  </a:lnTo>
                  <a:lnTo>
                    <a:pt x="142" y="86"/>
                  </a:lnTo>
                  <a:cubicBezTo>
                    <a:pt x="143" y="85"/>
                    <a:pt x="144" y="85"/>
                    <a:pt x="145" y="85"/>
                  </a:cubicBezTo>
                  <a:lnTo>
                    <a:pt x="145" y="85"/>
                  </a:lnTo>
                  <a:cubicBezTo>
                    <a:pt x="147" y="85"/>
                    <a:pt x="148" y="85"/>
                    <a:pt x="149" y="86"/>
                  </a:cubicBezTo>
                  <a:lnTo>
                    <a:pt x="190" y="135"/>
                  </a:lnTo>
                  <a:lnTo>
                    <a:pt x="213" y="75"/>
                  </a:lnTo>
                  <a:cubicBezTo>
                    <a:pt x="213" y="73"/>
                    <a:pt x="215" y="72"/>
                    <a:pt x="217" y="72"/>
                  </a:cubicBezTo>
                  <a:cubicBezTo>
                    <a:pt x="218" y="72"/>
                    <a:pt x="218" y="72"/>
                    <a:pt x="218" y="72"/>
                  </a:cubicBezTo>
                  <a:lnTo>
                    <a:pt x="279" y="91"/>
                  </a:lnTo>
                  <a:lnTo>
                    <a:pt x="276" y="60"/>
                  </a:lnTo>
                  <a:cubicBezTo>
                    <a:pt x="276" y="58"/>
                    <a:pt x="277" y="55"/>
                    <a:pt x="280" y="55"/>
                  </a:cubicBezTo>
                  <a:lnTo>
                    <a:pt x="301" y="52"/>
                  </a:lnTo>
                  <a:lnTo>
                    <a:pt x="301" y="30"/>
                  </a:lnTo>
                  <a:cubicBezTo>
                    <a:pt x="301" y="28"/>
                    <a:pt x="303" y="26"/>
                    <a:pt x="305" y="25"/>
                  </a:cubicBezTo>
                  <a:lnTo>
                    <a:pt x="450" y="0"/>
                  </a:lnTo>
                  <a:cubicBezTo>
                    <a:pt x="452" y="0"/>
                    <a:pt x="453" y="1"/>
                    <a:pt x="454" y="2"/>
                  </a:cubicBezTo>
                  <a:lnTo>
                    <a:pt x="488" y="49"/>
                  </a:lnTo>
                  <a:lnTo>
                    <a:pt x="583" y="72"/>
                  </a:lnTo>
                  <a:cubicBezTo>
                    <a:pt x="584" y="72"/>
                    <a:pt x="585" y="74"/>
                    <a:pt x="586" y="75"/>
                  </a:cubicBezTo>
                  <a:cubicBezTo>
                    <a:pt x="586" y="76"/>
                    <a:pt x="586" y="78"/>
                    <a:pt x="585" y="79"/>
                  </a:cubicBezTo>
                  <a:lnTo>
                    <a:pt x="569" y="102"/>
                  </a:lnTo>
                  <a:lnTo>
                    <a:pt x="573" y="102"/>
                  </a:lnTo>
                  <a:cubicBezTo>
                    <a:pt x="575" y="102"/>
                    <a:pt x="577" y="103"/>
                    <a:pt x="577" y="105"/>
                  </a:cubicBezTo>
                  <a:lnTo>
                    <a:pt x="590" y="147"/>
                  </a:lnTo>
                  <a:lnTo>
                    <a:pt x="607" y="176"/>
                  </a:lnTo>
                  <a:cubicBezTo>
                    <a:pt x="607" y="177"/>
                    <a:pt x="608" y="178"/>
                    <a:pt x="607" y="180"/>
                  </a:cubicBezTo>
                  <a:cubicBezTo>
                    <a:pt x="607" y="181"/>
                    <a:pt x="606" y="182"/>
                    <a:pt x="604" y="183"/>
                  </a:cubicBezTo>
                  <a:lnTo>
                    <a:pt x="583" y="191"/>
                  </a:lnTo>
                  <a:cubicBezTo>
                    <a:pt x="583" y="191"/>
                    <a:pt x="582" y="191"/>
                    <a:pt x="581" y="191"/>
                  </a:cubicBezTo>
                  <a:cubicBezTo>
                    <a:pt x="579" y="191"/>
                    <a:pt x="578" y="190"/>
                    <a:pt x="577" y="188"/>
                  </a:cubicBezTo>
                  <a:lnTo>
                    <a:pt x="570" y="170"/>
                  </a:lnTo>
                  <a:lnTo>
                    <a:pt x="543" y="170"/>
                  </a:lnTo>
                  <a:lnTo>
                    <a:pt x="472" y="211"/>
                  </a:lnTo>
                  <a:lnTo>
                    <a:pt x="472" y="240"/>
                  </a:lnTo>
                  <a:lnTo>
                    <a:pt x="487" y="255"/>
                  </a:lnTo>
                  <a:cubicBezTo>
                    <a:pt x="489" y="256"/>
                    <a:pt x="489" y="258"/>
                    <a:pt x="488" y="260"/>
                  </a:cubicBezTo>
                  <a:lnTo>
                    <a:pt x="472" y="301"/>
                  </a:lnTo>
                  <a:lnTo>
                    <a:pt x="489" y="350"/>
                  </a:lnTo>
                  <a:lnTo>
                    <a:pt x="576" y="411"/>
                  </a:lnTo>
                  <a:lnTo>
                    <a:pt x="624" y="527"/>
                  </a:lnTo>
                  <a:lnTo>
                    <a:pt x="670" y="581"/>
                  </a:lnTo>
                  <a:lnTo>
                    <a:pt x="710" y="609"/>
                  </a:lnTo>
                  <a:lnTo>
                    <a:pt x="781" y="596"/>
                  </a:lnTo>
                  <a:cubicBezTo>
                    <a:pt x="782" y="596"/>
                    <a:pt x="783" y="597"/>
                    <a:pt x="784" y="598"/>
                  </a:cubicBezTo>
                  <a:lnTo>
                    <a:pt x="792" y="606"/>
                  </a:lnTo>
                  <a:cubicBezTo>
                    <a:pt x="794" y="608"/>
                    <a:pt x="794" y="609"/>
                    <a:pt x="793" y="611"/>
                  </a:cubicBezTo>
                  <a:lnTo>
                    <a:pt x="778" y="654"/>
                  </a:lnTo>
                  <a:lnTo>
                    <a:pt x="939" y="732"/>
                  </a:lnTo>
                  <a:lnTo>
                    <a:pt x="988" y="806"/>
                  </a:lnTo>
                  <a:cubicBezTo>
                    <a:pt x="989" y="807"/>
                    <a:pt x="989" y="809"/>
                    <a:pt x="988" y="810"/>
                  </a:cubicBezTo>
                  <a:lnTo>
                    <a:pt x="980" y="835"/>
                  </a:lnTo>
                  <a:cubicBezTo>
                    <a:pt x="979" y="837"/>
                    <a:pt x="978" y="838"/>
                    <a:pt x="976" y="838"/>
                  </a:cubicBezTo>
                  <a:cubicBezTo>
                    <a:pt x="976" y="839"/>
                    <a:pt x="976" y="839"/>
                    <a:pt x="976" y="839"/>
                  </a:cubicBezTo>
                  <a:cubicBezTo>
                    <a:pt x="974" y="839"/>
                    <a:pt x="973" y="838"/>
                    <a:pt x="972" y="837"/>
                  </a:cubicBezTo>
                  <a:lnTo>
                    <a:pt x="934" y="795"/>
                  </a:lnTo>
                  <a:lnTo>
                    <a:pt x="878" y="763"/>
                  </a:lnTo>
                  <a:lnTo>
                    <a:pt x="844" y="782"/>
                  </a:lnTo>
                  <a:lnTo>
                    <a:pt x="828" y="840"/>
                  </a:lnTo>
                  <a:lnTo>
                    <a:pt x="872" y="872"/>
                  </a:lnTo>
                  <a:cubicBezTo>
                    <a:pt x="874" y="873"/>
                    <a:pt x="874" y="875"/>
                    <a:pt x="874" y="876"/>
                  </a:cubicBezTo>
                  <a:lnTo>
                    <a:pt x="874" y="923"/>
                  </a:lnTo>
                  <a:cubicBezTo>
                    <a:pt x="874" y="925"/>
                    <a:pt x="873" y="926"/>
                    <a:pt x="871" y="927"/>
                  </a:cubicBezTo>
                  <a:lnTo>
                    <a:pt x="836" y="943"/>
                  </a:lnTo>
                  <a:lnTo>
                    <a:pt x="828" y="991"/>
                  </a:lnTo>
                  <a:lnTo>
                    <a:pt x="788" y="1040"/>
                  </a:lnTo>
                  <a:cubicBezTo>
                    <a:pt x="787" y="1041"/>
                    <a:pt x="786" y="1042"/>
                    <a:pt x="785" y="1042"/>
                  </a:cubicBezTo>
                  <a:lnTo>
                    <a:pt x="755" y="104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1" name="Freeform 326"/>
            <p:cNvSpPr>
              <a:spLocks noChangeArrowheads="1"/>
            </p:cNvSpPr>
            <p:nvPr/>
          </p:nvSpPr>
          <p:spPr bwMode="auto">
            <a:xfrm>
              <a:off x="4486275" y="2376488"/>
              <a:ext cx="46038" cy="100012"/>
            </a:xfrm>
            <a:custGeom>
              <a:avLst/>
              <a:gdLst/>
              <a:ahLst/>
              <a:cxnLst>
                <a:cxn ang="0">
                  <a:pos x="48" y="274"/>
                </a:cxn>
                <a:cxn ang="0">
                  <a:pos x="22" y="232"/>
                </a:cxn>
                <a:cxn ang="0">
                  <a:pos x="26" y="157"/>
                </a:cxn>
                <a:cxn ang="0">
                  <a:pos x="1" y="48"/>
                </a:cxn>
                <a:cxn ang="0">
                  <a:pos x="2" y="44"/>
                </a:cxn>
                <a:cxn ang="0">
                  <a:pos x="5" y="43"/>
                </a:cxn>
                <a:cxn ang="0">
                  <a:pos x="6" y="43"/>
                </a:cxn>
                <a:cxn ang="0">
                  <a:pos x="33" y="51"/>
                </a:cxn>
                <a:cxn ang="0">
                  <a:pos x="78" y="2"/>
                </a:cxn>
                <a:cxn ang="0">
                  <a:pos x="81" y="0"/>
                </a:cxn>
                <a:cxn ang="0">
                  <a:pos x="84" y="1"/>
                </a:cxn>
                <a:cxn ang="0">
                  <a:pos x="114" y="22"/>
                </a:cxn>
                <a:cxn ang="0">
                  <a:pos x="128" y="72"/>
                </a:cxn>
                <a:cxn ang="0">
                  <a:pos x="128" y="217"/>
                </a:cxn>
                <a:cxn ang="0">
                  <a:pos x="115" y="240"/>
                </a:cxn>
                <a:cxn ang="0">
                  <a:pos x="111" y="243"/>
                </a:cxn>
                <a:cxn ang="0">
                  <a:pos x="91" y="239"/>
                </a:cxn>
                <a:cxn ang="0">
                  <a:pos x="55" y="275"/>
                </a:cxn>
                <a:cxn ang="0">
                  <a:pos x="52" y="276"/>
                </a:cxn>
                <a:cxn ang="0">
                  <a:pos x="51" y="276"/>
                </a:cxn>
                <a:cxn ang="0">
                  <a:pos x="48" y="274"/>
                </a:cxn>
              </a:cxnLst>
              <a:rect l="0" t="0" r="r" b="b"/>
              <a:pathLst>
                <a:path w="129" h="277">
                  <a:moveTo>
                    <a:pt x="48" y="274"/>
                  </a:moveTo>
                  <a:lnTo>
                    <a:pt x="22" y="232"/>
                  </a:lnTo>
                  <a:lnTo>
                    <a:pt x="26" y="157"/>
                  </a:lnTo>
                  <a:lnTo>
                    <a:pt x="1" y="48"/>
                  </a:lnTo>
                  <a:cubicBezTo>
                    <a:pt x="0" y="47"/>
                    <a:pt x="1" y="45"/>
                    <a:pt x="2" y="44"/>
                  </a:cubicBezTo>
                  <a:cubicBezTo>
                    <a:pt x="3" y="43"/>
                    <a:pt x="4" y="43"/>
                    <a:pt x="5" y="43"/>
                  </a:cubicBezTo>
                  <a:cubicBezTo>
                    <a:pt x="6" y="43"/>
                    <a:pt x="6" y="43"/>
                    <a:pt x="6" y="43"/>
                  </a:cubicBezTo>
                  <a:lnTo>
                    <a:pt x="33" y="51"/>
                  </a:lnTo>
                  <a:lnTo>
                    <a:pt x="78" y="2"/>
                  </a:lnTo>
                  <a:cubicBezTo>
                    <a:pt x="79" y="1"/>
                    <a:pt x="80" y="0"/>
                    <a:pt x="81" y="0"/>
                  </a:cubicBezTo>
                  <a:cubicBezTo>
                    <a:pt x="82" y="0"/>
                    <a:pt x="83" y="1"/>
                    <a:pt x="84" y="1"/>
                  </a:cubicBezTo>
                  <a:lnTo>
                    <a:pt x="114" y="22"/>
                  </a:lnTo>
                  <a:lnTo>
                    <a:pt x="128" y="72"/>
                  </a:lnTo>
                  <a:lnTo>
                    <a:pt x="128" y="217"/>
                  </a:lnTo>
                  <a:lnTo>
                    <a:pt x="115" y="240"/>
                  </a:lnTo>
                  <a:cubicBezTo>
                    <a:pt x="114" y="242"/>
                    <a:pt x="113" y="243"/>
                    <a:pt x="111" y="243"/>
                  </a:cubicBezTo>
                  <a:lnTo>
                    <a:pt x="91" y="239"/>
                  </a:lnTo>
                  <a:lnTo>
                    <a:pt x="55" y="275"/>
                  </a:lnTo>
                  <a:cubicBezTo>
                    <a:pt x="54" y="276"/>
                    <a:pt x="53" y="276"/>
                    <a:pt x="52" y="276"/>
                  </a:cubicBezTo>
                  <a:lnTo>
                    <a:pt x="51" y="276"/>
                  </a:lnTo>
                  <a:cubicBezTo>
                    <a:pt x="50" y="276"/>
                    <a:pt x="48" y="275"/>
                    <a:pt x="48" y="274"/>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2" name="Freeform 327"/>
            <p:cNvSpPr>
              <a:spLocks noChangeArrowheads="1"/>
            </p:cNvSpPr>
            <p:nvPr/>
          </p:nvSpPr>
          <p:spPr bwMode="auto">
            <a:xfrm>
              <a:off x="4486275" y="2376488"/>
              <a:ext cx="46038" cy="100012"/>
            </a:xfrm>
            <a:custGeom>
              <a:avLst/>
              <a:gdLst/>
              <a:ahLst/>
              <a:cxnLst>
                <a:cxn ang="0">
                  <a:pos x="51" y="276"/>
                </a:cxn>
                <a:cxn ang="0">
                  <a:pos x="48" y="274"/>
                </a:cxn>
                <a:cxn ang="0">
                  <a:pos x="22" y="232"/>
                </a:cxn>
                <a:cxn ang="0">
                  <a:pos x="26" y="157"/>
                </a:cxn>
                <a:cxn ang="0">
                  <a:pos x="1" y="48"/>
                </a:cxn>
                <a:cxn ang="0">
                  <a:pos x="2" y="44"/>
                </a:cxn>
                <a:cxn ang="0">
                  <a:pos x="5" y="43"/>
                </a:cxn>
                <a:cxn ang="0">
                  <a:pos x="6" y="43"/>
                </a:cxn>
                <a:cxn ang="0">
                  <a:pos x="33" y="51"/>
                </a:cxn>
                <a:cxn ang="0">
                  <a:pos x="78" y="2"/>
                </a:cxn>
                <a:cxn ang="0">
                  <a:pos x="81" y="0"/>
                </a:cxn>
                <a:cxn ang="0">
                  <a:pos x="84" y="1"/>
                </a:cxn>
                <a:cxn ang="0">
                  <a:pos x="114" y="22"/>
                </a:cxn>
                <a:cxn ang="0">
                  <a:pos x="128" y="72"/>
                </a:cxn>
                <a:cxn ang="0">
                  <a:pos x="128" y="217"/>
                </a:cxn>
                <a:cxn ang="0">
                  <a:pos x="115" y="240"/>
                </a:cxn>
                <a:cxn ang="0">
                  <a:pos x="111" y="243"/>
                </a:cxn>
                <a:cxn ang="0">
                  <a:pos x="91" y="239"/>
                </a:cxn>
                <a:cxn ang="0">
                  <a:pos x="55" y="275"/>
                </a:cxn>
                <a:cxn ang="0">
                  <a:pos x="52" y="276"/>
                </a:cxn>
                <a:cxn ang="0">
                  <a:pos x="51" y="276"/>
                </a:cxn>
              </a:cxnLst>
              <a:rect l="0" t="0" r="r" b="b"/>
              <a:pathLst>
                <a:path w="129" h="277">
                  <a:moveTo>
                    <a:pt x="51" y="276"/>
                  </a:moveTo>
                  <a:cubicBezTo>
                    <a:pt x="50" y="276"/>
                    <a:pt x="48" y="275"/>
                    <a:pt x="48" y="274"/>
                  </a:cubicBezTo>
                  <a:lnTo>
                    <a:pt x="22" y="232"/>
                  </a:lnTo>
                  <a:lnTo>
                    <a:pt x="26" y="157"/>
                  </a:lnTo>
                  <a:lnTo>
                    <a:pt x="1" y="48"/>
                  </a:lnTo>
                  <a:cubicBezTo>
                    <a:pt x="0" y="47"/>
                    <a:pt x="1" y="45"/>
                    <a:pt x="2" y="44"/>
                  </a:cubicBezTo>
                  <a:cubicBezTo>
                    <a:pt x="3" y="43"/>
                    <a:pt x="4" y="43"/>
                    <a:pt x="5" y="43"/>
                  </a:cubicBezTo>
                  <a:cubicBezTo>
                    <a:pt x="6" y="43"/>
                    <a:pt x="6" y="43"/>
                    <a:pt x="6" y="43"/>
                  </a:cubicBezTo>
                  <a:lnTo>
                    <a:pt x="33" y="51"/>
                  </a:lnTo>
                  <a:lnTo>
                    <a:pt x="78" y="2"/>
                  </a:lnTo>
                  <a:cubicBezTo>
                    <a:pt x="79" y="1"/>
                    <a:pt x="80" y="0"/>
                    <a:pt x="81" y="0"/>
                  </a:cubicBezTo>
                  <a:cubicBezTo>
                    <a:pt x="82" y="0"/>
                    <a:pt x="83" y="1"/>
                    <a:pt x="84" y="1"/>
                  </a:cubicBezTo>
                  <a:lnTo>
                    <a:pt x="114" y="22"/>
                  </a:lnTo>
                  <a:lnTo>
                    <a:pt x="128" y="72"/>
                  </a:lnTo>
                  <a:lnTo>
                    <a:pt x="128" y="217"/>
                  </a:lnTo>
                  <a:lnTo>
                    <a:pt x="115" y="240"/>
                  </a:lnTo>
                  <a:cubicBezTo>
                    <a:pt x="114" y="242"/>
                    <a:pt x="113" y="243"/>
                    <a:pt x="111" y="243"/>
                  </a:cubicBezTo>
                  <a:lnTo>
                    <a:pt x="91" y="239"/>
                  </a:lnTo>
                  <a:lnTo>
                    <a:pt x="55" y="275"/>
                  </a:lnTo>
                  <a:cubicBezTo>
                    <a:pt x="54" y="276"/>
                    <a:pt x="53" y="276"/>
                    <a:pt x="52" y="276"/>
                  </a:cubicBezTo>
                  <a:lnTo>
                    <a:pt x="51" y="27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3" name="Freeform 328"/>
            <p:cNvSpPr>
              <a:spLocks noChangeArrowheads="1"/>
            </p:cNvSpPr>
            <p:nvPr/>
          </p:nvSpPr>
          <p:spPr bwMode="auto">
            <a:xfrm>
              <a:off x="4614863" y="2495550"/>
              <a:ext cx="96837" cy="61913"/>
            </a:xfrm>
            <a:custGeom>
              <a:avLst/>
              <a:gdLst/>
              <a:ahLst/>
              <a:cxnLst>
                <a:cxn ang="0">
                  <a:pos x="182" y="171"/>
                </a:cxn>
                <a:cxn ang="0">
                  <a:pos x="179" y="169"/>
                </a:cxn>
                <a:cxn ang="0">
                  <a:pos x="149" y="140"/>
                </a:cxn>
                <a:cxn ang="0">
                  <a:pos x="11" y="77"/>
                </a:cxn>
                <a:cxn ang="0">
                  <a:pos x="8" y="74"/>
                </a:cxn>
                <a:cxn ang="0">
                  <a:pos x="0" y="40"/>
                </a:cxn>
                <a:cxn ang="0">
                  <a:pos x="8" y="12"/>
                </a:cxn>
                <a:cxn ang="0">
                  <a:pos x="12" y="9"/>
                </a:cxn>
                <a:cxn ang="0">
                  <a:pos x="59" y="5"/>
                </a:cxn>
                <a:cxn ang="0">
                  <a:pos x="102" y="30"/>
                </a:cxn>
                <a:cxn ang="0">
                  <a:pos x="262" y="0"/>
                </a:cxn>
                <a:cxn ang="0">
                  <a:pos x="266" y="2"/>
                </a:cxn>
                <a:cxn ang="0">
                  <a:pos x="267" y="7"/>
                </a:cxn>
                <a:cxn ang="0">
                  <a:pos x="224" y="96"/>
                </a:cxn>
                <a:cxn ang="0">
                  <a:pos x="233" y="135"/>
                </a:cxn>
                <a:cxn ang="0">
                  <a:pos x="225" y="167"/>
                </a:cxn>
                <a:cxn ang="0">
                  <a:pos x="220" y="171"/>
                </a:cxn>
                <a:cxn ang="0">
                  <a:pos x="182" y="171"/>
                </a:cxn>
              </a:cxnLst>
              <a:rect l="0" t="0" r="r" b="b"/>
              <a:pathLst>
                <a:path w="269" h="172">
                  <a:moveTo>
                    <a:pt x="182" y="171"/>
                  </a:moveTo>
                  <a:cubicBezTo>
                    <a:pt x="181" y="171"/>
                    <a:pt x="180" y="170"/>
                    <a:pt x="179" y="169"/>
                  </a:cubicBezTo>
                  <a:lnTo>
                    <a:pt x="149" y="140"/>
                  </a:lnTo>
                  <a:lnTo>
                    <a:pt x="11" y="77"/>
                  </a:lnTo>
                  <a:cubicBezTo>
                    <a:pt x="9" y="77"/>
                    <a:pt x="8" y="75"/>
                    <a:pt x="8" y="74"/>
                  </a:cubicBezTo>
                  <a:lnTo>
                    <a:pt x="0" y="40"/>
                  </a:lnTo>
                  <a:lnTo>
                    <a:pt x="8" y="12"/>
                  </a:lnTo>
                  <a:cubicBezTo>
                    <a:pt x="9" y="10"/>
                    <a:pt x="10" y="9"/>
                    <a:pt x="12" y="9"/>
                  </a:cubicBezTo>
                  <a:lnTo>
                    <a:pt x="59" y="5"/>
                  </a:lnTo>
                  <a:lnTo>
                    <a:pt x="102" y="30"/>
                  </a:lnTo>
                  <a:lnTo>
                    <a:pt x="262" y="0"/>
                  </a:lnTo>
                  <a:cubicBezTo>
                    <a:pt x="264" y="0"/>
                    <a:pt x="265" y="1"/>
                    <a:pt x="266" y="2"/>
                  </a:cubicBezTo>
                  <a:cubicBezTo>
                    <a:pt x="267" y="4"/>
                    <a:pt x="268" y="6"/>
                    <a:pt x="267" y="7"/>
                  </a:cubicBezTo>
                  <a:lnTo>
                    <a:pt x="224" y="96"/>
                  </a:lnTo>
                  <a:lnTo>
                    <a:pt x="233" y="135"/>
                  </a:lnTo>
                  <a:lnTo>
                    <a:pt x="225" y="167"/>
                  </a:lnTo>
                  <a:cubicBezTo>
                    <a:pt x="224" y="169"/>
                    <a:pt x="222" y="171"/>
                    <a:pt x="220" y="171"/>
                  </a:cubicBezTo>
                  <a:lnTo>
                    <a:pt x="182" y="171"/>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4" name="Freeform 329"/>
            <p:cNvSpPr>
              <a:spLocks noChangeArrowheads="1"/>
            </p:cNvSpPr>
            <p:nvPr/>
          </p:nvSpPr>
          <p:spPr bwMode="auto">
            <a:xfrm>
              <a:off x="4614863" y="2495550"/>
              <a:ext cx="96837" cy="61913"/>
            </a:xfrm>
            <a:custGeom>
              <a:avLst/>
              <a:gdLst/>
              <a:ahLst/>
              <a:cxnLst>
                <a:cxn ang="0">
                  <a:pos x="182" y="171"/>
                </a:cxn>
                <a:cxn ang="0">
                  <a:pos x="179" y="169"/>
                </a:cxn>
                <a:cxn ang="0">
                  <a:pos x="149" y="140"/>
                </a:cxn>
                <a:cxn ang="0">
                  <a:pos x="11" y="77"/>
                </a:cxn>
                <a:cxn ang="0">
                  <a:pos x="8" y="74"/>
                </a:cxn>
                <a:cxn ang="0">
                  <a:pos x="0" y="40"/>
                </a:cxn>
                <a:cxn ang="0">
                  <a:pos x="8" y="12"/>
                </a:cxn>
                <a:cxn ang="0">
                  <a:pos x="12" y="9"/>
                </a:cxn>
                <a:cxn ang="0">
                  <a:pos x="59" y="5"/>
                </a:cxn>
                <a:cxn ang="0">
                  <a:pos x="102" y="30"/>
                </a:cxn>
                <a:cxn ang="0">
                  <a:pos x="262" y="0"/>
                </a:cxn>
                <a:cxn ang="0">
                  <a:pos x="266" y="2"/>
                </a:cxn>
                <a:cxn ang="0">
                  <a:pos x="267" y="7"/>
                </a:cxn>
                <a:cxn ang="0">
                  <a:pos x="224" y="96"/>
                </a:cxn>
                <a:cxn ang="0">
                  <a:pos x="233" y="135"/>
                </a:cxn>
                <a:cxn ang="0">
                  <a:pos x="225" y="167"/>
                </a:cxn>
                <a:cxn ang="0">
                  <a:pos x="220" y="171"/>
                </a:cxn>
                <a:cxn ang="0">
                  <a:pos x="182" y="171"/>
                </a:cxn>
              </a:cxnLst>
              <a:rect l="0" t="0" r="r" b="b"/>
              <a:pathLst>
                <a:path w="269" h="172">
                  <a:moveTo>
                    <a:pt x="182" y="171"/>
                  </a:moveTo>
                  <a:cubicBezTo>
                    <a:pt x="181" y="171"/>
                    <a:pt x="180" y="170"/>
                    <a:pt x="179" y="169"/>
                  </a:cubicBezTo>
                  <a:lnTo>
                    <a:pt x="149" y="140"/>
                  </a:lnTo>
                  <a:lnTo>
                    <a:pt x="11" y="77"/>
                  </a:lnTo>
                  <a:cubicBezTo>
                    <a:pt x="9" y="77"/>
                    <a:pt x="8" y="75"/>
                    <a:pt x="8" y="74"/>
                  </a:cubicBezTo>
                  <a:lnTo>
                    <a:pt x="0" y="40"/>
                  </a:lnTo>
                  <a:lnTo>
                    <a:pt x="8" y="12"/>
                  </a:lnTo>
                  <a:cubicBezTo>
                    <a:pt x="9" y="10"/>
                    <a:pt x="10" y="9"/>
                    <a:pt x="12" y="9"/>
                  </a:cubicBezTo>
                  <a:lnTo>
                    <a:pt x="59" y="5"/>
                  </a:lnTo>
                  <a:lnTo>
                    <a:pt x="102" y="30"/>
                  </a:lnTo>
                  <a:lnTo>
                    <a:pt x="262" y="0"/>
                  </a:lnTo>
                  <a:cubicBezTo>
                    <a:pt x="264" y="0"/>
                    <a:pt x="265" y="1"/>
                    <a:pt x="266" y="2"/>
                  </a:cubicBezTo>
                  <a:cubicBezTo>
                    <a:pt x="267" y="4"/>
                    <a:pt x="268" y="6"/>
                    <a:pt x="267" y="7"/>
                  </a:cubicBezTo>
                  <a:lnTo>
                    <a:pt x="224" y="96"/>
                  </a:lnTo>
                  <a:lnTo>
                    <a:pt x="233" y="135"/>
                  </a:lnTo>
                  <a:lnTo>
                    <a:pt x="225" y="167"/>
                  </a:lnTo>
                  <a:cubicBezTo>
                    <a:pt x="224" y="169"/>
                    <a:pt x="222" y="171"/>
                    <a:pt x="220" y="171"/>
                  </a:cubicBezTo>
                  <a:lnTo>
                    <a:pt x="182" y="17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5" name="Freeform 330"/>
            <p:cNvSpPr>
              <a:spLocks noChangeArrowheads="1"/>
            </p:cNvSpPr>
            <p:nvPr/>
          </p:nvSpPr>
          <p:spPr bwMode="auto">
            <a:xfrm>
              <a:off x="4406900" y="1995488"/>
              <a:ext cx="25400" cy="31750"/>
            </a:xfrm>
            <a:custGeom>
              <a:avLst/>
              <a:gdLst/>
              <a:ahLst/>
              <a:cxnLst>
                <a:cxn ang="0">
                  <a:pos x="17" y="85"/>
                </a:cxn>
                <a:cxn ang="0">
                  <a:pos x="13" y="82"/>
                </a:cxn>
                <a:cxn ang="0">
                  <a:pos x="0" y="40"/>
                </a:cxn>
                <a:cxn ang="0">
                  <a:pos x="2" y="35"/>
                </a:cxn>
                <a:cxn ang="0">
                  <a:pos x="40" y="1"/>
                </a:cxn>
                <a:cxn ang="0">
                  <a:pos x="43" y="0"/>
                </a:cxn>
                <a:cxn ang="0">
                  <a:pos x="44" y="0"/>
                </a:cxn>
                <a:cxn ang="0">
                  <a:pos x="47" y="3"/>
                </a:cxn>
                <a:cxn ang="0">
                  <a:pos x="69" y="58"/>
                </a:cxn>
                <a:cxn ang="0">
                  <a:pos x="65" y="86"/>
                </a:cxn>
                <a:cxn ang="0">
                  <a:pos x="60" y="89"/>
                </a:cxn>
                <a:cxn ang="0">
                  <a:pos x="17" y="85"/>
                </a:cxn>
              </a:cxnLst>
              <a:rect l="0" t="0" r="r" b="b"/>
              <a:pathLst>
                <a:path w="70" h="90">
                  <a:moveTo>
                    <a:pt x="17" y="85"/>
                  </a:moveTo>
                  <a:cubicBezTo>
                    <a:pt x="15" y="85"/>
                    <a:pt x="14" y="84"/>
                    <a:pt x="13" y="82"/>
                  </a:cubicBezTo>
                  <a:lnTo>
                    <a:pt x="0" y="40"/>
                  </a:lnTo>
                  <a:cubicBezTo>
                    <a:pt x="0" y="38"/>
                    <a:pt x="0" y="36"/>
                    <a:pt x="2" y="35"/>
                  </a:cubicBezTo>
                  <a:lnTo>
                    <a:pt x="40" y="1"/>
                  </a:lnTo>
                  <a:cubicBezTo>
                    <a:pt x="41" y="0"/>
                    <a:pt x="42" y="0"/>
                    <a:pt x="43" y="0"/>
                  </a:cubicBezTo>
                  <a:lnTo>
                    <a:pt x="44" y="0"/>
                  </a:lnTo>
                  <a:cubicBezTo>
                    <a:pt x="46" y="0"/>
                    <a:pt x="47" y="1"/>
                    <a:pt x="47" y="3"/>
                  </a:cubicBezTo>
                  <a:lnTo>
                    <a:pt x="69" y="58"/>
                  </a:lnTo>
                  <a:lnTo>
                    <a:pt x="65" y="86"/>
                  </a:lnTo>
                  <a:cubicBezTo>
                    <a:pt x="64" y="88"/>
                    <a:pt x="62" y="89"/>
                    <a:pt x="60" y="89"/>
                  </a:cubicBezTo>
                  <a:lnTo>
                    <a:pt x="17" y="8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6" name="Freeform 331"/>
            <p:cNvSpPr>
              <a:spLocks noChangeArrowheads="1"/>
            </p:cNvSpPr>
            <p:nvPr/>
          </p:nvSpPr>
          <p:spPr bwMode="auto">
            <a:xfrm>
              <a:off x="4406900" y="1995488"/>
              <a:ext cx="25400" cy="31750"/>
            </a:xfrm>
            <a:custGeom>
              <a:avLst/>
              <a:gdLst/>
              <a:ahLst/>
              <a:cxnLst>
                <a:cxn ang="0">
                  <a:pos x="17" y="85"/>
                </a:cxn>
                <a:cxn ang="0">
                  <a:pos x="13" y="82"/>
                </a:cxn>
                <a:cxn ang="0">
                  <a:pos x="0" y="40"/>
                </a:cxn>
                <a:cxn ang="0">
                  <a:pos x="2" y="35"/>
                </a:cxn>
                <a:cxn ang="0">
                  <a:pos x="40" y="1"/>
                </a:cxn>
                <a:cxn ang="0">
                  <a:pos x="43" y="0"/>
                </a:cxn>
                <a:cxn ang="0">
                  <a:pos x="44" y="0"/>
                </a:cxn>
                <a:cxn ang="0">
                  <a:pos x="47" y="3"/>
                </a:cxn>
                <a:cxn ang="0">
                  <a:pos x="69" y="58"/>
                </a:cxn>
                <a:cxn ang="0">
                  <a:pos x="65" y="86"/>
                </a:cxn>
                <a:cxn ang="0">
                  <a:pos x="60" y="89"/>
                </a:cxn>
                <a:cxn ang="0">
                  <a:pos x="17" y="85"/>
                </a:cxn>
              </a:cxnLst>
              <a:rect l="0" t="0" r="r" b="b"/>
              <a:pathLst>
                <a:path w="70" h="90">
                  <a:moveTo>
                    <a:pt x="17" y="85"/>
                  </a:moveTo>
                  <a:cubicBezTo>
                    <a:pt x="15" y="85"/>
                    <a:pt x="14" y="84"/>
                    <a:pt x="13" y="82"/>
                  </a:cubicBezTo>
                  <a:lnTo>
                    <a:pt x="0" y="40"/>
                  </a:lnTo>
                  <a:cubicBezTo>
                    <a:pt x="0" y="38"/>
                    <a:pt x="0" y="36"/>
                    <a:pt x="2" y="35"/>
                  </a:cubicBezTo>
                  <a:lnTo>
                    <a:pt x="40" y="1"/>
                  </a:lnTo>
                  <a:cubicBezTo>
                    <a:pt x="41" y="0"/>
                    <a:pt x="42" y="0"/>
                    <a:pt x="43" y="0"/>
                  </a:cubicBezTo>
                  <a:lnTo>
                    <a:pt x="44" y="0"/>
                  </a:lnTo>
                  <a:cubicBezTo>
                    <a:pt x="46" y="0"/>
                    <a:pt x="47" y="1"/>
                    <a:pt x="47" y="3"/>
                  </a:cubicBezTo>
                  <a:lnTo>
                    <a:pt x="69" y="58"/>
                  </a:lnTo>
                  <a:lnTo>
                    <a:pt x="65" y="86"/>
                  </a:lnTo>
                  <a:cubicBezTo>
                    <a:pt x="64" y="88"/>
                    <a:pt x="62" y="89"/>
                    <a:pt x="60" y="89"/>
                  </a:cubicBezTo>
                  <a:lnTo>
                    <a:pt x="17" y="8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7" name="Freeform 332"/>
            <p:cNvSpPr>
              <a:spLocks noChangeArrowheads="1"/>
            </p:cNvSpPr>
            <p:nvPr/>
          </p:nvSpPr>
          <p:spPr bwMode="auto">
            <a:xfrm>
              <a:off x="4381500" y="1849438"/>
              <a:ext cx="17463" cy="17462"/>
            </a:xfrm>
            <a:custGeom>
              <a:avLst/>
              <a:gdLst/>
              <a:ahLst/>
              <a:cxnLst>
                <a:cxn ang="0">
                  <a:pos x="2" y="46"/>
                </a:cxn>
                <a:cxn ang="0">
                  <a:pos x="1" y="40"/>
                </a:cxn>
                <a:cxn ang="0">
                  <a:pos x="22" y="2"/>
                </a:cxn>
                <a:cxn ang="0">
                  <a:pos x="26" y="0"/>
                </a:cxn>
                <a:cxn ang="0">
                  <a:pos x="43" y="0"/>
                </a:cxn>
                <a:cxn ang="0">
                  <a:pos x="47" y="3"/>
                </a:cxn>
                <a:cxn ang="0">
                  <a:pos x="46" y="8"/>
                </a:cxn>
                <a:cxn ang="0">
                  <a:pos x="8" y="46"/>
                </a:cxn>
                <a:cxn ang="0">
                  <a:pos x="5" y="47"/>
                </a:cxn>
                <a:cxn ang="0">
                  <a:pos x="2" y="46"/>
                </a:cxn>
              </a:cxnLst>
              <a:rect l="0" t="0" r="r" b="b"/>
              <a:pathLst>
                <a:path w="49" h="48">
                  <a:moveTo>
                    <a:pt x="2" y="46"/>
                  </a:moveTo>
                  <a:cubicBezTo>
                    <a:pt x="0" y="45"/>
                    <a:pt x="0" y="42"/>
                    <a:pt x="1" y="40"/>
                  </a:cubicBezTo>
                  <a:lnTo>
                    <a:pt x="22" y="2"/>
                  </a:lnTo>
                  <a:cubicBezTo>
                    <a:pt x="23" y="1"/>
                    <a:pt x="24" y="0"/>
                    <a:pt x="26" y="0"/>
                  </a:cubicBezTo>
                  <a:lnTo>
                    <a:pt x="43" y="0"/>
                  </a:lnTo>
                  <a:cubicBezTo>
                    <a:pt x="45" y="0"/>
                    <a:pt x="47" y="1"/>
                    <a:pt x="47" y="3"/>
                  </a:cubicBezTo>
                  <a:cubicBezTo>
                    <a:pt x="48" y="4"/>
                    <a:pt x="48" y="6"/>
                    <a:pt x="46" y="8"/>
                  </a:cubicBezTo>
                  <a:lnTo>
                    <a:pt x="8" y="46"/>
                  </a:lnTo>
                  <a:cubicBezTo>
                    <a:pt x="7" y="47"/>
                    <a:pt x="6" y="47"/>
                    <a:pt x="5" y="47"/>
                  </a:cubicBezTo>
                  <a:cubicBezTo>
                    <a:pt x="4" y="47"/>
                    <a:pt x="3" y="47"/>
                    <a:pt x="2" y="4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8" name="Freeform 333"/>
            <p:cNvSpPr>
              <a:spLocks noChangeArrowheads="1"/>
            </p:cNvSpPr>
            <p:nvPr/>
          </p:nvSpPr>
          <p:spPr bwMode="auto">
            <a:xfrm>
              <a:off x="4381500" y="1849438"/>
              <a:ext cx="17463" cy="17462"/>
            </a:xfrm>
            <a:custGeom>
              <a:avLst/>
              <a:gdLst/>
              <a:ahLst/>
              <a:cxnLst>
                <a:cxn ang="0">
                  <a:pos x="5" y="47"/>
                </a:cxn>
                <a:cxn ang="0">
                  <a:pos x="2" y="46"/>
                </a:cxn>
                <a:cxn ang="0">
                  <a:pos x="1" y="40"/>
                </a:cxn>
                <a:cxn ang="0">
                  <a:pos x="22" y="2"/>
                </a:cxn>
                <a:cxn ang="0">
                  <a:pos x="26" y="0"/>
                </a:cxn>
                <a:cxn ang="0">
                  <a:pos x="43" y="0"/>
                </a:cxn>
                <a:cxn ang="0">
                  <a:pos x="47" y="3"/>
                </a:cxn>
                <a:cxn ang="0">
                  <a:pos x="46" y="8"/>
                </a:cxn>
                <a:cxn ang="0">
                  <a:pos x="8" y="46"/>
                </a:cxn>
                <a:cxn ang="0">
                  <a:pos x="5" y="47"/>
                </a:cxn>
              </a:cxnLst>
              <a:rect l="0" t="0" r="r" b="b"/>
              <a:pathLst>
                <a:path w="49" h="48">
                  <a:moveTo>
                    <a:pt x="5" y="47"/>
                  </a:moveTo>
                  <a:cubicBezTo>
                    <a:pt x="4" y="47"/>
                    <a:pt x="3" y="47"/>
                    <a:pt x="2" y="46"/>
                  </a:cubicBezTo>
                  <a:cubicBezTo>
                    <a:pt x="0" y="45"/>
                    <a:pt x="0" y="42"/>
                    <a:pt x="1" y="40"/>
                  </a:cubicBezTo>
                  <a:lnTo>
                    <a:pt x="22" y="2"/>
                  </a:lnTo>
                  <a:cubicBezTo>
                    <a:pt x="23" y="1"/>
                    <a:pt x="24" y="0"/>
                    <a:pt x="26" y="0"/>
                  </a:cubicBezTo>
                  <a:lnTo>
                    <a:pt x="43" y="0"/>
                  </a:lnTo>
                  <a:cubicBezTo>
                    <a:pt x="45" y="0"/>
                    <a:pt x="47" y="1"/>
                    <a:pt x="47" y="3"/>
                  </a:cubicBezTo>
                  <a:cubicBezTo>
                    <a:pt x="48" y="4"/>
                    <a:pt x="48" y="6"/>
                    <a:pt x="46" y="8"/>
                  </a:cubicBezTo>
                  <a:lnTo>
                    <a:pt x="8" y="46"/>
                  </a:lnTo>
                  <a:cubicBezTo>
                    <a:pt x="7" y="47"/>
                    <a:pt x="6" y="47"/>
                    <a:pt x="5" y="4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39" name="Freeform 334"/>
            <p:cNvSpPr>
              <a:spLocks noChangeArrowheads="1"/>
            </p:cNvSpPr>
            <p:nvPr/>
          </p:nvSpPr>
          <p:spPr bwMode="auto">
            <a:xfrm>
              <a:off x="4343400" y="1836738"/>
              <a:ext cx="111125" cy="136525"/>
            </a:xfrm>
            <a:custGeom>
              <a:avLst/>
              <a:gdLst/>
              <a:ahLst/>
              <a:cxnLst>
                <a:cxn ang="0">
                  <a:pos x="211" y="377"/>
                </a:cxn>
                <a:cxn ang="0">
                  <a:pos x="185" y="364"/>
                </a:cxn>
                <a:cxn ang="0">
                  <a:pos x="183" y="361"/>
                </a:cxn>
                <a:cxn ang="0">
                  <a:pos x="174" y="316"/>
                </a:cxn>
                <a:cxn ang="0">
                  <a:pos x="135" y="293"/>
                </a:cxn>
                <a:cxn ang="0">
                  <a:pos x="35" y="314"/>
                </a:cxn>
                <a:cxn ang="0">
                  <a:pos x="32" y="313"/>
                </a:cxn>
                <a:cxn ang="0">
                  <a:pos x="3" y="296"/>
                </a:cxn>
                <a:cxn ang="0">
                  <a:pos x="0" y="291"/>
                </a:cxn>
                <a:cxn ang="0">
                  <a:pos x="5" y="287"/>
                </a:cxn>
                <a:cxn ang="0">
                  <a:pos x="59" y="284"/>
                </a:cxn>
                <a:cxn ang="0">
                  <a:pos x="41" y="275"/>
                </a:cxn>
                <a:cxn ang="0">
                  <a:pos x="38" y="271"/>
                </a:cxn>
                <a:cxn ang="0">
                  <a:pos x="42" y="267"/>
                </a:cxn>
                <a:cxn ang="0">
                  <a:pos x="100" y="248"/>
                </a:cxn>
                <a:cxn ang="0">
                  <a:pos x="77" y="246"/>
                </a:cxn>
                <a:cxn ang="0">
                  <a:pos x="73" y="243"/>
                </a:cxn>
                <a:cxn ang="0">
                  <a:pos x="60" y="218"/>
                </a:cxn>
                <a:cxn ang="0">
                  <a:pos x="60" y="214"/>
                </a:cxn>
                <a:cxn ang="0">
                  <a:pos x="128" y="79"/>
                </a:cxn>
                <a:cxn ang="0">
                  <a:pos x="132" y="76"/>
                </a:cxn>
                <a:cxn ang="0">
                  <a:pos x="132" y="76"/>
                </a:cxn>
                <a:cxn ang="0">
                  <a:pos x="136" y="78"/>
                </a:cxn>
                <a:cxn ang="0">
                  <a:pos x="153" y="103"/>
                </a:cxn>
                <a:cxn ang="0">
                  <a:pos x="152" y="110"/>
                </a:cxn>
                <a:cxn ang="0">
                  <a:pos x="137" y="121"/>
                </a:cxn>
                <a:cxn ang="0">
                  <a:pos x="137" y="145"/>
                </a:cxn>
                <a:cxn ang="0">
                  <a:pos x="160" y="157"/>
                </a:cxn>
                <a:cxn ang="0">
                  <a:pos x="157" y="132"/>
                </a:cxn>
                <a:cxn ang="0">
                  <a:pos x="173" y="88"/>
                </a:cxn>
                <a:cxn ang="0">
                  <a:pos x="165" y="85"/>
                </a:cxn>
                <a:cxn ang="0">
                  <a:pos x="161" y="80"/>
                </a:cxn>
                <a:cxn ang="0">
                  <a:pos x="166" y="34"/>
                </a:cxn>
                <a:cxn ang="0">
                  <a:pos x="169" y="30"/>
                </a:cxn>
                <a:cxn ang="0">
                  <a:pos x="271" y="0"/>
                </a:cxn>
                <a:cxn ang="0">
                  <a:pos x="272" y="0"/>
                </a:cxn>
                <a:cxn ang="0">
                  <a:pos x="275" y="1"/>
                </a:cxn>
                <a:cxn ang="0">
                  <a:pos x="305" y="31"/>
                </a:cxn>
                <a:cxn ang="0">
                  <a:pos x="306" y="35"/>
                </a:cxn>
                <a:cxn ang="0">
                  <a:pos x="294" y="103"/>
                </a:cxn>
                <a:cxn ang="0">
                  <a:pos x="292" y="106"/>
                </a:cxn>
                <a:cxn ang="0">
                  <a:pos x="270" y="120"/>
                </a:cxn>
                <a:cxn ang="0">
                  <a:pos x="301" y="158"/>
                </a:cxn>
                <a:cxn ang="0">
                  <a:pos x="301" y="164"/>
                </a:cxn>
                <a:cxn ang="0">
                  <a:pos x="263" y="219"/>
                </a:cxn>
                <a:cxn ang="0">
                  <a:pos x="259" y="221"/>
                </a:cxn>
                <a:cxn ang="0">
                  <a:pos x="217" y="217"/>
                </a:cxn>
                <a:cxn ang="0">
                  <a:pos x="217" y="373"/>
                </a:cxn>
                <a:cxn ang="0">
                  <a:pos x="215" y="377"/>
                </a:cxn>
                <a:cxn ang="0">
                  <a:pos x="213" y="377"/>
                </a:cxn>
                <a:cxn ang="0">
                  <a:pos x="211" y="377"/>
                </a:cxn>
              </a:cxnLst>
              <a:rect l="0" t="0" r="r" b="b"/>
              <a:pathLst>
                <a:path w="308" h="378">
                  <a:moveTo>
                    <a:pt x="211" y="377"/>
                  </a:moveTo>
                  <a:lnTo>
                    <a:pt x="185" y="364"/>
                  </a:lnTo>
                  <a:cubicBezTo>
                    <a:pt x="184" y="363"/>
                    <a:pt x="183" y="362"/>
                    <a:pt x="183" y="361"/>
                  </a:cubicBezTo>
                  <a:lnTo>
                    <a:pt x="174" y="316"/>
                  </a:lnTo>
                  <a:lnTo>
                    <a:pt x="135" y="293"/>
                  </a:lnTo>
                  <a:lnTo>
                    <a:pt x="35" y="314"/>
                  </a:lnTo>
                  <a:cubicBezTo>
                    <a:pt x="34" y="314"/>
                    <a:pt x="33" y="314"/>
                    <a:pt x="32" y="313"/>
                  </a:cubicBezTo>
                  <a:lnTo>
                    <a:pt x="3" y="296"/>
                  </a:lnTo>
                  <a:cubicBezTo>
                    <a:pt x="1" y="295"/>
                    <a:pt x="0" y="293"/>
                    <a:pt x="0" y="291"/>
                  </a:cubicBezTo>
                  <a:cubicBezTo>
                    <a:pt x="1" y="289"/>
                    <a:pt x="3" y="288"/>
                    <a:pt x="5" y="287"/>
                  </a:cubicBezTo>
                  <a:lnTo>
                    <a:pt x="59" y="284"/>
                  </a:lnTo>
                  <a:lnTo>
                    <a:pt x="41" y="275"/>
                  </a:lnTo>
                  <a:cubicBezTo>
                    <a:pt x="39" y="274"/>
                    <a:pt x="38" y="273"/>
                    <a:pt x="38" y="271"/>
                  </a:cubicBezTo>
                  <a:cubicBezTo>
                    <a:pt x="39" y="269"/>
                    <a:pt x="40" y="267"/>
                    <a:pt x="42" y="267"/>
                  </a:cubicBezTo>
                  <a:lnTo>
                    <a:pt x="100" y="248"/>
                  </a:lnTo>
                  <a:lnTo>
                    <a:pt x="77" y="246"/>
                  </a:lnTo>
                  <a:cubicBezTo>
                    <a:pt x="75" y="246"/>
                    <a:pt x="74" y="245"/>
                    <a:pt x="73" y="243"/>
                  </a:cubicBezTo>
                  <a:lnTo>
                    <a:pt x="60" y="218"/>
                  </a:lnTo>
                  <a:cubicBezTo>
                    <a:pt x="60" y="217"/>
                    <a:pt x="60" y="215"/>
                    <a:pt x="60" y="214"/>
                  </a:cubicBezTo>
                  <a:lnTo>
                    <a:pt x="128" y="79"/>
                  </a:lnTo>
                  <a:cubicBezTo>
                    <a:pt x="129" y="77"/>
                    <a:pt x="130" y="76"/>
                    <a:pt x="132" y="76"/>
                  </a:cubicBezTo>
                  <a:lnTo>
                    <a:pt x="132" y="76"/>
                  </a:lnTo>
                  <a:cubicBezTo>
                    <a:pt x="134" y="76"/>
                    <a:pt x="135" y="77"/>
                    <a:pt x="136" y="78"/>
                  </a:cubicBezTo>
                  <a:lnTo>
                    <a:pt x="153" y="103"/>
                  </a:lnTo>
                  <a:cubicBezTo>
                    <a:pt x="154" y="106"/>
                    <a:pt x="154" y="108"/>
                    <a:pt x="152" y="110"/>
                  </a:cubicBezTo>
                  <a:lnTo>
                    <a:pt x="137" y="121"/>
                  </a:lnTo>
                  <a:lnTo>
                    <a:pt x="137" y="145"/>
                  </a:lnTo>
                  <a:lnTo>
                    <a:pt x="160" y="157"/>
                  </a:lnTo>
                  <a:lnTo>
                    <a:pt x="157" y="132"/>
                  </a:lnTo>
                  <a:lnTo>
                    <a:pt x="173" y="88"/>
                  </a:lnTo>
                  <a:lnTo>
                    <a:pt x="165" y="85"/>
                  </a:lnTo>
                  <a:cubicBezTo>
                    <a:pt x="163" y="84"/>
                    <a:pt x="161" y="82"/>
                    <a:pt x="161" y="80"/>
                  </a:cubicBezTo>
                  <a:lnTo>
                    <a:pt x="166" y="34"/>
                  </a:lnTo>
                  <a:cubicBezTo>
                    <a:pt x="166" y="32"/>
                    <a:pt x="167" y="30"/>
                    <a:pt x="169" y="30"/>
                  </a:cubicBezTo>
                  <a:lnTo>
                    <a:pt x="271" y="0"/>
                  </a:lnTo>
                  <a:lnTo>
                    <a:pt x="272" y="0"/>
                  </a:lnTo>
                  <a:cubicBezTo>
                    <a:pt x="273" y="0"/>
                    <a:pt x="274" y="0"/>
                    <a:pt x="275" y="1"/>
                  </a:cubicBezTo>
                  <a:lnTo>
                    <a:pt x="305" y="31"/>
                  </a:lnTo>
                  <a:cubicBezTo>
                    <a:pt x="306" y="32"/>
                    <a:pt x="307" y="33"/>
                    <a:pt x="306" y="35"/>
                  </a:cubicBezTo>
                  <a:lnTo>
                    <a:pt x="294" y="103"/>
                  </a:lnTo>
                  <a:cubicBezTo>
                    <a:pt x="293" y="104"/>
                    <a:pt x="293" y="105"/>
                    <a:pt x="292" y="106"/>
                  </a:cubicBezTo>
                  <a:lnTo>
                    <a:pt x="270" y="120"/>
                  </a:lnTo>
                  <a:lnTo>
                    <a:pt x="301" y="158"/>
                  </a:lnTo>
                  <a:cubicBezTo>
                    <a:pt x="302" y="160"/>
                    <a:pt x="302" y="162"/>
                    <a:pt x="301" y="164"/>
                  </a:cubicBezTo>
                  <a:lnTo>
                    <a:pt x="263" y="219"/>
                  </a:lnTo>
                  <a:cubicBezTo>
                    <a:pt x="262" y="220"/>
                    <a:pt x="261" y="221"/>
                    <a:pt x="259" y="221"/>
                  </a:cubicBezTo>
                  <a:lnTo>
                    <a:pt x="217" y="217"/>
                  </a:lnTo>
                  <a:lnTo>
                    <a:pt x="217" y="373"/>
                  </a:lnTo>
                  <a:cubicBezTo>
                    <a:pt x="217" y="374"/>
                    <a:pt x="217" y="376"/>
                    <a:pt x="215" y="377"/>
                  </a:cubicBezTo>
                  <a:cubicBezTo>
                    <a:pt x="214" y="377"/>
                    <a:pt x="214" y="377"/>
                    <a:pt x="213" y="377"/>
                  </a:cubicBezTo>
                  <a:cubicBezTo>
                    <a:pt x="212" y="377"/>
                    <a:pt x="211" y="377"/>
                    <a:pt x="211" y="37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0" name="Freeform 335"/>
            <p:cNvSpPr>
              <a:spLocks noChangeArrowheads="1"/>
            </p:cNvSpPr>
            <p:nvPr/>
          </p:nvSpPr>
          <p:spPr bwMode="auto">
            <a:xfrm>
              <a:off x="4343400" y="1836738"/>
              <a:ext cx="111125" cy="136525"/>
            </a:xfrm>
            <a:custGeom>
              <a:avLst/>
              <a:gdLst/>
              <a:ahLst/>
              <a:cxnLst>
                <a:cxn ang="0">
                  <a:pos x="213" y="377"/>
                </a:cxn>
                <a:cxn ang="0">
                  <a:pos x="211" y="377"/>
                </a:cxn>
                <a:cxn ang="0">
                  <a:pos x="185" y="364"/>
                </a:cxn>
                <a:cxn ang="0">
                  <a:pos x="183" y="361"/>
                </a:cxn>
                <a:cxn ang="0">
                  <a:pos x="174" y="316"/>
                </a:cxn>
                <a:cxn ang="0">
                  <a:pos x="135" y="293"/>
                </a:cxn>
                <a:cxn ang="0">
                  <a:pos x="35" y="314"/>
                </a:cxn>
                <a:cxn ang="0">
                  <a:pos x="32" y="313"/>
                </a:cxn>
                <a:cxn ang="0">
                  <a:pos x="3" y="296"/>
                </a:cxn>
                <a:cxn ang="0">
                  <a:pos x="0" y="291"/>
                </a:cxn>
                <a:cxn ang="0">
                  <a:pos x="5" y="287"/>
                </a:cxn>
                <a:cxn ang="0">
                  <a:pos x="59" y="284"/>
                </a:cxn>
                <a:cxn ang="0">
                  <a:pos x="41" y="275"/>
                </a:cxn>
                <a:cxn ang="0">
                  <a:pos x="38" y="271"/>
                </a:cxn>
                <a:cxn ang="0">
                  <a:pos x="42" y="267"/>
                </a:cxn>
                <a:cxn ang="0">
                  <a:pos x="100" y="248"/>
                </a:cxn>
                <a:cxn ang="0">
                  <a:pos x="77" y="246"/>
                </a:cxn>
                <a:cxn ang="0">
                  <a:pos x="73" y="243"/>
                </a:cxn>
                <a:cxn ang="0">
                  <a:pos x="60" y="218"/>
                </a:cxn>
                <a:cxn ang="0">
                  <a:pos x="60" y="214"/>
                </a:cxn>
                <a:cxn ang="0">
                  <a:pos x="128" y="79"/>
                </a:cxn>
                <a:cxn ang="0">
                  <a:pos x="132" y="76"/>
                </a:cxn>
                <a:cxn ang="0">
                  <a:pos x="132" y="76"/>
                </a:cxn>
                <a:cxn ang="0">
                  <a:pos x="136" y="78"/>
                </a:cxn>
                <a:cxn ang="0">
                  <a:pos x="153" y="103"/>
                </a:cxn>
                <a:cxn ang="0">
                  <a:pos x="152" y="110"/>
                </a:cxn>
                <a:cxn ang="0">
                  <a:pos x="137" y="121"/>
                </a:cxn>
                <a:cxn ang="0">
                  <a:pos x="137" y="145"/>
                </a:cxn>
                <a:cxn ang="0">
                  <a:pos x="160" y="157"/>
                </a:cxn>
                <a:cxn ang="0">
                  <a:pos x="157" y="132"/>
                </a:cxn>
                <a:cxn ang="0">
                  <a:pos x="173" y="88"/>
                </a:cxn>
                <a:cxn ang="0">
                  <a:pos x="165" y="85"/>
                </a:cxn>
                <a:cxn ang="0">
                  <a:pos x="161" y="80"/>
                </a:cxn>
                <a:cxn ang="0">
                  <a:pos x="166" y="34"/>
                </a:cxn>
                <a:cxn ang="0">
                  <a:pos x="169" y="30"/>
                </a:cxn>
                <a:cxn ang="0">
                  <a:pos x="271" y="0"/>
                </a:cxn>
                <a:cxn ang="0">
                  <a:pos x="272" y="0"/>
                </a:cxn>
                <a:cxn ang="0">
                  <a:pos x="275" y="1"/>
                </a:cxn>
                <a:cxn ang="0">
                  <a:pos x="305" y="31"/>
                </a:cxn>
                <a:cxn ang="0">
                  <a:pos x="306" y="35"/>
                </a:cxn>
                <a:cxn ang="0">
                  <a:pos x="294" y="103"/>
                </a:cxn>
                <a:cxn ang="0">
                  <a:pos x="292" y="106"/>
                </a:cxn>
                <a:cxn ang="0">
                  <a:pos x="270" y="120"/>
                </a:cxn>
                <a:cxn ang="0">
                  <a:pos x="301" y="158"/>
                </a:cxn>
                <a:cxn ang="0">
                  <a:pos x="301" y="164"/>
                </a:cxn>
                <a:cxn ang="0">
                  <a:pos x="263" y="219"/>
                </a:cxn>
                <a:cxn ang="0">
                  <a:pos x="259" y="221"/>
                </a:cxn>
                <a:cxn ang="0">
                  <a:pos x="217" y="217"/>
                </a:cxn>
                <a:cxn ang="0">
                  <a:pos x="217" y="373"/>
                </a:cxn>
                <a:cxn ang="0">
                  <a:pos x="215" y="377"/>
                </a:cxn>
                <a:cxn ang="0">
                  <a:pos x="213" y="377"/>
                </a:cxn>
              </a:cxnLst>
              <a:rect l="0" t="0" r="r" b="b"/>
              <a:pathLst>
                <a:path w="308" h="378">
                  <a:moveTo>
                    <a:pt x="213" y="377"/>
                  </a:moveTo>
                  <a:cubicBezTo>
                    <a:pt x="212" y="377"/>
                    <a:pt x="211" y="377"/>
                    <a:pt x="211" y="377"/>
                  </a:cubicBezTo>
                  <a:lnTo>
                    <a:pt x="185" y="364"/>
                  </a:lnTo>
                  <a:cubicBezTo>
                    <a:pt x="184" y="363"/>
                    <a:pt x="183" y="362"/>
                    <a:pt x="183" y="361"/>
                  </a:cubicBezTo>
                  <a:lnTo>
                    <a:pt x="174" y="316"/>
                  </a:lnTo>
                  <a:lnTo>
                    <a:pt x="135" y="293"/>
                  </a:lnTo>
                  <a:lnTo>
                    <a:pt x="35" y="314"/>
                  </a:lnTo>
                  <a:cubicBezTo>
                    <a:pt x="34" y="314"/>
                    <a:pt x="33" y="314"/>
                    <a:pt x="32" y="313"/>
                  </a:cubicBezTo>
                  <a:lnTo>
                    <a:pt x="3" y="296"/>
                  </a:lnTo>
                  <a:cubicBezTo>
                    <a:pt x="1" y="295"/>
                    <a:pt x="0" y="293"/>
                    <a:pt x="0" y="291"/>
                  </a:cubicBezTo>
                  <a:cubicBezTo>
                    <a:pt x="1" y="289"/>
                    <a:pt x="3" y="288"/>
                    <a:pt x="5" y="287"/>
                  </a:cubicBezTo>
                  <a:lnTo>
                    <a:pt x="59" y="284"/>
                  </a:lnTo>
                  <a:lnTo>
                    <a:pt x="41" y="275"/>
                  </a:lnTo>
                  <a:cubicBezTo>
                    <a:pt x="39" y="274"/>
                    <a:pt x="38" y="273"/>
                    <a:pt x="38" y="271"/>
                  </a:cubicBezTo>
                  <a:cubicBezTo>
                    <a:pt x="39" y="269"/>
                    <a:pt x="40" y="267"/>
                    <a:pt x="42" y="267"/>
                  </a:cubicBezTo>
                  <a:lnTo>
                    <a:pt x="100" y="248"/>
                  </a:lnTo>
                  <a:lnTo>
                    <a:pt x="77" y="246"/>
                  </a:lnTo>
                  <a:cubicBezTo>
                    <a:pt x="75" y="246"/>
                    <a:pt x="74" y="245"/>
                    <a:pt x="73" y="243"/>
                  </a:cubicBezTo>
                  <a:lnTo>
                    <a:pt x="60" y="218"/>
                  </a:lnTo>
                  <a:cubicBezTo>
                    <a:pt x="60" y="217"/>
                    <a:pt x="60" y="215"/>
                    <a:pt x="60" y="214"/>
                  </a:cubicBezTo>
                  <a:lnTo>
                    <a:pt x="128" y="79"/>
                  </a:lnTo>
                  <a:cubicBezTo>
                    <a:pt x="129" y="77"/>
                    <a:pt x="130" y="76"/>
                    <a:pt x="132" y="76"/>
                  </a:cubicBezTo>
                  <a:lnTo>
                    <a:pt x="132" y="76"/>
                  </a:lnTo>
                  <a:cubicBezTo>
                    <a:pt x="134" y="76"/>
                    <a:pt x="135" y="77"/>
                    <a:pt x="136" y="78"/>
                  </a:cubicBezTo>
                  <a:lnTo>
                    <a:pt x="153" y="103"/>
                  </a:lnTo>
                  <a:cubicBezTo>
                    <a:pt x="154" y="106"/>
                    <a:pt x="154" y="108"/>
                    <a:pt x="152" y="110"/>
                  </a:cubicBezTo>
                  <a:lnTo>
                    <a:pt x="137" y="121"/>
                  </a:lnTo>
                  <a:lnTo>
                    <a:pt x="137" y="145"/>
                  </a:lnTo>
                  <a:lnTo>
                    <a:pt x="160" y="157"/>
                  </a:lnTo>
                  <a:lnTo>
                    <a:pt x="157" y="132"/>
                  </a:lnTo>
                  <a:lnTo>
                    <a:pt x="173" y="88"/>
                  </a:lnTo>
                  <a:lnTo>
                    <a:pt x="165" y="85"/>
                  </a:lnTo>
                  <a:cubicBezTo>
                    <a:pt x="163" y="84"/>
                    <a:pt x="161" y="82"/>
                    <a:pt x="161" y="80"/>
                  </a:cubicBezTo>
                  <a:lnTo>
                    <a:pt x="166" y="34"/>
                  </a:lnTo>
                  <a:cubicBezTo>
                    <a:pt x="166" y="32"/>
                    <a:pt x="167" y="30"/>
                    <a:pt x="169" y="30"/>
                  </a:cubicBezTo>
                  <a:lnTo>
                    <a:pt x="271" y="0"/>
                  </a:lnTo>
                  <a:lnTo>
                    <a:pt x="272" y="0"/>
                  </a:lnTo>
                  <a:cubicBezTo>
                    <a:pt x="273" y="0"/>
                    <a:pt x="274" y="0"/>
                    <a:pt x="275" y="1"/>
                  </a:cubicBezTo>
                  <a:lnTo>
                    <a:pt x="305" y="31"/>
                  </a:lnTo>
                  <a:cubicBezTo>
                    <a:pt x="306" y="32"/>
                    <a:pt x="307" y="33"/>
                    <a:pt x="306" y="35"/>
                  </a:cubicBezTo>
                  <a:lnTo>
                    <a:pt x="294" y="103"/>
                  </a:lnTo>
                  <a:cubicBezTo>
                    <a:pt x="293" y="104"/>
                    <a:pt x="293" y="105"/>
                    <a:pt x="292" y="106"/>
                  </a:cubicBezTo>
                  <a:lnTo>
                    <a:pt x="270" y="120"/>
                  </a:lnTo>
                  <a:lnTo>
                    <a:pt x="301" y="158"/>
                  </a:lnTo>
                  <a:cubicBezTo>
                    <a:pt x="302" y="160"/>
                    <a:pt x="302" y="162"/>
                    <a:pt x="301" y="164"/>
                  </a:cubicBezTo>
                  <a:lnTo>
                    <a:pt x="263" y="219"/>
                  </a:lnTo>
                  <a:cubicBezTo>
                    <a:pt x="262" y="220"/>
                    <a:pt x="261" y="221"/>
                    <a:pt x="259" y="221"/>
                  </a:cubicBezTo>
                  <a:lnTo>
                    <a:pt x="217" y="217"/>
                  </a:lnTo>
                  <a:lnTo>
                    <a:pt x="217" y="373"/>
                  </a:lnTo>
                  <a:cubicBezTo>
                    <a:pt x="217" y="374"/>
                    <a:pt x="217" y="376"/>
                    <a:pt x="215" y="377"/>
                  </a:cubicBezTo>
                  <a:cubicBezTo>
                    <a:pt x="214" y="377"/>
                    <a:pt x="214" y="377"/>
                    <a:pt x="213" y="37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1" name="Freeform 336"/>
            <p:cNvSpPr>
              <a:spLocks noChangeArrowheads="1"/>
            </p:cNvSpPr>
            <p:nvPr/>
          </p:nvSpPr>
          <p:spPr bwMode="auto">
            <a:xfrm>
              <a:off x="3959225" y="2346325"/>
              <a:ext cx="100013" cy="198438"/>
            </a:xfrm>
            <a:custGeom>
              <a:avLst/>
              <a:gdLst/>
              <a:ahLst/>
              <a:cxnLst>
                <a:cxn ang="0">
                  <a:pos x="48" y="549"/>
                </a:cxn>
                <a:cxn ang="0">
                  <a:pos x="46" y="545"/>
                </a:cxn>
                <a:cxn ang="0">
                  <a:pos x="63" y="400"/>
                </a:cxn>
                <a:cxn ang="0">
                  <a:pos x="31" y="407"/>
                </a:cxn>
                <a:cxn ang="0">
                  <a:pos x="30" y="407"/>
                </a:cxn>
                <a:cxn ang="0">
                  <a:pos x="26" y="405"/>
                </a:cxn>
                <a:cxn ang="0">
                  <a:pos x="1" y="371"/>
                </a:cxn>
                <a:cxn ang="0">
                  <a:pos x="0" y="367"/>
                </a:cxn>
                <a:cxn ang="0">
                  <a:pos x="64" y="130"/>
                </a:cxn>
                <a:cxn ang="0">
                  <a:pos x="51" y="39"/>
                </a:cxn>
                <a:cxn ang="0">
                  <a:pos x="53" y="34"/>
                </a:cxn>
                <a:cxn ang="0">
                  <a:pos x="112" y="0"/>
                </a:cxn>
                <a:cxn ang="0">
                  <a:pos x="115" y="0"/>
                </a:cxn>
                <a:cxn ang="0">
                  <a:pos x="116" y="0"/>
                </a:cxn>
                <a:cxn ang="0">
                  <a:pos x="119" y="2"/>
                </a:cxn>
                <a:cxn ang="0">
                  <a:pos x="130" y="25"/>
                </a:cxn>
                <a:cxn ang="0">
                  <a:pos x="255" y="21"/>
                </a:cxn>
                <a:cxn ang="0">
                  <a:pos x="259" y="24"/>
                </a:cxn>
                <a:cxn ang="0">
                  <a:pos x="276" y="57"/>
                </a:cxn>
                <a:cxn ang="0">
                  <a:pos x="275" y="62"/>
                </a:cxn>
                <a:cxn ang="0">
                  <a:pos x="229" y="126"/>
                </a:cxn>
                <a:cxn ang="0">
                  <a:pos x="221" y="208"/>
                </a:cxn>
                <a:cxn ang="0">
                  <a:pos x="225" y="241"/>
                </a:cxn>
                <a:cxn ang="0">
                  <a:pos x="224" y="245"/>
                </a:cxn>
                <a:cxn ang="0">
                  <a:pos x="184" y="277"/>
                </a:cxn>
                <a:cxn ang="0">
                  <a:pos x="208" y="337"/>
                </a:cxn>
                <a:cxn ang="0">
                  <a:pos x="192" y="393"/>
                </a:cxn>
                <a:cxn ang="0">
                  <a:pos x="216" y="442"/>
                </a:cxn>
                <a:cxn ang="0">
                  <a:pos x="216" y="448"/>
                </a:cxn>
                <a:cxn ang="0">
                  <a:pos x="175" y="489"/>
                </a:cxn>
                <a:cxn ang="0">
                  <a:pos x="179" y="529"/>
                </a:cxn>
                <a:cxn ang="0">
                  <a:pos x="175" y="534"/>
                </a:cxn>
                <a:cxn ang="0">
                  <a:pos x="51" y="551"/>
                </a:cxn>
                <a:cxn ang="0">
                  <a:pos x="48" y="549"/>
                </a:cxn>
              </a:cxnLst>
              <a:rect l="0" t="0" r="r" b="b"/>
              <a:pathLst>
                <a:path w="277" h="552">
                  <a:moveTo>
                    <a:pt x="48" y="549"/>
                  </a:moveTo>
                  <a:cubicBezTo>
                    <a:pt x="47" y="548"/>
                    <a:pt x="46" y="547"/>
                    <a:pt x="46" y="545"/>
                  </a:cubicBezTo>
                  <a:lnTo>
                    <a:pt x="63" y="400"/>
                  </a:lnTo>
                  <a:lnTo>
                    <a:pt x="31" y="407"/>
                  </a:lnTo>
                  <a:lnTo>
                    <a:pt x="30" y="407"/>
                  </a:lnTo>
                  <a:cubicBezTo>
                    <a:pt x="28" y="407"/>
                    <a:pt x="27" y="406"/>
                    <a:pt x="26" y="405"/>
                  </a:cubicBezTo>
                  <a:lnTo>
                    <a:pt x="1" y="371"/>
                  </a:lnTo>
                  <a:cubicBezTo>
                    <a:pt x="0" y="370"/>
                    <a:pt x="0" y="369"/>
                    <a:pt x="0" y="367"/>
                  </a:cubicBezTo>
                  <a:lnTo>
                    <a:pt x="64" y="130"/>
                  </a:lnTo>
                  <a:lnTo>
                    <a:pt x="51" y="39"/>
                  </a:lnTo>
                  <a:cubicBezTo>
                    <a:pt x="50" y="37"/>
                    <a:pt x="51" y="35"/>
                    <a:pt x="53" y="34"/>
                  </a:cubicBezTo>
                  <a:lnTo>
                    <a:pt x="112" y="0"/>
                  </a:lnTo>
                  <a:cubicBezTo>
                    <a:pt x="113" y="0"/>
                    <a:pt x="114" y="0"/>
                    <a:pt x="115" y="0"/>
                  </a:cubicBezTo>
                  <a:lnTo>
                    <a:pt x="116" y="0"/>
                  </a:lnTo>
                  <a:cubicBezTo>
                    <a:pt x="117" y="0"/>
                    <a:pt x="118" y="1"/>
                    <a:pt x="119" y="2"/>
                  </a:cubicBezTo>
                  <a:lnTo>
                    <a:pt x="130" y="25"/>
                  </a:lnTo>
                  <a:lnTo>
                    <a:pt x="255" y="21"/>
                  </a:lnTo>
                  <a:cubicBezTo>
                    <a:pt x="256" y="21"/>
                    <a:pt x="258" y="22"/>
                    <a:pt x="259" y="24"/>
                  </a:cubicBezTo>
                  <a:lnTo>
                    <a:pt x="276" y="57"/>
                  </a:lnTo>
                  <a:cubicBezTo>
                    <a:pt x="276" y="59"/>
                    <a:pt x="276" y="61"/>
                    <a:pt x="275" y="62"/>
                  </a:cubicBezTo>
                  <a:lnTo>
                    <a:pt x="229" y="126"/>
                  </a:lnTo>
                  <a:lnTo>
                    <a:pt x="221" y="208"/>
                  </a:lnTo>
                  <a:lnTo>
                    <a:pt x="225" y="241"/>
                  </a:lnTo>
                  <a:cubicBezTo>
                    <a:pt x="226" y="242"/>
                    <a:pt x="225" y="244"/>
                    <a:pt x="224" y="245"/>
                  </a:cubicBezTo>
                  <a:lnTo>
                    <a:pt x="184" y="277"/>
                  </a:lnTo>
                  <a:lnTo>
                    <a:pt x="208" y="337"/>
                  </a:lnTo>
                  <a:lnTo>
                    <a:pt x="192" y="393"/>
                  </a:lnTo>
                  <a:lnTo>
                    <a:pt x="216" y="442"/>
                  </a:lnTo>
                  <a:cubicBezTo>
                    <a:pt x="217" y="444"/>
                    <a:pt x="217" y="446"/>
                    <a:pt x="216" y="448"/>
                  </a:cubicBezTo>
                  <a:lnTo>
                    <a:pt x="175" y="489"/>
                  </a:lnTo>
                  <a:lnTo>
                    <a:pt x="179" y="529"/>
                  </a:lnTo>
                  <a:cubicBezTo>
                    <a:pt x="179" y="531"/>
                    <a:pt x="177" y="533"/>
                    <a:pt x="175" y="534"/>
                  </a:cubicBezTo>
                  <a:lnTo>
                    <a:pt x="51" y="551"/>
                  </a:lnTo>
                  <a:cubicBezTo>
                    <a:pt x="50" y="551"/>
                    <a:pt x="49" y="550"/>
                    <a:pt x="48" y="54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2" name="Freeform 337"/>
            <p:cNvSpPr>
              <a:spLocks noChangeArrowheads="1"/>
            </p:cNvSpPr>
            <p:nvPr/>
          </p:nvSpPr>
          <p:spPr bwMode="auto">
            <a:xfrm>
              <a:off x="3959225" y="2346325"/>
              <a:ext cx="100013" cy="198438"/>
            </a:xfrm>
            <a:custGeom>
              <a:avLst/>
              <a:gdLst/>
              <a:ahLst/>
              <a:cxnLst>
                <a:cxn ang="0">
                  <a:pos x="51" y="551"/>
                </a:cxn>
                <a:cxn ang="0">
                  <a:pos x="48" y="549"/>
                </a:cxn>
                <a:cxn ang="0">
                  <a:pos x="46" y="545"/>
                </a:cxn>
                <a:cxn ang="0">
                  <a:pos x="63" y="400"/>
                </a:cxn>
                <a:cxn ang="0">
                  <a:pos x="31" y="407"/>
                </a:cxn>
                <a:cxn ang="0">
                  <a:pos x="30" y="407"/>
                </a:cxn>
                <a:cxn ang="0">
                  <a:pos x="26" y="405"/>
                </a:cxn>
                <a:cxn ang="0">
                  <a:pos x="1" y="371"/>
                </a:cxn>
                <a:cxn ang="0">
                  <a:pos x="0" y="367"/>
                </a:cxn>
                <a:cxn ang="0">
                  <a:pos x="64" y="130"/>
                </a:cxn>
                <a:cxn ang="0">
                  <a:pos x="51" y="39"/>
                </a:cxn>
                <a:cxn ang="0">
                  <a:pos x="53" y="34"/>
                </a:cxn>
                <a:cxn ang="0">
                  <a:pos x="112" y="0"/>
                </a:cxn>
                <a:cxn ang="0">
                  <a:pos x="115" y="0"/>
                </a:cxn>
                <a:cxn ang="0">
                  <a:pos x="116" y="0"/>
                </a:cxn>
                <a:cxn ang="0">
                  <a:pos x="119" y="2"/>
                </a:cxn>
                <a:cxn ang="0">
                  <a:pos x="130" y="25"/>
                </a:cxn>
                <a:cxn ang="0">
                  <a:pos x="255" y="21"/>
                </a:cxn>
                <a:cxn ang="0">
                  <a:pos x="259" y="24"/>
                </a:cxn>
                <a:cxn ang="0">
                  <a:pos x="276" y="57"/>
                </a:cxn>
                <a:cxn ang="0">
                  <a:pos x="275" y="62"/>
                </a:cxn>
                <a:cxn ang="0">
                  <a:pos x="229" y="126"/>
                </a:cxn>
                <a:cxn ang="0">
                  <a:pos x="221" y="208"/>
                </a:cxn>
                <a:cxn ang="0">
                  <a:pos x="225" y="241"/>
                </a:cxn>
                <a:cxn ang="0">
                  <a:pos x="224" y="245"/>
                </a:cxn>
                <a:cxn ang="0">
                  <a:pos x="184" y="277"/>
                </a:cxn>
                <a:cxn ang="0">
                  <a:pos x="208" y="337"/>
                </a:cxn>
                <a:cxn ang="0">
                  <a:pos x="192" y="393"/>
                </a:cxn>
                <a:cxn ang="0">
                  <a:pos x="216" y="442"/>
                </a:cxn>
                <a:cxn ang="0">
                  <a:pos x="216" y="448"/>
                </a:cxn>
                <a:cxn ang="0">
                  <a:pos x="175" y="489"/>
                </a:cxn>
                <a:cxn ang="0">
                  <a:pos x="179" y="529"/>
                </a:cxn>
                <a:cxn ang="0">
                  <a:pos x="175" y="534"/>
                </a:cxn>
                <a:cxn ang="0">
                  <a:pos x="51" y="551"/>
                </a:cxn>
              </a:cxnLst>
              <a:rect l="0" t="0" r="r" b="b"/>
              <a:pathLst>
                <a:path w="277" h="552">
                  <a:moveTo>
                    <a:pt x="51" y="551"/>
                  </a:moveTo>
                  <a:cubicBezTo>
                    <a:pt x="50" y="551"/>
                    <a:pt x="49" y="550"/>
                    <a:pt x="48" y="549"/>
                  </a:cubicBezTo>
                  <a:cubicBezTo>
                    <a:pt x="47" y="548"/>
                    <a:pt x="46" y="547"/>
                    <a:pt x="46" y="545"/>
                  </a:cubicBezTo>
                  <a:lnTo>
                    <a:pt x="63" y="400"/>
                  </a:lnTo>
                  <a:lnTo>
                    <a:pt x="31" y="407"/>
                  </a:lnTo>
                  <a:lnTo>
                    <a:pt x="30" y="407"/>
                  </a:lnTo>
                  <a:cubicBezTo>
                    <a:pt x="28" y="407"/>
                    <a:pt x="27" y="406"/>
                    <a:pt x="26" y="405"/>
                  </a:cubicBezTo>
                  <a:lnTo>
                    <a:pt x="1" y="371"/>
                  </a:lnTo>
                  <a:cubicBezTo>
                    <a:pt x="0" y="370"/>
                    <a:pt x="0" y="369"/>
                    <a:pt x="0" y="367"/>
                  </a:cubicBezTo>
                  <a:lnTo>
                    <a:pt x="64" y="130"/>
                  </a:lnTo>
                  <a:lnTo>
                    <a:pt x="51" y="39"/>
                  </a:lnTo>
                  <a:cubicBezTo>
                    <a:pt x="50" y="37"/>
                    <a:pt x="51" y="35"/>
                    <a:pt x="53" y="34"/>
                  </a:cubicBezTo>
                  <a:lnTo>
                    <a:pt x="112" y="0"/>
                  </a:lnTo>
                  <a:cubicBezTo>
                    <a:pt x="113" y="0"/>
                    <a:pt x="114" y="0"/>
                    <a:pt x="115" y="0"/>
                  </a:cubicBezTo>
                  <a:lnTo>
                    <a:pt x="116" y="0"/>
                  </a:lnTo>
                  <a:cubicBezTo>
                    <a:pt x="117" y="0"/>
                    <a:pt x="118" y="1"/>
                    <a:pt x="119" y="2"/>
                  </a:cubicBezTo>
                  <a:lnTo>
                    <a:pt x="130" y="25"/>
                  </a:lnTo>
                  <a:lnTo>
                    <a:pt x="255" y="21"/>
                  </a:lnTo>
                  <a:cubicBezTo>
                    <a:pt x="256" y="21"/>
                    <a:pt x="258" y="22"/>
                    <a:pt x="259" y="24"/>
                  </a:cubicBezTo>
                  <a:lnTo>
                    <a:pt x="276" y="57"/>
                  </a:lnTo>
                  <a:cubicBezTo>
                    <a:pt x="276" y="59"/>
                    <a:pt x="276" y="61"/>
                    <a:pt x="275" y="62"/>
                  </a:cubicBezTo>
                  <a:lnTo>
                    <a:pt x="229" y="126"/>
                  </a:lnTo>
                  <a:lnTo>
                    <a:pt x="221" y="208"/>
                  </a:lnTo>
                  <a:lnTo>
                    <a:pt x="225" y="241"/>
                  </a:lnTo>
                  <a:cubicBezTo>
                    <a:pt x="226" y="242"/>
                    <a:pt x="225" y="244"/>
                    <a:pt x="224" y="245"/>
                  </a:cubicBezTo>
                  <a:lnTo>
                    <a:pt x="184" y="277"/>
                  </a:lnTo>
                  <a:lnTo>
                    <a:pt x="208" y="337"/>
                  </a:lnTo>
                  <a:lnTo>
                    <a:pt x="192" y="393"/>
                  </a:lnTo>
                  <a:lnTo>
                    <a:pt x="216" y="442"/>
                  </a:lnTo>
                  <a:cubicBezTo>
                    <a:pt x="217" y="444"/>
                    <a:pt x="217" y="446"/>
                    <a:pt x="216" y="448"/>
                  </a:cubicBezTo>
                  <a:lnTo>
                    <a:pt x="175" y="489"/>
                  </a:lnTo>
                  <a:lnTo>
                    <a:pt x="179" y="529"/>
                  </a:lnTo>
                  <a:cubicBezTo>
                    <a:pt x="179" y="531"/>
                    <a:pt x="177" y="533"/>
                    <a:pt x="175" y="534"/>
                  </a:cubicBezTo>
                  <a:lnTo>
                    <a:pt x="51" y="55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3" name="Freeform 338"/>
            <p:cNvSpPr>
              <a:spLocks noChangeArrowheads="1"/>
            </p:cNvSpPr>
            <p:nvPr/>
          </p:nvSpPr>
          <p:spPr bwMode="auto">
            <a:xfrm>
              <a:off x="4845050" y="2084388"/>
              <a:ext cx="285750" cy="201612"/>
            </a:xfrm>
            <a:custGeom>
              <a:avLst/>
              <a:gdLst/>
              <a:ahLst/>
              <a:cxnLst>
                <a:cxn ang="0">
                  <a:pos x="241" y="543"/>
                </a:cxn>
                <a:cxn ang="0">
                  <a:pos x="238" y="541"/>
                </a:cxn>
                <a:cxn ang="0">
                  <a:pos x="221" y="524"/>
                </a:cxn>
                <a:cxn ang="0">
                  <a:pos x="220" y="519"/>
                </a:cxn>
                <a:cxn ang="0">
                  <a:pos x="229" y="503"/>
                </a:cxn>
                <a:cxn ang="0">
                  <a:pos x="215" y="500"/>
                </a:cxn>
                <a:cxn ang="0">
                  <a:pos x="212" y="498"/>
                </a:cxn>
                <a:cxn ang="0">
                  <a:pos x="186" y="465"/>
                </a:cxn>
                <a:cxn ang="0">
                  <a:pos x="185" y="461"/>
                </a:cxn>
                <a:cxn ang="0">
                  <a:pos x="187" y="458"/>
                </a:cxn>
                <a:cxn ang="0">
                  <a:pos x="201" y="448"/>
                </a:cxn>
                <a:cxn ang="0">
                  <a:pos x="194" y="439"/>
                </a:cxn>
                <a:cxn ang="0">
                  <a:pos x="181" y="452"/>
                </a:cxn>
                <a:cxn ang="0">
                  <a:pos x="178" y="454"/>
                </a:cxn>
                <a:cxn ang="0">
                  <a:pos x="175" y="453"/>
                </a:cxn>
                <a:cxn ang="0">
                  <a:pos x="107" y="415"/>
                </a:cxn>
                <a:cxn ang="0">
                  <a:pos x="105" y="411"/>
                </a:cxn>
                <a:cxn ang="0">
                  <a:pos x="101" y="376"/>
                </a:cxn>
                <a:cxn ang="0">
                  <a:pos x="79" y="369"/>
                </a:cxn>
                <a:cxn ang="0">
                  <a:pos x="76" y="366"/>
                </a:cxn>
                <a:cxn ang="0">
                  <a:pos x="42" y="294"/>
                </a:cxn>
                <a:cxn ang="0">
                  <a:pos x="2" y="267"/>
                </a:cxn>
                <a:cxn ang="0">
                  <a:pos x="0" y="262"/>
                </a:cxn>
                <a:cxn ang="0">
                  <a:pos x="2" y="258"/>
                </a:cxn>
                <a:cxn ang="0">
                  <a:pos x="77" y="234"/>
                </a:cxn>
                <a:cxn ang="0">
                  <a:pos x="148" y="79"/>
                </a:cxn>
                <a:cxn ang="0">
                  <a:pos x="217" y="35"/>
                </a:cxn>
                <a:cxn ang="0">
                  <a:pos x="368" y="30"/>
                </a:cxn>
                <a:cxn ang="0">
                  <a:pos x="403" y="50"/>
                </a:cxn>
                <a:cxn ang="0">
                  <a:pos x="549" y="0"/>
                </a:cxn>
                <a:cxn ang="0">
                  <a:pos x="550" y="0"/>
                </a:cxn>
                <a:cxn ang="0">
                  <a:pos x="554" y="2"/>
                </a:cxn>
                <a:cxn ang="0">
                  <a:pos x="604" y="52"/>
                </a:cxn>
                <a:cxn ang="0">
                  <a:pos x="665" y="176"/>
                </a:cxn>
                <a:cxn ang="0">
                  <a:pos x="678" y="341"/>
                </a:cxn>
                <a:cxn ang="0">
                  <a:pos x="704" y="359"/>
                </a:cxn>
                <a:cxn ang="0">
                  <a:pos x="788" y="343"/>
                </a:cxn>
                <a:cxn ang="0">
                  <a:pos x="791" y="344"/>
                </a:cxn>
                <a:cxn ang="0">
                  <a:pos x="792" y="348"/>
                </a:cxn>
                <a:cxn ang="0">
                  <a:pos x="788" y="420"/>
                </a:cxn>
                <a:cxn ang="0">
                  <a:pos x="786" y="423"/>
                </a:cxn>
                <a:cxn ang="0">
                  <a:pos x="744" y="461"/>
                </a:cxn>
                <a:cxn ang="0">
                  <a:pos x="741" y="462"/>
                </a:cxn>
                <a:cxn ang="0">
                  <a:pos x="739" y="461"/>
                </a:cxn>
                <a:cxn ang="0">
                  <a:pos x="736" y="456"/>
                </a:cxn>
                <a:cxn ang="0">
                  <a:pos x="744" y="421"/>
                </a:cxn>
                <a:cxn ang="0">
                  <a:pos x="736" y="413"/>
                </a:cxn>
                <a:cxn ang="0">
                  <a:pos x="720" y="538"/>
                </a:cxn>
                <a:cxn ang="0">
                  <a:pos x="718" y="542"/>
                </a:cxn>
                <a:cxn ang="0">
                  <a:pos x="716" y="543"/>
                </a:cxn>
                <a:cxn ang="0">
                  <a:pos x="714" y="542"/>
                </a:cxn>
                <a:cxn ang="0">
                  <a:pos x="570" y="504"/>
                </a:cxn>
                <a:cxn ang="0">
                  <a:pos x="446" y="559"/>
                </a:cxn>
                <a:cxn ang="0">
                  <a:pos x="444" y="559"/>
                </a:cxn>
                <a:cxn ang="0">
                  <a:pos x="241" y="543"/>
                </a:cxn>
              </a:cxnLst>
              <a:rect l="0" t="0" r="r" b="b"/>
              <a:pathLst>
                <a:path w="793" h="560">
                  <a:moveTo>
                    <a:pt x="241" y="543"/>
                  </a:moveTo>
                  <a:cubicBezTo>
                    <a:pt x="240" y="543"/>
                    <a:pt x="239" y="542"/>
                    <a:pt x="238" y="541"/>
                  </a:cubicBezTo>
                  <a:lnTo>
                    <a:pt x="221" y="524"/>
                  </a:lnTo>
                  <a:cubicBezTo>
                    <a:pt x="219" y="523"/>
                    <a:pt x="219" y="520"/>
                    <a:pt x="220" y="519"/>
                  </a:cubicBezTo>
                  <a:lnTo>
                    <a:pt x="229" y="503"/>
                  </a:lnTo>
                  <a:lnTo>
                    <a:pt x="215" y="500"/>
                  </a:lnTo>
                  <a:cubicBezTo>
                    <a:pt x="214" y="500"/>
                    <a:pt x="213" y="499"/>
                    <a:pt x="212" y="498"/>
                  </a:cubicBezTo>
                  <a:lnTo>
                    <a:pt x="186" y="465"/>
                  </a:lnTo>
                  <a:cubicBezTo>
                    <a:pt x="186" y="464"/>
                    <a:pt x="185" y="462"/>
                    <a:pt x="185" y="461"/>
                  </a:cubicBezTo>
                  <a:cubicBezTo>
                    <a:pt x="186" y="460"/>
                    <a:pt x="186" y="459"/>
                    <a:pt x="187" y="458"/>
                  </a:cubicBezTo>
                  <a:lnTo>
                    <a:pt x="201" y="448"/>
                  </a:lnTo>
                  <a:lnTo>
                    <a:pt x="194" y="439"/>
                  </a:lnTo>
                  <a:lnTo>
                    <a:pt x="181" y="452"/>
                  </a:lnTo>
                  <a:cubicBezTo>
                    <a:pt x="180" y="453"/>
                    <a:pt x="179" y="454"/>
                    <a:pt x="178" y="454"/>
                  </a:cubicBezTo>
                  <a:cubicBezTo>
                    <a:pt x="177" y="454"/>
                    <a:pt x="176" y="454"/>
                    <a:pt x="175" y="453"/>
                  </a:cubicBezTo>
                  <a:lnTo>
                    <a:pt x="107" y="415"/>
                  </a:lnTo>
                  <a:cubicBezTo>
                    <a:pt x="106" y="414"/>
                    <a:pt x="105" y="413"/>
                    <a:pt x="105" y="411"/>
                  </a:cubicBezTo>
                  <a:lnTo>
                    <a:pt x="101" y="376"/>
                  </a:lnTo>
                  <a:lnTo>
                    <a:pt x="79" y="369"/>
                  </a:lnTo>
                  <a:cubicBezTo>
                    <a:pt x="77" y="368"/>
                    <a:pt x="76" y="368"/>
                    <a:pt x="76" y="366"/>
                  </a:cubicBezTo>
                  <a:lnTo>
                    <a:pt x="42" y="294"/>
                  </a:lnTo>
                  <a:lnTo>
                    <a:pt x="2" y="267"/>
                  </a:lnTo>
                  <a:cubicBezTo>
                    <a:pt x="1" y="266"/>
                    <a:pt x="0" y="264"/>
                    <a:pt x="0" y="262"/>
                  </a:cubicBezTo>
                  <a:cubicBezTo>
                    <a:pt x="0" y="260"/>
                    <a:pt x="2" y="259"/>
                    <a:pt x="2" y="258"/>
                  </a:cubicBezTo>
                  <a:lnTo>
                    <a:pt x="77" y="234"/>
                  </a:lnTo>
                  <a:lnTo>
                    <a:pt x="148" y="79"/>
                  </a:lnTo>
                  <a:lnTo>
                    <a:pt x="217" y="35"/>
                  </a:lnTo>
                  <a:lnTo>
                    <a:pt x="368" y="30"/>
                  </a:lnTo>
                  <a:lnTo>
                    <a:pt x="403" y="50"/>
                  </a:lnTo>
                  <a:lnTo>
                    <a:pt x="549" y="0"/>
                  </a:lnTo>
                  <a:lnTo>
                    <a:pt x="550" y="0"/>
                  </a:lnTo>
                  <a:cubicBezTo>
                    <a:pt x="552" y="0"/>
                    <a:pt x="553" y="1"/>
                    <a:pt x="554" y="2"/>
                  </a:cubicBezTo>
                  <a:lnTo>
                    <a:pt x="604" y="52"/>
                  </a:lnTo>
                  <a:lnTo>
                    <a:pt x="665" y="176"/>
                  </a:lnTo>
                  <a:lnTo>
                    <a:pt x="678" y="341"/>
                  </a:lnTo>
                  <a:lnTo>
                    <a:pt x="704" y="359"/>
                  </a:lnTo>
                  <a:cubicBezTo>
                    <a:pt x="704" y="359"/>
                    <a:pt x="787" y="343"/>
                    <a:pt x="788" y="343"/>
                  </a:cubicBezTo>
                  <a:cubicBezTo>
                    <a:pt x="789" y="343"/>
                    <a:pt x="790" y="343"/>
                    <a:pt x="791" y="344"/>
                  </a:cubicBezTo>
                  <a:cubicBezTo>
                    <a:pt x="792" y="345"/>
                    <a:pt x="792" y="346"/>
                    <a:pt x="792" y="348"/>
                  </a:cubicBezTo>
                  <a:lnTo>
                    <a:pt x="788" y="420"/>
                  </a:lnTo>
                  <a:cubicBezTo>
                    <a:pt x="788" y="421"/>
                    <a:pt x="787" y="422"/>
                    <a:pt x="786" y="423"/>
                  </a:cubicBezTo>
                  <a:lnTo>
                    <a:pt x="744" y="461"/>
                  </a:lnTo>
                  <a:cubicBezTo>
                    <a:pt x="743" y="462"/>
                    <a:pt x="742" y="462"/>
                    <a:pt x="741" y="462"/>
                  </a:cubicBezTo>
                  <a:cubicBezTo>
                    <a:pt x="740" y="462"/>
                    <a:pt x="739" y="462"/>
                    <a:pt x="739" y="461"/>
                  </a:cubicBezTo>
                  <a:cubicBezTo>
                    <a:pt x="737" y="460"/>
                    <a:pt x="736" y="458"/>
                    <a:pt x="736" y="456"/>
                  </a:cubicBezTo>
                  <a:lnTo>
                    <a:pt x="744" y="421"/>
                  </a:lnTo>
                  <a:lnTo>
                    <a:pt x="736" y="413"/>
                  </a:lnTo>
                  <a:lnTo>
                    <a:pt x="720" y="538"/>
                  </a:lnTo>
                  <a:cubicBezTo>
                    <a:pt x="720" y="540"/>
                    <a:pt x="719" y="541"/>
                    <a:pt x="718" y="542"/>
                  </a:cubicBezTo>
                  <a:cubicBezTo>
                    <a:pt x="718" y="542"/>
                    <a:pt x="717" y="543"/>
                    <a:pt x="716" y="543"/>
                  </a:cubicBezTo>
                  <a:cubicBezTo>
                    <a:pt x="715" y="543"/>
                    <a:pt x="715" y="542"/>
                    <a:pt x="714" y="542"/>
                  </a:cubicBezTo>
                  <a:lnTo>
                    <a:pt x="570" y="504"/>
                  </a:lnTo>
                  <a:lnTo>
                    <a:pt x="446" y="559"/>
                  </a:lnTo>
                  <a:cubicBezTo>
                    <a:pt x="446" y="559"/>
                    <a:pt x="445" y="559"/>
                    <a:pt x="444" y="559"/>
                  </a:cubicBezTo>
                  <a:lnTo>
                    <a:pt x="241" y="54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4" name="Freeform 339"/>
            <p:cNvSpPr>
              <a:spLocks noChangeArrowheads="1"/>
            </p:cNvSpPr>
            <p:nvPr/>
          </p:nvSpPr>
          <p:spPr bwMode="auto">
            <a:xfrm>
              <a:off x="4845050" y="2084388"/>
              <a:ext cx="285750" cy="201612"/>
            </a:xfrm>
            <a:custGeom>
              <a:avLst/>
              <a:gdLst/>
              <a:ahLst/>
              <a:cxnLst>
                <a:cxn ang="0">
                  <a:pos x="241" y="543"/>
                </a:cxn>
                <a:cxn ang="0">
                  <a:pos x="238" y="541"/>
                </a:cxn>
                <a:cxn ang="0">
                  <a:pos x="221" y="524"/>
                </a:cxn>
                <a:cxn ang="0">
                  <a:pos x="220" y="519"/>
                </a:cxn>
                <a:cxn ang="0">
                  <a:pos x="229" y="503"/>
                </a:cxn>
                <a:cxn ang="0">
                  <a:pos x="215" y="500"/>
                </a:cxn>
                <a:cxn ang="0">
                  <a:pos x="212" y="498"/>
                </a:cxn>
                <a:cxn ang="0">
                  <a:pos x="186" y="465"/>
                </a:cxn>
                <a:cxn ang="0">
                  <a:pos x="185" y="461"/>
                </a:cxn>
                <a:cxn ang="0">
                  <a:pos x="187" y="458"/>
                </a:cxn>
                <a:cxn ang="0">
                  <a:pos x="201" y="448"/>
                </a:cxn>
                <a:cxn ang="0">
                  <a:pos x="194" y="439"/>
                </a:cxn>
                <a:cxn ang="0">
                  <a:pos x="181" y="452"/>
                </a:cxn>
                <a:cxn ang="0">
                  <a:pos x="178" y="454"/>
                </a:cxn>
                <a:cxn ang="0">
                  <a:pos x="175" y="453"/>
                </a:cxn>
                <a:cxn ang="0">
                  <a:pos x="107" y="415"/>
                </a:cxn>
                <a:cxn ang="0">
                  <a:pos x="105" y="411"/>
                </a:cxn>
                <a:cxn ang="0">
                  <a:pos x="101" y="376"/>
                </a:cxn>
                <a:cxn ang="0">
                  <a:pos x="79" y="369"/>
                </a:cxn>
                <a:cxn ang="0">
                  <a:pos x="76" y="366"/>
                </a:cxn>
                <a:cxn ang="0">
                  <a:pos x="42" y="294"/>
                </a:cxn>
                <a:cxn ang="0">
                  <a:pos x="2" y="267"/>
                </a:cxn>
                <a:cxn ang="0">
                  <a:pos x="0" y="262"/>
                </a:cxn>
                <a:cxn ang="0">
                  <a:pos x="2" y="258"/>
                </a:cxn>
                <a:cxn ang="0">
                  <a:pos x="77" y="234"/>
                </a:cxn>
                <a:cxn ang="0">
                  <a:pos x="148" y="79"/>
                </a:cxn>
                <a:cxn ang="0">
                  <a:pos x="217" y="35"/>
                </a:cxn>
                <a:cxn ang="0">
                  <a:pos x="368" y="30"/>
                </a:cxn>
                <a:cxn ang="0">
                  <a:pos x="403" y="50"/>
                </a:cxn>
                <a:cxn ang="0">
                  <a:pos x="549" y="0"/>
                </a:cxn>
                <a:cxn ang="0">
                  <a:pos x="550" y="0"/>
                </a:cxn>
                <a:cxn ang="0">
                  <a:pos x="554" y="2"/>
                </a:cxn>
                <a:cxn ang="0">
                  <a:pos x="604" y="52"/>
                </a:cxn>
                <a:cxn ang="0">
                  <a:pos x="665" y="176"/>
                </a:cxn>
                <a:cxn ang="0">
                  <a:pos x="678" y="341"/>
                </a:cxn>
                <a:cxn ang="0">
                  <a:pos x="704" y="359"/>
                </a:cxn>
                <a:cxn ang="0">
                  <a:pos x="788" y="343"/>
                </a:cxn>
                <a:cxn ang="0">
                  <a:pos x="791" y="344"/>
                </a:cxn>
                <a:cxn ang="0">
                  <a:pos x="792" y="348"/>
                </a:cxn>
                <a:cxn ang="0">
                  <a:pos x="788" y="420"/>
                </a:cxn>
                <a:cxn ang="0">
                  <a:pos x="786" y="423"/>
                </a:cxn>
                <a:cxn ang="0">
                  <a:pos x="744" y="461"/>
                </a:cxn>
                <a:cxn ang="0">
                  <a:pos x="741" y="462"/>
                </a:cxn>
                <a:cxn ang="0">
                  <a:pos x="739" y="461"/>
                </a:cxn>
                <a:cxn ang="0">
                  <a:pos x="736" y="456"/>
                </a:cxn>
                <a:cxn ang="0">
                  <a:pos x="744" y="421"/>
                </a:cxn>
                <a:cxn ang="0">
                  <a:pos x="736" y="413"/>
                </a:cxn>
                <a:cxn ang="0">
                  <a:pos x="720" y="538"/>
                </a:cxn>
                <a:cxn ang="0">
                  <a:pos x="718" y="542"/>
                </a:cxn>
                <a:cxn ang="0">
                  <a:pos x="716" y="543"/>
                </a:cxn>
                <a:cxn ang="0">
                  <a:pos x="714" y="542"/>
                </a:cxn>
                <a:cxn ang="0">
                  <a:pos x="570" y="504"/>
                </a:cxn>
                <a:cxn ang="0">
                  <a:pos x="446" y="559"/>
                </a:cxn>
                <a:cxn ang="0">
                  <a:pos x="444" y="559"/>
                </a:cxn>
                <a:cxn ang="0">
                  <a:pos x="241" y="543"/>
                </a:cxn>
              </a:cxnLst>
              <a:rect l="0" t="0" r="r" b="b"/>
              <a:pathLst>
                <a:path w="793" h="560">
                  <a:moveTo>
                    <a:pt x="241" y="543"/>
                  </a:moveTo>
                  <a:cubicBezTo>
                    <a:pt x="240" y="543"/>
                    <a:pt x="239" y="542"/>
                    <a:pt x="238" y="541"/>
                  </a:cubicBezTo>
                  <a:lnTo>
                    <a:pt x="221" y="524"/>
                  </a:lnTo>
                  <a:cubicBezTo>
                    <a:pt x="219" y="523"/>
                    <a:pt x="219" y="520"/>
                    <a:pt x="220" y="519"/>
                  </a:cubicBezTo>
                  <a:lnTo>
                    <a:pt x="229" y="503"/>
                  </a:lnTo>
                  <a:lnTo>
                    <a:pt x="215" y="500"/>
                  </a:lnTo>
                  <a:cubicBezTo>
                    <a:pt x="214" y="500"/>
                    <a:pt x="213" y="499"/>
                    <a:pt x="212" y="498"/>
                  </a:cubicBezTo>
                  <a:lnTo>
                    <a:pt x="186" y="465"/>
                  </a:lnTo>
                  <a:cubicBezTo>
                    <a:pt x="186" y="464"/>
                    <a:pt x="185" y="462"/>
                    <a:pt x="185" y="461"/>
                  </a:cubicBezTo>
                  <a:cubicBezTo>
                    <a:pt x="186" y="460"/>
                    <a:pt x="186" y="459"/>
                    <a:pt x="187" y="458"/>
                  </a:cubicBezTo>
                  <a:lnTo>
                    <a:pt x="201" y="448"/>
                  </a:lnTo>
                  <a:lnTo>
                    <a:pt x="194" y="439"/>
                  </a:lnTo>
                  <a:lnTo>
                    <a:pt x="181" y="452"/>
                  </a:lnTo>
                  <a:cubicBezTo>
                    <a:pt x="180" y="453"/>
                    <a:pt x="179" y="454"/>
                    <a:pt x="178" y="454"/>
                  </a:cubicBezTo>
                  <a:cubicBezTo>
                    <a:pt x="177" y="454"/>
                    <a:pt x="176" y="454"/>
                    <a:pt x="175" y="453"/>
                  </a:cubicBezTo>
                  <a:lnTo>
                    <a:pt x="107" y="415"/>
                  </a:lnTo>
                  <a:cubicBezTo>
                    <a:pt x="106" y="414"/>
                    <a:pt x="105" y="413"/>
                    <a:pt x="105" y="411"/>
                  </a:cubicBezTo>
                  <a:lnTo>
                    <a:pt x="101" y="376"/>
                  </a:lnTo>
                  <a:lnTo>
                    <a:pt x="79" y="369"/>
                  </a:lnTo>
                  <a:cubicBezTo>
                    <a:pt x="77" y="368"/>
                    <a:pt x="76" y="368"/>
                    <a:pt x="76" y="366"/>
                  </a:cubicBezTo>
                  <a:lnTo>
                    <a:pt x="42" y="294"/>
                  </a:lnTo>
                  <a:lnTo>
                    <a:pt x="2" y="267"/>
                  </a:lnTo>
                  <a:cubicBezTo>
                    <a:pt x="1" y="266"/>
                    <a:pt x="0" y="264"/>
                    <a:pt x="0" y="262"/>
                  </a:cubicBezTo>
                  <a:cubicBezTo>
                    <a:pt x="0" y="260"/>
                    <a:pt x="2" y="259"/>
                    <a:pt x="2" y="258"/>
                  </a:cubicBezTo>
                  <a:lnTo>
                    <a:pt x="77" y="234"/>
                  </a:lnTo>
                  <a:lnTo>
                    <a:pt x="148" y="79"/>
                  </a:lnTo>
                  <a:lnTo>
                    <a:pt x="217" y="35"/>
                  </a:lnTo>
                  <a:lnTo>
                    <a:pt x="368" y="30"/>
                  </a:lnTo>
                  <a:lnTo>
                    <a:pt x="403" y="50"/>
                  </a:lnTo>
                  <a:lnTo>
                    <a:pt x="549" y="0"/>
                  </a:lnTo>
                  <a:lnTo>
                    <a:pt x="550" y="0"/>
                  </a:lnTo>
                  <a:cubicBezTo>
                    <a:pt x="552" y="0"/>
                    <a:pt x="553" y="1"/>
                    <a:pt x="554" y="2"/>
                  </a:cubicBezTo>
                  <a:lnTo>
                    <a:pt x="604" y="52"/>
                  </a:lnTo>
                  <a:lnTo>
                    <a:pt x="665" y="176"/>
                  </a:lnTo>
                  <a:lnTo>
                    <a:pt x="678" y="341"/>
                  </a:lnTo>
                  <a:lnTo>
                    <a:pt x="704" y="359"/>
                  </a:lnTo>
                  <a:cubicBezTo>
                    <a:pt x="704" y="359"/>
                    <a:pt x="787" y="343"/>
                    <a:pt x="788" y="343"/>
                  </a:cubicBezTo>
                  <a:cubicBezTo>
                    <a:pt x="789" y="343"/>
                    <a:pt x="790" y="343"/>
                    <a:pt x="791" y="344"/>
                  </a:cubicBezTo>
                  <a:cubicBezTo>
                    <a:pt x="792" y="345"/>
                    <a:pt x="792" y="346"/>
                    <a:pt x="792" y="348"/>
                  </a:cubicBezTo>
                  <a:lnTo>
                    <a:pt x="788" y="420"/>
                  </a:lnTo>
                  <a:cubicBezTo>
                    <a:pt x="788" y="421"/>
                    <a:pt x="787" y="422"/>
                    <a:pt x="786" y="423"/>
                  </a:cubicBezTo>
                  <a:lnTo>
                    <a:pt x="744" y="461"/>
                  </a:lnTo>
                  <a:cubicBezTo>
                    <a:pt x="743" y="462"/>
                    <a:pt x="742" y="462"/>
                    <a:pt x="741" y="462"/>
                  </a:cubicBezTo>
                  <a:cubicBezTo>
                    <a:pt x="740" y="462"/>
                    <a:pt x="739" y="462"/>
                    <a:pt x="739" y="461"/>
                  </a:cubicBezTo>
                  <a:cubicBezTo>
                    <a:pt x="737" y="460"/>
                    <a:pt x="736" y="458"/>
                    <a:pt x="736" y="456"/>
                  </a:cubicBezTo>
                  <a:lnTo>
                    <a:pt x="744" y="421"/>
                  </a:lnTo>
                  <a:lnTo>
                    <a:pt x="736" y="413"/>
                  </a:lnTo>
                  <a:lnTo>
                    <a:pt x="720" y="538"/>
                  </a:lnTo>
                  <a:cubicBezTo>
                    <a:pt x="720" y="540"/>
                    <a:pt x="719" y="541"/>
                    <a:pt x="718" y="542"/>
                  </a:cubicBezTo>
                  <a:cubicBezTo>
                    <a:pt x="718" y="542"/>
                    <a:pt x="717" y="543"/>
                    <a:pt x="716" y="543"/>
                  </a:cubicBezTo>
                  <a:cubicBezTo>
                    <a:pt x="715" y="543"/>
                    <a:pt x="715" y="542"/>
                    <a:pt x="714" y="542"/>
                  </a:cubicBezTo>
                  <a:lnTo>
                    <a:pt x="570" y="504"/>
                  </a:lnTo>
                  <a:lnTo>
                    <a:pt x="446" y="559"/>
                  </a:lnTo>
                  <a:cubicBezTo>
                    <a:pt x="446" y="559"/>
                    <a:pt x="445" y="559"/>
                    <a:pt x="444" y="559"/>
                  </a:cubicBezTo>
                  <a:lnTo>
                    <a:pt x="241" y="54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5" name="Freeform 340"/>
            <p:cNvSpPr>
              <a:spLocks noChangeArrowheads="1"/>
            </p:cNvSpPr>
            <p:nvPr/>
          </p:nvSpPr>
          <p:spPr bwMode="auto">
            <a:xfrm>
              <a:off x="4641850" y="2144713"/>
              <a:ext cx="93663" cy="57150"/>
            </a:xfrm>
            <a:custGeom>
              <a:avLst/>
              <a:gdLst/>
              <a:ahLst/>
              <a:cxnLst>
                <a:cxn ang="0">
                  <a:pos x="43" y="155"/>
                </a:cxn>
                <a:cxn ang="0">
                  <a:pos x="26" y="126"/>
                </a:cxn>
                <a:cxn ang="0">
                  <a:pos x="14" y="86"/>
                </a:cxn>
                <a:cxn ang="0">
                  <a:pos x="5" y="86"/>
                </a:cxn>
                <a:cxn ang="0">
                  <a:pos x="1" y="83"/>
                </a:cxn>
                <a:cxn ang="0">
                  <a:pos x="1" y="78"/>
                </a:cxn>
                <a:cxn ang="0">
                  <a:pos x="22" y="49"/>
                </a:cxn>
                <a:cxn ang="0">
                  <a:pos x="26" y="47"/>
                </a:cxn>
                <a:cxn ang="0">
                  <a:pos x="99" y="51"/>
                </a:cxn>
                <a:cxn ang="0">
                  <a:pos x="228" y="1"/>
                </a:cxn>
                <a:cxn ang="0">
                  <a:pos x="230" y="0"/>
                </a:cxn>
                <a:cxn ang="0">
                  <a:pos x="233" y="1"/>
                </a:cxn>
                <a:cxn ang="0">
                  <a:pos x="252" y="18"/>
                </a:cxn>
                <a:cxn ang="0">
                  <a:pos x="253" y="18"/>
                </a:cxn>
                <a:cxn ang="0">
                  <a:pos x="256" y="24"/>
                </a:cxn>
                <a:cxn ang="0">
                  <a:pos x="245" y="45"/>
                </a:cxn>
                <a:cxn ang="0">
                  <a:pos x="184" y="72"/>
                </a:cxn>
                <a:cxn ang="0">
                  <a:pos x="161" y="152"/>
                </a:cxn>
                <a:cxn ang="0">
                  <a:pos x="156" y="156"/>
                </a:cxn>
                <a:cxn ang="0">
                  <a:pos x="155" y="156"/>
                </a:cxn>
                <a:cxn ang="0">
                  <a:pos x="91" y="140"/>
                </a:cxn>
                <a:cxn ang="0">
                  <a:pos x="49" y="158"/>
                </a:cxn>
                <a:cxn ang="0">
                  <a:pos x="48" y="158"/>
                </a:cxn>
                <a:cxn ang="0">
                  <a:pos x="43" y="155"/>
                </a:cxn>
              </a:cxnLst>
              <a:rect l="0" t="0" r="r" b="b"/>
              <a:pathLst>
                <a:path w="258" h="159">
                  <a:moveTo>
                    <a:pt x="43" y="155"/>
                  </a:moveTo>
                  <a:lnTo>
                    <a:pt x="26" y="126"/>
                  </a:lnTo>
                  <a:lnTo>
                    <a:pt x="14" y="86"/>
                  </a:lnTo>
                  <a:lnTo>
                    <a:pt x="5" y="86"/>
                  </a:lnTo>
                  <a:cubicBezTo>
                    <a:pt x="3" y="86"/>
                    <a:pt x="2" y="85"/>
                    <a:pt x="1" y="83"/>
                  </a:cubicBezTo>
                  <a:cubicBezTo>
                    <a:pt x="0" y="82"/>
                    <a:pt x="0" y="80"/>
                    <a:pt x="1" y="78"/>
                  </a:cubicBezTo>
                  <a:lnTo>
                    <a:pt x="22" y="49"/>
                  </a:lnTo>
                  <a:cubicBezTo>
                    <a:pt x="23" y="48"/>
                    <a:pt x="25" y="47"/>
                    <a:pt x="26" y="47"/>
                  </a:cubicBezTo>
                  <a:lnTo>
                    <a:pt x="99" y="51"/>
                  </a:lnTo>
                  <a:lnTo>
                    <a:pt x="228" y="1"/>
                  </a:lnTo>
                  <a:cubicBezTo>
                    <a:pt x="229" y="0"/>
                    <a:pt x="229" y="0"/>
                    <a:pt x="230" y="0"/>
                  </a:cubicBezTo>
                  <a:cubicBezTo>
                    <a:pt x="231" y="0"/>
                    <a:pt x="232" y="1"/>
                    <a:pt x="233" y="1"/>
                  </a:cubicBezTo>
                  <a:lnTo>
                    <a:pt x="252" y="18"/>
                  </a:lnTo>
                  <a:lnTo>
                    <a:pt x="253" y="18"/>
                  </a:lnTo>
                  <a:cubicBezTo>
                    <a:pt x="255" y="20"/>
                    <a:pt x="257" y="21"/>
                    <a:pt x="256" y="24"/>
                  </a:cubicBezTo>
                  <a:lnTo>
                    <a:pt x="245" y="45"/>
                  </a:lnTo>
                  <a:lnTo>
                    <a:pt x="184" y="72"/>
                  </a:lnTo>
                  <a:lnTo>
                    <a:pt x="161" y="152"/>
                  </a:lnTo>
                  <a:cubicBezTo>
                    <a:pt x="160" y="154"/>
                    <a:pt x="158" y="156"/>
                    <a:pt x="156" y="156"/>
                  </a:cubicBezTo>
                  <a:lnTo>
                    <a:pt x="155" y="156"/>
                  </a:lnTo>
                  <a:lnTo>
                    <a:pt x="91" y="140"/>
                  </a:lnTo>
                  <a:lnTo>
                    <a:pt x="49" y="158"/>
                  </a:lnTo>
                  <a:lnTo>
                    <a:pt x="48" y="158"/>
                  </a:lnTo>
                  <a:cubicBezTo>
                    <a:pt x="46" y="158"/>
                    <a:pt x="44" y="157"/>
                    <a:pt x="43" y="15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6" name="Freeform 341"/>
            <p:cNvSpPr>
              <a:spLocks noChangeArrowheads="1"/>
            </p:cNvSpPr>
            <p:nvPr/>
          </p:nvSpPr>
          <p:spPr bwMode="auto">
            <a:xfrm>
              <a:off x="4641850" y="2144713"/>
              <a:ext cx="93663" cy="57150"/>
            </a:xfrm>
            <a:custGeom>
              <a:avLst/>
              <a:gdLst/>
              <a:ahLst/>
              <a:cxnLst>
                <a:cxn ang="0">
                  <a:pos x="48" y="158"/>
                </a:cxn>
                <a:cxn ang="0">
                  <a:pos x="43" y="155"/>
                </a:cxn>
                <a:cxn ang="0">
                  <a:pos x="26" y="126"/>
                </a:cxn>
                <a:cxn ang="0">
                  <a:pos x="14" y="86"/>
                </a:cxn>
                <a:cxn ang="0">
                  <a:pos x="5" y="86"/>
                </a:cxn>
                <a:cxn ang="0">
                  <a:pos x="1" y="83"/>
                </a:cxn>
                <a:cxn ang="0">
                  <a:pos x="1" y="78"/>
                </a:cxn>
                <a:cxn ang="0">
                  <a:pos x="22" y="49"/>
                </a:cxn>
                <a:cxn ang="0">
                  <a:pos x="26" y="47"/>
                </a:cxn>
                <a:cxn ang="0">
                  <a:pos x="99" y="51"/>
                </a:cxn>
                <a:cxn ang="0">
                  <a:pos x="228" y="1"/>
                </a:cxn>
                <a:cxn ang="0">
                  <a:pos x="230" y="0"/>
                </a:cxn>
                <a:cxn ang="0">
                  <a:pos x="233" y="1"/>
                </a:cxn>
                <a:cxn ang="0">
                  <a:pos x="252" y="18"/>
                </a:cxn>
                <a:cxn ang="0">
                  <a:pos x="253" y="18"/>
                </a:cxn>
                <a:cxn ang="0">
                  <a:pos x="256" y="24"/>
                </a:cxn>
                <a:cxn ang="0">
                  <a:pos x="245" y="45"/>
                </a:cxn>
                <a:cxn ang="0">
                  <a:pos x="184" y="72"/>
                </a:cxn>
                <a:cxn ang="0">
                  <a:pos x="161" y="152"/>
                </a:cxn>
                <a:cxn ang="0">
                  <a:pos x="156" y="156"/>
                </a:cxn>
                <a:cxn ang="0">
                  <a:pos x="155" y="156"/>
                </a:cxn>
                <a:cxn ang="0">
                  <a:pos x="91" y="140"/>
                </a:cxn>
                <a:cxn ang="0">
                  <a:pos x="49" y="158"/>
                </a:cxn>
                <a:cxn ang="0">
                  <a:pos x="48" y="158"/>
                </a:cxn>
              </a:cxnLst>
              <a:rect l="0" t="0" r="r" b="b"/>
              <a:pathLst>
                <a:path w="258" h="159">
                  <a:moveTo>
                    <a:pt x="48" y="158"/>
                  </a:moveTo>
                  <a:cubicBezTo>
                    <a:pt x="46" y="158"/>
                    <a:pt x="44" y="157"/>
                    <a:pt x="43" y="155"/>
                  </a:cubicBezTo>
                  <a:lnTo>
                    <a:pt x="26" y="126"/>
                  </a:lnTo>
                  <a:lnTo>
                    <a:pt x="14" y="86"/>
                  </a:lnTo>
                  <a:lnTo>
                    <a:pt x="5" y="86"/>
                  </a:lnTo>
                  <a:cubicBezTo>
                    <a:pt x="3" y="86"/>
                    <a:pt x="2" y="85"/>
                    <a:pt x="1" y="83"/>
                  </a:cubicBezTo>
                  <a:cubicBezTo>
                    <a:pt x="0" y="82"/>
                    <a:pt x="0" y="80"/>
                    <a:pt x="1" y="78"/>
                  </a:cubicBezTo>
                  <a:lnTo>
                    <a:pt x="22" y="49"/>
                  </a:lnTo>
                  <a:cubicBezTo>
                    <a:pt x="23" y="48"/>
                    <a:pt x="25" y="47"/>
                    <a:pt x="26" y="47"/>
                  </a:cubicBezTo>
                  <a:lnTo>
                    <a:pt x="99" y="51"/>
                  </a:lnTo>
                  <a:lnTo>
                    <a:pt x="228" y="1"/>
                  </a:lnTo>
                  <a:cubicBezTo>
                    <a:pt x="229" y="0"/>
                    <a:pt x="229" y="0"/>
                    <a:pt x="230" y="0"/>
                  </a:cubicBezTo>
                  <a:cubicBezTo>
                    <a:pt x="231" y="0"/>
                    <a:pt x="232" y="1"/>
                    <a:pt x="233" y="1"/>
                  </a:cubicBezTo>
                  <a:lnTo>
                    <a:pt x="252" y="18"/>
                  </a:lnTo>
                  <a:lnTo>
                    <a:pt x="253" y="18"/>
                  </a:lnTo>
                  <a:cubicBezTo>
                    <a:pt x="255" y="20"/>
                    <a:pt x="257" y="21"/>
                    <a:pt x="256" y="24"/>
                  </a:cubicBezTo>
                  <a:lnTo>
                    <a:pt x="245" y="45"/>
                  </a:lnTo>
                  <a:lnTo>
                    <a:pt x="184" y="72"/>
                  </a:lnTo>
                  <a:lnTo>
                    <a:pt x="161" y="152"/>
                  </a:lnTo>
                  <a:cubicBezTo>
                    <a:pt x="160" y="154"/>
                    <a:pt x="158" y="156"/>
                    <a:pt x="156" y="156"/>
                  </a:cubicBezTo>
                  <a:lnTo>
                    <a:pt x="155" y="156"/>
                  </a:lnTo>
                  <a:lnTo>
                    <a:pt x="91" y="140"/>
                  </a:lnTo>
                  <a:lnTo>
                    <a:pt x="49" y="158"/>
                  </a:lnTo>
                  <a:lnTo>
                    <a:pt x="48" y="15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7" name="Freeform 342"/>
            <p:cNvSpPr>
              <a:spLocks noChangeArrowheads="1"/>
            </p:cNvSpPr>
            <p:nvPr/>
          </p:nvSpPr>
          <p:spPr bwMode="auto">
            <a:xfrm>
              <a:off x="4648200" y="2151063"/>
              <a:ext cx="182563" cy="177800"/>
            </a:xfrm>
            <a:custGeom>
              <a:avLst/>
              <a:gdLst/>
              <a:ahLst/>
              <a:cxnLst>
                <a:cxn ang="0">
                  <a:pos x="389" y="491"/>
                </a:cxn>
                <a:cxn ang="0">
                  <a:pos x="361" y="464"/>
                </a:cxn>
                <a:cxn ang="0">
                  <a:pos x="295" y="444"/>
                </a:cxn>
                <a:cxn ang="0">
                  <a:pos x="292" y="439"/>
                </a:cxn>
                <a:cxn ang="0">
                  <a:pos x="296" y="435"/>
                </a:cxn>
                <a:cxn ang="0">
                  <a:pos x="322" y="435"/>
                </a:cxn>
                <a:cxn ang="0">
                  <a:pos x="276" y="397"/>
                </a:cxn>
                <a:cxn ang="0">
                  <a:pos x="207" y="389"/>
                </a:cxn>
                <a:cxn ang="0">
                  <a:pos x="132" y="312"/>
                </a:cxn>
                <a:cxn ang="0">
                  <a:pos x="132" y="305"/>
                </a:cxn>
                <a:cxn ang="0">
                  <a:pos x="149" y="288"/>
                </a:cxn>
                <a:cxn ang="0">
                  <a:pos x="124" y="270"/>
                </a:cxn>
                <a:cxn ang="0">
                  <a:pos x="105" y="204"/>
                </a:cxn>
                <a:cxn ang="0">
                  <a:pos x="81" y="181"/>
                </a:cxn>
                <a:cxn ang="0">
                  <a:pos x="70" y="179"/>
                </a:cxn>
                <a:cxn ang="0">
                  <a:pos x="42" y="231"/>
                </a:cxn>
                <a:cxn ang="0">
                  <a:pos x="38" y="233"/>
                </a:cxn>
                <a:cxn ang="0">
                  <a:pos x="36" y="233"/>
                </a:cxn>
                <a:cxn ang="0">
                  <a:pos x="24" y="229"/>
                </a:cxn>
                <a:cxn ang="0">
                  <a:pos x="21" y="226"/>
                </a:cxn>
                <a:cxn ang="0">
                  <a:pos x="0" y="188"/>
                </a:cxn>
                <a:cxn ang="0">
                  <a:pos x="4" y="143"/>
                </a:cxn>
                <a:cxn ang="0">
                  <a:pos x="7" y="139"/>
                </a:cxn>
                <a:cxn ang="0">
                  <a:pos x="73" y="113"/>
                </a:cxn>
                <a:cxn ang="0">
                  <a:pos x="135" y="128"/>
                </a:cxn>
                <a:cxn ang="0">
                  <a:pos x="157" y="50"/>
                </a:cxn>
                <a:cxn ang="0">
                  <a:pos x="160" y="47"/>
                </a:cxn>
                <a:cxn ang="0">
                  <a:pos x="221" y="20"/>
                </a:cxn>
                <a:cxn ang="0">
                  <a:pos x="228" y="5"/>
                </a:cxn>
                <a:cxn ang="0">
                  <a:pos x="229" y="2"/>
                </a:cxn>
                <a:cxn ang="0">
                  <a:pos x="233" y="0"/>
                </a:cxn>
                <a:cxn ang="0">
                  <a:pos x="236" y="0"/>
                </a:cxn>
                <a:cxn ang="0">
                  <a:pos x="238" y="4"/>
                </a:cxn>
                <a:cxn ang="0">
                  <a:pos x="365" y="113"/>
                </a:cxn>
                <a:cxn ang="0">
                  <a:pos x="428" y="93"/>
                </a:cxn>
                <a:cxn ang="0">
                  <a:pos x="430" y="92"/>
                </a:cxn>
                <a:cxn ang="0">
                  <a:pos x="434" y="96"/>
                </a:cxn>
                <a:cxn ang="0">
                  <a:pos x="454" y="156"/>
                </a:cxn>
                <a:cxn ang="0">
                  <a:pos x="503" y="182"/>
                </a:cxn>
                <a:cxn ang="0">
                  <a:pos x="505" y="187"/>
                </a:cxn>
                <a:cxn ang="0">
                  <a:pos x="502" y="191"/>
                </a:cxn>
                <a:cxn ang="0">
                  <a:pos x="478" y="195"/>
                </a:cxn>
                <a:cxn ang="0">
                  <a:pos x="468" y="217"/>
                </a:cxn>
                <a:cxn ang="0">
                  <a:pos x="465" y="219"/>
                </a:cxn>
                <a:cxn ang="0">
                  <a:pos x="452" y="225"/>
                </a:cxn>
                <a:cxn ang="0">
                  <a:pos x="450" y="225"/>
                </a:cxn>
                <a:cxn ang="0">
                  <a:pos x="447" y="223"/>
                </a:cxn>
                <a:cxn ang="0">
                  <a:pos x="420" y="192"/>
                </a:cxn>
                <a:cxn ang="0">
                  <a:pos x="279" y="165"/>
                </a:cxn>
                <a:cxn ang="0">
                  <a:pos x="230" y="195"/>
                </a:cxn>
                <a:cxn ang="0">
                  <a:pos x="228" y="196"/>
                </a:cxn>
                <a:cxn ang="0">
                  <a:pos x="224" y="194"/>
                </a:cxn>
                <a:cxn ang="0">
                  <a:pos x="200" y="165"/>
                </a:cxn>
                <a:cxn ang="0">
                  <a:pos x="181" y="203"/>
                </a:cxn>
                <a:cxn ang="0">
                  <a:pos x="205" y="225"/>
                </a:cxn>
                <a:cxn ang="0">
                  <a:pos x="309" y="384"/>
                </a:cxn>
                <a:cxn ang="0">
                  <a:pos x="411" y="468"/>
                </a:cxn>
                <a:cxn ang="0">
                  <a:pos x="413" y="471"/>
                </a:cxn>
                <a:cxn ang="0">
                  <a:pos x="411" y="475"/>
                </a:cxn>
                <a:cxn ang="0">
                  <a:pos x="396" y="491"/>
                </a:cxn>
                <a:cxn ang="0">
                  <a:pos x="393" y="492"/>
                </a:cxn>
                <a:cxn ang="0">
                  <a:pos x="389" y="491"/>
                </a:cxn>
              </a:cxnLst>
              <a:rect l="0" t="0" r="r" b="b"/>
              <a:pathLst>
                <a:path w="507" h="493">
                  <a:moveTo>
                    <a:pt x="389" y="491"/>
                  </a:moveTo>
                  <a:lnTo>
                    <a:pt x="361" y="464"/>
                  </a:lnTo>
                  <a:lnTo>
                    <a:pt x="295" y="444"/>
                  </a:lnTo>
                  <a:cubicBezTo>
                    <a:pt x="293" y="444"/>
                    <a:pt x="291" y="441"/>
                    <a:pt x="292" y="439"/>
                  </a:cubicBezTo>
                  <a:cubicBezTo>
                    <a:pt x="292" y="437"/>
                    <a:pt x="294" y="435"/>
                    <a:pt x="296" y="435"/>
                  </a:cubicBezTo>
                  <a:lnTo>
                    <a:pt x="322" y="435"/>
                  </a:lnTo>
                  <a:lnTo>
                    <a:pt x="276" y="397"/>
                  </a:lnTo>
                  <a:lnTo>
                    <a:pt x="207" y="389"/>
                  </a:lnTo>
                  <a:lnTo>
                    <a:pt x="132" y="312"/>
                  </a:lnTo>
                  <a:cubicBezTo>
                    <a:pt x="130" y="310"/>
                    <a:pt x="130" y="307"/>
                    <a:pt x="132" y="305"/>
                  </a:cubicBezTo>
                  <a:lnTo>
                    <a:pt x="149" y="288"/>
                  </a:lnTo>
                  <a:lnTo>
                    <a:pt x="124" y="270"/>
                  </a:lnTo>
                  <a:lnTo>
                    <a:pt x="105" y="204"/>
                  </a:lnTo>
                  <a:lnTo>
                    <a:pt x="81" y="181"/>
                  </a:lnTo>
                  <a:lnTo>
                    <a:pt x="70" y="179"/>
                  </a:lnTo>
                  <a:lnTo>
                    <a:pt x="42" y="231"/>
                  </a:lnTo>
                  <a:cubicBezTo>
                    <a:pt x="41" y="232"/>
                    <a:pt x="40" y="233"/>
                    <a:pt x="38" y="233"/>
                  </a:cubicBezTo>
                  <a:cubicBezTo>
                    <a:pt x="37" y="233"/>
                    <a:pt x="37" y="233"/>
                    <a:pt x="36" y="233"/>
                  </a:cubicBezTo>
                  <a:lnTo>
                    <a:pt x="24" y="229"/>
                  </a:lnTo>
                  <a:cubicBezTo>
                    <a:pt x="23" y="228"/>
                    <a:pt x="22" y="227"/>
                    <a:pt x="21" y="226"/>
                  </a:cubicBezTo>
                  <a:lnTo>
                    <a:pt x="0" y="188"/>
                  </a:lnTo>
                  <a:lnTo>
                    <a:pt x="4" y="143"/>
                  </a:lnTo>
                  <a:cubicBezTo>
                    <a:pt x="4" y="141"/>
                    <a:pt x="5" y="140"/>
                    <a:pt x="7" y="139"/>
                  </a:cubicBezTo>
                  <a:lnTo>
                    <a:pt x="73" y="113"/>
                  </a:lnTo>
                  <a:lnTo>
                    <a:pt x="135" y="128"/>
                  </a:lnTo>
                  <a:lnTo>
                    <a:pt x="157" y="50"/>
                  </a:lnTo>
                  <a:cubicBezTo>
                    <a:pt x="158" y="49"/>
                    <a:pt x="159" y="47"/>
                    <a:pt x="160" y="47"/>
                  </a:cubicBezTo>
                  <a:lnTo>
                    <a:pt x="221" y="20"/>
                  </a:lnTo>
                  <a:lnTo>
                    <a:pt x="228" y="5"/>
                  </a:lnTo>
                  <a:cubicBezTo>
                    <a:pt x="228" y="4"/>
                    <a:pt x="228" y="3"/>
                    <a:pt x="229" y="2"/>
                  </a:cubicBezTo>
                  <a:cubicBezTo>
                    <a:pt x="230" y="1"/>
                    <a:pt x="232" y="0"/>
                    <a:pt x="233" y="0"/>
                  </a:cubicBezTo>
                  <a:cubicBezTo>
                    <a:pt x="234" y="0"/>
                    <a:pt x="235" y="0"/>
                    <a:pt x="236" y="0"/>
                  </a:cubicBezTo>
                  <a:cubicBezTo>
                    <a:pt x="237" y="1"/>
                    <a:pt x="238" y="2"/>
                    <a:pt x="238" y="4"/>
                  </a:cubicBezTo>
                  <a:lnTo>
                    <a:pt x="365" y="113"/>
                  </a:lnTo>
                  <a:lnTo>
                    <a:pt x="428" y="93"/>
                  </a:lnTo>
                  <a:cubicBezTo>
                    <a:pt x="429" y="92"/>
                    <a:pt x="429" y="92"/>
                    <a:pt x="430" y="92"/>
                  </a:cubicBezTo>
                  <a:cubicBezTo>
                    <a:pt x="432" y="92"/>
                    <a:pt x="433" y="94"/>
                    <a:pt x="434" y="96"/>
                  </a:cubicBezTo>
                  <a:lnTo>
                    <a:pt x="454" y="156"/>
                  </a:lnTo>
                  <a:lnTo>
                    <a:pt x="503" y="182"/>
                  </a:lnTo>
                  <a:cubicBezTo>
                    <a:pt x="505" y="183"/>
                    <a:pt x="506" y="185"/>
                    <a:pt x="505" y="187"/>
                  </a:cubicBezTo>
                  <a:cubicBezTo>
                    <a:pt x="505" y="189"/>
                    <a:pt x="504" y="190"/>
                    <a:pt x="502" y="191"/>
                  </a:cubicBezTo>
                  <a:lnTo>
                    <a:pt x="478" y="195"/>
                  </a:lnTo>
                  <a:lnTo>
                    <a:pt x="468" y="217"/>
                  </a:lnTo>
                  <a:cubicBezTo>
                    <a:pt x="467" y="218"/>
                    <a:pt x="467" y="219"/>
                    <a:pt x="465" y="219"/>
                  </a:cubicBezTo>
                  <a:lnTo>
                    <a:pt x="452" y="225"/>
                  </a:lnTo>
                  <a:cubicBezTo>
                    <a:pt x="451" y="225"/>
                    <a:pt x="451" y="225"/>
                    <a:pt x="450" y="225"/>
                  </a:cubicBezTo>
                  <a:cubicBezTo>
                    <a:pt x="449" y="225"/>
                    <a:pt x="448" y="225"/>
                    <a:pt x="447" y="223"/>
                  </a:cubicBezTo>
                  <a:lnTo>
                    <a:pt x="420" y="192"/>
                  </a:lnTo>
                  <a:lnTo>
                    <a:pt x="279" y="165"/>
                  </a:lnTo>
                  <a:lnTo>
                    <a:pt x="230" y="195"/>
                  </a:lnTo>
                  <a:cubicBezTo>
                    <a:pt x="230" y="196"/>
                    <a:pt x="229" y="196"/>
                    <a:pt x="228" y="196"/>
                  </a:cubicBezTo>
                  <a:cubicBezTo>
                    <a:pt x="227" y="196"/>
                    <a:pt x="225" y="195"/>
                    <a:pt x="224" y="194"/>
                  </a:cubicBezTo>
                  <a:lnTo>
                    <a:pt x="200" y="165"/>
                  </a:lnTo>
                  <a:lnTo>
                    <a:pt x="181" y="203"/>
                  </a:lnTo>
                  <a:lnTo>
                    <a:pt x="205" y="225"/>
                  </a:lnTo>
                  <a:lnTo>
                    <a:pt x="309" y="384"/>
                  </a:lnTo>
                  <a:lnTo>
                    <a:pt x="411" y="468"/>
                  </a:lnTo>
                  <a:cubicBezTo>
                    <a:pt x="412" y="469"/>
                    <a:pt x="413" y="470"/>
                    <a:pt x="413" y="471"/>
                  </a:cubicBezTo>
                  <a:cubicBezTo>
                    <a:pt x="413" y="473"/>
                    <a:pt x="412" y="474"/>
                    <a:pt x="411" y="475"/>
                  </a:cubicBezTo>
                  <a:lnTo>
                    <a:pt x="396" y="491"/>
                  </a:lnTo>
                  <a:cubicBezTo>
                    <a:pt x="395" y="491"/>
                    <a:pt x="394" y="492"/>
                    <a:pt x="393" y="492"/>
                  </a:cubicBezTo>
                  <a:cubicBezTo>
                    <a:pt x="391" y="492"/>
                    <a:pt x="390" y="491"/>
                    <a:pt x="389" y="49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8" name="Freeform 343"/>
            <p:cNvSpPr>
              <a:spLocks noChangeArrowheads="1"/>
            </p:cNvSpPr>
            <p:nvPr/>
          </p:nvSpPr>
          <p:spPr bwMode="auto">
            <a:xfrm>
              <a:off x="4648200" y="2151063"/>
              <a:ext cx="182563" cy="177800"/>
            </a:xfrm>
            <a:custGeom>
              <a:avLst/>
              <a:gdLst/>
              <a:ahLst/>
              <a:cxnLst>
                <a:cxn ang="0">
                  <a:pos x="393" y="492"/>
                </a:cxn>
                <a:cxn ang="0">
                  <a:pos x="389" y="491"/>
                </a:cxn>
                <a:cxn ang="0">
                  <a:pos x="361" y="464"/>
                </a:cxn>
                <a:cxn ang="0">
                  <a:pos x="295" y="444"/>
                </a:cxn>
                <a:cxn ang="0">
                  <a:pos x="292" y="439"/>
                </a:cxn>
                <a:cxn ang="0">
                  <a:pos x="296" y="435"/>
                </a:cxn>
                <a:cxn ang="0">
                  <a:pos x="322" y="435"/>
                </a:cxn>
                <a:cxn ang="0">
                  <a:pos x="276" y="397"/>
                </a:cxn>
                <a:cxn ang="0">
                  <a:pos x="207" y="389"/>
                </a:cxn>
                <a:cxn ang="0">
                  <a:pos x="132" y="312"/>
                </a:cxn>
                <a:cxn ang="0">
                  <a:pos x="132" y="305"/>
                </a:cxn>
                <a:cxn ang="0">
                  <a:pos x="149" y="288"/>
                </a:cxn>
                <a:cxn ang="0">
                  <a:pos x="124" y="270"/>
                </a:cxn>
                <a:cxn ang="0">
                  <a:pos x="105" y="204"/>
                </a:cxn>
                <a:cxn ang="0">
                  <a:pos x="81" y="181"/>
                </a:cxn>
                <a:cxn ang="0">
                  <a:pos x="70" y="179"/>
                </a:cxn>
                <a:cxn ang="0">
                  <a:pos x="42" y="231"/>
                </a:cxn>
                <a:cxn ang="0">
                  <a:pos x="38" y="233"/>
                </a:cxn>
                <a:cxn ang="0">
                  <a:pos x="36" y="233"/>
                </a:cxn>
                <a:cxn ang="0">
                  <a:pos x="24" y="229"/>
                </a:cxn>
                <a:cxn ang="0">
                  <a:pos x="21" y="226"/>
                </a:cxn>
                <a:cxn ang="0">
                  <a:pos x="0" y="188"/>
                </a:cxn>
                <a:cxn ang="0">
                  <a:pos x="4" y="143"/>
                </a:cxn>
                <a:cxn ang="0">
                  <a:pos x="7" y="139"/>
                </a:cxn>
                <a:cxn ang="0">
                  <a:pos x="73" y="113"/>
                </a:cxn>
                <a:cxn ang="0">
                  <a:pos x="135" y="128"/>
                </a:cxn>
                <a:cxn ang="0">
                  <a:pos x="157" y="50"/>
                </a:cxn>
                <a:cxn ang="0">
                  <a:pos x="160" y="47"/>
                </a:cxn>
                <a:cxn ang="0">
                  <a:pos x="221" y="20"/>
                </a:cxn>
                <a:cxn ang="0">
                  <a:pos x="228" y="5"/>
                </a:cxn>
                <a:cxn ang="0">
                  <a:pos x="229" y="2"/>
                </a:cxn>
                <a:cxn ang="0">
                  <a:pos x="233" y="0"/>
                </a:cxn>
                <a:cxn ang="0">
                  <a:pos x="236" y="0"/>
                </a:cxn>
                <a:cxn ang="0">
                  <a:pos x="238" y="4"/>
                </a:cxn>
                <a:cxn ang="0">
                  <a:pos x="365" y="113"/>
                </a:cxn>
                <a:cxn ang="0">
                  <a:pos x="428" y="93"/>
                </a:cxn>
                <a:cxn ang="0">
                  <a:pos x="430" y="92"/>
                </a:cxn>
                <a:cxn ang="0">
                  <a:pos x="434" y="96"/>
                </a:cxn>
                <a:cxn ang="0">
                  <a:pos x="454" y="156"/>
                </a:cxn>
                <a:cxn ang="0">
                  <a:pos x="503" y="182"/>
                </a:cxn>
                <a:cxn ang="0">
                  <a:pos x="505" y="187"/>
                </a:cxn>
                <a:cxn ang="0">
                  <a:pos x="502" y="191"/>
                </a:cxn>
                <a:cxn ang="0">
                  <a:pos x="478" y="195"/>
                </a:cxn>
                <a:cxn ang="0">
                  <a:pos x="468" y="217"/>
                </a:cxn>
                <a:cxn ang="0">
                  <a:pos x="465" y="219"/>
                </a:cxn>
                <a:cxn ang="0">
                  <a:pos x="452" y="225"/>
                </a:cxn>
                <a:cxn ang="0">
                  <a:pos x="450" y="225"/>
                </a:cxn>
                <a:cxn ang="0">
                  <a:pos x="447" y="223"/>
                </a:cxn>
                <a:cxn ang="0">
                  <a:pos x="420" y="192"/>
                </a:cxn>
                <a:cxn ang="0">
                  <a:pos x="279" y="165"/>
                </a:cxn>
                <a:cxn ang="0">
                  <a:pos x="230" y="195"/>
                </a:cxn>
                <a:cxn ang="0">
                  <a:pos x="228" y="196"/>
                </a:cxn>
                <a:cxn ang="0">
                  <a:pos x="224" y="194"/>
                </a:cxn>
                <a:cxn ang="0">
                  <a:pos x="200" y="165"/>
                </a:cxn>
                <a:cxn ang="0">
                  <a:pos x="181" y="203"/>
                </a:cxn>
                <a:cxn ang="0">
                  <a:pos x="205" y="225"/>
                </a:cxn>
                <a:cxn ang="0">
                  <a:pos x="309" y="384"/>
                </a:cxn>
                <a:cxn ang="0">
                  <a:pos x="411" y="468"/>
                </a:cxn>
                <a:cxn ang="0">
                  <a:pos x="413" y="471"/>
                </a:cxn>
                <a:cxn ang="0">
                  <a:pos x="411" y="475"/>
                </a:cxn>
                <a:cxn ang="0">
                  <a:pos x="396" y="491"/>
                </a:cxn>
                <a:cxn ang="0">
                  <a:pos x="393" y="492"/>
                </a:cxn>
              </a:cxnLst>
              <a:rect l="0" t="0" r="r" b="b"/>
              <a:pathLst>
                <a:path w="507" h="493">
                  <a:moveTo>
                    <a:pt x="393" y="492"/>
                  </a:moveTo>
                  <a:cubicBezTo>
                    <a:pt x="391" y="492"/>
                    <a:pt x="390" y="491"/>
                    <a:pt x="389" y="491"/>
                  </a:cubicBezTo>
                  <a:lnTo>
                    <a:pt x="361" y="464"/>
                  </a:lnTo>
                  <a:lnTo>
                    <a:pt x="295" y="444"/>
                  </a:lnTo>
                  <a:cubicBezTo>
                    <a:pt x="293" y="444"/>
                    <a:pt x="291" y="441"/>
                    <a:pt x="292" y="439"/>
                  </a:cubicBezTo>
                  <a:cubicBezTo>
                    <a:pt x="292" y="437"/>
                    <a:pt x="294" y="435"/>
                    <a:pt x="296" y="435"/>
                  </a:cubicBezTo>
                  <a:lnTo>
                    <a:pt x="322" y="435"/>
                  </a:lnTo>
                  <a:lnTo>
                    <a:pt x="276" y="397"/>
                  </a:lnTo>
                  <a:lnTo>
                    <a:pt x="207" y="389"/>
                  </a:lnTo>
                  <a:lnTo>
                    <a:pt x="132" y="312"/>
                  </a:lnTo>
                  <a:cubicBezTo>
                    <a:pt x="130" y="310"/>
                    <a:pt x="130" y="307"/>
                    <a:pt x="132" y="305"/>
                  </a:cubicBezTo>
                  <a:lnTo>
                    <a:pt x="149" y="288"/>
                  </a:lnTo>
                  <a:lnTo>
                    <a:pt x="124" y="270"/>
                  </a:lnTo>
                  <a:lnTo>
                    <a:pt x="105" y="204"/>
                  </a:lnTo>
                  <a:lnTo>
                    <a:pt x="81" y="181"/>
                  </a:lnTo>
                  <a:lnTo>
                    <a:pt x="70" y="179"/>
                  </a:lnTo>
                  <a:lnTo>
                    <a:pt x="42" y="231"/>
                  </a:lnTo>
                  <a:cubicBezTo>
                    <a:pt x="41" y="232"/>
                    <a:pt x="40" y="233"/>
                    <a:pt x="38" y="233"/>
                  </a:cubicBezTo>
                  <a:cubicBezTo>
                    <a:pt x="37" y="233"/>
                    <a:pt x="37" y="233"/>
                    <a:pt x="36" y="233"/>
                  </a:cubicBezTo>
                  <a:lnTo>
                    <a:pt x="24" y="229"/>
                  </a:lnTo>
                  <a:cubicBezTo>
                    <a:pt x="23" y="228"/>
                    <a:pt x="22" y="227"/>
                    <a:pt x="21" y="226"/>
                  </a:cubicBezTo>
                  <a:lnTo>
                    <a:pt x="0" y="188"/>
                  </a:lnTo>
                  <a:lnTo>
                    <a:pt x="4" y="143"/>
                  </a:lnTo>
                  <a:cubicBezTo>
                    <a:pt x="4" y="141"/>
                    <a:pt x="5" y="140"/>
                    <a:pt x="7" y="139"/>
                  </a:cubicBezTo>
                  <a:lnTo>
                    <a:pt x="73" y="113"/>
                  </a:lnTo>
                  <a:lnTo>
                    <a:pt x="135" y="128"/>
                  </a:lnTo>
                  <a:lnTo>
                    <a:pt x="157" y="50"/>
                  </a:lnTo>
                  <a:cubicBezTo>
                    <a:pt x="158" y="49"/>
                    <a:pt x="159" y="47"/>
                    <a:pt x="160" y="47"/>
                  </a:cubicBezTo>
                  <a:lnTo>
                    <a:pt x="221" y="20"/>
                  </a:lnTo>
                  <a:lnTo>
                    <a:pt x="228" y="5"/>
                  </a:lnTo>
                  <a:cubicBezTo>
                    <a:pt x="228" y="4"/>
                    <a:pt x="228" y="3"/>
                    <a:pt x="229" y="2"/>
                  </a:cubicBezTo>
                  <a:cubicBezTo>
                    <a:pt x="230" y="1"/>
                    <a:pt x="232" y="0"/>
                    <a:pt x="233" y="0"/>
                  </a:cubicBezTo>
                  <a:cubicBezTo>
                    <a:pt x="234" y="0"/>
                    <a:pt x="235" y="0"/>
                    <a:pt x="236" y="0"/>
                  </a:cubicBezTo>
                  <a:cubicBezTo>
                    <a:pt x="237" y="1"/>
                    <a:pt x="238" y="2"/>
                    <a:pt x="238" y="4"/>
                  </a:cubicBezTo>
                  <a:lnTo>
                    <a:pt x="365" y="113"/>
                  </a:lnTo>
                  <a:lnTo>
                    <a:pt x="428" y="93"/>
                  </a:lnTo>
                  <a:cubicBezTo>
                    <a:pt x="429" y="92"/>
                    <a:pt x="429" y="92"/>
                    <a:pt x="430" y="92"/>
                  </a:cubicBezTo>
                  <a:cubicBezTo>
                    <a:pt x="432" y="92"/>
                    <a:pt x="433" y="94"/>
                    <a:pt x="434" y="96"/>
                  </a:cubicBezTo>
                  <a:lnTo>
                    <a:pt x="454" y="156"/>
                  </a:lnTo>
                  <a:lnTo>
                    <a:pt x="503" y="182"/>
                  </a:lnTo>
                  <a:cubicBezTo>
                    <a:pt x="505" y="183"/>
                    <a:pt x="506" y="185"/>
                    <a:pt x="505" y="187"/>
                  </a:cubicBezTo>
                  <a:cubicBezTo>
                    <a:pt x="505" y="189"/>
                    <a:pt x="504" y="190"/>
                    <a:pt x="502" y="191"/>
                  </a:cubicBezTo>
                  <a:lnTo>
                    <a:pt x="478" y="195"/>
                  </a:lnTo>
                  <a:lnTo>
                    <a:pt x="468" y="217"/>
                  </a:lnTo>
                  <a:cubicBezTo>
                    <a:pt x="467" y="218"/>
                    <a:pt x="467" y="219"/>
                    <a:pt x="465" y="219"/>
                  </a:cubicBezTo>
                  <a:lnTo>
                    <a:pt x="452" y="225"/>
                  </a:lnTo>
                  <a:cubicBezTo>
                    <a:pt x="451" y="225"/>
                    <a:pt x="451" y="225"/>
                    <a:pt x="450" y="225"/>
                  </a:cubicBezTo>
                  <a:cubicBezTo>
                    <a:pt x="449" y="225"/>
                    <a:pt x="448" y="225"/>
                    <a:pt x="447" y="223"/>
                  </a:cubicBezTo>
                  <a:lnTo>
                    <a:pt x="420" y="192"/>
                  </a:lnTo>
                  <a:lnTo>
                    <a:pt x="279" y="165"/>
                  </a:lnTo>
                  <a:lnTo>
                    <a:pt x="230" y="195"/>
                  </a:lnTo>
                  <a:cubicBezTo>
                    <a:pt x="230" y="196"/>
                    <a:pt x="229" y="196"/>
                    <a:pt x="228" y="196"/>
                  </a:cubicBezTo>
                  <a:cubicBezTo>
                    <a:pt x="227" y="196"/>
                    <a:pt x="225" y="195"/>
                    <a:pt x="224" y="194"/>
                  </a:cubicBezTo>
                  <a:lnTo>
                    <a:pt x="200" y="165"/>
                  </a:lnTo>
                  <a:lnTo>
                    <a:pt x="181" y="203"/>
                  </a:lnTo>
                  <a:lnTo>
                    <a:pt x="205" y="225"/>
                  </a:lnTo>
                  <a:lnTo>
                    <a:pt x="309" y="384"/>
                  </a:lnTo>
                  <a:lnTo>
                    <a:pt x="411" y="468"/>
                  </a:lnTo>
                  <a:cubicBezTo>
                    <a:pt x="412" y="469"/>
                    <a:pt x="413" y="470"/>
                    <a:pt x="413" y="471"/>
                  </a:cubicBezTo>
                  <a:cubicBezTo>
                    <a:pt x="413" y="473"/>
                    <a:pt x="412" y="474"/>
                    <a:pt x="411" y="475"/>
                  </a:cubicBezTo>
                  <a:lnTo>
                    <a:pt x="396" y="491"/>
                  </a:lnTo>
                  <a:cubicBezTo>
                    <a:pt x="395" y="491"/>
                    <a:pt x="394" y="492"/>
                    <a:pt x="393" y="49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49" name="Freeform 344"/>
            <p:cNvSpPr>
              <a:spLocks noChangeArrowheads="1"/>
            </p:cNvSpPr>
            <p:nvPr/>
          </p:nvSpPr>
          <p:spPr bwMode="auto">
            <a:xfrm>
              <a:off x="4708525" y="2205038"/>
              <a:ext cx="122238" cy="117475"/>
            </a:xfrm>
            <a:custGeom>
              <a:avLst/>
              <a:gdLst/>
              <a:ahLst/>
              <a:cxnLst>
                <a:cxn ang="0">
                  <a:pos x="235" y="323"/>
                </a:cxn>
                <a:cxn ang="0">
                  <a:pos x="132" y="238"/>
                </a:cxn>
                <a:cxn ang="0">
                  <a:pos x="28" y="79"/>
                </a:cxn>
                <a:cxn ang="0">
                  <a:pos x="2" y="56"/>
                </a:cxn>
                <a:cxn ang="0">
                  <a:pos x="1" y="50"/>
                </a:cxn>
                <a:cxn ang="0">
                  <a:pos x="25" y="3"/>
                </a:cxn>
                <a:cxn ang="0">
                  <a:pos x="28" y="0"/>
                </a:cxn>
                <a:cxn ang="0">
                  <a:pos x="29" y="0"/>
                </a:cxn>
                <a:cxn ang="0">
                  <a:pos x="33" y="2"/>
                </a:cxn>
                <a:cxn ang="0">
                  <a:pos x="59" y="33"/>
                </a:cxn>
                <a:cxn ang="0">
                  <a:pos x="106" y="4"/>
                </a:cxn>
                <a:cxn ang="0">
                  <a:pos x="109" y="3"/>
                </a:cxn>
                <a:cxn ang="0">
                  <a:pos x="255" y="32"/>
                </a:cxn>
                <a:cxn ang="0">
                  <a:pos x="282" y="63"/>
                </a:cxn>
                <a:cxn ang="0">
                  <a:pos x="292" y="59"/>
                </a:cxn>
                <a:cxn ang="0">
                  <a:pos x="324" y="64"/>
                </a:cxn>
                <a:cxn ang="0">
                  <a:pos x="327" y="66"/>
                </a:cxn>
                <a:cxn ang="0">
                  <a:pos x="327" y="71"/>
                </a:cxn>
                <a:cxn ang="0">
                  <a:pos x="297" y="125"/>
                </a:cxn>
                <a:cxn ang="0">
                  <a:pos x="336" y="154"/>
                </a:cxn>
                <a:cxn ang="0">
                  <a:pos x="338" y="159"/>
                </a:cxn>
                <a:cxn ang="0">
                  <a:pos x="335" y="170"/>
                </a:cxn>
                <a:cxn ang="0">
                  <a:pos x="331" y="174"/>
                </a:cxn>
                <a:cxn ang="0">
                  <a:pos x="314" y="176"/>
                </a:cxn>
                <a:cxn ang="0">
                  <a:pos x="327" y="204"/>
                </a:cxn>
                <a:cxn ang="0">
                  <a:pos x="325" y="210"/>
                </a:cxn>
                <a:cxn ang="0">
                  <a:pos x="304" y="223"/>
                </a:cxn>
                <a:cxn ang="0">
                  <a:pos x="282" y="224"/>
                </a:cxn>
                <a:cxn ang="0">
                  <a:pos x="290" y="241"/>
                </a:cxn>
                <a:cxn ang="0">
                  <a:pos x="289" y="247"/>
                </a:cxn>
                <a:cxn ang="0">
                  <a:pos x="286" y="248"/>
                </a:cxn>
                <a:cxn ang="0">
                  <a:pos x="283" y="247"/>
                </a:cxn>
                <a:cxn ang="0">
                  <a:pos x="255" y="226"/>
                </a:cxn>
                <a:cxn ang="0">
                  <a:pos x="249" y="233"/>
                </a:cxn>
                <a:cxn ang="0">
                  <a:pos x="264" y="262"/>
                </a:cxn>
                <a:cxn ang="0">
                  <a:pos x="262" y="268"/>
                </a:cxn>
                <a:cxn ang="0">
                  <a:pos x="236" y="282"/>
                </a:cxn>
                <a:cxn ang="0">
                  <a:pos x="243" y="319"/>
                </a:cxn>
                <a:cxn ang="0">
                  <a:pos x="241" y="324"/>
                </a:cxn>
                <a:cxn ang="0">
                  <a:pos x="238" y="324"/>
                </a:cxn>
                <a:cxn ang="0">
                  <a:pos x="235" y="323"/>
                </a:cxn>
              </a:cxnLst>
              <a:rect l="0" t="0" r="r" b="b"/>
              <a:pathLst>
                <a:path w="339" h="325">
                  <a:moveTo>
                    <a:pt x="235" y="323"/>
                  </a:moveTo>
                  <a:lnTo>
                    <a:pt x="132" y="238"/>
                  </a:lnTo>
                  <a:lnTo>
                    <a:pt x="28" y="79"/>
                  </a:lnTo>
                  <a:lnTo>
                    <a:pt x="2" y="56"/>
                  </a:lnTo>
                  <a:cubicBezTo>
                    <a:pt x="0" y="54"/>
                    <a:pt x="0" y="52"/>
                    <a:pt x="1" y="50"/>
                  </a:cubicBezTo>
                  <a:lnTo>
                    <a:pt x="25" y="3"/>
                  </a:lnTo>
                  <a:cubicBezTo>
                    <a:pt x="26" y="1"/>
                    <a:pt x="27" y="0"/>
                    <a:pt x="28" y="0"/>
                  </a:cubicBezTo>
                  <a:lnTo>
                    <a:pt x="29" y="0"/>
                  </a:lnTo>
                  <a:cubicBezTo>
                    <a:pt x="30" y="0"/>
                    <a:pt x="32" y="1"/>
                    <a:pt x="33" y="2"/>
                  </a:cubicBezTo>
                  <a:lnTo>
                    <a:pt x="59" y="33"/>
                  </a:lnTo>
                  <a:lnTo>
                    <a:pt x="106" y="4"/>
                  </a:lnTo>
                  <a:cubicBezTo>
                    <a:pt x="107" y="3"/>
                    <a:pt x="108" y="3"/>
                    <a:pt x="109" y="3"/>
                  </a:cubicBezTo>
                  <a:lnTo>
                    <a:pt x="255" y="32"/>
                  </a:lnTo>
                  <a:lnTo>
                    <a:pt x="282" y="63"/>
                  </a:lnTo>
                  <a:lnTo>
                    <a:pt x="292" y="59"/>
                  </a:lnTo>
                  <a:lnTo>
                    <a:pt x="324" y="64"/>
                  </a:lnTo>
                  <a:cubicBezTo>
                    <a:pt x="325" y="64"/>
                    <a:pt x="327" y="65"/>
                    <a:pt x="327" y="66"/>
                  </a:cubicBezTo>
                  <a:cubicBezTo>
                    <a:pt x="328" y="68"/>
                    <a:pt x="328" y="69"/>
                    <a:pt x="327" y="71"/>
                  </a:cubicBezTo>
                  <a:lnTo>
                    <a:pt x="297" y="125"/>
                  </a:lnTo>
                  <a:lnTo>
                    <a:pt x="336" y="154"/>
                  </a:lnTo>
                  <a:cubicBezTo>
                    <a:pt x="338" y="156"/>
                    <a:pt x="338" y="158"/>
                    <a:pt x="338" y="159"/>
                  </a:cubicBezTo>
                  <a:lnTo>
                    <a:pt x="335" y="170"/>
                  </a:lnTo>
                  <a:cubicBezTo>
                    <a:pt x="335" y="172"/>
                    <a:pt x="333" y="173"/>
                    <a:pt x="331" y="174"/>
                  </a:cubicBezTo>
                  <a:lnTo>
                    <a:pt x="314" y="176"/>
                  </a:lnTo>
                  <a:lnTo>
                    <a:pt x="327" y="204"/>
                  </a:lnTo>
                  <a:cubicBezTo>
                    <a:pt x="328" y="206"/>
                    <a:pt x="327" y="209"/>
                    <a:pt x="325" y="210"/>
                  </a:cubicBezTo>
                  <a:lnTo>
                    <a:pt x="304" y="223"/>
                  </a:lnTo>
                  <a:lnTo>
                    <a:pt x="282" y="224"/>
                  </a:lnTo>
                  <a:lnTo>
                    <a:pt x="290" y="241"/>
                  </a:lnTo>
                  <a:cubicBezTo>
                    <a:pt x="291" y="243"/>
                    <a:pt x="291" y="245"/>
                    <a:pt x="289" y="247"/>
                  </a:cubicBezTo>
                  <a:cubicBezTo>
                    <a:pt x="288" y="247"/>
                    <a:pt x="287" y="248"/>
                    <a:pt x="286" y="248"/>
                  </a:cubicBezTo>
                  <a:cubicBezTo>
                    <a:pt x="285" y="248"/>
                    <a:pt x="284" y="247"/>
                    <a:pt x="283" y="247"/>
                  </a:cubicBezTo>
                  <a:lnTo>
                    <a:pt x="255" y="226"/>
                  </a:lnTo>
                  <a:lnTo>
                    <a:pt x="249" y="233"/>
                  </a:lnTo>
                  <a:lnTo>
                    <a:pt x="264" y="262"/>
                  </a:lnTo>
                  <a:cubicBezTo>
                    <a:pt x="265" y="264"/>
                    <a:pt x="264" y="267"/>
                    <a:pt x="262" y="268"/>
                  </a:cubicBezTo>
                  <a:lnTo>
                    <a:pt x="236" y="282"/>
                  </a:lnTo>
                  <a:lnTo>
                    <a:pt x="243" y="319"/>
                  </a:lnTo>
                  <a:cubicBezTo>
                    <a:pt x="243" y="321"/>
                    <a:pt x="242" y="323"/>
                    <a:pt x="241" y="324"/>
                  </a:cubicBezTo>
                  <a:cubicBezTo>
                    <a:pt x="240" y="324"/>
                    <a:pt x="239" y="324"/>
                    <a:pt x="238" y="324"/>
                  </a:cubicBezTo>
                  <a:cubicBezTo>
                    <a:pt x="237" y="324"/>
                    <a:pt x="236" y="324"/>
                    <a:pt x="235" y="32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0" name="Freeform 345"/>
            <p:cNvSpPr>
              <a:spLocks noChangeArrowheads="1"/>
            </p:cNvSpPr>
            <p:nvPr/>
          </p:nvSpPr>
          <p:spPr bwMode="auto">
            <a:xfrm>
              <a:off x="4708525" y="2205038"/>
              <a:ext cx="122238" cy="117475"/>
            </a:xfrm>
            <a:custGeom>
              <a:avLst/>
              <a:gdLst/>
              <a:ahLst/>
              <a:cxnLst>
                <a:cxn ang="0">
                  <a:pos x="238" y="324"/>
                </a:cxn>
                <a:cxn ang="0">
                  <a:pos x="235" y="323"/>
                </a:cxn>
                <a:cxn ang="0">
                  <a:pos x="132" y="238"/>
                </a:cxn>
                <a:cxn ang="0">
                  <a:pos x="28" y="79"/>
                </a:cxn>
                <a:cxn ang="0">
                  <a:pos x="2" y="56"/>
                </a:cxn>
                <a:cxn ang="0">
                  <a:pos x="1" y="50"/>
                </a:cxn>
                <a:cxn ang="0">
                  <a:pos x="25" y="3"/>
                </a:cxn>
                <a:cxn ang="0">
                  <a:pos x="28" y="0"/>
                </a:cxn>
                <a:cxn ang="0">
                  <a:pos x="29" y="0"/>
                </a:cxn>
                <a:cxn ang="0">
                  <a:pos x="33" y="2"/>
                </a:cxn>
                <a:cxn ang="0">
                  <a:pos x="59" y="33"/>
                </a:cxn>
                <a:cxn ang="0">
                  <a:pos x="106" y="4"/>
                </a:cxn>
                <a:cxn ang="0">
                  <a:pos x="109" y="3"/>
                </a:cxn>
                <a:cxn ang="0">
                  <a:pos x="255" y="32"/>
                </a:cxn>
                <a:cxn ang="0">
                  <a:pos x="282" y="63"/>
                </a:cxn>
                <a:cxn ang="0">
                  <a:pos x="292" y="59"/>
                </a:cxn>
                <a:cxn ang="0">
                  <a:pos x="324" y="64"/>
                </a:cxn>
                <a:cxn ang="0">
                  <a:pos x="327" y="66"/>
                </a:cxn>
                <a:cxn ang="0">
                  <a:pos x="327" y="71"/>
                </a:cxn>
                <a:cxn ang="0">
                  <a:pos x="297" y="125"/>
                </a:cxn>
                <a:cxn ang="0">
                  <a:pos x="336" y="154"/>
                </a:cxn>
                <a:cxn ang="0">
                  <a:pos x="338" y="159"/>
                </a:cxn>
                <a:cxn ang="0">
                  <a:pos x="335" y="170"/>
                </a:cxn>
                <a:cxn ang="0">
                  <a:pos x="331" y="174"/>
                </a:cxn>
                <a:cxn ang="0">
                  <a:pos x="314" y="176"/>
                </a:cxn>
                <a:cxn ang="0">
                  <a:pos x="327" y="204"/>
                </a:cxn>
                <a:cxn ang="0">
                  <a:pos x="325" y="210"/>
                </a:cxn>
                <a:cxn ang="0">
                  <a:pos x="304" y="223"/>
                </a:cxn>
                <a:cxn ang="0">
                  <a:pos x="282" y="224"/>
                </a:cxn>
                <a:cxn ang="0">
                  <a:pos x="290" y="241"/>
                </a:cxn>
                <a:cxn ang="0">
                  <a:pos x="289" y="247"/>
                </a:cxn>
                <a:cxn ang="0">
                  <a:pos x="286" y="248"/>
                </a:cxn>
                <a:cxn ang="0">
                  <a:pos x="283" y="247"/>
                </a:cxn>
                <a:cxn ang="0">
                  <a:pos x="255" y="226"/>
                </a:cxn>
                <a:cxn ang="0">
                  <a:pos x="249" y="233"/>
                </a:cxn>
                <a:cxn ang="0">
                  <a:pos x="264" y="262"/>
                </a:cxn>
                <a:cxn ang="0">
                  <a:pos x="262" y="268"/>
                </a:cxn>
                <a:cxn ang="0">
                  <a:pos x="236" y="282"/>
                </a:cxn>
                <a:cxn ang="0">
                  <a:pos x="243" y="319"/>
                </a:cxn>
                <a:cxn ang="0">
                  <a:pos x="241" y="324"/>
                </a:cxn>
                <a:cxn ang="0">
                  <a:pos x="238" y="324"/>
                </a:cxn>
              </a:cxnLst>
              <a:rect l="0" t="0" r="r" b="b"/>
              <a:pathLst>
                <a:path w="339" h="325">
                  <a:moveTo>
                    <a:pt x="238" y="324"/>
                  </a:moveTo>
                  <a:cubicBezTo>
                    <a:pt x="237" y="324"/>
                    <a:pt x="236" y="324"/>
                    <a:pt x="235" y="323"/>
                  </a:cubicBezTo>
                  <a:lnTo>
                    <a:pt x="132" y="238"/>
                  </a:lnTo>
                  <a:lnTo>
                    <a:pt x="28" y="79"/>
                  </a:lnTo>
                  <a:lnTo>
                    <a:pt x="2" y="56"/>
                  </a:lnTo>
                  <a:cubicBezTo>
                    <a:pt x="0" y="54"/>
                    <a:pt x="0" y="52"/>
                    <a:pt x="1" y="50"/>
                  </a:cubicBezTo>
                  <a:lnTo>
                    <a:pt x="25" y="3"/>
                  </a:lnTo>
                  <a:cubicBezTo>
                    <a:pt x="26" y="1"/>
                    <a:pt x="27" y="0"/>
                    <a:pt x="28" y="0"/>
                  </a:cubicBezTo>
                  <a:lnTo>
                    <a:pt x="29" y="0"/>
                  </a:lnTo>
                  <a:cubicBezTo>
                    <a:pt x="30" y="0"/>
                    <a:pt x="32" y="1"/>
                    <a:pt x="33" y="2"/>
                  </a:cubicBezTo>
                  <a:lnTo>
                    <a:pt x="59" y="33"/>
                  </a:lnTo>
                  <a:lnTo>
                    <a:pt x="106" y="4"/>
                  </a:lnTo>
                  <a:cubicBezTo>
                    <a:pt x="107" y="3"/>
                    <a:pt x="108" y="3"/>
                    <a:pt x="109" y="3"/>
                  </a:cubicBezTo>
                  <a:lnTo>
                    <a:pt x="255" y="32"/>
                  </a:lnTo>
                  <a:lnTo>
                    <a:pt x="282" y="63"/>
                  </a:lnTo>
                  <a:lnTo>
                    <a:pt x="292" y="59"/>
                  </a:lnTo>
                  <a:lnTo>
                    <a:pt x="324" y="64"/>
                  </a:lnTo>
                  <a:cubicBezTo>
                    <a:pt x="325" y="64"/>
                    <a:pt x="327" y="65"/>
                    <a:pt x="327" y="66"/>
                  </a:cubicBezTo>
                  <a:cubicBezTo>
                    <a:pt x="328" y="68"/>
                    <a:pt x="328" y="69"/>
                    <a:pt x="327" y="71"/>
                  </a:cubicBezTo>
                  <a:lnTo>
                    <a:pt x="297" y="125"/>
                  </a:lnTo>
                  <a:lnTo>
                    <a:pt x="336" y="154"/>
                  </a:lnTo>
                  <a:cubicBezTo>
                    <a:pt x="338" y="156"/>
                    <a:pt x="338" y="158"/>
                    <a:pt x="338" y="159"/>
                  </a:cubicBezTo>
                  <a:lnTo>
                    <a:pt x="335" y="170"/>
                  </a:lnTo>
                  <a:cubicBezTo>
                    <a:pt x="335" y="172"/>
                    <a:pt x="333" y="173"/>
                    <a:pt x="331" y="174"/>
                  </a:cubicBezTo>
                  <a:lnTo>
                    <a:pt x="314" y="176"/>
                  </a:lnTo>
                  <a:lnTo>
                    <a:pt x="327" y="204"/>
                  </a:lnTo>
                  <a:cubicBezTo>
                    <a:pt x="328" y="206"/>
                    <a:pt x="327" y="209"/>
                    <a:pt x="325" y="210"/>
                  </a:cubicBezTo>
                  <a:lnTo>
                    <a:pt x="304" y="223"/>
                  </a:lnTo>
                  <a:lnTo>
                    <a:pt x="282" y="224"/>
                  </a:lnTo>
                  <a:lnTo>
                    <a:pt x="290" y="241"/>
                  </a:lnTo>
                  <a:cubicBezTo>
                    <a:pt x="291" y="243"/>
                    <a:pt x="291" y="245"/>
                    <a:pt x="289" y="247"/>
                  </a:cubicBezTo>
                  <a:cubicBezTo>
                    <a:pt x="288" y="247"/>
                    <a:pt x="287" y="248"/>
                    <a:pt x="286" y="248"/>
                  </a:cubicBezTo>
                  <a:cubicBezTo>
                    <a:pt x="285" y="248"/>
                    <a:pt x="284" y="247"/>
                    <a:pt x="283" y="247"/>
                  </a:cubicBezTo>
                  <a:lnTo>
                    <a:pt x="255" y="226"/>
                  </a:lnTo>
                  <a:lnTo>
                    <a:pt x="249" y="233"/>
                  </a:lnTo>
                  <a:lnTo>
                    <a:pt x="264" y="262"/>
                  </a:lnTo>
                  <a:cubicBezTo>
                    <a:pt x="265" y="264"/>
                    <a:pt x="264" y="267"/>
                    <a:pt x="262" y="268"/>
                  </a:cubicBezTo>
                  <a:lnTo>
                    <a:pt x="236" y="282"/>
                  </a:lnTo>
                  <a:lnTo>
                    <a:pt x="243" y="319"/>
                  </a:lnTo>
                  <a:cubicBezTo>
                    <a:pt x="243" y="321"/>
                    <a:pt x="242" y="323"/>
                    <a:pt x="241" y="324"/>
                  </a:cubicBezTo>
                  <a:cubicBezTo>
                    <a:pt x="240" y="324"/>
                    <a:pt x="239" y="324"/>
                    <a:pt x="238" y="32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1" name="Freeform 346"/>
            <p:cNvSpPr>
              <a:spLocks noChangeArrowheads="1"/>
            </p:cNvSpPr>
            <p:nvPr/>
          </p:nvSpPr>
          <p:spPr bwMode="auto">
            <a:xfrm>
              <a:off x="4800600" y="2174875"/>
              <a:ext cx="128588" cy="173038"/>
            </a:xfrm>
            <a:custGeom>
              <a:avLst/>
              <a:gdLst/>
              <a:ahLst/>
              <a:cxnLst>
                <a:cxn ang="0">
                  <a:pos x="122" y="431"/>
                </a:cxn>
                <a:cxn ang="0">
                  <a:pos x="96" y="418"/>
                </a:cxn>
                <a:cxn ang="0">
                  <a:pos x="97" y="385"/>
                </a:cxn>
                <a:cxn ang="0">
                  <a:pos x="102" y="385"/>
                </a:cxn>
                <a:cxn ang="0">
                  <a:pos x="123" y="382"/>
                </a:cxn>
                <a:cxn ang="0">
                  <a:pos x="39" y="316"/>
                </a:cxn>
                <a:cxn ang="0">
                  <a:pos x="44" y="300"/>
                </a:cxn>
                <a:cxn ang="0">
                  <a:pos x="48" y="258"/>
                </a:cxn>
                <a:cxn ang="0">
                  <a:pos x="51" y="252"/>
                </a:cxn>
                <a:cxn ang="0">
                  <a:pos x="73" y="245"/>
                </a:cxn>
                <a:cxn ang="0">
                  <a:pos x="32" y="209"/>
                </a:cxn>
                <a:cxn ang="0">
                  <a:pos x="38" y="153"/>
                </a:cxn>
                <a:cxn ang="0">
                  <a:pos x="34" y="146"/>
                </a:cxn>
                <a:cxn ang="0">
                  <a:pos x="48" y="120"/>
                </a:cxn>
                <a:cxn ang="0">
                  <a:pos x="23" y="97"/>
                </a:cxn>
                <a:cxn ang="0">
                  <a:pos x="0" y="32"/>
                </a:cxn>
                <a:cxn ang="0">
                  <a:pos x="3" y="26"/>
                </a:cxn>
                <a:cxn ang="0">
                  <a:pos x="129" y="4"/>
                </a:cxn>
                <a:cxn ang="0">
                  <a:pos x="208" y="107"/>
                </a:cxn>
                <a:cxn ang="0">
                  <a:pos x="235" y="118"/>
                </a:cxn>
                <a:cxn ang="0">
                  <a:pos x="302" y="189"/>
                </a:cxn>
                <a:cxn ang="0">
                  <a:pos x="319" y="174"/>
                </a:cxn>
                <a:cxn ang="0">
                  <a:pos x="323" y="175"/>
                </a:cxn>
                <a:cxn ang="0">
                  <a:pos x="335" y="199"/>
                </a:cxn>
                <a:cxn ang="0">
                  <a:pos x="344" y="239"/>
                </a:cxn>
                <a:cxn ang="0">
                  <a:pos x="342" y="246"/>
                </a:cxn>
                <a:cxn ang="0">
                  <a:pos x="311" y="285"/>
                </a:cxn>
                <a:cxn ang="0">
                  <a:pos x="353" y="362"/>
                </a:cxn>
                <a:cxn ang="0">
                  <a:pos x="319" y="422"/>
                </a:cxn>
                <a:cxn ang="0">
                  <a:pos x="318" y="440"/>
                </a:cxn>
                <a:cxn ang="0">
                  <a:pos x="231" y="438"/>
                </a:cxn>
                <a:cxn ang="0">
                  <a:pos x="167" y="479"/>
                </a:cxn>
              </a:cxnLst>
              <a:rect l="0" t="0" r="r" b="b"/>
              <a:pathLst>
                <a:path w="355" h="480">
                  <a:moveTo>
                    <a:pt x="163" y="477"/>
                  </a:moveTo>
                  <a:lnTo>
                    <a:pt x="122" y="431"/>
                  </a:lnTo>
                  <a:lnTo>
                    <a:pt x="99" y="423"/>
                  </a:lnTo>
                  <a:cubicBezTo>
                    <a:pt x="98" y="422"/>
                    <a:pt x="96" y="420"/>
                    <a:pt x="96" y="418"/>
                  </a:cubicBezTo>
                  <a:lnTo>
                    <a:pt x="95" y="389"/>
                  </a:lnTo>
                  <a:cubicBezTo>
                    <a:pt x="95" y="387"/>
                    <a:pt x="96" y="386"/>
                    <a:pt x="97" y="385"/>
                  </a:cubicBezTo>
                  <a:cubicBezTo>
                    <a:pt x="98" y="384"/>
                    <a:pt x="99" y="384"/>
                    <a:pt x="100" y="384"/>
                  </a:cubicBezTo>
                  <a:cubicBezTo>
                    <a:pt x="100" y="384"/>
                    <a:pt x="101" y="384"/>
                    <a:pt x="102" y="385"/>
                  </a:cubicBezTo>
                  <a:lnTo>
                    <a:pt x="118" y="395"/>
                  </a:lnTo>
                  <a:lnTo>
                    <a:pt x="123" y="382"/>
                  </a:lnTo>
                  <a:lnTo>
                    <a:pt x="41" y="321"/>
                  </a:lnTo>
                  <a:cubicBezTo>
                    <a:pt x="40" y="320"/>
                    <a:pt x="39" y="318"/>
                    <a:pt x="39" y="316"/>
                  </a:cubicBezTo>
                  <a:lnTo>
                    <a:pt x="42" y="303"/>
                  </a:lnTo>
                  <a:cubicBezTo>
                    <a:pt x="42" y="302"/>
                    <a:pt x="43" y="301"/>
                    <a:pt x="44" y="300"/>
                  </a:cubicBezTo>
                  <a:lnTo>
                    <a:pt x="62" y="289"/>
                  </a:lnTo>
                  <a:lnTo>
                    <a:pt x="48" y="258"/>
                  </a:lnTo>
                  <a:cubicBezTo>
                    <a:pt x="47" y="257"/>
                    <a:pt x="47" y="255"/>
                    <a:pt x="48" y="254"/>
                  </a:cubicBezTo>
                  <a:cubicBezTo>
                    <a:pt x="49" y="253"/>
                    <a:pt x="50" y="252"/>
                    <a:pt x="51" y="252"/>
                  </a:cubicBezTo>
                  <a:lnTo>
                    <a:pt x="72" y="250"/>
                  </a:lnTo>
                  <a:lnTo>
                    <a:pt x="73" y="245"/>
                  </a:lnTo>
                  <a:lnTo>
                    <a:pt x="33" y="215"/>
                  </a:lnTo>
                  <a:cubicBezTo>
                    <a:pt x="31" y="214"/>
                    <a:pt x="31" y="211"/>
                    <a:pt x="32" y="209"/>
                  </a:cubicBezTo>
                  <a:lnTo>
                    <a:pt x="61" y="157"/>
                  </a:lnTo>
                  <a:lnTo>
                    <a:pt x="38" y="153"/>
                  </a:lnTo>
                  <a:cubicBezTo>
                    <a:pt x="36" y="152"/>
                    <a:pt x="35" y="151"/>
                    <a:pt x="35" y="150"/>
                  </a:cubicBezTo>
                  <a:cubicBezTo>
                    <a:pt x="34" y="149"/>
                    <a:pt x="34" y="147"/>
                    <a:pt x="34" y="146"/>
                  </a:cubicBezTo>
                  <a:lnTo>
                    <a:pt x="45" y="122"/>
                  </a:lnTo>
                  <a:cubicBezTo>
                    <a:pt x="46" y="121"/>
                    <a:pt x="47" y="120"/>
                    <a:pt x="48" y="120"/>
                  </a:cubicBezTo>
                  <a:lnTo>
                    <a:pt x="62" y="117"/>
                  </a:lnTo>
                  <a:lnTo>
                    <a:pt x="23" y="97"/>
                  </a:lnTo>
                  <a:cubicBezTo>
                    <a:pt x="22" y="96"/>
                    <a:pt x="21" y="95"/>
                    <a:pt x="21" y="94"/>
                  </a:cubicBezTo>
                  <a:lnTo>
                    <a:pt x="0" y="32"/>
                  </a:lnTo>
                  <a:cubicBezTo>
                    <a:pt x="0" y="30"/>
                    <a:pt x="0" y="29"/>
                    <a:pt x="0" y="28"/>
                  </a:cubicBezTo>
                  <a:cubicBezTo>
                    <a:pt x="1" y="27"/>
                    <a:pt x="2" y="26"/>
                    <a:pt x="3" y="26"/>
                  </a:cubicBezTo>
                  <a:lnTo>
                    <a:pt x="82" y="0"/>
                  </a:lnTo>
                  <a:lnTo>
                    <a:pt x="129" y="4"/>
                  </a:lnTo>
                  <a:lnTo>
                    <a:pt x="174" y="35"/>
                  </a:lnTo>
                  <a:lnTo>
                    <a:pt x="208" y="107"/>
                  </a:lnTo>
                  <a:lnTo>
                    <a:pt x="232" y="114"/>
                  </a:lnTo>
                  <a:cubicBezTo>
                    <a:pt x="234" y="115"/>
                    <a:pt x="235" y="117"/>
                    <a:pt x="235" y="118"/>
                  </a:cubicBezTo>
                  <a:lnTo>
                    <a:pt x="239" y="154"/>
                  </a:lnTo>
                  <a:lnTo>
                    <a:pt x="302" y="189"/>
                  </a:lnTo>
                  <a:lnTo>
                    <a:pt x="316" y="175"/>
                  </a:lnTo>
                  <a:cubicBezTo>
                    <a:pt x="317" y="174"/>
                    <a:pt x="318" y="174"/>
                    <a:pt x="319" y="174"/>
                  </a:cubicBezTo>
                  <a:lnTo>
                    <a:pt x="320" y="174"/>
                  </a:lnTo>
                  <a:cubicBezTo>
                    <a:pt x="321" y="174"/>
                    <a:pt x="322" y="174"/>
                    <a:pt x="323" y="175"/>
                  </a:cubicBezTo>
                  <a:lnTo>
                    <a:pt x="336" y="192"/>
                  </a:lnTo>
                  <a:cubicBezTo>
                    <a:pt x="337" y="194"/>
                    <a:pt x="337" y="197"/>
                    <a:pt x="335" y="199"/>
                  </a:cubicBezTo>
                  <a:lnTo>
                    <a:pt x="322" y="209"/>
                  </a:lnTo>
                  <a:lnTo>
                    <a:pt x="344" y="239"/>
                  </a:lnTo>
                  <a:cubicBezTo>
                    <a:pt x="345" y="240"/>
                    <a:pt x="346" y="242"/>
                    <a:pt x="345" y="243"/>
                  </a:cubicBezTo>
                  <a:cubicBezTo>
                    <a:pt x="345" y="244"/>
                    <a:pt x="343" y="246"/>
                    <a:pt x="342" y="246"/>
                  </a:cubicBezTo>
                  <a:lnTo>
                    <a:pt x="319" y="254"/>
                  </a:lnTo>
                  <a:lnTo>
                    <a:pt x="311" y="285"/>
                  </a:lnTo>
                  <a:lnTo>
                    <a:pt x="320" y="317"/>
                  </a:lnTo>
                  <a:lnTo>
                    <a:pt x="353" y="362"/>
                  </a:lnTo>
                  <a:cubicBezTo>
                    <a:pt x="354" y="363"/>
                    <a:pt x="354" y="365"/>
                    <a:pt x="353" y="367"/>
                  </a:cubicBezTo>
                  <a:lnTo>
                    <a:pt x="319" y="422"/>
                  </a:lnTo>
                  <a:lnTo>
                    <a:pt x="320" y="436"/>
                  </a:lnTo>
                  <a:cubicBezTo>
                    <a:pt x="320" y="438"/>
                    <a:pt x="319" y="439"/>
                    <a:pt x="318" y="440"/>
                  </a:cubicBezTo>
                  <a:cubicBezTo>
                    <a:pt x="318" y="440"/>
                    <a:pt x="316" y="441"/>
                    <a:pt x="315" y="441"/>
                  </a:cubicBezTo>
                  <a:lnTo>
                    <a:pt x="231" y="438"/>
                  </a:lnTo>
                  <a:lnTo>
                    <a:pt x="169" y="478"/>
                  </a:lnTo>
                  <a:cubicBezTo>
                    <a:pt x="169" y="479"/>
                    <a:pt x="168" y="479"/>
                    <a:pt x="167" y="479"/>
                  </a:cubicBezTo>
                  <a:cubicBezTo>
                    <a:pt x="166" y="479"/>
                    <a:pt x="164" y="478"/>
                    <a:pt x="163" y="47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2" name="Freeform 347"/>
            <p:cNvSpPr>
              <a:spLocks noChangeArrowheads="1"/>
            </p:cNvSpPr>
            <p:nvPr/>
          </p:nvSpPr>
          <p:spPr bwMode="auto">
            <a:xfrm>
              <a:off x="4800600" y="2174875"/>
              <a:ext cx="128588" cy="173038"/>
            </a:xfrm>
            <a:custGeom>
              <a:avLst/>
              <a:gdLst/>
              <a:ahLst/>
              <a:cxnLst>
                <a:cxn ang="0">
                  <a:pos x="163" y="477"/>
                </a:cxn>
                <a:cxn ang="0">
                  <a:pos x="99" y="423"/>
                </a:cxn>
                <a:cxn ang="0">
                  <a:pos x="95" y="389"/>
                </a:cxn>
                <a:cxn ang="0">
                  <a:pos x="100" y="384"/>
                </a:cxn>
                <a:cxn ang="0">
                  <a:pos x="118" y="395"/>
                </a:cxn>
                <a:cxn ang="0">
                  <a:pos x="41" y="321"/>
                </a:cxn>
                <a:cxn ang="0">
                  <a:pos x="42" y="303"/>
                </a:cxn>
                <a:cxn ang="0">
                  <a:pos x="62" y="289"/>
                </a:cxn>
                <a:cxn ang="0">
                  <a:pos x="48" y="254"/>
                </a:cxn>
                <a:cxn ang="0">
                  <a:pos x="72" y="250"/>
                </a:cxn>
                <a:cxn ang="0">
                  <a:pos x="33" y="215"/>
                </a:cxn>
                <a:cxn ang="0">
                  <a:pos x="61" y="157"/>
                </a:cxn>
                <a:cxn ang="0">
                  <a:pos x="35" y="150"/>
                </a:cxn>
                <a:cxn ang="0">
                  <a:pos x="45" y="122"/>
                </a:cxn>
                <a:cxn ang="0">
                  <a:pos x="62" y="117"/>
                </a:cxn>
                <a:cxn ang="0">
                  <a:pos x="21" y="94"/>
                </a:cxn>
                <a:cxn ang="0">
                  <a:pos x="0" y="28"/>
                </a:cxn>
                <a:cxn ang="0">
                  <a:pos x="82" y="0"/>
                </a:cxn>
                <a:cxn ang="0">
                  <a:pos x="174" y="35"/>
                </a:cxn>
                <a:cxn ang="0">
                  <a:pos x="232" y="114"/>
                </a:cxn>
                <a:cxn ang="0">
                  <a:pos x="239" y="154"/>
                </a:cxn>
                <a:cxn ang="0">
                  <a:pos x="316" y="175"/>
                </a:cxn>
                <a:cxn ang="0">
                  <a:pos x="320" y="174"/>
                </a:cxn>
                <a:cxn ang="0">
                  <a:pos x="336" y="192"/>
                </a:cxn>
                <a:cxn ang="0">
                  <a:pos x="322" y="209"/>
                </a:cxn>
                <a:cxn ang="0">
                  <a:pos x="345" y="243"/>
                </a:cxn>
                <a:cxn ang="0">
                  <a:pos x="319" y="254"/>
                </a:cxn>
                <a:cxn ang="0">
                  <a:pos x="320" y="317"/>
                </a:cxn>
                <a:cxn ang="0">
                  <a:pos x="353" y="367"/>
                </a:cxn>
                <a:cxn ang="0">
                  <a:pos x="320" y="436"/>
                </a:cxn>
                <a:cxn ang="0">
                  <a:pos x="315" y="441"/>
                </a:cxn>
                <a:cxn ang="0">
                  <a:pos x="169" y="478"/>
                </a:cxn>
              </a:cxnLst>
              <a:rect l="0" t="0" r="r" b="b"/>
              <a:pathLst>
                <a:path w="355" h="480">
                  <a:moveTo>
                    <a:pt x="167" y="479"/>
                  </a:moveTo>
                  <a:cubicBezTo>
                    <a:pt x="166" y="479"/>
                    <a:pt x="164" y="478"/>
                    <a:pt x="163" y="477"/>
                  </a:cubicBezTo>
                  <a:lnTo>
                    <a:pt x="122" y="431"/>
                  </a:lnTo>
                  <a:lnTo>
                    <a:pt x="99" y="423"/>
                  </a:lnTo>
                  <a:cubicBezTo>
                    <a:pt x="98" y="422"/>
                    <a:pt x="96" y="420"/>
                    <a:pt x="96" y="418"/>
                  </a:cubicBezTo>
                  <a:lnTo>
                    <a:pt x="95" y="389"/>
                  </a:lnTo>
                  <a:cubicBezTo>
                    <a:pt x="95" y="387"/>
                    <a:pt x="96" y="386"/>
                    <a:pt x="97" y="385"/>
                  </a:cubicBezTo>
                  <a:cubicBezTo>
                    <a:pt x="98" y="384"/>
                    <a:pt x="99" y="384"/>
                    <a:pt x="100" y="384"/>
                  </a:cubicBezTo>
                  <a:cubicBezTo>
                    <a:pt x="100" y="384"/>
                    <a:pt x="101" y="384"/>
                    <a:pt x="102" y="385"/>
                  </a:cubicBezTo>
                  <a:lnTo>
                    <a:pt x="118" y="395"/>
                  </a:lnTo>
                  <a:lnTo>
                    <a:pt x="123" y="382"/>
                  </a:lnTo>
                  <a:lnTo>
                    <a:pt x="41" y="321"/>
                  </a:lnTo>
                  <a:cubicBezTo>
                    <a:pt x="40" y="320"/>
                    <a:pt x="39" y="318"/>
                    <a:pt x="39" y="316"/>
                  </a:cubicBezTo>
                  <a:lnTo>
                    <a:pt x="42" y="303"/>
                  </a:lnTo>
                  <a:cubicBezTo>
                    <a:pt x="42" y="302"/>
                    <a:pt x="43" y="301"/>
                    <a:pt x="44" y="300"/>
                  </a:cubicBezTo>
                  <a:lnTo>
                    <a:pt x="62" y="289"/>
                  </a:lnTo>
                  <a:lnTo>
                    <a:pt x="48" y="258"/>
                  </a:lnTo>
                  <a:cubicBezTo>
                    <a:pt x="47" y="257"/>
                    <a:pt x="47" y="255"/>
                    <a:pt x="48" y="254"/>
                  </a:cubicBezTo>
                  <a:cubicBezTo>
                    <a:pt x="49" y="253"/>
                    <a:pt x="50" y="252"/>
                    <a:pt x="51" y="252"/>
                  </a:cubicBezTo>
                  <a:lnTo>
                    <a:pt x="72" y="250"/>
                  </a:lnTo>
                  <a:lnTo>
                    <a:pt x="73" y="245"/>
                  </a:lnTo>
                  <a:lnTo>
                    <a:pt x="33" y="215"/>
                  </a:lnTo>
                  <a:cubicBezTo>
                    <a:pt x="31" y="214"/>
                    <a:pt x="31" y="211"/>
                    <a:pt x="32" y="209"/>
                  </a:cubicBezTo>
                  <a:lnTo>
                    <a:pt x="61" y="157"/>
                  </a:lnTo>
                  <a:lnTo>
                    <a:pt x="38" y="153"/>
                  </a:lnTo>
                  <a:cubicBezTo>
                    <a:pt x="36" y="152"/>
                    <a:pt x="35" y="151"/>
                    <a:pt x="35" y="150"/>
                  </a:cubicBezTo>
                  <a:cubicBezTo>
                    <a:pt x="34" y="149"/>
                    <a:pt x="34" y="147"/>
                    <a:pt x="34" y="146"/>
                  </a:cubicBezTo>
                  <a:lnTo>
                    <a:pt x="45" y="122"/>
                  </a:lnTo>
                  <a:cubicBezTo>
                    <a:pt x="46" y="121"/>
                    <a:pt x="47" y="120"/>
                    <a:pt x="48" y="120"/>
                  </a:cubicBezTo>
                  <a:lnTo>
                    <a:pt x="62" y="117"/>
                  </a:lnTo>
                  <a:lnTo>
                    <a:pt x="23" y="97"/>
                  </a:lnTo>
                  <a:cubicBezTo>
                    <a:pt x="22" y="96"/>
                    <a:pt x="21" y="95"/>
                    <a:pt x="21" y="94"/>
                  </a:cubicBezTo>
                  <a:lnTo>
                    <a:pt x="0" y="32"/>
                  </a:lnTo>
                  <a:cubicBezTo>
                    <a:pt x="0" y="30"/>
                    <a:pt x="0" y="29"/>
                    <a:pt x="0" y="28"/>
                  </a:cubicBezTo>
                  <a:cubicBezTo>
                    <a:pt x="1" y="27"/>
                    <a:pt x="2" y="26"/>
                    <a:pt x="3" y="26"/>
                  </a:cubicBezTo>
                  <a:lnTo>
                    <a:pt x="82" y="0"/>
                  </a:lnTo>
                  <a:lnTo>
                    <a:pt x="129" y="4"/>
                  </a:lnTo>
                  <a:lnTo>
                    <a:pt x="174" y="35"/>
                  </a:lnTo>
                  <a:lnTo>
                    <a:pt x="208" y="107"/>
                  </a:lnTo>
                  <a:lnTo>
                    <a:pt x="232" y="114"/>
                  </a:lnTo>
                  <a:cubicBezTo>
                    <a:pt x="234" y="115"/>
                    <a:pt x="235" y="117"/>
                    <a:pt x="235" y="118"/>
                  </a:cubicBezTo>
                  <a:lnTo>
                    <a:pt x="239" y="154"/>
                  </a:lnTo>
                  <a:lnTo>
                    <a:pt x="302" y="189"/>
                  </a:lnTo>
                  <a:lnTo>
                    <a:pt x="316" y="175"/>
                  </a:lnTo>
                  <a:cubicBezTo>
                    <a:pt x="317" y="174"/>
                    <a:pt x="318" y="174"/>
                    <a:pt x="319" y="174"/>
                  </a:cubicBezTo>
                  <a:lnTo>
                    <a:pt x="320" y="174"/>
                  </a:lnTo>
                  <a:cubicBezTo>
                    <a:pt x="321" y="174"/>
                    <a:pt x="322" y="174"/>
                    <a:pt x="323" y="175"/>
                  </a:cubicBezTo>
                  <a:lnTo>
                    <a:pt x="336" y="192"/>
                  </a:lnTo>
                  <a:cubicBezTo>
                    <a:pt x="337" y="194"/>
                    <a:pt x="337" y="197"/>
                    <a:pt x="335" y="199"/>
                  </a:cubicBezTo>
                  <a:lnTo>
                    <a:pt x="322" y="209"/>
                  </a:lnTo>
                  <a:lnTo>
                    <a:pt x="344" y="239"/>
                  </a:lnTo>
                  <a:cubicBezTo>
                    <a:pt x="345" y="240"/>
                    <a:pt x="346" y="242"/>
                    <a:pt x="345" y="243"/>
                  </a:cubicBezTo>
                  <a:cubicBezTo>
                    <a:pt x="345" y="244"/>
                    <a:pt x="343" y="246"/>
                    <a:pt x="342" y="246"/>
                  </a:cubicBezTo>
                  <a:lnTo>
                    <a:pt x="319" y="254"/>
                  </a:lnTo>
                  <a:lnTo>
                    <a:pt x="311" y="285"/>
                  </a:lnTo>
                  <a:lnTo>
                    <a:pt x="320" y="317"/>
                  </a:lnTo>
                  <a:lnTo>
                    <a:pt x="353" y="362"/>
                  </a:lnTo>
                  <a:cubicBezTo>
                    <a:pt x="354" y="363"/>
                    <a:pt x="354" y="365"/>
                    <a:pt x="353" y="367"/>
                  </a:cubicBezTo>
                  <a:lnTo>
                    <a:pt x="319" y="422"/>
                  </a:lnTo>
                  <a:lnTo>
                    <a:pt x="320" y="436"/>
                  </a:lnTo>
                  <a:cubicBezTo>
                    <a:pt x="320" y="438"/>
                    <a:pt x="319" y="439"/>
                    <a:pt x="318" y="440"/>
                  </a:cubicBezTo>
                  <a:cubicBezTo>
                    <a:pt x="318" y="440"/>
                    <a:pt x="316" y="441"/>
                    <a:pt x="315" y="441"/>
                  </a:cubicBezTo>
                  <a:lnTo>
                    <a:pt x="231" y="438"/>
                  </a:lnTo>
                  <a:lnTo>
                    <a:pt x="169" y="478"/>
                  </a:lnTo>
                  <a:cubicBezTo>
                    <a:pt x="169" y="479"/>
                    <a:pt x="168" y="479"/>
                    <a:pt x="167" y="47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3" name="Freeform 348"/>
            <p:cNvSpPr>
              <a:spLocks noChangeArrowheads="1"/>
            </p:cNvSpPr>
            <p:nvPr/>
          </p:nvSpPr>
          <p:spPr bwMode="auto">
            <a:xfrm>
              <a:off x="4786313" y="2282825"/>
              <a:ext cx="61912" cy="74613"/>
            </a:xfrm>
            <a:custGeom>
              <a:avLst/>
              <a:gdLst/>
              <a:ahLst/>
              <a:cxnLst>
                <a:cxn ang="0">
                  <a:pos x="88" y="204"/>
                </a:cxn>
                <a:cxn ang="0">
                  <a:pos x="3" y="125"/>
                </a:cxn>
                <a:cxn ang="0">
                  <a:pos x="2" y="125"/>
                </a:cxn>
                <a:cxn ang="0">
                  <a:pos x="2" y="118"/>
                </a:cxn>
                <a:cxn ang="0">
                  <a:pos x="16" y="104"/>
                </a:cxn>
                <a:cxn ang="0">
                  <a:pos x="9" y="67"/>
                </a:cxn>
                <a:cxn ang="0">
                  <a:pos x="11" y="62"/>
                </a:cxn>
                <a:cxn ang="0">
                  <a:pos x="36" y="48"/>
                </a:cxn>
                <a:cxn ang="0">
                  <a:pos x="22" y="20"/>
                </a:cxn>
                <a:cxn ang="0">
                  <a:pos x="23" y="15"/>
                </a:cxn>
                <a:cxn ang="0">
                  <a:pos x="33" y="2"/>
                </a:cxn>
                <a:cxn ang="0">
                  <a:pos x="37" y="0"/>
                </a:cxn>
                <a:cxn ang="0">
                  <a:pos x="40" y="1"/>
                </a:cxn>
                <a:cxn ang="0">
                  <a:pos x="57" y="14"/>
                </a:cxn>
                <a:cxn ang="0">
                  <a:pos x="54" y="7"/>
                </a:cxn>
                <a:cxn ang="0">
                  <a:pos x="54" y="2"/>
                </a:cxn>
                <a:cxn ang="0">
                  <a:pos x="58" y="0"/>
                </a:cxn>
                <a:cxn ang="0">
                  <a:pos x="85" y="0"/>
                </a:cxn>
                <a:cxn ang="0">
                  <a:pos x="88" y="2"/>
                </a:cxn>
                <a:cxn ang="0">
                  <a:pos x="89" y="6"/>
                </a:cxn>
                <a:cxn ang="0">
                  <a:pos x="87" y="16"/>
                </a:cxn>
                <a:cxn ang="0">
                  <a:pos x="169" y="78"/>
                </a:cxn>
                <a:cxn ang="0">
                  <a:pos x="170" y="83"/>
                </a:cxn>
                <a:cxn ang="0">
                  <a:pos x="163" y="104"/>
                </a:cxn>
                <a:cxn ang="0">
                  <a:pos x="160" y="107"/>
                </a:cxn>
                <a:cxn ang="0">
                  <a:pos x="159" y="107"/>
                </a:cxn>
                <a:cxn ang="0">
                  <a:pos x="156" y="107"/>
                </a:cxn>
                <a:cxn ang="0">
                  <a:pos x="143" y="98"/>
                </a:cxn>
                <a:cxn ang="0">
                  <a:pos x="144" y="119"/>
                </a:cxn>
                <a:cxn ang="0">
                  <a:pos x="142" y="123"/>
                </a:cxn>
                <a:cxn ang="0">
                  <a:pos x="139" y="124"/>
                </a:cxn>
                <a:cxn ang="0">
                  <a:pos x="138" y="124"/>
                </a:cxn>
                <a:cxn ang="0">
                  <a:pos x="127" y="121"/>
                </a:cxn>
                <a:cxn ang="0">
                  <a:pos x="107" y="141"/>
                </a:cxn>
                <a:cxn ang="0">
                  <a:pos x="96" y="201"/>
                </a:cxn>
                <a:cxn ang="0">
                  <a:pos x="93" y="205"/>
                </a:cxn>
                <a:cxn ang="0">
                  <a:pos x="92" y="205"/>
                </a:cxn>
                <a:cxn ang="0">
                  <a:pos x="88" y="204"/>
                </a:cxn>
              </a:cxnLst>
              <a:rect l="0" t="0" r="r" b="b"/>
              <a:pathLst>
                <a:path w="172" h="206">
                  <a:moveTo>
                    <a:pt x="88" y="204"/>
                  </a:moveTo>
                  <a:lnTo>
                    <a:pt x="3" y="125"/>
                  </a:lnTo>
                  <a:cubicBezTo>
                    <a:pt x="3" y="125"/>
                    <a:pt x="3" y="125"/>
                    <a:pt x="2" y="125"/>
                  </a:cubicBezTo>
                  <a:cubicBezTo>
                    <a:pt x="0" y="123"/>
                    <a:pt x="0" y="120"/>
                    <a:pt x="2" y="118"/>
                  </a:cubicBezTo>
                  <a:lnTo>
                    <a:pt x="16" y="104"/>
                  </a:lnTo>
                  <a:lnTo>
                    <a:pt x="9" y="67"/>
                  </a:lnTo>
                  <a:cubicBezTo>
                    <a:pt x="8" y="65"/>
                    <a:pt x="9" y="63"/>
                    <a:pt x="11" y="62"/>
                  </a:cubicBezTo>
                  <a:lnTo>
                    <a:pt x="36" y="48"/>
                  </a:lnTo>
                  <a:lnTo>
                    <a:pt x="22" y="20"/>
                  </a:lnTo>
                  <a:cubicBezTo>
                    <a:pt x="21" y="19"/>
                    <a:pt x="22" y="17"/>
                    <a:pt x="23" y="15"/>
                  </a:cubicBezTo>
                  <a:lnTo>
                    <a:pt x="33" y="2"/>
                  </a:lnTo>
                  <a:cubicBezTo>
                    <a:pt x="34" y="1"/>
                    <a:pt x="36" y="0"/>
                    <a:pt x="37" y="0"/>
                  </a:cubicBezTo>
                  <a:cubicBezTo>
                    <a:pt x="38" y="0"/>
                    <a:pt x="39" y="1"/>
                    <a:pt x="40" y="1"/>
                  </a:cubicBezTo>
                  <a:lnTo>
                    <a:pt x="57" y="14"/>
                  </a:lnTo>
                  <a:lnTo>
                    <a:pt x="54" y="7"/>
                  </a:lnTo>
                  <a:cubicBezTo>
                    <a:pt x="53" y="5"/>
                    <a:pt x="53" y="4"/>
                    <a:pt x="54" y="2"/>
                  </a:cubicBezTo>
                  <a:cubicBezTo>
                    <a:pt x="55" y="1"/>
                    <a:pt x="57" y="0"/>
                    <a:pt x="58" y="0"/>
                  </a:cubicBezTo>
                  <a:lnTo>
                    <a:pt x="85" y="0"/>
                  </a:lnTo>
                  <a:cubicBezTo>
                    <a:pt x="86" y="0"/>
                    <a:pt x="87" y="1"/>
                    <a:pt x="88" y="2"/>
                  </a:cubicBezTo>
                  <a:cubicBezTo>
                    <a:pt x="89" y="3"/>
                    <a:pt x="90" y="4"/>
                    <a:pt x="89" y="6"/>
                  </a:cubicBezTo>
                  <a:lnTo>
                    <a:pt x="87" y="16"/>
                  </a:lnTo>
                  <a:lnTo>
                    <a:pt x="169" y="78"/>
                  </a:lnTo>
                  <a:cubicBezTo>
                    <a:pt x="170" y="79"/>
                    <a:pt x="171" y="81"/>
                    <a:pt x="170" y="83"/>
                  </a:cubicBezTo>
                  <a:lnTo>
                    <a:pt x="163" y="104"/>
                  </a:lnTo>
                  <a:cubicBezTo>
                    <a:pt x="163" y="106"/>
                    <a:pt x="162" y="107"/>
                    <a:pt x="160" y="107"/>
                  </a:cubicBezTo>
                  <a:lnTo>
                    <a:pt x="159" y="107"/>
                  </a:lnTo>
                  <a:cubicBezTo>
                    <a:pt x="158" y="107"/>
                    <a:pt x="157" y="107"/>
                    <a:pt x="156" y="107"/>
                  </a:cubicBezTo>
                  <a:lnTo>
                    <a:pt x="143" y="98"/>
                  </a:lnTo>
                  <a:lnTo>
                    <a:pt x="144" y="119"/>
                  </a:lnTo>
                  <a:cubicBezTo>
                    <a:pt x="144" y="120"/>
                    <a:pt x="143" y="122"/>
                    <a:pt x="142" y="123"/>
                  </a:cubicBezTo>
                  <a:cubicBezTo>
                    <a:pt x="141" y="123"/>
                    <a:pt x="140" y="124"/>
                    <a:pt x="139" y="124"/>
                  </a:cubicBezTo>
                  <a:lnTo>
                    <a:pt x="138" y="124"/>
                  </a:lnTo>
                  <a:lnTo>
                    <a:pt x="127" y="121"/>
                  </a:lnTo>
                  <a:lnTo>
                    <a:pt x="107" y="141"/>
                  </a:lnTo>
                  <a:lnTo>
                    <a:pt x="96" y="201"/>
                  </a:lnTo>
                  <a:cubicBezTo>
                    <a:pt x="96" y="203"/>
                    <a:pt x="95" y="204"/>
                    <a:pt x="93" y="205"/>
                  </a:cubicBezTo>
                  <a:lnTo>
                    <a:pt x="92" y="205"/>
                  </a:lnTo>
                  <a:cubicBezTo>
                    <a:pt x="90" y="205"/>
                    <a:pt x="89" y="205"/>
                    <a:pt x="88" y="20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4" name="Freeform 349"/>
            <p:cNvSpPr>
              <a:spLocks noChangeArrowheads="1"/>
            </p:cNvSpPr>
            <p:nvPr/>
          </p:nvSpPr>
          <p:spPr bwMode="auto">
            <a:xfrm>
              <a:off x="4786313" y="2282825"/>
              <a:ext cx="61912" cy="74613"/>
            </a:xfrm>
            <a:custGeom>
              <a:avLst/>
              <a:gdLst/>
              <a:ahLst/>
              <a:cxnLst>
                <a:cxn ang="0">
                  <a:pos x="92" y="205"/>
                </a:cxn>
                <a:cxn ang="0">
                  <a:pos x="88" y="204"/>
                </a:cxn>
                <a:cxn ang="0">
                  <a:pos x="3" y="125"/>
                </a:cxn>
                <a:cxn ang="0">
                  <a:pos x="2" y="125"/>
                </a:cxn>
                <a:cxn ang="0">
                  <a:pos x="2" y="118"/>
                </a:cxn>
                <a:cxn ang="0">
                  <a:pos x="16" y="104"/>
                </a:cxn>
                <a:cxn ang="0">
                  <a:pos x="9" y="67"/>
                </a:cxn>
                <a:cxn ang="0">
                  <a:pos x="11" y="62"/>
                </a:cxn>
                <a:cxn ang="0">
                  <a:pos x="36" y="48"/>
                </a:cxn>
                <a:cxn ang="0">
                  <a:pos x="22" y="20"/>
                </a:cxn>
                <a:cxn ang="0">
                  <a:pos x="23" y="15"/>
                </a:cxn>
                <a:cxn ang="0">
                  <a:pos x="33" y="2"/>
                </a:cxn>
                <a:cxn ang="0">
                  <a:pos x="37" y="0"/>
                </a:cxn>
                <a:cxn ang="0">
                  <a:pos x="40" y="1"/>
                </a:cxn>
                <a:cxn ang="0">
                  <a:pos x="57" y="14"/>
                </a:cxn>
                <a:cxn ang="0">
                  <a:pos x="54" y="7"/>
                </a:cxn>
                <a:cxn ang="0">
                  <a:pos x="54" y="2"/>
                </a:cxn>
                <a:cxn ang="0">
                  <a:pos x="58" y="0"/>
                </a:cxn>
                <a:cxn ang="0">
                  <a:pos x="85" y="0"/>
                </a:cxn>
                <a:cxn ang="0">
                  <a:pos x="88" y="2"/>
                </a:cxn>
                <a:cxn ang="0">
                  <a:pos x="89" y="6"/>
                </a:cxn>
                <a:cxn ang="0">
                  <a:pos x="87" y="16"/>
                </a:cxn>
                <a:cxn ang="0">
                  <a:pos x="169" y="78"/>
                </a:cxn>
                <a:cxn ang="0">
                  <a:pos x="170" y="83"/>
                </a:cxn>
                <a:cxn ang="0">
                  <a:pos x="163" y="104"/>
                </a:cxn>
                <a:cxn ang="0">
                  <a:pos x="160" y="107"/>
                </a:cxn>
                <a:cxn ang="0">
                  <a:pos x="159" y="107"/>
                </a:cxn>
                <a:cxn ang="0">
                  <a:pos x="156" y="107"/>
                </a:cxn>
                <a:cxn ang="0">
                  <a:pos x="143" y="98"/>
                </a:cxn>
                <a:cxn ang="0">
                  <a:pos x="144" y="119"/>
                </a:cxn>
                <a:cxn ang="0">
                  <a:pos x="142" y="123"/>
                </a:cxn>
                <a:cxn ang="0">
                  <a:pos x="139" y="124"/>
                </a:cxn>
                <a:cxn ang="0">
                  <a:pos x="138" y="124"/>
                </a:cxn>
                <a:cxn ang="0">
                  <a:pos x="127" y="121"/>
                </a:cxn>
                <a:cxn ang="0">
                  <a:pos x="107" y="141"/>
                </a:cxn>
                <a:cxn ang="0">
                  <a:pos x="96" y="201"/>
                </a:cxn>
                <a:cxn ang="0">
                  <a:pos x="93" y="205"/>
                </a:cxn>
                <a:cxn ang="0">
                  <a:pos x="92" y="205"/>
                </a:cxn>
              </a:cxnLst>
              <a:rect l="0" t="0" r="r" b="b"/>
              <a:pathLst>
                <a:path w="172" h="206">
                  <a:moveTo>
                    <a:pt x="92" y="205"/>
                  </a:moveTo>
                  <a:cubicBezTo>
                    <a:pt x="90" y="205"/>
                    <a:pt x="89" y="205"/>
                    <a:pt x="88" y="204"/>
                  </a:cubicBezTo>
                  <a:lnTo>
                    <a:pt x="3" y="125"/>
                  </a:lnTo>
                  <a:cubicBezTo>
                    <a:pt x="3" y="125"/>
                    <a:pt x="3" y="125"/>
                    <a:pt x="2" y="125"/>
                  </a:cubicBezTo>
                  <a:cubicBezTo>
                    <a:pt x="0" y="123"/>
                    <a:pt x="0" y="120"/>
                    <a:pt x="2" y="118"/>
                  </a:cubicBezTo>
                  <a:lnTo>
                    <a:pt x="16" y="104"/>
                  </a:lnTo>
                  <a:lnTo>
                    <a:pt x="9" y="67"/>
                  </a:lnTo>
                  <a:cubicBezTo>
                    <a:pt x="8" y="65"/>
                    <a:pt x="9" y="63"/>
                    <a:pt x="11" y="62"/>
                  </a:cubicBezTo>
                  <a:lnTo>
                    <a:pt x="36" y="48"/>
                  </a:lnTo>
                  <a:lnTo>
                    <a:pt x="22" y="20"/>
                  </a:lnTo>
                  <a:cubicBezTo>
                    <a:pt x="21" y="19"/>
                    <a:pt x="22" y="17"/>
                    <a:pt x="23" y="15"/>
                  </a:cubicBezTo>
                  <a:lnTo>
                    <a:pt x="33" y="2"/>
                  </a:lnTo>
                  <a:cubicBezTo>
                    <a:pt x="34" y="1"/>
                    <a:pt x="36" y="0"/>
                    <a:pt x="37" y="0"/>
                  </a:cubicBezTo>
                  <a:cubicBezTo>
                    <a:pt x="38" y="0"/>
                    <a:pt x="39" y="1"/>
                    <a:pt x="40" y="1"/>
                  </a:cubicBezTo>
                  <a:lnTo>
                    <a:pt x="57" y="14"/>
                  </a:lnTo>
                  <a:lnTo>
                    <a:pt x="54" y="7"/>
                  </a:lnTo>
                  <a:cubicBezTo>
                    <a:pt x="53" y="5"/>
                    <a:pt x="53" y="4"/>
                    <a:pt x="54" y="2"/>
                  </a:cubicBezTo>
                  <a:cubicBezTo>
                    <a:pt x="55" y="1"/>
                    <a:pt x="57" y="0"/>
                    <a:pt x="58" y="0"/>
                  </a:cubicBezTo>
                  <a:lnTo>
                    <a:pt x="85" y="0"/>
                  </a:lnTo>
                  <a:cubicBezTo>
                    <a:pt x="86" y="0"/>
                    <a:pt x="87" y="1"/>
                    <a:pt x="88" y="2"/>
                  </a:cubicBezTo>
                  <a:cubicBezTo>
                    <a:pt x="89" y="3"/>
                    <a:pt x="90" y="4"/>
                    <a:pt x="89" y="6"/>
                  </a:cubicBezTo>
                  <a:lnTo>
                    <a:pt x="87" y="16"/>
                  </a:lnTo>
                  <a:lnTo>
                    <a:pt x="169" y="78"/>
                  </a:lnTo>
                  <a:cubicBezTo>
                    <a:pt x="170" y="79"/>
                    <a:pt x="171" y="81"/>
                    <a:pt x="170" y="83"/>
                  </a:cubicBezTo>
                  <a:lnTo>
                    <a:pt x="163" y="104"/>
                  </a:lnTo>
                  <a:cubicBezTo>
                    <a:pt x="163" y="106"/>
                    <a:pt x="162" y="107"/>
                    <a:pt x="160" y="107"/>
                  </a:cubicBezTo>
                  <a:lnTo>
                    <a:pt x="159" y="107"/>
                  </a:lnTo>
                  <a:cubicBezTo>
                    <a:pt x="158" y="107"/>
                    <a:pt x="157" y="107"/>
                    <a:pt x="156" y="107"/>
                  </a:cubicBezTo>
                  <a:lnTo>
                    <a:pt x="143" y="98"/>
                  </a:lnTo>
                  <a:lnTo>
                    <a:pt x="144" y="119"/>
                  </a:lnTo>
                  <a:cubicBezTo>
                    <a:pt x="144" y="120"/>
                    <a:pt x="143" y="122"/>
                    <a:pt x="142" y="123"/>
                  </a:cubicBezTo>
                  <a:cubicBezTo>
                    <a:pt x="141" y="123"/>
                    <a:pt x="140" y="124"/>
                    <a:pt x="139" y="124"/>
                  </a:cubicBezTo>
                  <a:lnTo>
                    <a:pt x="138" y="124"/>
                  </a:lnTo>
                  <a:lnTo>
                    <a:pt x="127" y="121"/>
                  </a:lnTo>
                  <a:lnTo>
                    <a:pt x="107" y="141"/>
                  </a:lnTo>
                  <a:lnTo>
                    <a:pt x="96" y="201"/>
                  </a:lnTo>
                  <a:cubicBezTo>
                    <a:pt x="96" y="203"/>
                    <a:pt x="95" y="204"/>
                    <a:pt x="93" y="205"/>
                  </a:cubicBezTo>
                  <a:lnTo>
                    <a:pt x="92" y="20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5" name="Freeform 350"/>
            <p:cNvSpPr>
              <a:spLocks noChangeArrowheads="1"/>
            </p:cNvSpPr>
            <p:nvPr/>
          </p:nvSpPr>
          <p:spPr bwMode="auto">
            <a:xfrm>
              <a:off x="4835525" y="2300288"/>
              <a:ext cx="50800" cy="47625"/>
            </a:xfrm>
            <a:custGeom>
              <a:avLst/>
              <a:gdLst/>
              <a:ahLst/>
              <a:cxnLst>
                <a:cxn ang="0">
                  <a:pos x="68" y="131"/>
                </a:cxn>
                <a:cxn ang="0">
                  <a:pos x="27" y="85"/>
                </a:cxn>
                <a:cxn ang="0">
                  <a:pos x="4" y="77"/>
                </a:cxn>
                <a:cxn ang="0">
                  <a:pos x="1" y="72"/>
                </a:cxn>
                <a:cxn ang="0">
                  <a:pos x="0" y="43"/>
                </a:cxn>
                <a:cxn ang="0">
                  <a:pos x="2" y="39"/>
                </a:cxn>
                <a:cxn ang="0">
                  <a:pos x="5" y="38"/>
                </a:cxn>
                <a:cxn ang="0">
                  <a:pos x="7" y="39"/>
                </a:cxn>
                <a:cxn ang="0">
                  <a:pos x="23" y="49"/>
                </a:cxn>
                <a:cxn ang="0">
                  <a:pos x="29" y="33"/>
                </a:cxn>
                <a:cxn ang="0">
                  <a:pos x="56" y="2"/>
                </a:cxn>
                <a:cxn ang="0">
                  <a:pos x="59" y="0"/>
                </a:cxn>
                <a:cxn ang="0">
                  <a:pos x="87" y="0"/>
                </a:cxn>
                <a:cxn ang="0">
                  <a:pos x="92" y="5"/>
                </a:cxn>
                <a:cxn ang="0">
                  <a:pos x="92" y="18"/>
                </a:cxn>
                <a:cxn ang="0">
                  <a:pos x="117" y="52"/>
                </a:cxn>
                <a:cxn ang="0">
                  <a:pos x="137" y="56"/>
                </a:cxn>
                <a:cxn ang="0">
                  <a:pos x="141" y="61"/>
                </a:cxn>
                <a:cxn ang="0">
                  <a:pos x="141" y="88"/>
                </a:cxn>
                <a:cxn ang="0">
                  <a:pos x="138" y="92"/>
                </a:cxn>
                <a:cxn ang="0">
                  <a:pos x="74" y="132"/>
                </a:cxn>
                <a:cxn ang="0">
                  <a:pos x="72" y="133"/>
                </a:cxn>
                <a:cxn ang="0">
                  <a:pos x="68" y="131"/>
                </a:cxn>
              </a:cxnLst>
              <a:rect l="0" t="0" r="r" b="b"/>
              <a:pathLst>
                <a:path w="142" h="134">
                  <a:moveTo>
                    <a:pt x="68" y="131"/>
                  </a:moveTo>
                  <a:lnTo>
                    <a:pt x="27" y="85"/>
                  </a:lnTo>
                  <a:lnTo>
                    <a:pt x="4" y="77"/>
                  </a:lnTo>
                  <a:cubicBezTo>
                    <a:pt x="3" y="76"/>
                    <a:pt x="1" y="74"/>
                    <a:pt x="1" y="72"/>
                  </a:cubicBezTo>
                  <a:lnTo>
                    <a:pt x="0" y="43"/>
                  </a:lnTo>
                  <a:cubicBezTo>
                    <a:pt x="0" y="41"/>
                    <a:pt x="1" y="40"/>
                    <a:pt x="2" y="39"/>
                  </a:cubicBezTo>
                  <a:cubicBezTo>
                    <a:pt x="3" y="38"/>
                    <a:pt x="4" y="38"/>
                    <a:pt x="5" y="38"/>
                  </a:cubicBezTo>
                  <a:cubicBezTo>
                    <a:pt x="5" y="38"/>
                    <a:pt x="6" y="38"/>
                    <a:pt x="7" y="39"/>
                  </a:cubicBezTo>
                  <a:lnTo>
                    <a:pt x="23" y="49"/>
                  </a:lnTo>
                  <a:lnTo>
                    <a:pt x="29" y="33"/>
                  </a:lnTo>
                  <a:lnTo>
                    <a:pt x="56" y="2"/>
                  </a:lnTo>
                  <a:cubicBezTo>
                    <a:pt x="57" y="1"/>
                    <a:pt x="58" y="0"/>
                    <a:pt x="59" y="0"/>
                  </a:cubicBezTo>
                  <a:lnTo>
                    <a:pt x="87" y="0"/>
                  </a:lnTo>
                  <a:cubicBezTo>
                    <a:pt x="90" y="0"/>
                    <a:pt x="92" y="2"/>
                    <a:pt x="92" y="5"/>
                  </a:cubicBezTo>
                  <a:lnTo>
                    <a:pt x="92" y="18"/>
                  </a:lnTo>
                  <a:lnTo>
                    <a:pt x="117" y="52"/>
                  </a:lnTo>
                  <a:lnTo>
                    <a:pt x="137" y="56"/>
                  </a:lnTo>
                  <a:cubicBezTo>
                    <a:pt x="139" y="57"/>
                    <a:pt x="141" y="58"/>
                    <a:pt x="141" y="61"/>
                  </a:cubicBezTo>
                  <a:lnTo>
                    <a:pt x="141" y="88"/>
                  </a:lnTo>
                  <a:cubicBezTo>
                    <a:pt x="141" y="89"/>
                    <a:pt x="140" y="91"/>
                    <a:pt x="138" y="92"/>
                  </a:cubicBezTo>
                  <a:lnTo>
                    <a:pt x="74" y="132"/>
                  </a:lnTo>
                  <a:cubicBezTo>
                    <a:pt x="74" y="133"/>
                    <a:pt x="73" y="133"/>
                    <a:pt x="72" y="133"/>
                  </a:cubicBezTo>
                  <a:cubicBezTo>
                    <a:pt x="71" y="133"/>
                    <a:pt x="69" y="132"/>
                    <a:pt x="68" y="13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6" name="Freeform 351"/>
            <p:cNvSpPr>
              <a:spLocks noChangeArrowheads="1"/>
            </p:cNvSpPr>
            <p:nvPr/>
          </p:nvSpPr>
          <p:spPr bwMode="auto">
            <a:xfrm>
              <a:off x="4835525" y="2300288"/>
              <a:ext cx="50800" cy="47625"/>
            </a:xfrm>
            <a:custGeom>
              <a:avLst/>
              <a:gdLst/>
              <a:ahLst/>
              <a:cxnLst>
                <a:cxn ang="0">
                  <a:pos x="72" y="133"/>
                </a:cxn>
                <a:cxn ang="0">
                  <a:pos x="68" y="131"/>
                </a:cxn>
                <a:cxn ang="0">
                  <a:pos x="27" y="85"/>
                </a:cxn>
                <a:cxn ang="0">
                  <a:pos x="4" y="77"/>
                </a:cxn>
                <a:cxn ang="0">
                  <a:pos x="1" y="72"/>
                </a:cxn>
                <a:cxn ang="0">
                  <a:pos x="0" y="43"/>
                </a:cxn>
                <a:cxn ang="0">
                  <a:pos x="2" y="39"/>
                </a:cxn>
                <a:cxn ang="0">
                  <a:pos x="5" y="38"/>
                </a:cxn>
                <a:cxn ang="0">
                  <a:pos x="7" y="39"/>
                </a:cxn>
                <a:cxn ang="0">
                  <a:pos x="23" y="49"/>
                </a:cxn>
                <a:cxn ang="0">
                  <a:pos x="29" y="33"/>
                </a:cxn>
                <a:cxn ang="0">
                  <a:pos x="56" y="2"/>
                </a:cxn>
                <a:cxn ang="0">
                  <a:pos x="59" y="0"/>
                </a:cxn>
                <a:cxn ang="0">
                  <a:pos x="87" y="0"/>
                </a:cxn>
                <a:cxn ang="0">
                  <a:pos x="92" y="5"/>
                </a:cxn>
                <a:cxn ang="0">
                  <a:pos x="92" y="18"/>
                </a:cxn>
                <a:cxn ang="0">
                  <a:pos x="117" y="52"/>
                </a:cxn>
                <a:cxn ang="0">
                  <a:pos x="137" y="56"/>
                </a:cxn>
                <a:cxn ang="0">
                  <a:pos x="141" y="61"/>
                </a:cxn>
                <a:cxn ang="0">
                  <a:pos x="141" y="88"/>
                </a:cxn>
                <a:cxn ang="0">
                  <a:pos x="138" y="92"/>
                </a:cxn>
                <a:cxn ang="0">
                  <a:pos x="74" y="132"/>
                </a:cxn>
                <a:cxn ang="0">
                  <a:pos x="72" y="133"/>
                </a:cxn>
              </a:cxnLst>
              <a:rect l="0" t="0" r="r" b="b"/>
              <a:pathLst>
                <a:path w="142" h="134">
                  <a:moveTo>
                    <a:pt x="72" y="133"/>
                  </a:moveTo>
                  <a:cubicBezTo>
                    <a:pt x="71" y="133"/>
                    <a:pt x="69" y="132"/>
                    <a:pt x="68" y="131"/>
                  </a:cubicBezTo>
                  <a:lnTo>
                    <a:pt x="27" y="85"/>
                  </a:lnTo>
                  <a:lnTo>
                    <a:pt x="4" y="77"/>
                  </a:lnTo>
                  <a:cubicBezTo>
                    <a:pt x="3" y="76"/>
                    <a:pt x="1" y="74"/>
                    <a:pt x="1" y="72"/>
                  </a:cubicBezTo>
                  <a:lnTo>
                    <a:pt x="0" y="43"/>
                  </a:lnTo>
                  <a:cubicBezTo>
                    <a:pt x="0" y="41"/>
                    <a:pt x="1" y="40"/>
                    <a:pt x="2" y="39"/>
                  </a:cubicBezTo>
                  <a:cubicBezTo>
                    <a:pt x="3" y="38"/>
                    <a:pt x="4" y="38"/>
                    <a:pt x="5" y="38"/>
                  </a:cubicBezTo>
                  <a:cubicBezTo>
                    <a:pt x="5" y="38"/>
                    <a:pt x="6" y="38"/>
                    <a:pt x="7" y="39"/>
                  </a:cubicBezTo>
                  <a:lnTo>
                    <a:pt x="23" y="49"/>
                  </a:lnTo>
                  <a:lnTo>
                    <a:pt x="29" y="33"/>
                  </a:lnTo>
                  <a:lnTo>
                    <a:pt x="56" y="2"/>
                  </a:lnTo>
                  <a:cubicBezTo>
                    <a:pt x="57" y="1"/>
                    <a:pt x="58" y="0"/>
                    <a:pt x="59" y="0"/>
                  </a:cubicBezTo>
                  <a:lnTo>
                    <a:pt x="87" y="0"/>
                  </a:lnTo>
                  <a:cubicBezTo>
                    <a:pt x="90" y="0"/>
                    <a:pt x="92" y="2"/>
                    <a:pt x="92" y="5"/>
                  </a:cubicBezTo>
                  <a:lnTo>
                    <a:pt x="92" y="18"/>
                  </a:lnTo>
                  <a:lnTo>
                    <a:pt x="117" y="52"/>
                  </a:lnTo>
                  <a:lnTo>
                    <a:pt x="137" y="56"/>
                  </a:lnTo>
                  <a:cubicBezTo>
                    <a:pt x="139" y="57"/>
                    <a:pt x="141" y="58"/>
                    <a:pt x="141" y="61"/>
                  </a:cubicBezTo>
                  <a:lnTo>
                    <a:pt x="141" y="88"/>
                  </a:lnTo>
                  <a:cubicBezTo>
                    <a:pt x="141" y="89"/>
                    <a:pt x="140" y="91"/>
                    <a:pt x="138" y="92"/>
                  </a:cubicBezTo>
                  <a:lnTo>
                    <a:pt x="74" y="132"/>
                  </a:lnTo>
                  <a:cubicBezTo>
                    <a:pt x="74" y="133"/>
                    <a:pt x="73" y="133"/>
                    <a:pt x="72" y="13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7" name="Freeform 352"/>
            <p:cNvSpPr>
              <a:spLocks noChangeArrowheads="1"/>
            </p:cNvSpPr>
            <p:nvPr/>
          </p:nvSpPr>
          <p:spPr bwMode="auto">
            <a:xfrm>
              <a:off x="3963988" y="2281238"/>
              <a:ext cx="381000" cy="301625"/>
            </a:xfrm>
            <a:custGeom>
              <a:avLst/>
              <a:gdLst/>
              <a:ahLst/>
              <a:cxnLst>
                <a:cxn ang="0">
                  <a:pos x="275" y="813"/>
                </a:cxn>
                <a:cxn ang="0">
                  <a:pos x="161" y="712"/>
                </a:cxn>
                <a:cxn ang="0">
                  <a:pos x="153" y="665"/>
                </a:cxn>
                <a:cxn ang="0">
                  <a:pos x="195" y="622"/>
                </a:cxn>
                <a:cxn ang="0">
                  <a:pos x="170" y="570"/>
                </a:cxn>
                <a:cxn ang="0">
                  <a:pos x="162" y="455"/>
                </a:cxn>
                <a:cxn ang="0">
                  <a:pos x="204" y="417"/>
                </a:cxn>
                <a:cxn ang="0">
                  <a:pos x="208" y="301"/>
                </a:cxn>
                <a:cxn ang="0">
                  <a:pos x="240" y="208"/>
                </a:cxn>
                <a:cxn ang="0">
                  <a:pos x="111" y="210"/>
                </a:cxn>
                <a:cxn ang="0">
                  <a:pos x="46" y="220"/>
                </a:cxn>
                <a:cxn ang="0">
                  <a:pos x="41" y="220"/>
                </a:cxn>
                <a:cxn ang="0">
                  <a:pos x="50" y="164"/>
                </a:cxn>
                <a:cxn ang="0">
                  <a:pos x="43" y="166"/>
                </a:cxn>
                <a:cxn ang="0">
                  <a:pos x="30" y="142"/>
                </a:cxn>
                <a:cxn ang="0">
                  <a:pos x="38" y="120"/>
                </a:cxn>
                <a:cxn ang="0">
                  <a:pos x="2" y="78"/>
                </a:cxn>
                <a:cxn ang="0">
                  <a:pos x="30" y="47"/>
                </a:cxn>
                <a:cxn ang="0">
                  <a:pos x="94" y="3"/>
                </a:cxn>
                <a:cxn ang="0">
                  <a:pos x="628" y="34"/>
                </a:cxn>
                <a:cxn ang="0">
                  <a:pos x="811" y="119"/>
                </a:cxn>
                <a:cxn ang="0">
                  <a:pos x="888" y="119"/>
                </a:cxn>
                <a:cxn ang="0">
                  <a:pos x="908" y="133"/>
                </a:cxn>
                <a:cxn ang="0">
                  <a:pos x="914" y="132"/>
                </a:cxn>
                <a:cxn ang="0">
                  <a:pos x="1035" y="144"/>
                </a:cxn>
                <a:cxn ang="0">
                  <a:pos x="1056" y="163"/>
                </a:cxn>
                <a:cxn ang="0">
                  <a:pos x="847" y="330"/>
                </a:cxn>
                <a:cxn ang="0">
                  <a:pos x="763" y="518"/>
                </a:cxn>
                <a:cxn ang="0">
                  <a:pos x="798" y="544"/>
                </a:cxn>
                <a:cxn ang="0">
                  <a:pos x="746" y="601"/>
                </a:cxn>
                <a:cxn ang="0">
                  <a:pos x="718" y="674"/>
                </a:cxn>
                <a:cxn ang="0">
                  <a:pos x="615" y="756"/>
                </a:cxn>
                <a:cxn ang="0">
                  <a:pos x="416" y="763"/>
                </a:cxn>
                <a:cxn ang="0">
                  <a:pos x="327" y="835"/>
                </a:cxn>
              </a:cxnLst>
              <a:rect l="0" t="0" r="r" b="b"/>
              <a:pathLst>
                <a:path w="1058" h="836">
                  <a:moveTo>
                    <a:pt x="325" y="834"/>
                  </a:moveTo>
                  <a:lnTo>
                    <a:pt x="275" y="813"/>
                  </a:lnTo>
                  <a:lnTo>
                    <a:pt x="227" y="728"/>
                  </a:lnTo>
                  <a:lnTo>
                    <a:pt x="161" y="712"/>
                  </a:lnTo>
                  <a:cubicBezTo>
                    <a:pt x="159" y="711"/>
                    <a:pt x="158" y="710"/>
                    <a:pt x="157" y="708"/>
                  </a:cubicBezTo>
                  <a:lnTo>
                    <a:pt x="153" y="665"/>
                  </a:lnTo>
                  <a:cubicBezTo>
                    <a:pt x="153" y="664"/>
                    <a:pt x="153" y="663"/>
                    <a:pt x="155" y="661"/>
                  </a:cubicBezTo>
                  <a:lnTo>
                    <a:pt x="195" y="622"/>
                  </a:lnTo>
                  <a:lnTo>
                    <a:pt x="170" y="574"/>
                  </a:lnTo>
                  <a:cubicBezTo>
                    <a:pt x="170" y="573"/>
                    <a:pt x="170" y="572"/>
                    <a:pt x="170" y="570"/>
                  </a:cubicBezTo>
                  <a:lnTo>
                    <a:pt x="187" y="515"/>
                  </a:lnTo>
                  <a:lnTo>
                    <a:pt x="162" y="455"/>
                  </a:lnTo>
                  <a:cubicBezTo>
                    <a:pt x="161" y="453"/>
                    <a:pt x="162" y="451"/>
                    <a:pt x="163" y="450"/>
                  </a:cubicBezTo>
                  <a:lnTo>
                    <a:pt x="204" y="417"/>
                  </a:lnTo>
                  <a:lnTo>
                    <a:pt x="200" y="386"/>
                  </a:lnTo>
                  <a:lnTo>
                    <a:pt x="208" y="301"/>
                  </a:lnTo>
                  <a:lnTo>
                    <a:pt x="254" y="237"/>
                  </a:lnTo>
                  <a:lnTo>
                    <a:pt x="240" y="208"/>
                  </a:lnTo>
                  <a:lnTo>
                    <a:pt x="115" y="213"/>
                  </a:lnTo>
                  <a:cubicBezTo>
                    <a:pt x="114" y="213"/>
                    <a:pt x="112" y="212"/>
                    <a:pt x="111" y="210"/>
                  </a:cubicBezTo>
                  <a:lnTo>
                    <a:pt x="101" y="189"/>
                  </a:lnTo>
                  <a:lnTo>
                    <a:pt x="46" y="220"/>
                  </a:lnTo>
                  <a:cubicBezTo>
                    <a:pt x="45" y="221"/>
                    <a:pt x="44" y="221"/>
                    <a:pt x="43" y="221"/>
                  </a:cubicBezTo>
                  <a:cubicBezTo>
                    <a:pt x="42" y="221"/>
                    <a:pt x="41" y="221"/>
                    <a:pt x="41" y="220"/>
                  </a:cubicBezTo>
                  <a:cubicBezTo>
                    <a:pt x="39" y="219"/>
                    <a:pt x="38" y="217"/>
                    <a:pt x="39" y="215"/>
                  </a:cubicBezTo>
                  <a:lnTo>
                    <a:pt x="50" y="164"/>
                  </a:lnTo>
                  <a:lnTo>
                    <a:pt x="45" y="166"/>
                  </a:lnTo>
                  <a:cubicBezTo>
                    <a:pt x="44" y="166"/>
                    <a:pt x="44" y="166"/>
                    <a:pt x="43" y="166"/>
                  </a:cubicBezTo>
                  <a:cubicBezTo>
                    <a:pt x="42" y="166"/>
                    <a:pt x="40" y="165"/>
                    <a:pt x="39" y="163"/>
                  </a:cubicBezTo>
                  <a:lnTo>
                    <a:pt x="30" y="142"/>
                  </a:lnTo>
                  <a:cubicBezTo>
                    <a:pt x="30" y="141"/>
                    <a:pt x="30" y="140"/>
                    <a:pt x="30" y="138"/>
                  </a:cubicBezTo>
                  <a:lnTo>
                    <a:pt x="38" y="120"/>
                  </a:lnTo>
                  <a:lnTo>
                    <a:pt x="2" y="84"/>
                  </a:lnTo>
                  <a:cubicBezTo>
                    <a:pt x="0" y="83"/>
                    <a:pt x="0" y="80"/>
                    <a:pt x="2" y="78"/>
                  </a:cubicBezTo>
                  <a:lnTo>
                    <a:pt x="27" y="48"/>
                  </a:lnTo>
                  <a:cubicBezTo>
                    <a:pt x="28" y="47"/>
                    <a:pt x="29" y="47"/>
                    <a:pt x="30" y="47"/>
                  </a:cubicBezTo>
                  <a:lnTo>
                    <a:pt x="74" y="43"/>
                  </a:lnTo>
                  <a:lnTo>
                    <a:pt x="94" y="3"/>
                  </a:lnTo>
                  <a:cubicBezTo>
                    <a:pt x="95" y="1"/>
                    <a:pt x="97" y="0"/>
                    <a:pt x="99" y="0"/>
                  </a:cubicBezTo>
                  <a:lnTo>
                    <a:pt x="628" y="34"/>
                  </a:lnTo>
                  <a:lnTo>
                    <a:pt x="720" y="103"/>
                  </a:lnTo>
                  <a:lnTo>
                    <a:pt x="811" y="119"/>
                  </a:lnTo>
                  <a:lnTo>
                    <a:pt x="847" y="106"/>
                  </a:lnTo>
                  <a:lnTo>
                    <a:pt x="888" y="119"/>
                  </a:lnTo>
                  <a:lnTo>
                    <a:pt x="903" y="140"/>
                  </a:lnTo>
                  <a:lnTo>
                    <a:pt x="908" y="133"/>
                  </a:lnTo>
                  <a:cubicBezTo>
                    <a:pt x="909" y="132"/>
                    <a:pt x="910" y="131"/>
                    <a:pt x="912" y="131"/>
                  </a:cubicBezTo>
                  <a:cubicBezTo>
                    <a:pt x="913" y="131"/>
                    <a:pt x="913" y="131"/>
                    <a:pt x="914" y="132"/>
                  </a:cubicBezTo>
                  <a:lnTo>
                    <a:pt x="948" y="149"/>
                  </a:lnTo>
                  <a:lnTo>
                    <a:pt x="1035" y="144"/>
                  </a:lnTo>
                  <a:lnTo>
                    <a:pt x="1055" y="158"/>
                  </a:lnTo>
                  <a:cubicBezTo>
                    <a:pt x="1056" y="159"/>
                    <a:pt x="1057" y="161"/>
                    <a:pt x="1056" y="163"/>
                  </a:cubicBezTo>
                  <a:lnTo>
                    <a:pt x="1035" y="218"/>
                  </a:lnTo>
                  <a:lnTo>
                    <a:pt x="847" y="330"/>
                  </a:lnTo>
                  <a:lnTo>
                    <a:pt x="756" y="479"/>
                  </a:lnTo>
                  <a:lnTo>
                    <a:pt x="763" y="518"/>
                  </a:lnTo>
                  <a:lnTo>
                    <a:pt x="796" y="538"/>
                  </a:lnTo>
                  <a:cubicBezTo>
                    <a:pt x="798" y="539"/>
                    <a:pt x="799" y="542"/>
                    <a:pt x="798" y="544"/>
                  </a:cubicBezTo>
                  <a:lnTo>
                    <a:pt x="789" y="561"/>
                  </a:lnTo>
                  <a:lnTo>
                    <a:pt x="746" y="601"/>
                  </a:lnTo>
                  <a:lnTo>
                    <a:pt x="722" y="670"/>
                  </a:lnTo>
                  <a:cubicBezTo>
                    <a:pt x="721" y="672"/>
                    <a:pt x="719" y="673"/>
                    <a:pt x="718" y="674"/>
                  </a:cubicBezTo>
                  <a:lnTo>
                    <a:pt x="673" y="678"/>
                  </a:lnTo>
                  <a:lnTo>
                    <a:pt x="615" y="756"/>
                  </a:lnTo>
                  <a:cubicBezTo>
                    <a:pt x="614" y="757"/>
                    <a:pt x="613" y="758"/>
                    <a:pt x="611" y="758"/>
                  </a:cubicBezTo>
                  <a:lnTo>
                    <a:pt x="416" y="763"/>
                  </a:lnTo>
                  <a:lnTo>
                    <a:pt x="330" y="833"/>
                  </a:lnTo>
                  <a:cubicBezTo>
                    <a:pt x="329" y="834"/>
                    <a:pt x="328" y="835"/>
                    <a:pt x="327" y="835"/>
                  </a:cubicBezTo>
                  <a:cubicBezTo>
                    <a:pt x="327" y="835"/>
                    <a:pt x="326" y="834"/>
                    <a:pt x="325" y="83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8" name="Freeform 353"/>
            <p:cNvSpPr>
              <a:spLocks noChangeArrowheads="1"/>
            </p:cNvSpPr>
            <p:nvPr/>
          </p:nvSpPr>
          <p:spPr bwMode="auto">
            <a:xfrm>
              <a:off x="3963988" y="2281238"/>
              <a:ext cx="381000" cy="301625"/>
            </a:xfrm>
            <a:custGeom>
              <a:avLst/>
              <a:gdLst/>
              <a:ahLst/>
              <a:cxnLst>
                <a:cxn ang="0">
                  <a:pos x="325" y="834"/>
                </a:cxn>
                <a:cxn ang="0">
                  <a:pos x="227" y="728"/>
                </a:cxn>
                <a:cxn ang="0">
                  <a:pos x="157" y="708"/>
                </a:cxn>
                <a:cxn ang="0">
                  <a:pos x="155" y="661"/>
                </a:cxn>
                <a:cxn ang="0">
                  <a:pos x="170" y="574"/>
                </a:cxn>
                <a:cxn ang="0">
                  <a:pos x="187" y="515"/>
                </a:cxn>
                <a:cxn ang="0">
                  <a:pos x="163" y="450"/>
                </a:cxn>
                <a:cxn ang="0">
                  <a:pos x="200" y="386"/>
                </a:cxn>
                <a:cxn ang="0">
                  <a:pos x="254" y="237"/>
                </a:cxn>
                <a:cxn ang="0">
                  <a:pos x="115" y="213"/>
                </a:cxn>
                <a:cxn ang="0">
                  <a:pos x="101" y="189"/>
                </a:cxn>
                <a:cxn ang="0">
                  <a:pos x="43" y="221"/>
                </a:cxn>
                <a:cxn ang="0">
                  <a:pos x="39" y="215"/>
                </a:cxn>
                <a:cxn ang="0">
                  <a:pos x="45" y="166"/>
                </a:cxn>
                <a:cxn ang="0">
                  <a:pos x="39" y="163"/>
                </a:cxn>
                <a:cxn ang="0">
                  <a:pos x="30" y="138"/>
                </a:cxn>
                <a:cxn ang="0">
                  <a:pos x="2" y="84"/>
                </a:cxn>
                <a:cxn ang="0">
                  <a:pos x="27" y="48"/>
                </a:cxn>
                <a:cxn ang="0">
                  <a:pos x="74" y="43"/>
                </a:cxn>
                <a:cxn ang="0">
                  <a:pos x="99" y="0"/>
                </a:cxn>
                <a:cxn ang="0">
                  <a:pos x="720" y="103"/>
                </a:cxn>
                <a:cxn ang="0">
                  <a:pos x="847" y="106"/>
                </a:cxn>
                <a:cxn ang="0">
                  <a:pos x="903" y="140"/>
                </a:cxn>
                <a:cxn ang="0">
                  <a:pos x="912" y="131"/>
                </a:cxn>
                <a:cxn ang="0">
                  <a:pos x="948" y="149"/>
                </a:cxn>
                <a:cxn ang="0">
                  <a:pos x="1055" y="158"/>
                </a:cxn>
                <a:cxn ang="0">
                  <a:pos x="1035" y="218"/>
                </a:cxn>
                <a:cxn ang="0">
                  <a:pos x="756" y="479"/>
                </a:cxn>
                <a:cxn ang="0">
                  <a:pos x="796" y="538"/>
                </a:cxn>
                <a:cxn ang="0">
                  <a:pos x="789" y="561"/>
                </a:cxn>
                <a:cxn ang="0">
                  <a:pos x="722" y="670"/>
                </a:cxn>
                <a:cxn ang="0">
                  <a:pos x="673" y="678"/>
                </a:cxn>
                <a:cxn ang="0">
                  <a:pos x="611" y="758"/>
                </a:cxn>
                <a:cxn ang="0">
                  <a:pos x="330" y="833"/>
                </a:cxn>
              </a:cxnLst>
              <a:rect l="0" t="0" r="r" b="b"/>
              <a:pathLst>
                <a:path w="1058" h="836">
                  <a:moveTo>
                    <a:pt x="327" y="835"/>
                  </a:moveTo>
                  <a:cubicBezTo>
                    <a:pt x="327" y="835"/>
                    <a:pt x="326" y="834"/>
                    <a:pt x="325" y="834"/>
                  </a:cubicBezTo>
                  <a:lnTo>
                    <a:pt x="275" y="813"/>
                  </a:lnTo>
                  <a:lnTo>
                    <a:pt x="227" y="728"/>
                  </a:lnTo>
                  <a:lnTo>
                    <a:pt x="161" y="712"/>
                  </a:lnTo>
                  <a:cubicBezTo>
                    <a:pt x="159" y="711"/>
                    <a:pt x="158" y="710"/>
                    <a:pt x="157" y="708"/>
                  </a:cubicBezTo>
                  <a:lnTo>
                    <a:pt x="153" y="665"/>
                  </a:lnTo>
                  <a:cubicBezTo>
                    <a:pt x="153" y="664"/>
                    <a:pt x="153" y="663"/>
                    <a:pt x="155" y="661"/>
                  </a:cubicBezTo>
                  <a:lnTo>
                    <a:pt x="195" y="622"/>
                  </a:lnTo>
                  <a:lnTo>
                    <a:pt x="170" y="574"/>
                  </a:lnTo>
                  <a:cubicBezTo>
                    <a:pt x="170" y="573"/>
                    <a:pt x="170" y="572"/>
                    <a:pt x="170" y="570"/>
                  </a:cubicBezTo>
                  <a:lnTo>
                    <a:pt x="187" y="515"/>
                  </a:lnTo>
                  <a:lnTo>
                    <a:pt x="162" y="455"/>
                  </a:lnTo>
                  <a:cubicBezTo>
                    <a:pt x="161" y="453"/>
                    <a:pt x="162" y="451"/>
                    <a:pt x="163" y="450"/>
                  </a:cubicBezTo>
                  <a:lnTo>
                    <a:pt x="204" y="417"/>
                  </a:lnTo>
                  <a:lnTo>
                    <a:pt x="200" y="386"/>
                  </a:lnTo>
                  <a:lnTo>
                    <a:pt x="208" y="301"/>
                  </a:lnTo>
                  <a:lnTo>
                    <a:pt x="254" y="237"/>
                  </a:lnTo>
                  <a:lnTo>
                    <a:pt x="240" y="208"/>
                  </a:lnTo>
                  <a:lnTo>
                    <a:pt x="115" y="213"/>
                  </a:lnTo>
                  <a:cubicBezTo>
                    <a:pt x="114" y="213"/>
                    <a:pt x="112" y="212"/>
                    <a:pt x="111" y="210"/>
                  </a:cubicBezTo>
                  <a:lnTo>
                    <a:pt x="101" y="189"/>
                  </a:lnTo>
                  <a:lnTo>
                    <a:pt x="46" y="220"/>
                  </a:lnTo>
                  <a:cubicBezTo>
                    <a:pt x="45" y="221"/>
                    <a:pt x="44" y="221"/>
                    <a:pt x="43" y="221"/>
                  </a:cubicBezTo>
                  <a:cubicBezTo>
                    <a:pt x="42" y="221"/>
                    <a:pt x="41" y="221"/>
                    <a:pt x="41" y="220"/>
                  </a:cubicBezTo>
                  <a:cubicBezTo>
                    <a:pt x="39" y="219"/>
                    <a:pt x="38" y="217"/>
                    <a:pt x="39" y="215"/>
                  </a:cubicBezTo>
                  <a:lnTo>
                    <a:pt x="50" y="164"/>
                  </a:lnTo>
                  <a:lnTo>
                    <a:pt x="45" y="166"/>
                  </a:lnTo>
                  <a:cubicBezTo>
                    <a:pt x="44" y="166"/>
                    <a:pt x="44" y="166"/>
                    <a:pt x="43" y="166"/>
                  </a:cubicBezTo>
                  <a:cubicBezTo>
                    <a:pt x="42" y="166"/>
                    <a:pt x="40" y="165"/>
                    <a:pt x="39" y="163"/>
                  </a:cubicBezTo>
                  <a:lnTo>
                    <a:pt x="30" y="142"/>
                  </a:lnTo>
                  <a:cubicBezTo>
                    <a:pt x="30" y="141"/>
                    <a:pt x="30" y="140"/>
                    <a:pt x="30" y="138"/>
                  </a:cubicBezTo>
                  <a:lnTo>
                    <a:pt x="38" y="120"/>
                  </a:lnTo>
                  <a:lnTo>
                    <a:pt x="2" y="84"/>
                  </a:lnTo>
                  <a:cubicBezTo>
                    <a:pt x="0" y="83"/>
                    <a:pt x="0" y="80"/>
                    <a:pt x="2" y="78"/>
                  </a:cubicBezTo>
                  <a:lnTo>
                    <a:pt x="27" y="48"/>
                  </a:lnTo>
                  <a:cubicBezTo>
                    <a:pt x="28" y="47"/>
                    <a:pt x="29" y="47"/>
                    <a:pt x="30" y="47"/>
                  </a:cubicBezTo>
                  <a:lnTo>
                    <a:pt x="74" y="43"/>
                  </a:lnTo>
                  <a:lnTo>
                    <a:pt x="94" y="3"/>
                  </a:lnTo>
                  <a:cubicBezTo>
                    <a:pt x="95" y="1"/>
                    <a:pt x="97" y="0"/>
                    <a:pt x="99" y="0"/>
                  </a:cubicBezTo>
                  <a:lnTo>
                    <a:pt x="628" y="34"/>
                  </a:lnTo>
                  <a:lnTo>
                    <a:pt x="720" y="103"/>
                  </a:lnTo>
                  <a:lnTo>
                    <a:pt x="811" y="119"/>
                  </a:lnTo>
                  <a:lnTo>
                    <a:pt x="847" y="106"/>
                  </a:lnTo>
                  <a:lnTo>
                    <a:pt x="888" y="119"/>
                  </a:lnTo>
                  <a:lnTo>
                    <a:pt x="903" y="140"/>
                  </a:lnTo>
                  <a:lnTo>
                    <a:pt x="908" y="133"/>
                  </a:lnTo>
                  <a:cubicBezTo>
                    <a:pt x="909" y="132"/>
                    <a:pt x="910" y="131"/>
                    <a:pt x="912" y="131"/>
                  </a:cubicBezTo>
                  <a:cubicBezTo>
                    <a:pt x="913" y="131"/>
                    <a:pt x="913" y="131"/>
                    <a:pt x="914" y="132"/>
                  </a:cubicBezTo>
                  <a:lnTo>
                    <a:pt x="948" y="149"/>
                  </a:lnTo>
                  <a:lnTo>
                    <a:pt x="1035" y="144"/>
                  </a:lnTo>
                  <a:lnTo>
                    <a:pt x="1055" y="158"/>
                  </a:lnTo>
                  <a:cubicBezTo>
                    <a:pt x="1056" y="159"/>
                    <a:pt x="1057" y="161"/>
                    <a:pt x="1056" y="163"/>
                  </a:cubicBezTo>
                  <a:lnTo>
                    <a:pt x="1035" y="218"/>
                  </a:lnTo>
                  <a:lnTo>
                    <a:pt x="847" y="330"/>
                  </a:lnTo>
                  <a:lnTo>
                    <a:pt x="756" y="479"/>
                  </a:lnTo>
                  <a:lnTo>
                    <a:pt x="763" y="518"/>
                  </a:lnTo>
                  <a:lnTo>
                    <a:pt x="796" y="538"/>
                  </a:lnTo>
                  <a:cubicBezTo>
                    <a:pt x="798" y="539"/>
                    <a:pt x="799" y="542"/>
                    <a:pt x="798" y="544"/>
                  </a:cubicBezTo>
                  <a:lnTo>
                    <a:pt x="789" y="561"/>
                  </a:lnTo>
                  <a:lnTo>
                    <a:pt x="746" y="601"/>
                  </a:lnTo>
                  <a:lnTo>
                    <a:pt x="722" y="670"/>
                  </a:lnTo>
                  <a:cubicBezTo>
                    <a:pt x="721" y="672"/>
                    <a:pt x="719" y="673"/>
                    <a:pt x="718" y="674"/>
                  </a:cubicBezTo>
                  <a:lnTo>
                    <a:pt x="673" y="678"/>
                  </a:lnTo>
                  <a:lnTo>
                    <a:pt x="615" y="756"/>
                  </a:lnTo>
                  <a:cubicBezTo>
                    <a:pt x="614" y="757"/>
                    <a:pt x="613" y="758"/>
                    <a:pt x="611" y="758"/>
                  </a:cubicBezTo>
                  <a:lnTo>
                    <a:pt x="416" y="763"/>
                  </a:lnTo>
                  <a:lnTo>
                    <a:pt x="330" y="833"/>
                  </a:lnTo>
                  <a:cubicBezTo>
                    <a:pt x="329" y="834"/>
                    <a:pt x="328" y="835"/>
                    <a:pt x="327" y="83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59" name="Freeform 354"/>
            <p:cNvSpPr>
              <a:spLocks noChangeArrowheads="1"/>
            </p:cNvSpPr>
            <p:nvPr/>
          </p:nvSpPr>
          <p:spPr bwMode="auto">
            <a:xfrm>
              <a:off x="4279900" y="2463800"/>
              <a:ext cx="11113" cy="11113"/>
            </a:xfrm>
            <a:custGeom>
              <a:avLst/>
              <a:gdLst/>
              <a:ahLst/>
              <a:cxnLst>
                <a:cxn ang="0">
                  <a:pos x="4" y="26"/>
                </a:cxn>
                <a:cxn ang="0">
                  <a:pos x="1" y="22"/>
                </a:cxn>
                <a:cxn ang="0">
                  <a:pos x="2" y="18"/>
                </a:cxn>
                <a:cxn ang="0">
                  <a:pos x="23" y="1"/>
                </a:cxn>
                <a:cxn ang="0">
                  <a:pos x="26" y="0"/>
                </a:cxn>
                <a:cxn ang="0">
                  <a:pos x="29" y="1"/>
                </a:cxn>
                <a:cxn ang="0">
                  <a:pos x="31" y="6"/>
                </a:cxn>
                <a:cxn ang="0">
                  <a:pos x="22" y="27"/>
                </a:cxn>
                <a:cxn ang="0">
                  <a:pos x="18" y="30"/>
                </a:cxn>
                <a:cxn ang="0">
                  <a:pos x="16" y="30"/>
                </a:cxn>
                <a:cxn ang="0">
                  <a:pos x="4" y="26"/>
                </a:cxn>
              </a:cxnLst>
              <a:rect l="0" t="0" r="r" b="b"/>
              <a:pathLst>
                <a:path w="33" h="31">
                  <a:moveTo>
                    <a:pt x="4" y="26"/>
                  </a:moveTo>
                  <a:cubicBezTo>
                    <a:pt x="2" y="25"/>
                    <a:pt x="1" y="24"/>
                    <a:pt x="1" y="22"/>
                  </a:cubicBezTo>
                  <a:cubicBezTo>
                    <a:pt x="0" y="21"/>
                    <a:pt x="1" y="19"/>
                    <a:pt x="2" y="18"/>
                  </a:cubicBezTo>
                  <a:lnTo>
                    <a:pt x="23" y="1"/>
                  </a:lnTo>
                  <a:cubicBezTo>
                    <a:pt x="24" y="0"/>
                    <a:pt x="25" y="0"/>
                    <a:pt x="26" y="0"/>
                  </a:cubicBezTo>
                  <a:cubicBezTo>
                    <a:pt x="27" y="0"/>
                    <a:pt x="28" y="0"/>
                    <a:pt x="29" y="1"/>
                  </a:cubicBezTo>
                  <a:cubicBezTo>
                    <a:pt x="31" y="2"/>
                    <a:pt x="32" y="4"/>
                    <a:pt x="31" y="6"/>
                  </a:cubicBezTo>
                  <a:lnTo>
                    <a:pt x="22" y="27"/>
                  </a:lnTo>
                  <a:cubicBezTo>
                    <a:pt x="22" y="29"/>
                    <a:pt x="20" y="30"/>
                    <a:pt x="18" y="30"/>
                  </a:cubicBezTo>
                  <a:cubicBezTo>
                    <a:pt x="18" y="30"/>
                    <a:pt x="17" y="30"/>
                    <a:pt x="16" y="30"/>
                  </a:cubicBezTo>
                  <a:lnTo>
                    <a:pt x="4"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0" name="Freeform 355"/>
            <p:cNvSpPr>
              <a:spLocks noChangeArrowheads="1"/>
            </p:cNvSpPr>
            <p:nvPr/>
          </p:nvSpPr>
          <p:spPr bwMode="auto">
            <a:xfrm>
              <a:off x="4279900" y="2463800"/>
              <a:ext cx="11113" cy="11113"/>
            </a:xfrm>
            <a:custGeom>
              <a:avLst/>
              <a:gdLst/>
              <a:ahLst/>
              <a:cxnLst>
                <a:cxn ang="0">
                  <a:pos x="16" y="30"/>
                </a:cxn>
                <a:cxn ang="0">
                  <a:pos x="4" y="26"/>
                </a:cxn>
                <a:cxn ang="0">
                  <a:pos x="1" y="22"/>
                </a:cxn>
                <a:cxn ang="0">
                  <a:pos x="2" y="18"/>
                </a:cxn>
                <a:cxn ang="0">
                  <a:pos x="23" y="1"/>
                </a:cxn>
                <a:cxn ang="0">
                  <a:pos x="26" y="0"/>
                </a:cxn>
                <a:cxn ang="0">
                  <a:pos x="29" y="1"/>
                </a:cxn>
                <a:cxn ang="0">
                  <a:pos x="31" y="6"/>
                </a:cxn>
                <a:cxn ang="0">
                  <a:pos x="22" y="27"/>
                </a:cxn>
                <a:cxn ang="0">
                  <a:pos x="18" y="30"/>
                </a:cxn>
                <a:cxn ang="0">
                  <a:pos x="16" y="30"/>
                </a:cxn>
              </a:cxnLst>
              <a:rect l="0" t="0" r="r" b="b"/>
              <a:pathLst>
                <a:path w="33" h="31">
                  <a:moveTo>
                    <a:pt x="16" y="30"/>
                  </a:moveTo>
                  <a:lnTo>
                    <a:pt x="4" y="26"/>
                  </a:lnTo>
                  <a:cubicBezTo>
                    <a:pt x="2" y="25"/>
                    <a:pt x="1" y="24"/>
                    <a:pt x="1" y="22"/>
                  </a:cubicBezTo>
                  <a:cubicBezTo>
                    <a:pt x="0" y="21"/>
                    <a:pt x="1" y="19"/>
                    <a:pt x="2" y="18"/>
                  </a:cubicBezTo>
                  <a:lnTo>
                    <a:pt x="23" y="1"/>
                  </a:lnTo>
                  <a:cubicBezTo>
                    <a:pt x="24" y="0"/>
                    <a:pt x="25" y="0"/>
                    <a:pt x="26" y="0"/>
                  </a:cubicBezTo>
                  <a:cubicBezTo>
                    <a:pt x="27" y="0"/>
                    <a:pt x="28" y="0"/>
                    <a:pt x="29" y="1"/>
                  </a:cubicBezTo>
                  <a:cubicBezTo>
                    <a:pt x="31" y="2"/>
                    <a:pt x="32" y="4"/>
                    <a:pt x="31" y="6"/>
                  </a:cubicBezTo>
                  <a:lnTo>
                    <a:pt x="22" y="27"/>
                  </a:lnTo>
                  <a:cubicBezTo>
                    <a:pt x="22" y="29"/>
                    <a:pt x="20" y="30"/>
                    <a:pt x="18" y="30"/>
                  </a:cubicBezTo>
                  <a:cubicBezTo>
                    <a:pt x="18" y="30"/>
                    <a:pt x="17" y="30"/>
                    <a:pt x="16" y="3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1" name="Freeform 356"/>
            <p:cNvSpPr>
              <a:spLocks noChangeArrowheads="1"/>
            </p:cNvSpPr>
            <p:nvPr/>
          </p:nvSpPr>
          <p:spPr bwMode="auto">
            <a:xfrm>
              <a:off x="4357688" y="2427288"/>
              <a:ext cx="15875" cy="9525"/>
            </a:xfrm>
            <a:custGeom>
              <a:avLst/>
              <a:gdLst/>
              <a:ahLst/>
              <a:cxnLst>
                <a:cxn ang="0">
                  <a:pos x="37" y="26"/>
                </a:cxn>
                <a:cxn ang="0">
                  <a:pos x="3" y="9"/>
                </a:cxn>
                <a:cxn ang="0">
                  <a:pos x="1" y="4"/>
                </a:cxn>
                <a:cxn ang="0">
                  <a:pos x="5" y="0"/>
                </a:cxn>
                <a:cxn ang="0">
                  <a:pos x="31" y="0"/>
                </a:cxn>
                <a:cxn ang="0">
                  <a:pos x="35" y="3"/>
                </a:cxn>
                <a:cxn ang="0">
                  <a:pos x="43" y="20"/>
                </a:cxn>
                <a:cxn ang="0">
                  <a:pos x="42" y="25"/>
                </a:cxn>
                <a:cxn ang="0">
                  <a:pos x="39" y="27"/>
                </a:cxn>
                <a:cxn ang="0">
                  <a:pos x="37" y="26"/>
                </a:cxn>
              </a:cxnLst>
              <a:rect l="0" t="0" r="r" b="b"/>
              <a:pathLst>
                <a:path w="45" h="28">
                  <a:moveTo>
                    <a:pt x="37" y="26"/>
                  </a:moveTo>
                  <a:lnTo>
                    <a:pt x="3" y="9"/>
                  </a:lnTo>
                  <a:cubicBezTo>
                    <a:pt x="1" y="8"/>
                    <a:pt x="0" y="6"/>
                    <a:pt x="1" y="4"/>
                  </a:cubicBezTo>
                  <a:cubicBezTo>
                    <a:pt x="1" y="2"/>
                    <a:pt x="3" y="0"/>
                    <a:pt x="5" y="0"/>
                  </a:cubicBezTo>
                  <a:lnTo>
                    <a:pt x="31" y="0"/>
                  </a:lnTo>
                  <a:cubicBezTo>
                    <a:pt x="32" y="0"/>
                    <a:pt x="34" y="1"/>
                    <a:pt x="35" y="3"/>
                  </a:cubicBezTo>
                  <a:lnTo>
                    <a:pt x="43" y="20"/>
                  </a:lnTo>
                  <a:cubicBezTo>
                    <a:pt x="44" y="22"/>
                    <a:pt x="44" y="24"/>
                    <a:pt x="42" y="25"/>
                  </a:cubicBezTo>
                  <a:cubicBezTo>
                    <a:pt x="42" y="26"/>
                    <a:pt x="40" y="27"/>
                    <a:pt x="39" y="27"/>
                  </a:cubicBezTo>
                  <a:cubicBezTo>
                    <a:pt x="38" y="27"/>
                    <a:pt x="38" y="26"/>
                    <a:pt x="37" y="2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2" name="Freeform 357"/>
            <p:cNvSpPr>
              <a:spLocks noChangeArrowheads="1"/>
            </p:cNvSpPr>
            <p:nvPr/>
          </p:nvSpPr>
          <p:spPr bwMode="auto">
            <a:xfrm>
              <a:off x="4357688" y="2427288"/>
              <a:ext cx="15875" cy="9525"/>
            </a:xfrm>
            <a:custGeom>
              <a:avLst/>
              <a:gdLst/>
              <a:ahLst/>
              <a:cxnLst>
                <a:cxn ang="0">
                  <a:pos x="39" y="27"/>
                </a:cxn>
                <a:cxn ang="0">
                  <a:pos x="37" y="26"/>
                </a:cxn>
                <a:cxn ang="0">
                  <a:pos x="3" y="9"/>
                </a:cxn>
                <a:cxn ang="0">
                  <a:pos x="1" y="4"/>
                </a:cxn>
                <a:cxn ang="0">
                  <a:pos x="5" y="0"/>
                </a:cxn>
                <a:cxn ang="0">
                  <a:pos x="31" y="0"/>
                </a:cxn>
                <a:cxn ang="0">
                  <a:pos x="35" y="3"/>
                </a:cxn>
                <a:cxn ang="0">
                  <a:pos x="43" y="20"/>
                </a:cxn>
                <a:cxn ang="0">
                  <a:pos x="42" y="25"/>
                </a:cxn>
                <a:cxn ang="0">
                  <a:pos x="39" y="27"/>
                </a:cxn>
              </a:cxnLst>
              <a:rect l="0" t="0" r="r" b="b"/>
              <a:pathLst>
                <a:path w="45" h="28">
                  <a:moveTo>
                    <a:pt x="39" y="27"/>
                  </a:moveTo>
                  <a:cubicBezTo>
                    <a:pt x="38" y="27"/>
                    <a:pt x="38" y="26"/>
                    <a:pt x="37" y="26"/>
                  </a:cubicBezTo>
                  <a:lnTo>
                    <a:pt x="3" y="9"/>
                  </a:lnTo>
                  <a:cubicBezTo>
                    <a:pt x="1" y="8"/>
                    <a:pt x="0" y="6"/>
                    <a:pt x="1" y="4"/>
                  </a:cubicBezTo>
                  <a:cubicBezTo>
                    <a:pt x="1" y="2"/>
                    <a:pt x="3" y="0"/>
                    <a:pt x="5" y="0"/>
                  </a:cubicBezTo>
                  <a:lnTo>
                    <a:pt x="31" y="0"/>
                  </a:lnTo>
                  <a:cubicBezTo>
                    <a:pt x="32" y="0"/>
                    <a:pt x="34" y="1"/>
                    <a:pt x="35" y="3"/>
                  </a:cubicBezTo>
                  <a:lnTo>
                    <a:pt x="43" y="20"/>
                  </a:lnTo>
                  <a:cubicBezTo>
                    <a:pt x="44" y="22"/>
                    <a:pt x="44" y="24"/>
                    <a:pt x="42" y="25"/>
                  </a:cubicBezTo>
                  <a:cubicBezTo>
                    <a:pt x="42" y="26"/>
                    <a:pt x="40" y="27"/>
                    <a:pt x="39" y="2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3" name="Freeform 358"/>
            <p:cNvSpPr>
              <a:spLocks noChangeArrowheads="1"/>
            </p:cNvSpPr>
            <p:nvPr/>
          </p:nvSpPr>
          <p:spPr bwMode="auto">
            <a:xfrm>
              <a:off x="4313238" y="2428875"/>
              <a:ext cx="34925" cy="31750"/>
            </a:xfrm>
            <a:custGeom>
              <a:avLst/>
              <a:gdLst/>
              <a:ahLst/>
              <a:cxnLst>
                <a:cxn ang="0">
                  <a:pos x="61" y="85"/>
                </a:cxn>
                <a:cxn ang="0">
                  <a:pos x="2" y="52"/>
                </a:cxn>
                <a:cxn ang="0">
                  <a:pos x="0" y="48"/>
                </a:cxn>
                <a:cxn ang="0">
                  <a:pos x="2" y="44"/>
                </a:cxn>
                <a:cxn ang="0">
                  <a:pos x="65" y="1"/>
                </a:cxn>
                <a:cxn ang="0">
                  <a:pos x="68" y="0"/>
                </a:cxn>
                <a:cxn ang="0">
                  <a:pos x="70" y="1"/>
                </a:cxn>
                <a:cxn ang="0">
                  <a:pos x="73" y="5"/>
                </a:cxn>
                <a:cxn ang="0">
                  <a:pos x="73" y="24"/>
                </a:cxn>
                <a:cxn ang="0">
                  <a:pos x="92" y="35"/>
                </a:cxn>
                <a:cxn ang="0">
                  <a:pos x="93" y="42"/>
                </a:cxn>
                <a:cxn ang="0">
                  <a:pos x="68" y="84"/>
                </a:cxn>
                <a:cxn ang="0">
                  <a:pos x="64" y="86"/>
                </a:cxn>
                <a:cxn ang="0">
                  <a:pos x="61" y="85"/>
                </a:cxn>
              </a:cxnLst>
              <a:rect l="0" t="0" r="r" b="b"/>
              <a:pathLst>
                <a:path w="96" h="87">
                  <a:moveTo>
                    <a:pt x="61" y="85"/>
                  </a:moveTo>
                  <a:lnTo>
                    <a:pt x="2" y="52"/>
                  </a:lnTo>
                  <a:cubicBezTo>
                    <a:pt x="1" y="51"/>
                    <a:pt x="0" y="49"/>
                    <a:pt x="0" y="48"/>
                  </a:cubicBezTo>
                  <a:cubicBezTo>
                    <a:pt x="0" y="46"/>
                    <a:pt x="0" y="45"/>
                    <a:pt x="2" y="44"/>
                  </a:cubicBezTo>
                  <a:lnTo>
                    <a:pt x="65" y="1"/>
                  </a:lnTo>
                  <a:cubicBezTo>
                    <a:pt x="66" y="1"/>
                    <a:pt x="67" y="0"/>
                    <a:pt x="68" y="0"/>
                  </a:cubicBezTo>
                  <a:cubicBezTo>
                    <a:pt x="69" y="0"/>
                    <a:pt x="70" y="1"/>
                    <a:pt x="70" y="1"/>
                  </a:cubicBezTo>
                  <a:cubicBezTo>
                    <a:pt x="72" y="2"/>
                    <a:pt x="73" y="4"/>
                    <a:pt x="73" y="5"/>
                  </a:cubicBezTo>
                  <a:lnTo>
                    <a:pt x="73" y="24"/>
                  </a:lnTo>
                  <a:lnTo>
                    <a:pt x="92" y="35"/>
                  </a:lnTo>
                  <a:cubicBezTo>
                    <a:pt x="94" y="36"/>
                    <a:pt x="95" y="39"/>
                    <a:pt x="93" y="42"/>
                  </a:cubicBezTo>
                  <a:lnTo>
                    <a:pt x="68" y="84"/>
                  </a:lnTo>
                  <a:cubicBezTo>
                    <a:pt x="67" y="85"/>
                    <a:pt x="65" y="86"/>
                    <a:pt x="64" y="86"/>
                  </a:cubicBezTo>
                  <a:cubicBezTo>
                    <a:pt x="63" y="86"/>
                    <a:pt x="62" y="86"/>
                    <a:pt x="61" y="8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4" name="Freeform 359"/>
            <p:cNvSpPr>
              <a:spLocks noChangeArrowheads="1"/>
            </p:cNvSpPr>
            <p:nvPr/>
          </p:nvSpPr>
          <p:spPr bwMode="auto">
            <a:xfrm>
              <a:off x="4313238" y="2428875"/>
              <a:ext cx="34925" cy="31750"/>
            </a:xfrm>
            <a:custGeom>
              <a:avLst/>
              <a:gdLst/>
              <a:ahLst/>
              <a:cxnLst>
                <a:cxn ang="0">
                  <a:pos x="64" y="86"/>
                </a:cxn>
                <a:cxn ang="0">
                  <a:pos x="61" y="85"/>
                </a:cxn>
                <a:cxn ang="0">
                  <a:pos x="2" y="52"/>
                </a:cxn>
                <a:cxn ang="0">
                  <a:pos x="0" y="48"/>
                </a:cxn>
                <a:cxn ang="0">
                  <a:pos x="2" y="44"/>
                </a:cxn>
                <a:cxn ang="0">
                  <a:pos x="65" y="1"/>
                </a:cxn>
                <a:cxn ang="0">
                  <a:pos x="68" y="0"/>
                </a:cxn>
                <a:cxn ang="0">
                  <a:pos x="70" y="1"/>
                </a:cxn>
                <a:cxn ang="0">
                  <a:pos x="73" y="5"/>
                </a:cxn>
                <a:cxn ang="0">
                  <a:pos x="73" y="24"/>
                </a:cxn>
                <a:cxn ang="0">
                  <a:pos x="92" y="35"/>
                </a:cxn>
                <a:cxn ang="0">
                  <a:pos x="93" y="42"/>
                </a:cxn>
                <a:cxn ang="0">
                  <a:pos x="68" y="84"/>
                </a:cxn>
                <a:cxn ang="0">
                  <a:pos x="64" y="86"/>
                </a:cxn>
              </a:cxnLst>
              <a:rect l="0" t="0" r="r" b="b"/>
              <a:pathLst>
                <a:path w="96" h="87">
                  <a:moveTo>
                    <a:pt x="64" y="86"/>
                  </a:moveTo>
                  <a:cubicBezTo>
                    <a:pt x="63" y="86"/>
                    <a:pt x="62" y="86"/>
                    <a:pt x="61" y="85"/>
                  </a:cubicBezTo>
                  <a:lnTo>
                    <a:pt x="2" y="52"/>
                  </a:lnTo>
                  <a:cubicBezTo>
                    <a:pt x="1" y="51"/>
                    <a:pt x="0" y="49"/>
                    <a:pt x="0" y="48"/>
                  </a:cubicBezTo>
                  <a:cubicBezTo>
                    <a:pt x="0" y="46"/>
                    <a:pt x="0" y="45"/>
                    <a:pt x="2" y="44"/>
                  </a:cubicBezTo>
                  <a:lnTo>
                    <a:pt x="65" y="1"/>
                  </a:lnTo>
                  <a:cubicBezTo>
                    <a:pt x="66" y="1"/>
                    <a:pt x="67" y="0"/>
                    <a:pt x="68" y="0"/>
                  </a:cubicBezTo>
                  <a:cubicBezTo>
                    <a:pt x="69" y="0"/>
                    <a:pt x="70" y="1"/>
                    <a:pt x="70" y="1"/>
                  </a:cubicBezTo>
                  <a:cubicBezTo>
                    <a:pt x="72" y="2"/>
                    <a:pt x="73" y="4"/>
                    <a:pt x="73" y="5"/>
                  </a:cubicBezTo>
                  <a:lnTo>
                    <a:pt x="73" y="24"/>
                  </a:lnTo>
                  <a:lnTo>
                    <a:pt x="92" y="35"/>
                  </a:lnTo>
                  <a:cubicBezTo>
                    <a:pt x="94" y="36"/>
                    <a:pt x="95" y="39"/>
                    <a:pt x="93" y="42"/>
                  </a:cubicBezTo>
                  <a:lnTo>
                    <a:pt x="68" y="84"/>
                  </a:lnTo>
                  <a:cubicBezTo>
                    <a:pt x="67" y="85"/>
                    <a:pt x="65" y="86"/>
                    <a:pt x="64" y="8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5" name="Freeform 360"/>
            <p:cNvSpPr>
              <a:spLocks noChangeArrowheads="1"/>
            </p:cNvSpPr>
            <p:nvPr/>
          </p:nvSpPr>
          <p:spPr bwMode="auto">
            <a:xfrm>
              <a:off x="4389438" y="1433513"/>
              <a:ext cx="228600" cy="160337"/>
            </a:xfrm>
            <a:custGeom>
              <a:avLst/>
              <a:gdLst/>
              <a:ahLst/>
              <a:cxnLst>
                <a:cxn ang="0">
                  <a:pos x="24" y="1"/>
                </a:cxn>
                <a:cxn ang="0">
                  <a:pos x="617" y="0"/>
                </a:cxn>
                <a:cxn ang="0">
                  <a:pos x="622" y="111"/>
                </a:cxn>
                <a:cxn ang="0">
                  <a:pos x="573" y="148"/>
                </a:cxn>
                <a:cxn ang="0">
                  <a:pos x="562" y="245"/>
                </a:cxn>
                <a:cxn ang="0">
                  <a:pos x="547" y="309"/>
                </a:cxn>
                <a:cxn ang="0">
                  <a:pos x="520" y="322"/>
                </a:cxn>
                <a:cxn ang="0">
                  <a:pos x="515" y="318"/>
                </a:cxn>
                <a:cxn ang="0">
                  <a:pos x="475" y="258"/>
                </a:cxn>
                <a:cxn ang="0">
                  <a:pos x="465" y="151"/>
                </a:cxn>
                <a:cxn ang="0">
                  <a:pos x="465" y="202"/>
                </a:cxn>
                <a:cxn ang="0">
                  <a:pos x="460" y="208"/>
                </a:cxn>
                <a:cxn ang="0">
                  <a:pos x="444" y="193"/>
                </a:cxn>
                <a:cxn ang="0">
                  <a:pos x="456" y="248"/>
                </a:cxn>
                <a:cxn ang="0">
                  <a:pos x="431" y="293"/>
                </a:cxn>
                <a:cxn ang="0">
                  <a:pos x="386" y="281"/>
                </a:cxn>
                <a:cxn ang="0">
                  <a:pos x="226" y="444"/>
                </a:cxn>
                <a:cxn ang="0">
                  <a:pos x="138" y="445"/>
                </a:cxn>
                <a:cxn ang="0">
                  <a:pos x="134" y="439"/>
                </a:cxn>
                <a:cxn ang="0">
                  <a:pos x="115" y="411"/>
                </a:cxn>
                <a:cxn ang="0">
                  <a:pos x="110" y="410"/>
                </a:cxn>
                <a:cxn ang="0">
                  <a:pos x="41" y="338"/>
                </a:cxn>
                <a:cxn ang="0">
                  <a:pos x="52" y="288"/>
                </a:cxn>
                <a:cxn ang="0">
                  <a:pos x="56" y="288"/>
                </a:cxn>
                <a:cxn ang="0">
                  <a:pos x="106" y="215"/>
                </a:cxn>
                <a:cxn ang="0">
                  <a:pos x="28" y="242"/>
                </a:cxn>
                <a:cxn ang="0">
                  <a:pos x="24" y="238"/>
                </a:cxn>
                <a:cxn ang="0">
                  <a:pos x="22" y="216"/>
                </a:cxn>
                <a:cxn ang="0">
                  <a:pos x="66" y="157"/>
                </a:cxn>
                <a:cxn ang="0">
                  <a:pos x="63" y="150"/>
                </a:cxn>
                <a:cxn ang="0">
                  <a:pos x="130" y="50"/>
                </a:cxn>
                <a:cxn ang="0">
                  <a:pos x="134" y="53"/>
                </a:cxn>
                <a:cxn ang="0">
                  <a:pos x="162" y="43"/>
                </a:cxn>
                <a:cxn ang="0">
                  <a:pos x="49" y="146"/>
                </a:cxn>
                <a:cxn ang="0">
                  <a:pos x="41" y="145"/>
                </a:cxn>
                <a:cxn ang="0">
                  <a:pos x="37" y="124"/>
                </a:cxn>
                <a:cxn ang="0">
                  <a:pos x="46" y="90"/>
                </a:cxn>
                <a:cxn ang="0">
                  <a:pos x="29" y="106"/>
                </a:cxn>
                <a:cxn ang="0">
                  <a:pos x="24" y="103"/>
                </a:cxn>
                <a:cxn ang="0">
                  <a:pos x="16" y="65"/>
                </a:cxn>
                <a:cxn ang="0">
                  <a:pos x="21" y="30"/>
                </a:cxn>
                <a:cxn ang="0">
                  <a:pos x="16" y="28"/>
                </a:cxn>
                <a:cxn ang="0">
                  <a:pos x="21" y="0"/>
                </a:cxn>
              </a:cxnLst>
              <a:rect l="0" t="0" r="r" b="b"/>
              <a:pathLst>
                <a:path w="635" h="446">
                  <a:moveTo>
                    <a:pt x="21" y="0"/>
                  </a:moveTo>
                  <a:lnTo>
                    <a:pt x="24" y="1"/>
                  </a:lnTo>
                  <a:lnTo>
                    <a:pt x="24" y="0"/>
                  </a:lnTo>
                  <a:lnTo>
                    <a:pt x="617" y="0"/>
                  </a:lnTo>
                  <a:lnTo>
                    <a:pt x="634" y="32"/>
                  </a:lnTo>
                  <a:lnTo>
                    <a:pt x="622" y="111"/>
                  </a:lnTo>
                  <a:cubicBezTo>
                    <a:pt x="622" y="112"/>
                    <a:pt x="621" y="113"/>
                    <a:pt x="620" y="114"/>
                  </a:cubicBezTo>
                  <a:lnTo>
                    <a:pt x="573" y="148"/>
                  </a:lnTo>
                  <a:lnTo>
                    <a:pt x="554" y="205"/>
                  </a:lnTo>
                  <a:lnTo>
                    <a:pt x="562" y="245"/>
                  </a:lnTo>
                  <a:lnTo>
                    <a:pt x="550" y="306"/>
                  </a:lnTo>
                  <a:lnTo>
                    <a:pt x="547" y="309"/>
                  </a:lnTo>
                  <a:lnTo>
                    <a:pt x="522" y="322"/>
                  </a:lnTo>
                  <a:lnTo>
                    <a:pt x="520" y="322"/>
                  </a:lnTo>
                  <a:lnTo>
                    <a:pt x="517" y="322"/>
                  </a:lnTo>
                  <a:cubicBezTo>
                    <a:pt x="516" y="321"/>
                    <a:pt x="515" y="319"/>
                    <a:pt x="515" y="318"/>
                  </a:cubicBezTo>
                  <a:lnTo>
                    <a:pt x="511" y="278"/>
                  </a:lnTo>
                  <a:lnTo>
                    <a:pt x="475" y="258"/>
                  </a:lnTo>
                  <a:cubicBezTo>
                    <a:pt x="474" y="257"/>
                    <a:pt x="473" y="256"/>
                    <a:pt x="473" y="254"/>
                  </a:cubicBezTo>
                  <a:lnTo>
                    <a:pt x="465" y="151"/>
                  </a:lnTo>
                  <a:lnTo>
                    <a:pt x="457" y="155"/>
                  </a:lnTo>
                  <a:lnTo>
                    <a:pt x="465" y="202"/>
                  </a:lnTo>
                  <a:cubicBezTo>
                    <a:pt x="465" y="205"/>
                    <a:pt x="464" y="206"/>
                    <a:pt x="463" y="207"/>
                  </a:cubicBezTo>
                  <a:cubicBezTo>
                    <a:pt x="462" y="208"/>
                    <a:pt x="461" y="208"/>
                    <a:pt x="460" y="208"/>
                  </a:cubicBezTo>
                  <a:cubicBezTo>
                    <a:pt x="459" y="208"/>
                    <a:pt x="458" y="207"/>
                    <a:pt x="457" y="207"/>
                  </a:cubicBezTo>
                  <a:lnTo>
                    <a:pt x="444" y="193"/>
                  </a:lnTo>
                  <a:lnTo>
                    <a:pt x="456" y="244"/>
                  </a:lnTo>
                  <a:cubicBezTo>
                    <a:pt x="457" y="246"/>
                    <a:pt x="457" y="247"/>
                    <a:pt x="456" y="248"/>
                  </a:cubicBezTo>
                  <a:lnTo>
                    <a:pt x="435" y="290"/>
                  </a:lnTo>
                  <a:cubicBezTo>
                    <a:pt x="434" y="292"/>
                    <a:pt x="432" y="293"/>
                    <a:pt x="431" y="293"/>
                  </a:cubicBezTo>
                  <a:cubicBezTo>
                    <a:pt x="430" y="293"/>
                    <a:pt x="430" y="293"/>
                    <a:pt x="429" y="292"/>
                  </a:cubicBezTo>
                  <a:lnTo>
                    <a:pt x="386" y="281"/>
                  </a:lnTo>
                  <a:lnTo>
                    <a:pt x="346" y="354"/>
                  </a:lnTo>
                  <a:lnTo>
                    <a:pt x="226" y="444"/>
                  </a:lnTo>
                  <a:cubicBezTo>
                    <a:pt x="225" y="445"/>
                    <a:pt x="224" y="445"/>
                    <a:pt x="223" y="445"/>
                  </a:cubicBezTo>
                  <a:lnTo>
                    <a:pt x="138" y="445"/>
                  </a:lnTo>
                  <a:cubicBezTo>
                    <a:pt x="137" y="445"/>
                    <a:pt x="136" y="444"/>
                    <a:pt x="135" y="443"/>
                  </a:cubicBezTo>
                  <a:cubicBezTo>
                    <a:pt x="134" y="442"/>
                    <a:pt x="134" y="441"/>
                    <a:pt x="134" y="439"/>
                  </a:cubicBezTo>
                  <a:lnTo>
                    <a:pt x="141" y="401"/>
                  </a:lnTo>
                  <a:lnTo>
                    <a:pt x="115" y="411"/>
                  </a:lnTo>
                  <a:lnTo>
                    <a:pt x="113" y="411"/>
                  </a:lnTo>
                  <a:cubicBezTo>
                    <a:pt x="112" y="411"/>
                    <a:pt x="111" y="410"/>
                    <a:pt x="110" y="410"/>
                  </a:cubicBezTo>
                  <a:lnTo>
                    <a:pt x="42" y="342"/>
                  </a:lnTo>
                  <a:cubicBezTo>
                    <a:pt x="41" y="341"/>
                    <a:pt x="40" y="339"/>
                    <a:pt x="41" y="338"/>
                  </a:cubicBezTo>
                  <a:lnTo>
                    <a:pt x="49" y="291"/>
                  </a:lnTo>
                  <a:cubicBezTo>
                    <a:pt x="49" y="290"/>
                    <a:pt x="50" y="289"/>
                    <a:pt x="52" y="288"/>
                  </a:cubicBezTo>
                  <a:cubicBezTo>
                    <a:pt x="52" y="288"/>
                    <a:pt x="53" y="287"/>
                    <a:pt x="54" y="287"/>
                  </a:cubicBezTo>
                  <a:cubicBezTo>
                    <a:pt x="54" y="287"/>
                    <a:pt x="55" y="287"/>
                    <a:pt x="56" y="288"/>
                  </a:cubicBezTo>
                  <a:lnTo>
                    <a:pt x="80" y="298"/>
                  </a:lnTo>
                  <a:lnTo>
                    <a:pt x="106" y="215"/>
                  </a:lnTo>
                  <a:lnTo>
                    <a:pt x="30" y="241"/>
                  </a:lnTo>
                  <a:cubicBezTo>
                    <a:pt x="29" y="242"/>
                    <a:pt x="29" y="242"/>
                    <a:pt x="28" y="242"/>
                  </a:cubicBezTo>
                  <a:cubicBezTo>
                    <a:pt x="28" y="242"/>
                    <a:pt x="27" y="242"/>
                    <a:pt x="26" y="241"/>
                  </a:cubicBezTo>
                  <a:cubicBezTo>
                    <a:pt x="25" y="241"/>
                    <a:pt x="24" y="240"/>
                    <a:pt x="24" y="238"/>
                  </a:cubicBezTo>
                  <a:lnTo>
                    <a:pt x="20" y="221"/>
                  </a:lnTo>
                  <a:cubicBezTo>
                    <a:pt x="19" y="219"/>
                    <a:pt x="20" y="217"/>
                    <a:pt x="22" y="216"/>
                  </a:cubicBezTo>
                  <a:lnTo>
                    <a:pt x="101" y="163"/>
                  </a:lnTo>
                  <a:lnTo>
                    <a:pt x="66" y="157"/>
                  </a:lnTo>
                  <a:cubicBezTo>
                    <a:pt x="64" y="157"/>
                    <a:pt x="63" y="156"/>
                    <a:pt x="62" y="154"/>
                  </a:cubicBezTo>
                  <a:cubicBezTo>
                    <a:pt x="62" y="153"/>
                    <a:pt x="62" y="151"/>
                    <a:pt x="63" y="150"/>
                  </a:cubicBezTo>
                  <a:lnTo>
                    <a:pt x="126" y="52"/>
                  </a:lnTo>
                  <a:cubicBezTo>
                    <a:pt x="127" y="51"/>
                    <a:pt x="128" y="50"/>
                    <a:pt x="130" y="50"/>
                  </a:cubicBezTo>
                  <a:lnTo>
                    <a:pt x="131" y="50"/>
                  </a:lnTo>
                  <a:cubicBezTo>
                    <a:pt x="132" y="51"/>
                    <a:pt x="134" y="52"/>
                    <a:pt x="134" y="53"/>
                  </a:cubicBezTo>
                  <a:lnTo>
                    <a:pt x="140" y="67"/>
                  </a:lnTo>
                  <a:lnTo>
                    <a:pt x="162" y="43"/>
                  </a:lnTo>
                  <a:lnTo>
                    <a:pt x="116" y="43"/>
                  </a:lnTo>
                  <a:lnTo>
                    <a:pt x="49" y="146"/>
                  </a:lnTo>
                  <a:cubicBezTo>
                    <a:pt x="48" y="148"/>
                    <a:pt x="47" y="149"/>
                    <a:pt x="45" y="149"/>
                  </a:cubicBezTo>
                  <a:cubicBezTo>
                    <a:pt x="43" y="148"/>
                    <a:pt x="41" y="147"/>
                    <a:pt x="41" y="145"/>
                  </a:cubicBezTo>
                  <a:lnTo>
                    <a:pt x="37" y="128"/>
                  </a:lnTo>
                  <a:cubicBezTo>
                    <a:pt x="36" y="127"/>
                    <a:pt x="36" y="125"/>
                    <a:pt x="37" y="124"/>
                  </a:cubicBezTo>
                  <a:lnTo>
                    <a:pt x="49" y="109"/>
                  </a:lnTo>
                  <a:lnTo>
                    <a:pt x="46" y="90"/>
                  </a:lnTo>
                  <a:lnTo>
                    <a:pt x="32" y="105"/>
                  </a:lnTo>
                  <a:cubicBezTo>
                    <a:pt x="31" y="106"/>
                    <a:pt x="30" y="106"/>
                    <a:pt x="29" y="106"/>
                  </a:cubicBezTo>
                  <a:lnTo>
                    <a:pt x="27" y="106"/>
                  </a:lnTo>
                  <a:cubicBezTo>
                    <a:pt x="25" y="106"/>
                    <a:pt x="24" y="104"/>
                    <a:pt x="24" y="103"/>
                  </a:cubicBezTo>
                  <a:lnTo>
                    <a:pt x="15" y="69"/>
                  </a:lnTo>
                  <a:cubicBezTo>
                    <a:pt x="15" y="67"/>
                    <a:pt x="15" y="66"/>
                    <a:pt x="16" y="65"/>
                  </a:cubicBezTo>
                  <a:lnTo>
                    <a:pt x="50" y="21"/>
                  </a:lnTo>
                  <a:lnTo>
                    <a:pt x="21" y="30"/>
                  </a:lnTo>
                  <a:lnTo>
                    <a:pt x="20" y="30"/>
                  </a:lnTo>
                  <a:cubicBezTo>
                    <a:pt x="18" y="30"/>
                    <a:pt x="17" y="29"/>
                    <a:pt x="16" y="28"/>
                  </a:cubicBezTo>
                  <a:lnTo>
                    <a:pt x="0" y="0"/>
                  </a:lnTo>
                  <a:lnTo>
                    <a:pt x="21"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6" name="Freeform 361"/>
            <p:cNvSpPr>
              <a:spLocks noChangeArrowheads="1"/>
            </p:cNvSpPr>
            <p:nvPr/>
          </p:nvSpPr>
          <p:spPr bwMode="auto">
            <a:xfrm>
              <a:off x="4389438" y="1433513"/>
              <a:ext cx="228600" cy="160337"/>
            </a:xfrm>
            <a:custGeom>
              <a:avLst/>
              <a:gdLst/>
              <a:ahLst/>
              <a:cxnLst>
                <a:cxn ang="0">
                  <a:pos x="24" y="1"/>
                </a:cxn>
                <a:cxn ang="0">
                  <a:pos x="617" y="0"/>
                </a:cxn>
                <a:cxn ang="0">
                  <a:pos x="622" y="111"/>
                </a:cxn>
                <a:cxn ang="0">
                  <a:pos x="573" y="148"/>
                </a:cxn>
                <a:cxn ang="0">
                  <a:pos x="562" y="245"/>
                </a:cxn>
                <a:cxn ang="0">
                  <a:pos x="547" y="309"/>
                </a:cxn>
                <a:cxn ang="0">
                  <a:pos x="520" y="322"/>
                </a:cxn>
                <a:cxn ang="0">
                  <a:pos x="515" y="318"/>
                </a:cxn>
                <a:cxn ang="0">
                  <a:pos x="475" y="258"/>
                </a:cxn>
                <a:cxn ang="0">
                  <a:pos x="465" y="151"/>
                </a:cxn>
                <a:cxn ang="0">
                  <a:pos x="465" y="202"/>
                </a:cxn>
                <a:cxn ang="0">
                  <a:pos x="460" y="208"/>
                </a:cxn>
                <a:cxn ang="0">
                  <a:pos x="444" y="193"/>
                </a:cxn>
                <a:cxn ang="0">
                  <a:pos x="456" y="248"/>
                </a:cxn>
                <a:cxn ang="0">
                  <a:pos x="431" y="293"/>
                </a:cxn>
                <a:cxn ang="0">
                  <a:pos x="386" y="281"/>
                </a:cxn>
                <a:cxn ang="0">
                  <a:pos x="226" y="444"/>
                </a:cxn>
                <a:cxn ang="0">
                  <a:pos x="138" y="445"/>
                </a:cxn>
                <a:cxn ang="0">
                  <a:pos x="134" y="439"/>
                </a:cxn>
                <a:cxn ang="0">
                  <a:pos x="115" y="411"/>
                </a:cxn>
                <a:cxn ang="0">
                  <a:pos x="110" y="410"/>
                </a:cxn>
                <a:cxn ang="0">
                  <a:pos x="41" y="338"/>
                </a:cxn>
                <a:cxn ang="0">
                  <a:pos x="52" y="288"/>
                </a:cxn>
                <a:cxn ang="0">
                  <a:pos x="56" y="288"/>
                </a:cxn>
                <a:cxn ang="0">
                  <a:pos x="106" y="215"/>
                </a:cxn>
                <a:cxn ang="0">
                  <a:pos x="28" y="242"/>
                </a:cxn>
                <a:cxn ang="0">
                  <a:pos x="24" y="238"/>
                </a:cxn>
                <a:cxn ang="0">
                  <a:pos x="22" y="216"/>
                </a:cxn>
                <a:cxn ang="0">
                  <a:pos x="66" y="157"/>
                </a:cxn>
                <a:cxn ang="0">
                  <a:pos x="63" y="150"/>
                </a:cxn>
                <a:cxn ang="0">
                  <a:pos x="130" y="50"/>
                </a:cxn>
                <a:cxn ang="0">
                  <a:pos x="134" y="53"/>
                </a:cxn>
                <a:cxn ang="0">
                  <a:pos x="162" y="43"/>
                </a:cxn>
                <a:cxn ang="0">
                  <a:pos x="49" y="146"/>
                </a:cxn>
                <a:cxn ang="0">
                  <a:pos x="41" y="145"/>
                </a:cxn>
                <a:cxn ang="0">
                  <a:pos x="37" y="124"/>
                </a:cxn>
                <a:cxn ang="0">
                  <a:pos x="46" y="90"/>
                </a:cxn>
                <a:cxn ang="0">
                  <a:pos x="29" y="106"/>
                </a:cxn>
                <a:cxn ang="0">
                  <a:pos x="24" y="103"/>
                </a:cxn>
                <a:cxn ang="0">
                  <a:pos x="16" y="65"/>
                </a:cxn>
                <a:cxn ang="0">
                  <a:pos x="21" y="30"/>
                </a:cxn>
                <a:cxn ang="0">
                  <a:pos x="16" y="28"/>
                </a:cxn>
                <a:cxn ang="0">
                  <a:pos x="21" y="0"/>
                </a:cxn>
              </a:cxnLst>
              <a:rect l="0" t="0" r="r" b="b"/>
              <a:pathLst>
                <a:path w="635" h="446">
                  <a:moveTo>
                    <a:pt x="21" y="0"/>
                  </a:moveTo>
                  <a:lnTo>
                    <a:pt x="24" y="1"/>
                  </a:lnTo>
                  <a:lnTo>
                    <a:pt x="24" y="0"/>
                  </a:lnTo>
                  <a:lnTo>
                    <a:pt x="617" y="0"/>
                  </a:lnTo>
                  <a:lnTo>
                    <a:pt x="634" y="32"/>
                  </a:lnTo>
                  <a:lnTo>
                    <a:pt x="622" y="111"/>
                  </a:lnTo>
                  <a:cubicBezTo>
                    <a:pt x="622" y="112"/>
                    <a:pt x="621" y="113"/>
                    <a:pt x="620" y="114"/>
                  </a:cubicBezTo>
                  <a:lnTo>
                    <a:pt x="573" y="148"/>
                  </a:lnTo>
                  <a:lnTo>
                    <a:pt x="554" y="205"/>
                  </a:lnTo>
                  <a:lnTo>
                    <a:pt x="562" y="245"/>
                  </a:lnTo>
                  <a:lnTo>
                    <a:pt x="550" y="306"/>
                  </a:lnTo>
                  <a:lnTo>
                    <a:pt x="547" y="309"/>
                  </a:lnTo>
                  <a:lnTo>
                    <a:pt x="522" y="322"/>
                  </a:lnTo>
                  <a:lnTo>
                    <a:pt x="520" y="322"/>
                  </a:lnTo>
                  <a:lnTo>
                    <a:pt x="517" y="322"/>
                  </a:lnTo>
                  <a:cubicBezTo>
                    <a:pt x="516" y="321"/>
                    <a:pt x="515" y="319"/>
                    <a:pt x="515" y="318"/>
                  </a:cubicBezTo>
                  <a:lnTo>
                    <a:pt x="511" y="278"/>
                  </a:lnTo>
                  <a:lnTo>
                    <a:pt x="475" y="258"/>
                  </a:lnTo>
                  <a:cubicBezTo>
                    <a:pt x="474" y="257"/>
                    <a:pt x="473" y="256"/>
                    <a:pt x="473" y="254"/>
                  </a:cubicBezTo>
                  <a:lnTo>
                    <a:pt x="465" y="151"/>
                  </a:lnTo>
                  <a:lnTo>
                    <a:pt x="457" y="155"/>
                  </a:lnTo>
                  <a:lnTo>
                    <a:pt x="465" y="202"/>
                  </a:lnTo>
                  <a:cubicBezTo>
                    <a:pt x="465" y="205"/>
                    <a:pt x="464" y="206"/>
                    <a:pt x="463" y="207"/>
                  </a:cubicBezTo>
                  <a:cubicBezTo>
                    <a:pt x="462" y="208"/>
                    <a:pt x="461" y="208"/>
                    <a:pt x="460" y="208"/>
                  </a:cubicBezTo>
                  <a:cubicBezTo>
                    <a:pt x="459" y="208"/>
                    <a:pt x="458" y="207"/>
                    <a:pt x="457" y="207"/>
                  </a:cubicBezTo>
                  <a:lnTo>
                    <a:pt x="444" y="193"/>
                  </a:lnTo>
                  <a:lnTo>
                    <a:pt x="456" y="244"/>
                  </a:lnTo>
                  <a:cubicBezTo>
                    <a:pt x="457" y="246"/>
                    <a:pt x="457" y="247"/>
                    <a:pt x="456" y="248"/>
                  </a:cubicBezTo>
                  <a:lnTo>
                    <a:pt x="435" y="290"/>
                  </a:lnTo>
                  <a:cubicBezTo>
                    <a:pt x="434" y="292"/>
                    <a:pt x="432" y="293"/>
                    <a:pt x="431" y="293"/>
                  </a:cubicBezTo>
                  <a:cubicBezTo>
                    <a:pt x="430" y="293"/>
                    <a:pt x="430" y="293"/>
                    <a:pt x="429" y="292"/>
                  </a:cubicBezTo>
                  <a:lnTo>
                    <a:pt x="386" y="281"/>
                  </a:lnTo>
                  <a:lnTo>
                    <a:pt x="346" y="354"/>
                  </a:lnTo>
                  <a:lnTo>
                    <a:pt x="226" y="444"/>
                  </a:lnTo>
                  <a:cubicBezTo>
                    <a:pt x="225" y="445"/>
                    <a:pt x="224" y="445"/>
                    <a:pt x="223" y="445"/>
                  </a:cubicBezTo>
                  <a:lnTo>
                    <a:pt x="138" y="445"/>
                  </a:lnTo>
                  <a:cubicBezTo>
                    <a:pt x="137" y="445"/>
                    <a:pt x="136" y="444"/>
                    <a:pt x="135" y="443"/>
                  </a:cubicBezTo>
                  <a:cubicBezTo>
                    <a:pt x="134" y="442"/>
                    <a:pt x="134" y="441"/>
                    <a:pt x="134" y="439"/>
                  </a:cubicBezTo>
                  <a:lnTo>
                    <a:pt x="141" y="401"/>
                  </a:lnTo>
                  <a:lnTo>
                    <a:pt x="115" y="411"/>
                  </a:lnTo>
                  <a:lnTo>
                    <a:pt x="113" y="411"/>
                  </a:lnTo>
                  <a:cubicBezTo>
                    <a:pt x="112" y="411"/>
                    <a:pt x="111" y="410"/>
                    <a:pt x="110" y="410"/>
                  </a:cubicBezTo>
                  <a:lnTo>
                    <a:pt x="42" y="342"/>
                  </a:lnTo>
                  <a:cubicBezTo>
                    <a:pt x="41" y="341"/>
                    <a:pt x="40" y="339"/>
                    <a:pt x="41" y="338"/>
                  </a:cubicBezTo>
                  <a:lnTo>
                    <a:pt x="49" y="291"/>
                  </a:lnTo>
                  <a:cubicBezTo>
                    <a:pt x="49" y="290"/>
                    <a:pt x="50" y="289"/>
                    <a:pt x="52" y="288"/>
                  </a:cubicBezTo>
                  <a:cubicBezTo>
                    <a:pt x="52" y="288"/>
                    <a:pt x="53" y="287"/>
                    <a:pt x="54" y="287"/>
                  </a:cubicBezTo>
                  <a:cubicBezTo>
                    <a:pt x="54" y="287"/>
                    <a:pt x="55" y="287"/>
                    <a:pt x="56" y="288"/>
                  </a:cubicBezTo>
                  <a:lnTo>
                    <a:pt x="80" y="298"/>
                  </a:lnTo>
                  <a:lnTo>
                    <a:pt x="106" y="215"/>
                  </a:lnTo>
                  <a:lnTo>
                    <a:pt x="30" y="241"/>
                  </a:lnTo>
                  <a:cubicBezTo>
                    <a:pt x="29" y="242"/>
                    <a:pt x="29" y="242"/>
                    <a:pt x="28" y="242"/>
                  </a:cubicBezTo>
                  <a:cubicBezTo>
                    <a:pt x="28" y="242"/>
                    <a:pt x="27" y="242"/>
                    <a:pt x="26" y="241"/>
                  </a:cubicBezTo>
                  <a:cubicBezTo>
                    <a:pt x="25" y="241"/>
                    <a:pt x="24" y="240"/>
                    <a:pt x="24" y="238"/>
                  </a:cubicBezTo>
                  <a:lnTo>
                    <a:pt x="20" y="221"/>
                  </a:lnTo>
                  <a:cubicBezTo>
                    <a:pt x="19" y="219"/>
                    <a:pt x="20" y="217"/>
                    <a:pt x="22" y="216"/>
                  </a:cubicBezTo>
                  <a:lnTo>
                    <a:pt x="101" y="163"/>
                  </a:lnTo>
                  <a:lnTo>
                    <a:pt x="66" y="157"/>
                  </a:lnTo>
                  <a:cubicBezTo>
                    <a:pt x="64" y="157"/>
                    <a:pt x="63" y="156"/>
                    <a:pt x="62" y="154"/>
                  </a:cubicBezTo>
                  <a:cubicBezTo>
                    <a:pt x="62" y="153"/>
                    <a:pt x="62" y="151"/>
                    <a:pt x="63" y="150"/>
                  </a:cubicBezTo>
                  <a:lnTo>
                    <a:pt x="126" y="52"/>
                  </a:lnTo>
                  <a:cubicBezTo>
                    <a:pt x="127" y="51"/>
                    <a:pt x="128" y="50"/>
                    <a:pt x="130" y="50"/>
                  </a:cubicBezTo>
                  <a:lnTo>
                    <a:pt x="131" y="50"/>
                  </a:lnTo>
                  <a:cubicBezTo>
                    <a:pt x="132" y="51"/>
                    <a:pt x="134" y="52"/>
                    <a:pt x="134" y="53"/>
                  </a:cubicBezTo>
                  <a:lnTo>
                    <a:pt x="140" y="67"/>
                  </a:lnTo>
                  <a:lnTo>
                    <a:pt x="162" y="43"/>
                  </a:lnTo>
                  <a:lnTo>
                    <a:pt x="116" y="43"/>
                  </a:lnTo>
                  <a:lnTo>
                    <a:pt x="49" y="146"/>
                  </a:lnTo>
                  <a:cubicBezTo>
                    <a:pt x="48" y="148"/>
                    <a:pt x="47" y="149"/>
                    <a:pt x="45" y="149"/>
                  </a:cubicBezTo>
                  <a:cubicBezTo>
                    <a:pt x="43" y="148"/>
                    <a:pt x="41" y="147"/>
                    <a:pt x="41" y="145"/>
                  </a:cubicBezTo>
                  <a:lnTo>
                    <a:pt x="37" y="128"/>
                  </a:lnTo>
                  <a:cubicBezTo>
                    <a:pt x="36" y="127"/>
                    <a:pt x="36" y="125"/>
                    <a:pt x="37" y="124"/>
                  </a:cubicBezTo>
                  <a:lnTo>
                    <a:pt x="49" y="109"/>
                  </a:lnTo>
                  <a:lnTo>
                    <a:pt x="46" y="90"/>
                  </a:lnTo>
                  <a:lnTo>
                    <a:pt x="32" y="105"/>
                  </a:lnTo>
                  <a:cubicBezTo>
                    <a:pt x="31" y="106"/>
                    <a:pt x="30" y="106"/>
                    <a:pt x="29" y="106"/>
                  </a:cubicBezTo>
                  <a:lnTo>
                    <a:pt x="27" y="106"/>
                  </a:lnTo>
                  <a:cubicBezTo>
                    <a:pt x="25" y="106"/>
                    <a:pt x="24" y="104"/>
                    <a:pt x="24" y="103"/>
                  </a:cubicBezTo>
                  <a:lnTo>
                    <a:pt x="15" y="69"/>
                  </a:lnTo>
                  <a:cubicBezTo>
                    <a:pt x="15" y="67"/>
                    <a:pt x="15" y="66"/>
                    <a:pt x="16" y="65"/>
                  </a:cubicBezTo>
                  <a:lnTo>
                    <a:pt x="50" y="21"/>
                  </a:lnTo>
                  <a:lnTo>
                    <a:pt x="21" y="30"/>
                  </a:lnTo>
                  <a:lnTo>
                    <a:pt x="20" y="30"/>
                  </a:lnTo>
                  <a:cubicBezTo>
                    <a:pt x="18" y="30"/>
                    <a:pt x="17" y="29"/>
                    <a:pt x="16" y="28"/>
                  </a:cubicBezTo>
                  <a:lnTo>
                    <a:pt x="0" y="0"/>
                  </a:lnTo>
                  <a:lnTo>
                    <a:pt x="21"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7" name="Freeform 362"/>
            <p:cNvSpPr>
              <a:spLocks noChangeArrowheads="1"/>
            </p:cNvSpPr>
            <p:nvPr/>
          </p:nvSpPr>
          <p:spPr bwMode="auto">
            <a:xfrm>
              <a:off x="4570413" y="1433513"/>
              <a:ext cx="234950" cy="304800"/>
            </a:xfrm>
            <a:custGeom>
              <a:avLst/>
              <a:gdLst/>
              <a:ahLst/>
              <a:cxnLst>
                <a:cxn ang="0">
                  <a:pos x="510" y="47"/>
                </a:cxn>
                <a:cxn ang="0">
                  <a:pos x="539" y="12"/>
                </a:cxn>
                <a:cxn ang="0">
                  <a:pos x="618" y="73"/>
                </a:cxn>
                <a:cxn ang="0">
                  <a:pos x="617" y="81"/>
                </a:cxn>
                <a:cxn ang="0">
                  <a:pos x="649" y="142"/>
                </a:cxn>
                <a:cxn ang="0">
                  <a:pos x="624" y="205"/>
                </a:cxn>
                <a:cxn ang="0">
                  <a:pos x="567" y="233"/>
                </a:cxn>
                <a:cxn ang="0">
                  <a:pos x="563" y="233"/>
                </a:cxn>
                <a:cxn ang="0">
                  <a:pos x="448" y="213"/>
                </a:cxn>
                <a:cxn ang="0">
                  <a:pos x="624" y="228"/>
                </a:cxn>
                <a:cxn ang="0">
                  <a:pos x="626" y="237"/>
                </a:cxn>
                <a:cxn ang="0">
                  <a:pos x="603" y="267"/>
                </a:cxn>
                <a:cxn ang="0">
                  <a:pos x="568" y="308"/>
                </a:cxn>
                <a:cxn ang="0">
                  <a:pos x="562" y="308"/>
                </a:cxn>
                <a:cxn ang="0">
                  <a:pos x="492" y="342"/>
                </a:cxn>
                <a:cxn ang="0">
                  <a:pos x="446" y="352"/>
                </a:cxn>
                <a:cxn ang="0">
                  <a:pos x="480" y="364"/>
                </a:cxn>
                <a:cxn ang="0">
                  <a:pos x="449" y="378"/>
                </a:cxn>
                <a:cxn ang="0">
                  <a:pos x="476" y="398"/>
                </a:cxn>
                <a:cxn ang="0">
                  <a:pos x="468" y="462"/>
                </a:cxn>
                <a:cxn ang="0">
                  <a:pos x="468" y="533"/>
                </a:cxn>
                <a:cxn ang="0">
                  <a:pos x="404" y="737"/>
                </a:cxn>
                <a:cxn ang="0">
                  <a:pos x="256" y="843"/>
                </a:cxn>
                <a:cxn ang="0">
                  <a:pos x="141" y="847"/>
                </a:cxn>
                <a:cxn ang="0">
                  <a:pos x="137" y="840"/>
                </a:cxn>
                <a:cxn ang="0">
                  <a:pos x="111" y="730"/>
                </a:cxn>
                <a:cxn ang="0">
                  <a:pos x="114" y="723"/>
                </a:cxn>
                <a:cxn ang="0">
                  <a:pos x="124" y="695"/>
                </a:cxn>
                <a:cxn ang="0">
                  <a:pos x="147" y="672"/>
                </a:cxn>
                <a:cxn ang="0">
                  <a:pos x="64" y="483"/>
                </a:cxn>
                <a:cxn ang="0">
                  <a:pos x="47" y="478"/>
                </a:cxn>
                <a:cxn ang="0">
                  <a:pos x="25" y="436"/>
                </a:cxn>
                <a:cxn ang="0">
                  <a:pos x="23" y="429"/>
                </a:cxn>
                <a:cxn ang="0">
                  <a:pos x="41" y="401"/>
                </a:cxn>
                <a:cxn ang="0">
                  <a:pos x="22" y="411"/>
                </a:cxn>
                <a:cxn ang="0">
                  <a:pos x="18" y="408"/>
                </a:cxn>
                <a:cxn ang="0">
                  <a:pos x="0" y="297"/>
                </a:cxn>
                <a:cxn ang="0">
                  <a:pos x="10" y="270"/>
                </a:cxn>
                <a:cxn ang="0">
                  <a:pos x="18" y="310"/>
                </a:cxn>
                <a:cxn ang="0">
                  <a:pos x="47" y="245"/>
                </a:cxn>
                <a:cxn ang="0">
                  <a:pos x="60" y="142"/>
                </a:cxn>
                <a:cxn ang="0">
                  <a:pos x="119" y="33"/>
                </a:cxn>
                <a:cxn ang="0">
                  <a:pos x="507" y="0"/>
                </a:cxn>
                <a:cxn ang="0">
                  <a:pos x="477" y="89"/>
                </a:cxn>
                <a:cxn ang="0">
                  <a:pos x="450" y="93"/>
                </a:cxn>
              </a:cxnLst>
              <a:rect l="0" t="0" r="r" b="b"/>
              <a:pathLst>
                <a:path w="651" h="848">
                  <a:moveTo>
                    <a:pt x="507" y="0"/>
                  </a:moveTo>
                  <a:lnTo>
                    <a:pt x="510" y="47"/>
                  </a:lnTo>
                  <a:lnTo>
                    <a:pt x="536" y="14"/>
                  </a:lnTo>
                  <a:cubicBezTo>
                    <a:pt x="536" y="13"/>
                    <a:pt x="537" y="13"/>
                    <a:pt x="539" y="12"/>
                  </a:cubicBezTo>
                  <a:cubicBezTo>
                    <a:pt x="540" y="12"/>
                    <a:pt x="541" y="13"/>
                    <a:pt x="542" y="13"/>
                  </a:cubicBezTo>
                  <a:lnTo>
                    <a:pt x="618" y="73"/>
                  </a:lnTo>
                  <a:cubicBezTo>
                    <a:pt x="620" y="74"/>
                    <a:pt x="620" y="76"/>
                    <a:pt x="620" y="77"/>
                  </a:cubicBezTo>
                  <a:cubicBezTo>
                    <a:pt x="620" y="79"/>
                    <a:pt x="619" y="80"/>
                    <a:pt x="617" y="81"/>
                  </a:cubicBezTo>
                  <a:lnTo>
                    <a:pt x="610" y="83"/>
                  </a:lnTo>
                  <a:lnTo>
                    <a:pt x="649" y="142"/>
                  </a:lnTo>
                  <a:cubicBezTo>
                    <a:pt x="650" y="143"/>
                    <a:pt x="650" y="145"/>
                    <a:pt x="650" y="146"/>
                  </a:cubicBezTo>
                  <a:lnTo>
                    <a:pt x="624" y="205"/>
                  </a:lnTo>
                  <a:cubicBezTo>
                    <a:pt x="624" y="206"/>
                    <a:pt x="623" y="207"/>
                    <a:pt x="622" y="208"/>
                  </a:cubicBezTo>
                  <a:lnTo>
                    <a:pt x="567" y="233"/>
                  </a:lnTo>
                  <a:lnTo>
                    <a:pt x="565" y="233"/>
                  </a:lnTo>
                  <a:lnTo>
                    <a:pt x="563" y="233"/>
                  </a:lnTo>
                  <a:lnTo>
                    <a:pt x="492" y="200"/>
                  </a:lnTo>
                  <a:lnTo>
                    <a:pt x="448" y="213"/>
                  </a:lnTo>
                  <a:lnTo>
                    <a:pt x="516" y="241"/>
                  </a:lnTo>
                  <a:lnTo>
                    <a:pt x="624" y="228"/>
                  </a:lnTo>
                  <a:cubicBezTo>
                    <a:pt x="626" y="228"/>
                    <a:pt x="628" y="230"/>
                    <a:pt x="628" y="232"/>
                  </a:cubicBezTo>
                  <a:cubicBezTo>
                    <a:pt x="629" y="234"/>
                    <a:pt x="628" y="236"/>
                    <a:pt x="626" y="237"/>
                  </a:cubicBezTo>
                  <a:lnTo>
                    <a:pt x="603" y="249"/>
                  </a:lnTo>
                  <a:lnTo>
                    <a:pt x="603" y="267"/>
                  </a:lnTo>
                  <a:cubicBezTo>
                    <a:pt x="603" y="268"/>
                    <a:pt x="603" y="269"/>
                    <a:pt x="602" y="270"/>
                  </a:cubicBezTo>
                  <a:lnTo>
                    <a:pt x="568" y="308"/>
                  </a:lnTo>
                  <a:cubicBezTo>
                    <a:pt x="567" y="309"/>
                    <a:pt x="566" y="310"/>
                    <a:pt x="565" y="310"/>
                  </a:cubicBezTo>
                  <a:cubicBezTo>
                    <a:pt x="564" y="310"/>
                    <a:pt x="563" y="309"/>
                    <a:pt x="562" y="308"/>
                  </a:cubicBezTo>
                  <a:lnTo>
                    <a:pt x="536" y="286"/>
                  </a:lnTo>
                  <a:lnTo>
                    <a:pt x="492" y="342"/>
                  </a:lnTo>
                  <a:cubicBezTo>
                    <a:pt x="491" y="342"/>
                    <a:pt x="490" y="343"/>
                    <a:pt x="489" y="343"/>
                  </a:cubicBezTo>
                  <a:lnTo>
                    <a:pt x="446" y="352"/>
                  </a:lnTo>
                  <a:lnTo>
                    <a:pt x="477" y="360"/>
                  </a:lnTo>
                  <a:cubicBezTo>
                    <a:pt x="479" y="360"/>
                    <a:pt x="480" y="362"/>
                    <a:pt x="480" y="364"/>
                  </a:cubicBezTo>
                  <a:cubicBezTo>
                    <a:pt x="481" y="366"/>
                    <a:pt x="479" y="368"/>
                    <a:pt x="477" y="369"/>
                  </a:cubicBezTo>
                  <a:lnTo>
                    <a:pt x="449" y="378"/>
                  </a:lnTo>
                  <a:lnTo>
                    <a:pt x="474" y="394"/>
                  </a:lnTo>
                  <a:cubicBezTo>
                    <a:pt x="476" y="395"/>
                    <a:pt x="476" y="396"/>
                    <a:pt x="476" y="398"/>
                  </a:cubicBezTo>
                  <a:lnTo>
                    <a:pt x="472" y="458"/>
                  </a:lnTo>
                  <a:cubicBezTo>
                    <a:pt x="472" y="460"/>
                    <a:pt x="470" y="461"/>
                    <a:pt x="468" y="462"/>
                  </a:cubicBezTo>
                  <a:lnTo>
                    <a:pt x="456" y="465"/>
                  </a:lnTo>
                  <a:lnTo>
                    <a:pt x="468" y="533"/>
                  </a:lnTo>
                  <a:lnTo>
                    <a:pt x="408" y="734"/>
                  </a:lnTo>
                  <a:cubicBezTo>
                    <a:pt x="408" y="735"/>
                    <a:pt x="406" y="737"/>
                    <a:pt x="404" y="737"/>
                  </a:cubicBezTo>
                  <a:lnTo>
                    <a:pt x="280" y="749"/>
                  </a:lnTo>
                  <a:lnTo>
                    <a:pt x="256" y="843"/>
                  </a:lnTo>
                  <a:cubicBezTo>
                    <a:pt x="255" y="846"/>
                    <a:pt x="253" y="847"/>
                    <a:pt x="251" y="847"/>
                  </a:cubicBezTo>
                  <a:lnTo>
                    <a:pt x="141" y="847"/>
                  </a:lnTo>
                  <a:cubicBezTo>
                    <a:pt x="139" y="847"/>
                    <a:pt x="138" y="846"/>
                    <a:pt x="137" y="844"/>
                  </a:cubicBezTo>
                  <a:cubicBezTo>
                    <a:pt x="136" y="843"/>
                    <a:pt x="136" y="841"/>
                    <a:pt x="137" y="840"/>
                  </a:cubicBezTo>
                  <a:lnTo>
                    <a:pt x="153" y="812"/>
                  </a:lnTo>
                  <a:lnTo>
                    <a:pt x="111" y="730"/>
                  </a:lnTo>
                  <a:lnTo>
                    <a:pt x="111" y="726"/>
                  </a:lnTo>
                  <a:lnTo>
                    <a:pt x="114" y="723"/>
                  </a:lnTo>
                  <a:lnTo>
                    <a:pt x="131" y="717"/>
                  </a:lnTo>
                  <a:lnTo>
                    <a:pt x="124" y="695"/>
                  </a:lnTo>
                  <a:cubicBezTo>
                    <a:pt x="123" y="694"/>
                    <a:pt x="124" y="692"/>
                    <a:pt x="125" y="690"/>
                  </a:cubicBezTo>
                  <a:lnTo>
                    <a:pt x="147" y="672"/>
                  </a:lnTo>
                  <a:lnTo>
                    <a:pt x="61" y="549"/>
                  </a:lnTo>
                  <a:lnTo>
                    <a:pt x="64" y="483"/>
                  </a:lnTo>
                  <a:lnTo>
                    <a:pt x="52" y="483"/>
                  </a:lnTo>
                  <a:cubicBezTo>
                    <a:pt x="49" y="483"/>
                    <a:pt x="47" y="481"/>
                    <a:pt x="47" y="478"/>
                  </a:cubicBezTo>
                  <a:lnTo>
                    <a:pt x="47" y="444"/>
                  </a:lnTo>
                  <a:lnTo>
                    <a:pt x="25" y="436"/>
                  </a:lnTo>
                  <a:cubicBezTo>
                    <a:pt x="23" y="436"/>
                    <a:pt x="22" y="434"/>
                    <a:pt x="22" y="433"/>
                  </a:cubicBezTo>
                  <a:cubicBezTo>
                    <a:pt x="21" y="431"/>
                    <a:pt x="22" y="430"/>
                    <a:pt x="23" y="429"/>
                  </a:cubicBezTo>
                  <a:lnTo>
                    <a:pt x="42" y="405"/>
                  </a:lnTo>
                  <a:lnTo>
                    <a:pt x="41" y="401"/>
                  </a:lnTo>
                  <a:lnTo>
                    <a:pt x="25" y="410"/>
                  </a:lnTo>
                  <a:cubicBezTo>
                    <a:pt x="24" y="411"/>
                    <a:pt x="23" y="411"/>
                    <a:pt x="22" y="411"/>
                  </a:cubicBezTo>
                  <a:lnTo>
                    <a:pt x="21" y="411"/>
                  </a:lnTo>
                  <a:cubicBezTo>
                    <a:pt x="19" y="410"/>
                    <a:pt x="18" y="409"/>
                    <a:pt x="18" y="408"/>
                  </a:cubicBezTo>
                  <a:lnTo>
                    <a:pt x="5" y="374"/>
                  </a:lnTo>
                  <a:lnTo>
                    <a:pt x="0" y="297"/>
                  </a:lnTo>
                  <a:lnTo>
                    <a:pt x="5" y="274"/>
                  </a:lnTo>
                  <a:cubicBezTo>
                    <a:pt x="5" y="272"/>
                    <a:pt x="7" y="270"/>
                    <a:pt x="10" y="270"/>
                  </a:cubicBezTo>
                  <a:cubicBezTo>
                    <a:pt x="12" y="271"/>
                    <a:pt x="14" y="272"/>
                    <a:pt x="14" y="275"/>
                  </a:cubicBezTo>
                  <a:lnTo>
                    <a:pt x="18" y="310"/>
                  </a:lnTo>
                  <a:lnTo>
                    <a:pt x="35" y="301"/>
                  </a:lnTo>
                  <a:lnTo>
                    <a:pt x="47" y="245"/>
                  </a:lnTo>
                  <a:lnTo>
                    <a:pt x="39" y="204"/>
                  </a:lnTo>
                  <a:lnTo>
                    <a:pt x="60" y="142"/>
                  </a:lnTo>
                  <a:lnTo>
                    <a:pt x="107" y="108"/>
                  </a:lnTo>
                  <a:lnTo>
                    <a:pt x="119" y="33"/>
                  </a:lnTo>
                  <a:lnTo>
                    <a:pt x="102" y="0"/>
                  </a:lnTo>
                  <a:lnTo>
                    <a:pt x="507" y="0"/>
                  </a:lnTo>
                  <a:close/>
                  <a:moveTo>
                    <a:pt x="450" y="93"/>
                  </a:moveTo>
                  <a:lnTo>
                    <a:pt x="477" y="89"/>
                  </a:lnTo>
                  <a:lnTo>
                    <a:pt x="499" y="60"/>
                  </a:lnTo>
                  <a:lnTo>
                    <a:pt x="450" y="93"/>
                  </a:lnTo>
                  <a:close/>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8" name="Freeform 363"/>
            <p:cNvSpPr>
              <a:spLocks noChangeArrowheads="1"/>
            </p:cNvSpPr>
            <p:nvPr/>
          </p:nvSpPr>
          <p:spPr bwMode="auto">
            <a:xfrm>
              <a:off x="4570413" y="1433513"/>
              <a:ext cx="234950" cy="304800"/>
            </a:xfrm>
            <a:custGeom>
              <a:avLst/>
              <a:gdLst/>
              <a:ahLst/>
              <a:cxnLst>
                <a:cxn ang="0">
                  <a:pos x="510" y="47"/>
                </a:cxn>
                <a:cxn ang="0">
                  <a:pos x="539" y="12"/>
                </a:cxn>
                <a:cxn ang="0">
                  <a:pos x="618" y="73"/>
                </a:cxn>
                <a:cxn ang="0">
                  <a:pos x="617" y="81"/>
                </a:cxn>
                <a:cxn ang="0">
                  <a:pos x="649" y="142"/>
                </a:cxn>
                <a:cxn ang="0">
                  <a:pos x="624" y="205"/>
                </a:cxn>
                <a:cxn ang="0">
                  <a:pos x="567" y="233"/>
                </a:cxn>
                <a:cxn ang="0">
                  <a:pos x="563" y="233"/>
                </a:cxn>
                <a:cxn ang="0">
                  <a:pos x="448" y="213"/>
                </a:cxn>
                <a:cxn ang="0">
                  <a:pos x="624" y="228"/>
                </a:cxn>
                <a:cxn ang="0">
                  <a:pos x="626" y="237"/>
                </a:cxn>
                <a:cxn ang="0">
                  <a:pos x="603" y="267"/>
                </a:cxn>
                <a:cxn ang="0">
                  <a:pos x="568" y="308"/>
                </a:cxn>
                <a:cxn ang="0">
                  <a:pos x="562" y="308"/>
                </a:cxn>
                <a:cxn ang="0">
                  <a:pos x="492" y="342"/>
                </a:cxn>
                <a:cxn ang="0">
                  <a:pos x="446" y="352"/>
                </a:cxn>
                <a:cxn ang="0">
                  <a:pos x="480" y="364"/>
                </a:cxn>
                <a:cxn ang="0">
                  <a:pos x="449" y="378"/>
                </a:cxn>
                <a:cxn ang="0">
                  <a:pos x="476" y="398"/>
                </a:cxn>
                <a:cxn ang="0">
                  <a:pos x="468" y="462"/>
                </a:cxn>
                <a:cxn ang="0">
                  <a:pos x="468" y="533"/>
                </a:cxn>
                <a:cxn ang="0">
                  <a:pos x="404" y="737"/>
                </a:cxn>
                <a:cxn ang="0">
                  <a:pos x="256" y="843"/>
                </a:cxn>
                <a:cxn ang="0">
                  <a:pos x="141" y="847"/>
                </a:cxn>
                <a:cxn ang="0">
                  <a:pos x="137" y="840"/>
                </a:cxn>
                <a:cxn ang="0">
                  <a:pos x="111" y="730"/>
                </a:cxn>
                <a:cxn ang="0">
                  <a:pos x="114" y="723"/>
                </a:cxn>
                <a:cxn ang="0">
                  <a:pos x="124" y="695"/>
                </a:cxn>
                <a:cxn ang="0">
                  <a:pos x="147" y="672"/>
                </a:cxn>
                <a:cxn ang="0">
                  <a:pos x="64" y="483"/>
                </a:cxn>
                <a:cxn ang="0">
                  <a:pos x="47" y="478"/>
                </a:cxn>
                <a:cxn ang="0">
                  <a:pos x="25" y="436"/>
                </a:cxn>
                <a:cxn ang="0">
                  <a:pos x="23" y="429"/>
                </a:cxn>
                <a:cxn ang="0">
                  <a:pos x="41" y="401"/>
                </a:cxn>
                <a:cxn ang="0">
                  <a:pos x="22" y="411"/>
                </a:cxn>
                <a:cxn ang="0">
                  <a:pos x="18" y="408"/>
                </a:cxn>
                <a:cxn ang="0">
                  <a:pos x="0" y="297"/>
                </a:cxn>
                <a:cxn ang="0">
                  <a:pos x="10" y="270"/>
                </a:cxn>
                <a:cxn ang="0">
                  <a:pos x="18" y="310"/>
                </a:cxn>
                <a:cxn ang="0">
                  <a:pos x="47" y="245"/>
                </a:cxn>
                <a:cxn ang="0">
                  <a:pos x="60" y="142"/>
                </a:cxn>
                <a:cxn ang="0">
                  <a:pos x="119" y="33"/>
                </a:cxn>
                <a:cxn ang="0">
                  <a:pos x="507" y="0"/>
                </a:cxn>
              </a:cxnLst>
              <a:rect l="0" t="0" r="r" b="b"/>
              <a:pathLst>
                <a:path w="651" h="848">
                  <a:moveTo>
                    <a:pt x="507" y="0"/>
                  </a:moveTo>
                  <a:lnTo>
                    <a:pt x="510" y="47"/>
                  </a:lnTo>
                  <a:lnTo>
                    <a:pt x="536" y="14"/>
                  </a:lnTo>
                  <a:cubicBezTo>
                    <a:pt x="536" y="13"/>
                    <a:pt x="537" y="13"/>
                    <a:pt x="539" y="12"/>
                  </a:cubicBezTo>
                  <a:cubicBezTo>
                    <a:pt x="540" y="12"/>
                    <a:pt x="541" y="13"/>
                    <a:pt x="542" y="13"/>
                  </a:cubicBezTo>
                  <a:lnTo>
                    <a:pt x="618" y="73"/>
                  </a:lnTo>
                  <a:cubicBezTo>
                    <a:pt x="620" y="74"/>
                    <a:pt x="620" y="76"/>
                    <a:pt x="620" y="77"/>
                  </a:cubicBezTo>
                  <a:cubicBezTo>
                    <a:pt x="620" y="79"/>
                    <a:pt x="619" y="80"/>
                    <a:pt x="617" y="81"/>
                  </a:cubicBezTo>
                  <a:lnTo>
                    <a:pt x="610" y="83"/>
                  </a:lnTo>
                  <a:lnTo>
                    <a:pt x="649" y="142"/>
                  </a:lnTo>
                  <a:cubicBezTo>
                    <a:pt x="650" y="143"/>
                    <a:pt x="650" y="145"/>
                    <a:pt x="650" y="146"/>
                  </a:cubicBezTo>
                  <a:lnTo>
                    <a:pt x="624" y="205"/>
                  </a:lnTo>
                  <a:cubicBezTo>
                    <a:pt x="624" y="206"/>
                    <a:pt x="623" y="207"/>
                    <a:pt x="622" y="208"/>
                  </a:cubicBezTo>
                  <a:lnTo>
                    <a:pt x="567" y="233"/>
                  </a:lnTo>
                  <a:lnTo>
                    <a:pt x="565" y="233"/>
                  </a:lnTo>
                  <a:lnTo>
                    <a:pt x="563" y="233"/>
                  </a:lnTo>
                  <a:lnTo>
                    <a:pt x="492" y="200"/>
                  </a:lnTo>
                  <a:lnTo>
                    <a:pt x="448" y="213"/>
                  </a:lnTo>
                  <a:lnTo>
                    <a:pt x="516" y="241"/>
                  </a:lnTo>
                  <a:lnTo>
                    <a:pt x="624" y="228"/>
                  </a:lnTo>
                  <a:cubicBezTo>
                    <a:pt x="626" y="228"/>
                    <a:pt x="628" y="230"/>
                    <a:pt x="628" y="232"/>
                  </a:cubicBezTo>
                  <a:cubicBezTo>
                    <a:pt x="629" y="234"/>
                    <a:pt x="628" y="236"/>
                    <a:pt x="626" y="237"/>
                  </a:cubicBezTo>
                  <a:lnTo>
                    <a:pt x="603" y="249"/>
                  </a:lnTo>
                  <a:lnTo>
                    <a:pt x="603" y="267"/>
                  </a:lnTo>
                  <a:cubicBezTo>
                    <a:pt x="603" y="268"/>
                    <a:pt x="603" y="269"/>
                    <a:pt x="602" y="270"/>
                  </a:cubicBezTo>
                  <a:lnTo>
                    <a:pt x="568" y="308"/>
                  </a:lnTo>
                  <a:cubicBezTo>
                    <a:pt x="567" y="309"/>
                    <a:pt x="566" y="310"/>
                    <a:pt x="565" y="310"/>
                  </a:cubicBezTo>
                  <a:cubicBezTo>
                    <a:pt x="564" y="310"/>
                    <a:pt x="563" y="309"/>
                    <a:pt x="562" y="308"/>
                  </a:cubicBezTo>
                  <a:lnTo>
                    <a:pt x="536" y="286"/>
                  </a:lnTo>
                  <a:lnTo>
                    <a:pt x="492" y="342"/>
                  </a:lnTo>
                  <a:cubicBezTo>
                    <a:pt x="491" y="342"/>
                    <a:pt x="490" y="343"/>
                    <a:pt x="489" y="343"/>
                  </a:cubicBezTo>
                  <a:lnTo>
                    <a:pt x="446" y="352"/>
                  </a:lnTo>
                  <a:lnTo>
                    <a:pt x="477" y="360"/>
                  </a:lnTo>
                  <a:cubicBezTo>
                    <a:pt x="479" y="360"/>
                    <a:pt x="480" y="362"/>
                    <a:pt x="480" y="364"/>
                  </a:cubicBezTo>
                  <a:cubicBezTo>
                    <a:pt x="481" y="366"/>
                    <a:pt x="479" y="368"/>
                    <a:pt x="477" y="369"/>
                  </a:cubicBezTo>
                  <a:lnTo>
                    <a:pt x="449" y="378"/>
                  </a:lnTo>
                  <a:lnTo>
                    <a:pt x="474" y="394"/>
                  </a:lnTo>
                  <a:cubicBezTo>
                    <a:pt x="476" y="395"/>
                    <a:pt x="476" y="396"/>
                    <a:pt x="476" y="398"/>
                  </a:cubicBezTo>
                  <a:lnTo>
                    <a:pt x="472" y="458"/>
                  </a:lnTo>
                  <a:cubicBezTo>
                    <a:pt x="472" y="460"/>
                    <a:pt x="470" y="461"/>
                    <a:pt x="468" y="462"/>
                  </a:cubicBezTo>
                  <a:lnTo>
                    <a:pt x="456" y="465"/>
                  </a:lnTo>
                  <a:lnTo>
                    <a:pt x="468" y="533"/>
                  </a:lnTo>
                  <a:lnTo>
                    <a:pt x="408" y="734"/>
                  </a:lnTo>
                  <a:cubicBezTo>
                    <a:pt x="408" y="735"/>
                    <a:pt x="406" y="737"/>
                    <a:pt x="404" y="737"/>
                  </a:cubicBezTo>
                  <a:lnTo>
                    <a:pt x="280" y="749"/>
                  </a:lnTo>
                  <a:lnTo>
                    <a:pt x="256" y="843"/>
                  </a:lnTo>
                  <a:cubicBezTo>
                    <a:pt x="255" y="846"/>
                    <a:pt x="253" y="847"/>
                    <a:pt x="251" y="847"/>
                  </a:cubicBezTo>
                  <a:lnTo>
                    <a:pt x="141" y="847"/>
                  </a:lnTo>
                  <a:cubicBezTo>
                    <a:pt x="139" y="847"/>
                    <a:pt x="138" y="846"/>
                    <a:pt x="137" y="844"/>
                  </a:cubicBezTo>
                  <a:cubicBezTo>
                    <a:pt x="136" y="843"/>
                    <a:pt x="136" y="841"/>
                    <a:pt x="137" y="840"/>
                  </a:cubicBezTo>
                  <a:lnTo>
                    <a:pt x="153" y="812"/>
                  </a:lnTo>
                  <a:lnTo>
                    <a:pt x="111" y="730"/>
                  </a:lnTo>
                  <a:lnTo>
                    <a:pt x="111" y="726"/>
                  </a:lnTo>
                  <a:lnTo>
                    <a:pt x="114" y="723"/>
                  </a:lnTo>
                  <a:lnTo>
                    <a:pt x="131" y="717"/>
                  </a:lnTo>
                  <a:lnTo>
                    <a:pt x="124" y="695"/>
                  </a:lnTo>
                  <a:cubicBezTo>
                    <a:pt x="123" y="694"/>
                    <a:pt x="124" y="692"/>
                    <a:pt x="125" y="690"/>
                  </a:cubicBezTo>
                  <a:lnTo>
                    <a:pt x="147" y="672"/>
                  </a:lnTo>
                  <a:lnTo>
                    <a:pt x="61" y="549"/>
                  </a:lnTo>
                  <a:lnTo>
                    <a:pt x="64" y="483"/>
                  </a:lnTo>
                  <a:lnTo>
                    <a:pt x="52" y="483"/>
                  </a:lnTo>
                  <a:cubicBezTo>
                    <a:pt x="49" y="483"/>
                    <a:pt x="47" y="481"/>
                    <a:pt x="47" y="478"/>
                  </a:cubicBezTo>
                  <a:lnTo>
                    <a:pt x="47" y="444"/>
                  </a:lnTo>
                  <a:lnTo>
                    <a:pt x="25" y="436"/>
                  </a:lnTo>
                  <a:cubicBezTo>
                    <a:pt x="23" y="436"/>
                    <a:pt x="22" y="434"/>
                    <a:pt x="22" y="433"/>
                  </a:cubicBezTo>
                  <a:cubicBezTo>
                    <a:pt x="21" y="431"/>
                    <a:pt x="22" y="430"/>
                    <a:pt x="23" y="429"/>
                  </a:cubicBezTo>
                  <a:lnTo>
                    <a:pt x="42" y="405"/>
                  </a:lnTo>
                  <a:lnTo>
                    <a:pt x="41" y="401"/>
                  </a:lnTo>
                  <a:lnTo>
                    <a:pt x="25" y="410"/>
                  </a:lnTo>
                  <a:cubicBezTo>
                    <a:pt x="24" y="411"/>
                    <a:pt x="23" y="411"/>
                    <a:pt x="22" y="411"/>
                  </a:cubicBezTo>
                  <a:lnTo>
                    <a:pt x="21" y="411"/>
                  </a:lnTo>
                  <a:cubicBezTo>
                    <a:pt x="19" y="410"/>
                    <a:pt x="18" y="409"/>
                    <a:pt x="18" y="408"/>
                  </a:cubicBezTo>
                  <a:lnTo>
                    <a:pt x="5" y="374"/>
                  </a:lnTo>
                  <a:lnTo>
                    <a:pt x="0" y="297"/>
                  </a:lnTo>
                  <a:lnTo>
                    <a:pt x="5" y="274"/>
                  </a:lnTo>
                  <a:cubicBezTo>
                    <a:pt x="5" y="272"/>
                    <a:pt x="7" y="270"/>
                    <a:pt x="10" y="270"/>
                  </a:cubicBezTo>
                  <a:cubicBezTo>
                    <a:pt x="12" y="271"/>
                    <a:pt x="14" y="272"/>
                    <a:pt x="14" y="275"/>
                  </a:cubicBezTo>
                  <a:lnTo>
                    <a:pt x="18" y="310"/>
                  </a:lnTo>
                  <a:lnTo>
                    <a:pt x="35" y="301"/>
                  </a:lnTo>
                  <a:lnTo>
                    <a:pt x="47" y="245"/>
                  </a:lnTo>
                  <a:lnTo>
                    <a:pt x="39" y="204"/>
                  </a:lnTo>
                  <a:lnTo>
                    <a:pt x="60" y="142"/>
                  </a:lnTo>
                  <a:lnTo>
                    <a:pt x="107" y="108"/>
                  </a:lnTo>
                  <a:lnTo>
                    <a:pt x="119" y="33"/>
                  </a:lnTo>
                  <a:lnTo>
                    <a:pt x="102" y="0"/>
                  </a:lnTo>
                  <a:lnTo>
                    <a:pt x="507"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69" name="Freeform 364"/>
            <p:cNvSpPr>
              <a:spLocks noChangeArrowheads="1"/>
            </p:cNvSpPr>
            <p:nvPr/>
          </p:nvSpPr>
          <p:spPr bwMode="auto">
            <a:xfrm>
              <a:off x="4732338" y="1455738"/>
              <a:ext cx="17462" cy="12700"/>
            </a:xfrm>
            <a:custGeom>
              <a:avLst/>
              <a:gdLst/>
              <a:ahLst/>
              <a:cxnLst>
                <a:cxn ang="0">
                  <a:pos x="0" y="33"/>
                </a:cxn>
                <a:cxn ang="0">
                  <a:pos x="49" y="0"/>
                </a:cxn>
                <a:cxn ang="0">
                  <a:pos x="27" y="29"/>
                </a:cxn>
                <a:cxn ang="0">
                  <a:pos x="0" y="33"/>
                </a:cxn>
              </a:cxnLst>
              <a:rect l="0" t="0" r="r" b="b"/>
              <a:pathLst>
                <a:path w="50" h="34">
                  <a:moveTo>
                    <a:pt x="0" y="33"/>
                  </a:moveTo>
                  <a:lnTo>
                    <a:pt x="49" y="0"/>
                  </a:lnTo>
                  <a:lnTo>
                    <a:pt x="27" y="29"/>
                  </a:lnTo>
                  <a:lnTo>
                    <a:pt x="0" y="3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0" name="Freeform 365"/>
            <p:cNvSpPr>
              <a:spLocks noChangeArrowheads="1"/>
            </p:cNvSpPr>
            <p:nvPr/>
          </p:nvSpPr>
          <p:spPr bwMode="auto">
            <a:xfrm>
              <a:off x="4781550" y="1600200"/>
              <a:ext cx="28575" cy="55563"/>
            </a:xfrm>
            <a:custGeom>
              <a:avLst/>
              <a:gdLst/>
              <a:ahLst/>
              <a:cxnLst>
                <a:cxn ang="0">
                  <a:pos x="3" y="153"/>
                </a:cxn>
                <a:cxn ang="0">
                  <a:pos x="0" y="148"/>
                </a:cxn>
                <a:cxn ang="0">
                  <a:pos x="4" y="59"/>
                </a:cxn>
                <a:cxn ang="0">
                  <a:pos x="43" y="2"/>
                </a:cxn>
                <a:cxn ang="0">
                  <a:pos x="47" y="0"/>
                </a:cxn>
                <a:cxn ang="0">
                  <a:pos x="73" y="0"/>
                </a:cxn>
                <a:cxn ang="0">
                  <a:pos x="77" y="2"/>
                </a:cxn>
                <a:cxn ang="0">
                  <a:pos x="77" y="7"/>
                </a:cxn>
                <a:cxn ang="0">
                  <a:pos x="64" y="32"/>
                </a:cxn>
                <a:cxn ang="0">
                  <a:pos x="69" y="80"/>
                </a:cxn>
                <a:cxn ang="0">
                  <a:pos x="68" y="84"/>
                </a:cxn>
                <a:cxn ang="0">
                  <a:pos x="8" y="151"/>
                </a:cxn>
                <a:cxn ang="0">
                  <a:pos x="5" y="153"/>
                </a:cxn>
                <a:cxn ang="0">
                  <a:pos x="3" y="153"/>
                </a:cxn>
              </a:cxnLst>
              <a:rect l="0" t="0" r="r" b="b"/>
              <a:pathLst>
                <a:path w="79" h="154">
                  <a:moveTo>
                    <a:pt x="3" y="153"/>
                  </a:moveTo>
                  <a:cubicBezTo>
                    <a:pt x="1" y="152"/>
                    <a:pt x="0" y="150"/>
                    <a:pt x="0" y="148"/>
                  </a:cubicBezTo>
                  <a:lnTo>
                    <a:pt x="4" y="59"/>
                  </a:lnTo>
                  <a:lnTo>
                    <a:pt x="43" y="2"/>
                  </a:lnTo>
                  <a:cubicBezTo>
                    <a:pt x="44" y="1"/>
                    <a:pt x="46" y="0"/>
                    <a:pt x="47" y="0"/>
                  </a:cubicBezTo>
                  <a:lnTo>
                    <a:pt x="73" y="0"/>
                  </a:lnTo>
                  <a:cubicBezTo>
                    <a:pt x="74" y="0"/>
                    <a:pt x="76" y="1"/>
                    <a:pt x="77" y="2"/>
                  </a:cubicBezTo>
                  <a:cubicBezTo>
                    <a:pt x="78" y="3"/>
                    <a:pt x="78" y="5"/>
                    <a:pt x="77" y="7"/>
                  </a:cubicBezTo>
                  <a:lnTo>
                    <a:pt x="64" y="32"/>
                  </a:lnTo>
                  <a:lnTo>
                    <a:pt x="69" y="80"/>
                  </a:lnTo>
                  <a:cubicBezTo>
                    <a:pt x="69" y="82"/>
                    <a:pt x="69" y="83"/>
                    <a:pt x="68" y="84"/>
                  </a:cubicBezTo>
                  <a:lnTo>
                    <a:pt x="8" y="151"/>
                  </a:lnTo>
                  <a:cubicBezTo>
                    <a:pt x="8" y="152"/>
                    <a:pt x="6" y="153"/>
                    <a:pt x="5" y="153"/>
                  </a:cubicBezTo>
                  <a:cubicBezTo>
                    <a:pt x="4" y="153"/>
                    <a:pt x="4" y="153"/>
                    <a:pt x="3" y="15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1" name="Freeform 366"/>
            <p:cNvSpPr>
              <a:spLocks noChangeArrowheads="1"/>
            </p:cNvSpPr>
            <p:nvPr/>
          </p:nvSpPr>
          <p:spPr bwMode="auto">
            <a:xfrm>
              <a:off x="4781550" y="1600200"/>
              <a:ext cx="28575" cy="55563"/>
            </a:xfrm>
            <a:custGeom>
              <a:avLst/>
              <a:gdLst/>
              <a:ahLst/>
              <a:cxnLst>
                <a:cxn ang="0">
                  <a:pos x="5" y="153"/>
                </a:cxn>
                <a:cxn ang="0">
                  <a:pos x="3" y="153"/>
                </a:cxn>
                <a:cxn ang="0">
                  <a:pos x="0" y="148"/>
                </a:cxn>
                <a:cxn ang="0">
                  <a:pos x="4" y="59"/>
                </a:cxn>
                <a:cxn ang="0">
                  <a:pos x="43" y="2"/>
                </a:cxn>
                <a:cxn ang="0">
                  <a:pos x="47" y="0"/>
                </a:cxn>
                <a:cxn ang="0">
                  <a:pos x="73" y="0"/>
                </a:cxn>
                <a:cxn ang="0">
                  <a:pos x="77" y="2"/>
                </a:cxn>
                <a:cxn ang="0">
                  <a:pos x="77" y="7"/>
                </a:cxn>
                <a:cxn ang="0">
                  <a:pos x="64" y="32"/>
                </a:cxn>
                <a:cxn ang="0">
                  <a:pos x="69" y="80"/>
                </a:cxn>
                <a:cxn ang="0">
                  <a:pos x="68" y="84"/>
                </a:cxn>
                <a:cxn ang="0">
                  <a:pos x="8" y="151"/>
                </a:cxn>
                <a:cxn ang="0">
                  <a:pos x="5" y="153"/>
                </a:cxn>
              </a:cxnLst>
              <a:rect l="0" t="0" r="r" b="b"/>
              <a:pathLst>
                <a:path w="79" h="154">
                  <a:moveTo>
                    <a:pt x="5" y="153"/>
                  </a:moveTo>
                  <a:cubicBezTo>
                    <a:pt x="4" y="153"/>
                    <a:pt x="4" y="153"/>
                    <a:pt x="3" y="153"/>
                  </a:cubicBezTo>
                  <a:cubicBezTo>
                    <a:pt x="1" y="152"/>
                    <a:pt x="0" y="150"/>
                    <a:pt x="0" y="148"/>
                  </a:cubicBezTo>
                  <a:lnTo>
                    <a:pt x="4" y="59"/>
                  </a:lnTo>
                  <a:lnTo>
                    <a:pt x="43" y="2"/>
                  </a:lnTo>
                  <a:cubicBezTo>
                    <a:pt x="44" y="1"/>
                    <a:pt x="46" y="0"/>
                    <a:pt x="47" y="0"/>
                  </a:cubicBezTo>
                  <a:lnTo>
                    <a:pt x="73" y="0"/>
                  </a:lnTo>
                  <a:cubicBezTo>
                    <a:pt x="74" y="0"/>
                    <a:pt x="76" y="1"/>
                    <a:pt x="77" y="2"/>
                  </a:cubicBezTo>
                  <a:cubicBezTo>
                    <a:pt x="78" y="3"/>
                    <a:pt x="78" y="5"/>
                    <a:pt x="77" y="7"/>
                  </a:cubicBezTo>
                  <a:lnTo>
                    <a:pt x="64" y="32"/>
                  </a:lnTo>
                  <a:lnTo>
                    <a:pt x="69" y="80"/>
                  </a:lnTo>
                  <a:cubicBezTo>
                    <a:pt x="69" y="82"/>
                    <a:pt x="69" y="83"/>
                    <a:pt x="68" y="84"/>
                  </a:cubicBezTo>
                  <a:lnTo>
                    <a:pt x="8" y="151"/>
                  </a:lnTo>
                  <a:cubicBezTo>
                    <a:pt x="8" y="152"/>
                    <a:pt x="6" y="153"/>
                    <a:pt x="5" y="15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2" name="Freeform 367"/>
            <p:cNvSpPr>
              <a:spLocks noChangeArrowheads="1"/>
            </p:cNvSpPr>
            <p:nvPr/>
          </p:nvSpPr>
          <p:spPr bwMode="auto">
            <a:xfrm>
              <a:off x="4725988" y="1647825"/>
              <a:ext cx="19050" cy="44450"/>
            </a:xfrm>
            <a:custGeom>
              <a:avLst/>
              <a:gdLst/>
              <a:ahLst/>
              <a:cxnLst>
                <a:cxn ang="0">
                  <a:pos x="1" y="118"/>
                </a:cxn>
                <a:cxn ang="0">
                  <a:pos x="9" y="59"/>
                </a:cxn>
                <a:cxn ang="0">
                  <a:pos x="44" y="2"/>
                </a:cxn>
                <a:cxn ang="0">
                  <a:pos x="48" y="0"/>
                </a:cxn>
                <a:cxn ang="0">
                  <a:pos x="50" y="1"/>
                </a:cxn>
                <a:cxn ang="0">
                  <a:pos x="52" y="6"/>
                </a:cxn>
                <a:cxn ang="0">
                  <a:pos x="10" y="121"/>
                </a:cxn>
                <a:cxn ang="0">
                  <a:pos x="5" y="124"/>
                </a:cxn>
                <a:cxn ang="0">
                  <a:pos x="4" y="124"/>
                </a:cxn>
                <a:cxn ang="0">
                  <a:pos x="1" y="118"/>
                </a:cxn>
              </a:cxnLst>
              <a:rect l="0" t="0" r="r" b="b"/>
              <a:pathLst>
                <a:path w="54" h="125">
                  <a:moveTo>
                    <a:pt x="1" y="118"/>
                  </a:moveTo>
                  <a:lnTo>
                    <a:pt x="9" y="59"/>
                  </a:lnTo>
                  <a:lnTo>
                    <a:pt x="44" y="2"/>
                  </a:lnTo>
                  <a:cubicBezTo>
                    <a:pt x="45" y="1"/>
                    <a:pt x="46" y="0"/>
                    <a:pt x="48" y="0"/>
                  </a:cubicBezTo>
                  <a:cubicBezTo>
                    <a:pt x="48" y="0"/>
                    <a:pt x="49" y="0"/>
                    <a:pt x="50" y="1"/>
                  </a:cubicBezTo>
                  <a:cubicBezTo>
                    <a:pt x="52" y="2"/>
                    <a:pt x="53" y="4"/>
                    <a:pt x="52" y="6"/>
                  </a:cubicBezTo>
                  <a:lnTo>
                    <a:pt x="10" y="121"/>
                  </a:lnTo>
                  <a:cubicBezTo>
                    <a:pt x="9" y="123"/>
                    <a:pt x="7" y="124"/>
                    <a:pt x="5" y="124"/>
                  </a:cubicBezTo>
                  <a:cubicBezTo>
                    <a:pt x="5" y="124"/>
                    <a:pt x="5" y="124"/>
                    <a:pt x="4" y="124"/>
                  </a:cubicBezTo>
                  <a:cubicBezTo>
                    <a:pt x="2" y="123"/>
                    <a:pt x="0" y="121"/>
                    <a:pt x="1" y="11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3" name="Freeform 368"/>
            <p:cNvSpPr>
              <a:spLocks noChangeArrowheads="1"/>
            </p:cNvSpPr>
            <p:nvPr/>
          </p:nvSpPr>
          <p:spPr bwMode="auto">
            <a:xfrm>
              <a:off x="4725988" y="1647825"/>
              <a:ext cx="19050" cy="44450"/>
            </a:xfrm>
            <a:custGeom>
              <a:avLst/>
              <a:gdLst/>
              <a:ahLst/>
              <a:cxnLst>
                <a:cxn ang="0">
                  <a:pos x="4" y="124"/>
                </a:cxn>
                <a:cxn ang="0">
                  <a:pos x="1" y="118"/>
                </a:cxn>
                <a:cxn ang="0">
                  <a:pos x="9" y="59"/>
                </a:cxn>
                <a:cxn ang="0">
                  <a:pos x="44" y="2"/>
                </a:cxn>
                <a:cxn ang="0">
                  <a:pos x="48" y="0"/>
                </a:cxn>
                <a:cxn ang="0">
                  <a:pos x="50" y="1"/>
                </a:cxn>
                <a:cxn ang="0">
                  <a:pos x="52" y="6"/>
                </a:cxn>
                <a:cxn ang="0">
                  <a:pos x="10" y="121"/>
                </a:cxn>
                <a:cxn ang="0">
                  <a:pos x="5" y="124"/>
                </a:cxn>
                <a:cxn ang="0">
                  <a:pos x="4" y="124"/>
                </a:cxn>
              </a:cxnLst>
              <a:rect l="0" t="0" r="r" b="b"/>
              <a:pathLst>
                <a:path w="54" h="125">
                  <a:moveTo>
                    <a:pt x="4" y="124"/>
                  </a:moveTo>
                  <a:cubicBezTo>
                    <a:pt x="2" y="123"/>
                    <a:pt x="0" y="121"/>
                    <a:pt x="1" y="118"/>
                  </a:cubicBezTo>
                  <a:lnTo>
                    <a:pt x="9" y="59"/>
                  </a:lnTo>
                  <a:lnTo>
                    <a:pt x="44" y="2"/>
                  </a:lnTo>
                  <a:cubicBezTo>
                    <a:pt x="45" y="1"/>
                    <a:pt x="46" y="0"/>
                    <a:pt x="48" y="0"/>
                  </a:cubicBezTo>
                  <a:cubicBezTo>
                    <a:pt x="48" y="0"/>
                    <a:pt x="49" y="0"/>
                    <a:pt x="50" y="1"/>
                  </a:cubicBezTo>
                  <a:cubicBezTo>
                    <a:pt x="52" y="2"/>
                    <a:pt x="53" y="4"/>
                    <a:pt x="52" y="6"/>
                  </a:cubicBezTo>
                  <a:lnTo>
                    <a:pt x="10" y="121"/>
                  </a:lnTo>
                  <a:cubicBezTo>
                    <a:pt x="9" y="123"/>
                    <a:pt x="7" y="124"/>
                    <a:pt x="5" y="124"/>
                  </a:cubicBezTo>
                  <a:cubicBezTo>
                    <a:pt x="5" y="124"/>
                    <a:pt x="5" y="124"/>
                    <a:pt x="4" y="12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4" name="Freeform 369"/>
            <p:cNvSpPr>
              <a:spLocks noChangeArrowheads="1"/>
            </p:cNvSpPr>
            <p:nvPr/>
          </p:nvSpPr>
          <p:spPr bwMode="auto">
            <a:xfrm>
              <a:off x="4418013" y="2109788"/>
              <a:ext cx="134937" cy="80962"/>
            </a:xfrm>
            <a:custGeom>
              <a:avLst/>
              <a:gdLst/>
              <a:ahLst/>
              <a:cxnLst>
                <a:cxn ang="0">
                  <a:pos x="85" y="222"/>
                </a:cxn>
                <a:cxn ang="0">
                  <a:pos x="65" y="166"/>
                </a:cxn>
                <a:cxn ang="0">
                  <a:pos x="40" y="166"/>
                </a:cxn>
                <a:cxn ang="0">
                  <a:pos x="12" y="194"/>
                </a:cxn>
                <a:cxn ang="0">
                  <a:pos x="9" y="196"/>
                </a:cxn>
                <a:cxn ang="0">
                  <a:pos x="7" y="195"/>
                </a:cxn>
                <a:cxn ang="0">
                  <a:pos x="4" y="191"/>
                </a:cxn>
                <a:cxn ang="0">
                  <a:pos x="0" y="153"/>
                </a:cxn>
                <a:cxn ang="0">
                  <a:pos x="81" y="19"/>
                </a:cxn>
                <a:cxn ang="0">
                  <a:pos x="84" y="17"/>
                </a:cxn>
                <a:cxn ang="0">
                  <a:pos x="131" y="4"/>
                </a:cxn>
                <a:cxn ang="0">
                  <a:pos x="237" y="0"/>
                </a:cxn>
                <a:cxn ang="0">
                  <a:pos x="294" y="22"/>
                </a:cxn>
                <a:cxn ang="0">
                  <a:pos x="297" y="25"/>
                </a:cxn>
                <a:cxn ang="0">
                  <a:pos x="313" y="81"/>
                </a:cxn>
                <a:cxn ang="0">
                  <a:pos x="370" y="97"/>
                </a:cxn>
                <a:cxn ang="0">
                  <a:pos x="374" y="102"/>
                </a:cxn>
                <a:cxn ang="0">
                  <a:pos x="374" y="127"/>
                </a:cxn>
                <a:cxn ang="0">
                  <a:pos x="370" y="132"/>
                </a:cxn>
                <a:cxn ang="0">
                  <a:pos x="349" y="136"/>
                </a:cxn>
                <a:cxn ang="0">
                  <a:pos x="353" y="169"/>
                </a:cxn>
                <a:cxn ang="0">
                  <a:pos x="351" y="173"/>
                </a:cxn>
                <a:cxn ang="0">
                  <a:pos x="348" y="174"/>
                </a:cxn>
                <a:cxn ang="0">
                  <a:pos x="346" y="174"/>
                </a:cxn>
                <a:cxn ang="0">
                  <a:pos x="283" y="154"/>
                </a:cxn>
                <a:cxn ang="0">
                  <a:pos x="259" y="218"/>
                </a:cxn>
                <a:cxn ang="0">
                  <a:pos x="255" y="221"/>
                </a:cxn>
                <a:cxn ang="0">
                  <a:pos x="255" y="221"/>
                </a:cxn>
                <a:cxn ang="0">
                  <a:pos x="251" y="219"/>
                </a:cxn>
                <a:cxn ang="0">
                  <a:pos x="208" y="168"/>
                </a:cxn>
                <a:cxn ang="0">
                  <a:pos x="160" y="215"/>
                </a:cxn>
                <a:cxn ang="0">
                  <a:pos x="89" y="225"/>
                </a:cxn>
                <a:cxn ang="0">
                  <a:pos x="85" y="222"/>
                </a:cxn>
              </a:cxnLst>
              <a:rect l="0" t="0" r="r" b="b"/>
              <a:pathLst>
                <a:path w="375" h="226">
                  <a:moveTo>
                    <a:pt x="85" y="222"/>
                  </a:moveTo>
                  <a:lnTo>
                    <a:pt x="65" y="166"/>
                  </a:lnTo>
                  <a:lnTo>
                    <a:pt x="40" y="166"/>
                  </a:lnTo>
                  <a:lnTo>
                    <a:pt x="12" y="194"/>
                  </a:lnTo>
                  <a:cubicBezTo>
                    <a:pt x="11" y="195"/>
                    <a:pt x="10" y="196"/>
                    <a:pt x="9" y="196"/>
                  </a:cubicBezTo>
                  <a:cubicBezTo>
                    <a:pt x="8" y="196"/>
                    <a:pt x="8" y="196"/>
                    <a:pt x="7" y="195"/>
                  </a:cubicBezTo>
                  <a:cubicBezTo>
                    <a:pt x="6" y="195"/>
                    <a:pt x="5" y="193"/>
                    <a:pt x="4" y="191"/>
                  </a:cubicBezTo>
                  <a:lnTo>
                    <a:pt x="0" y="153"/>
                  </a:lnTo>
                  <a:lnTo>
                    <a:pt x="81" y="19"/>
                  </a:lnTo>
                  <a:cubicBezTo>
                    <a:pt x="82" y="18"/>
                    <a:pt x="83" y="17"/>
                    <a:pt x="84" y="17"/>
                  </a:cubicBezTo>
                  <a:lnTo>
                    <a:pt x="131" y="4"/>
                  </a:lnTo>
                  <a:lnTo>
                    <a:pt x="237" y="0"/>
                  </a:lnTo>
                  <a:lnTo>
                    <a:pt x="294" y="22"/>
                  </a:lnTo>
                  <a:cubicBezTo>
                    <a:pt x="296" y="22"/>
                    <a:pt x="297" y="23"/>
                    <a:pt x="297" y="25"/>
                  </a:cubicBezTo>
                  <a:lnTo>
                    <a:pt x="313" y="81"/>
                  </a:lnTo>
                  <a:lnTo>
                    <a:pt x="370" y="97"/>
                  </a:lnTo>
                  <a:cubicBezTo>
                    <a:pt x="372" y="98"/>
                    <a:pt x="374" y="100"/>
                    <a:pt x="374" y="102"/>
                  </a:cubicBezTo>
                  <a:lnTo>
                    <a:pt x="374" y="127"/>
                  </a:lnTo>
                  <a:cubicBezTo>
                    <a:pt x="374" y="130"/>
                    <a:pt x="372" y="132"/>
                    <a:pt x="370" y="132"/>
                  </a:cubicBezTo>
                  <a:lnTo>
                    <a:pt x="349" y="136"/>
                  </a:lnTo>
                  <a:lnTo>
                    <a:pt x="353" y="169"/>
                  </a:lnTo>
                  <a:cubicBezTo>
                    <a:pt x="353" y="171"/>
                    <a:pt x="352" y="172"/>
                    <a:pt x="351" y="173"/>
                  </a:cubicBezTo>
                  <a:cubicBezTo>
                    <a:pt x="350" y="174"/>
                    <a:pt x="349" y="174"/>
                    <a:pt x="348" y="174"/>
                  </a:cubicBezTo>
                  <a:cubicBezTo>
                    <a:pt x="347" y="174"/>
                    <a:pt x="347" y="174"/>
                    <a:pt x="346" y="174"/>
                  </a:cubicBezTo>
                  <a:lnTo>
                    <a:pt x="283" y="154"/>
                  </a:lnTo>
                  <a:lnTo>
                    <a:pt x="259" y="218"/>
                  </a:lnTo>
                  <a:cubicBezTo>
                    <a:pt x="258" y="219"/>
                    <a:pt x="257" y="221"/>
                    <a:pt x="255" y="221"/>
                  </a:cubicBezTo>
                  <a:lnTo>
                    <a:pt x="255" y="221"/>
                  </a:lnTo>
                  <a:cubicBezTo>
                    <a:pt x="253" y="221"/>
                    <a:pt x="252" y="220"/>
                    <a:pt x="251" y="219"/>
                  </a:cubicBezTo>
                  <a:lnTo>
                    <a:pt x="208" y="168"/>
                  </a:lnTo>
                  <a:lnTo>
                    <a:pt x="160" y="215"/>
                  </a:lnTo>
                  <a:lnTo>
                    <a:pt x="89" y="225"/>
                  </a:lnTo>
                  <a:cubicBezTo>
                    <a:pt x="87" y="225"/>
                    <a:pt x="86" y="224"/>
                    <a:pt x="85" y="22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5" name="Freeform 370"/>
            <p:cNvSpPr>
              <a:spLocks noChangeArrowheads="1"/>
            </p:cNvSpPr>
            <p:nvPr/>
          </p:nvSpPr>
          <p:spPr bwMode="auto">
            <a:xfrm>
              <a:off x="4418013" y="2109788"/>
              <a:ext cx="134937" cy="80962"/>
            </a:xfrm>
            <a:custGeom>
              <a:avLst/>
              <a:gdLst/>
              <a:ahLst/>
              <a:cxnLst>
                <a:cxn ang="0">
                  <a:pos x="89" y="225"/>
                </a:cxn>
                <a:cxn ang="0">
                  <a:pos x="85" y="222"/>
                </a:cxn>
                <a:cxn ang="0">
                  <a:pos x="65" y="166"/>
                </a:cxn>
                <a:cxn ang="0">
                  <a:pos x="40" y="166"/>
                </a:cxn>
                <a:cxn ang="0">
                  <a:pos x="12" y="194"/>
                </a:cxn>
                <a:cxn ang="0">
                  <a:pos x="9" y="196"/>
                </a:cxn>
                <a:cxn ang="0">
                  <a:pos x="7" y="195"/>
                </a:cxn>
                <a:cxn ang="0">
                  <a:pos x="4" y="191"/>
                </a:cxn>
                <a:cxn ang="0">
                  <a:pos x="0" y="153"/>
                </a:cxn>
                <a:cxn ang="0">
                  <a:pos x="81" y="19"/>
                </a:cxn>
                <a:cxn ang="0">
                  <a:pos x="84" y="17"/>
                </a:cxn>
                <a:cxn ang="0">
                  <a:pos x="131" y="4"/>
                </a:cxn>
                <a:cxn ang="0">
                  <a:pos x="237" y="0"/>
                </a:cxn>
                <a:cxn ang="0">
                  <a:pos x="294" y="22"/>
                </a:cxn>
                <a:cxn ang="0">
                  <a:pos x="297" y="25"/>
                </a:cxn>
                <a:cxn ang="0">
                  <a:pos x="313" y="81"/>
                </a:cxn>
                <a:cxn ang="0">
                  <a:pos x="370" y="97"/>
                </a:cxn>
                <a:cxn ang="0">
                  <a:pos x="374" y="102"/>
                </a:cxn>
                <a:cxn ang="0">
                  <a:pos x="374" y="127"/>
                </a:cxn>
                <a:cxn ang="0">
                  <a:pos x="370" y="132"/>
                </a:cxn>
                <a:cxn ang="0">
                  <a:pos x="349" y="136"/>
                </a:cxn>
                <a:cxn ang="0">
                  <a:pos x="353" y="169"/>
                </a:cxn>
                <a:cxn ang="0">
                  <a:pos x="351" y="173"/>
                </a:cxn>
                <a:cxn ang="0">
                  <a:pos x="348" y="174"/>
                </a:cxn>
                <a:cxn ang="0">
                  <a:pos x="346" y="174"/>
                </a:cxn>
                <a:cxn ang="0">
                  <a:pos x="283" y="154"/>
                </a:cxn>
                <a:cxn ang="0">
                  <a:pos x="259" y="218"/>
                </a:cxn>
                <a:cxn ang="0">
                  <a:pos x="255" y="221"/>
                </a:cxn>
                <a:cxn ang="0">
                  <a:pos x="255" y="221"/>
                </a:cxn>
                <a:cxn ang="0">
                  <a:pos x="251" y="219"/>
                </a:cxn>
                <a:cxn ang="0">
                  <a:pos x="208" y="168"/>
                </a:cxn>
                <a:cxn ang="0">
                  <a:pos x="160" y="215"/>
                </a:cxn>
                <a:cxn ang="0">
                  <a:pos x="89" y="225"/>
                </a:cxn>
              </a:cxnLst>
              <a:rect l="0" t="0" r="r" b="b"/>
              <a:pathLst>
                <a:path w="375" h="226">
                  <a:moveTo>
                    <a:pt x="89" y="225"/>
                  </a:moveTo>
                  <a:cubicBezTo>
                    <a:pt x="87" y="225"/>
                    <a:pt x="86" y="224"/>
                    <a:pt x="85" y="222"/>
                  </a:cubicBezTo>
                  <a:lnTo>
                    <a:pt x="65" y="166"/>
                  </a:lnTo>
                  <a:lnTo>
                    <a:pt x="40" y="166"/>
                  </a:lnTo>
                  <a:lnTo>
                    <a:pt x="12" y="194"/>
                  </a:lnTo>
                  <a:cubicBezTo>
                    <a:pt x="11" y="195"/>
                    <a:pt x="10" y="196"/>
                    <a:pt x="9" y="196"/>
                  </a:cubicBezTo>
                  <a:cubicBezTo>
                    <a:pt x="8" y="196"/>
                    <a:pt x="8" y="196"/>
                    <a:pt x="7" y="195"/>
                  </a:cubicBezTo>
                  <a:cubicBezTo>
                    <a:pt x="6" y="195"/>
                    <a:pt x="5" y="193"/>
                    <a:pt x="4" y="191"/>
                  </a:cubicBezTo>
                  <a:lnTo>
                    <a:pt x="0" y="153"/>
                  </a:lnTo>
                  <a:lnTo>
                    <a:pt x="81" y="19"/>
                  </a:lnTo>
                  <a:cubicBezTo>
                    <a:pt x="82" y="18"/>
                    <a:pt x="83" y="17"/>
                    <a:pt x="84" y="17"/>
                  </a:cubicBezTo>
                  <a:lnTo>
                    <a:pt x="131" y="4"/>
                  </a:lnTo>
                  <a:lnTo>
                    <a:pt x="237" y="0"/>
                  </a:lnTo>
                  <a:lnTo>
                    <a:pt x="294" y="22"/>
                  </a:lnTo>
                  <a:cubicBezTo>
                    <a:pt x="296" y="22"/>
                    <a:pt x="297" y="23"/>
                    <a:pt x="297" y="25"/>
                  </a:cubicBezTo>
                  <a:lnTo>
                    <a:pt x="313" y="81"/>
                  </a:lnTo>
                  <a:lnTo>
                    <a:pt x="370" y="97"/>
                  </a:lnTo>
                  <a:cubicBezTo>
                    <a:pt x="372" y="98"/>
                    <a:pt x="374" y="100"/>
                    <a:pt x="374" y="102"/>
                  </a:cubicBezTo>
                  <a:lnTo>
                    <a:pt x="374" y="127"/>
                  </a:lnTo>
                  <a:cubicBezTo>
                    <a:pt x="374" y="130"/>
                    <a:pt x="372" y="132"/>
                    <a:pt x="370" y="132"/>
                  </a:cubicBezTo>
                  <a:lnTo>
                    <a:pt x="349" y="136"/>
                  </a:lnTo>
                  <a:lnTo>
                    <a:pt x="353" y="169"/>
                  </a:lnTo>
                  <a:cubicBezTo>
                    <a:pt x="353" y="171"/>
                    <a:pt x="352" y="172"/>
                    <a:pt x="351" y="173"/>
                  </a:cubicBezTo>
                  <a:cubicBezTo>
                    <a:pt x="350" y="174"/>
                    <a:pt x="349" y="174"/>
                    <a:pt x="348" y="174"/>
                  </a:cubicBezTo>
                  <a:cubicBezTo>
                    <a:pt x="347" y="174"/>
                    <a:pt x="347" y="174"/>
                    <a:pt x="346" y="174"/>
                  </a:cubicBezTo>
                  <a:lnTo>
                    <a:pt x="283" y="154"/>
                  </a:lnTo>
                  <a:lnTo>
                    <a:pt x="259" y="218"/>
                  </a:lnTo>
                  <a:cubicBezTo>
                    <a:pt x="258" y="219"/>
                    <a:pt x="257" y="221"/>
                    <a:pt x="255" y="221"/>
                  </a:cubicBezTo>
                  <a:lnTo>
                    <a:pt x="255" y="221"/>
                  </a:lnTo>
                  <a:cubicBezTo>
                    <a:pt x="253" y="221"/>
                    <a:pt x="252" y="220"/>
                    <a:pt x="251" y="219"/>
                  </a:cubicBezTo>
                  <a:lnTo>
                    <a:pt x="208" y="168"/>
                  </a:lnTo>
                  <a:lnTo>
                    <a:pt x="160" y="215"/>
                  </a:lnTo>
                  <a:lnTo>
                    <a:pt x="89" y="22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6" name="Freeform 371"/>
            <p:cNvSpPr>
              <a:spLocks noChangeArrowheads="1"/>
            </p:cNvSpPr>
            <p:nvPr/>
          </p:nvSpPr>
          <p:spPr bwMode="auto">
            <a:xfrm>
              <a:off x="4672013" y="2214563"/>
              <a:ext cx="12700" cy="15875"/>
            </a:xfrm>
            <a:custGeom>
              <a:avLst/>
              <a:gdLst/>
              <a:ahLst/>
              <a:cxnLst>
                <a:cxn ang="0">
                  <a:pos x="28" y="43"/>
                </a:cxn>
                <a:cxn ang="0">
                  <a:pos x="3" y="30"/>
                </a:cxn>
                <a:cxn ang="0">
                  <a:pos x="0" y="24"/>
                </a:cxn>
                <a:cxn ang="0">
                  <a:pos x="9" y="3"/>
                </a:cxn>
                <a:cxn ang="0">
                  <a:pos x="13" y="0"/>
                </a:cxn>
                <a:cxn ang="0">
                  <a:pos x="13" y="0"/>
                </a:cxn>
                <a:cxn ang="0">
                  <a:pos x="17" y="3"/>
                </a:cxn>
                <a:cxn ang="0">
                  <a:pos x="35" y="36"/>
                </a:cxn>
                <a:cxn ang="0">
                  <a:pos x="34" y="42"/>
                </a:cxn>
                <a:cxn ang="0">
                  <a:pos x="30" y="43"/>
                </a:cxn>
                <a:cxn ang="0">
                  <a:pos x="28" y="43"/>
                </a:cxn>
              </a:cxnLst>
              <a:rect l="0" t="0" r="r" b="b"/>
              <a:pathLst>
                <a:path w="36" h="44">
                  <a:moveTo>
                    <a:pt x="28" y="43"/>
                  </a:moveTo>
                  <a:lnTo>
                    <a:pt x="3" y="30"/>
                  </a:lnTo>
                  <a:cubicBezTo>
                    <a:pt x="0" y="29"/>
                    <a:pt x="0" y="26"/>
                    <a:pt x="0" y="24"/>
                  </a:cubicBezTo>
                  <a:lnTo>
                    <a:pt x="9" y="3"/>
                  </a:lnTo>
                  <a:cubicBezTo>
                    <a:pt x="10" y="1"/>
                    <a:pt x="11" y="0"/>
                    <a:pt x="13" y="0"/>
                  </a:cubicBezTo>
                  <a:lnTo>
                    <a:pt x="13" y="0"/>
                  </a:lnTo>
                  <a:cubicBezTo>
                    <a:pt x="15" y="0"/>
                    <a:pt x="17" y="1"/>
                    <a:pt x="17" y="3"/>
                  </a:cubicBezTo>
                  <a:lnTo>
                    <a:pt x="35" y="36"/>
                  </a:lnTo>
                  <a:cubicBezTo>
                    <a:pt x="35" y="38"/>
                    <a:pt x="35" y="40"/>
                    <a:pt x="34" y="42"/>
                  </a:cubicBezTo>
                  <a:cubicBezTo>
                    <a:pt x="33" y="43"/>
                    <a:pt x="32" y="43"/>
                    <a:pt x="30" y="43"/>
                  </a:cubicBezTo>
                  <a:cubicBezTo>
                    <a:pt x="30" y="43"/>
                    <a:pt x="29" y="43"/>
                    <a:pt x="28" y="4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7" name="Freeform 372"/>
            <p:cNvSpPr>
              <a:spLocks noChangeArrowheads="1"/>
            </p:cNvSpPr>
            <p:nvPr/>
          </p:nvSpPr>
          <p:spPr bwMode="auto">
            <a:xfrm>
              <a:off x="4672013" y="2214563"/>
              <a:ext cx="12700" cy="15875"/>
            </a:xfrm>
            <a:custGeom>
              <a:avLst/>
              <a:gdLst/>
              <a:ahLst/>
              <a:cxnLst>
                <a:cxn ang="0">
                  <a:pos x="30" y="43"/>
                </a:cxn>
                <a:cxn ang="0">
                  <a:pos x="28" y="43"/>
                </a:cxn>
                <a:cxn ang="0">
                  <a:pos x="3" y="30"/>
                </a:cxn>
                <a:cxn ang="0">
                  <a:pos x="0" y="24"/>
                </a:cxn>
                <a:cxn ang="0">
                  <a:pos x="9" y="3"/>
                </a:cxn>
                <a:cxn ang="0">
                  <a:pos x="13" y="0"/>
                </a:cxn>
                <a:cxn ang="0">
                  <a:pos x="13" y="0"/>
                </a:cxn>
                <a:cxn ang="0">
                  <a:pos x="17" y="3"/>
                </a:cxn>
                <a:cxn ang="0">
                  <a:pos x="35" y="36"/>
                </a:cxn>
                <a:cxn ang="0">
                  <a:pos x="34" y="42"/>
                </a:cxn>
                <a:cxn ang="0">
                  <a:pos x="30" y="43"/>
                </a:cxn>
              </a:cxnLst>
              <a:rect l="0" t="0" r="r" b="b"/>
              <a:pathLst>
                <a:path w="36" h="44">
                  <a:moveTo>
                    <a:pt x="30" y="43"/>
                  </a:moveTo>
                  <a:cubicBezTo>
                    <a:pt x="30" y="43"/>
                    <a:pt x="29" y="43"/>
                    <a:pt x="28" y="43"/>
                  </a:cubicBezTo>
                  <a:lnTo>
                    <a:pt x="3" y="30"/>
                  </a:lnTo>
                  <a:cubicBezTo>
                    <a:pt x="0" y="29"/>
                    <a:pt x="0" y="26"/>
                    <a:pt x="0" y="24"/>
                  </a:cubicBezTo>
                  <a:lnTo>
                    <a:pt x="9" y="3"/>
                  </a:lnTo>
                  <a:cubicBezTo>
                    <a:pt x="10" y="1"/>
                    <a:pt x="11" y="0"/>
                    <a:pt x="13" y="0"/>
                  </a:cubicBezTo>
                  <a:lnTo>
                    <a:pt x="13" y="0"/>
                  </a:lnTo>
                  <a:cubicBezTo>
                    <a:pt x="15" y="0"/>
                    <a:pt x="17" y="1"/>
                    <a:pt x="17" y="3"/>
                  </a:cubicBezTo>
                  <a:lnTo>
                    <a:pt x="35" y="36"/>
                  </a:lnTo>
                  <a:cubicBezTo>
                    <a:pt x="35" y="38"/>
                    <a:pt x="35" y="40"/>
                    <a:pt x="34" y="42"/>
                  </a:cubicBezTo>
                  <a:cubicBezTo>
                    <a:pt x="33" y="43"/>
                    <a:pt x="32" y="43"/>
                    <a:pt x="30" y="4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8" name="Freeform 373"/>
            <p:cNvSpPr>
              <a:spLocks noChangeArrowheads="1"/>
            </p:cNvSpPr>
            <p:nvPr/>
          </p:nvSpPr>
          <p:spPr bwMode="auto">
            <a:xfrm>
              <a:off x="4098925" y="1952625"/>
              <a:ext cx="385763" cy="385763"/>
            </a:xfrm>
            <a:custGeom>
              <a:avLst/>
              <a:gdLst/>
              <a:ahLst/>
              <a:cxnLst>
                <a:cxn ang="0">
                  <a:pos x="511" y="1042"/>
                </a:cxn>
                <a:cxn ang="0">
                  <a:pos x="439" y="1042"/>
                </a:cxn>
                <a:cxn ang="0">
                  <a:pos x="252" y="956"/>
                </a:cxn>
                <a:cxn ang="0">
                  <a:pos x="252" y="949"/>
                </a:cxn>
                <a:cxn ang="0">
                  <a:pos x="317" y="803"/>
                </a:cxn>
                <a:cxn ang="0">
                  <a:pos x="301" y="791"/>
                </a:cxn>
                <a:cxn ang="0">
                  <a:pos x="319" y="696"/>
                </a:cxn>
                <a:cxn ang="0">
                  <a:pos x="305" y="613"/>
                </a:cxn>
                <a:cxn ang="0">
                  <a:pos x="230" y="549"/>
                </a:cxn>
                <a:cxn ang="0">
                  <a:pos x="222" y="497"/>
                </a:cxn>
                <a:cxn ang="0">
                  <a:pos x="199" y="492"/>
                </a:cxn>
                <a:cxn ang="0">
                  <a:pos x="191" y="465"/>
                </a:cxn>
                <a:cxn ang="0">
                  <a:pos x="45" y="432"/>
                </a:cxn>
                <a:cxn ang="0">
                  <a:pos x="40" y="431"/>
                </a:cxn>
                <a:cxn ang="0">
                  <a:pos x="9" y="393"/>
                </a:cxn>
                <a:cxn ang="0">
                  <a:pos x="29" y="387"/>
                </a:cxn>
                <a:cxn ang="0">
                  <a:pos x="19" y="370"/>
                </a:cxn>
                <a:cxn ang="0">
                  <a:pos x="5" y="365"/>
                </a:cxn>
                <a:cxn ang="0">
                  <a:pos x="0" y="360"/>
                </a:cxn>
                <a:cxn ang="0">
                  <a:pos x="8" y="330"/>
                </a:cxn>
                <a:cxn ang="0">
                  <a:pos x="115" y="296"/>
                </a:cxn>
                <a:cxn ang="0">
                  <a:pos x="185" y="326"/>
                </a:cxn>
                <a:cxn ang="0">
                  <a:pos x="246" y="188"/>
                </a:cxn>
                <a:cxn ang="0">
                  <a:pos x="251" y="182"/>
                </a:cxn>
                <a:cxn ang="0">
                  <a:pos x="301" y="189"/>
                </a:cxn>
                <a:cxn ang="0">
                  <a:pos x="416" y="218"/>
                </a:cxn>
                <a:cxn ang="0">
                  <a:pos x="424" y="181"/>
                </a:cxn>
                <a:cxn ang="0">
                  <a:pos x="534" y="116"/>
                </a:cxn>
                <a:cxn ang="0">
                  <a:pos x="550" y="26"/>
                </a:cxn>
                <a:cxn ang="0">
                  <a:pos x="632" y="0"/>
                </a:cxn>
                <a:cxn ang="0">
                  <a:pos x="637" y="5"/>
                </a:cxn>
                <a:cxn ang="0">
                  <a:pos x="736" y="98"/>
                </a:cxn>
                <a:cxn ang="0">
                  <a:pos x="810" y="127"/>
                </a:cxn>
                <a:cxn ang="0">
                  <a:pos x="814" y="132"/>
                </a:cxn>
                <a:cxn ang="0">
                  <a:pos x="875" y="195"/>
                </a:cxn>
                <a:cxn ang="0">
                  <a:pos x="919" y="201"/>
                </a:cxn>
                <a:cxn ang="0">
                  <a:pos x="1065" y="271"/>
                </a:cxn>
                <a:cxn ang="0">
                  <a:pos x="1068" y="277"/>
                </a:cxn>
                <a:cxn ang="0">
                  <a:pos x="1026" y="445"/>
                </a:cxn>
                <a:cxn ang="0">
                  <a:pos x="978" y="462"/>
                </a:cxn>
                <a:cxn ang="0">
                  <a:pos x="902" y="617"/>
                </a:cxn>
                <a:cxn ang="0">
                  <a:pos x="929" y="593"/>
                </a:cxn>
                <a:cxn ang="0">
                  <a:pos x="963" y="596"/>
                </a:cxn>
                <a:cxn ang="0">
                  <a:pos x="981" y="661"/>
                </a:cxn>
                <a:cxn ang="0">
                  <a:pos x="988" y="727"/>
                </a:cxn>
                <a:cxn ang="0">
                  <a:pos x="965" y="769"/>
                </a:cxn>
                <a:cxn ang="0">
                  <a:pos x="976" y="778"/>
                </a:cxn>
                <a:cxn ang="0">
                  <a:pos x="1022" y="855"/>
                </a:cxn>
                <a:cxn ang="0">
                  <a:pos x="1031" y="897"/>
                </a:cxn>
                <a:cxn ang="0">
                  <a:pos x="915" y="990"/>
                </a:cxn>
                <a:cxn ang="0">
                  <a:pos x="910" y="991"/>
                </a:cxn>
                <a:cxn ang="0">
                  <a:pos x="735" y="941"/>
                </a:cxn>
                <a:cxn ang="0">
                  <a:pos x="662" y="1013"/>
                </a:cxn>
                <a:cxn ang="0">
                  <a:pos x="665" y="1066"/>
                </a:cxn>
                <a:cxn ang="0">
                  <a:pos x="573" y="1072"/>
                </a:cxn>
              </a:cxnLst>
              <a:rect l="0" t="0" r="r" b="b"/>
              <a:pathLst>
                <a:path w="1070" h="1073">
                  <a:moveTo>
                    <a:pt x="571" y="1071"/>
                  </a:moveTo>
                  <a:lnTo>
                    <a:pt x="511" y="1042"/>
                  </a:lnTo>
                  <a:lnTo>
                    <a:pt x="474" y="1029"/>
                  </a:lnTo>
                  <a:lnTo>
                    <a:pt x="439" y="1042"/>
                  </a:lnTo>
                  <a:lnTo>
                    <a:pt x="343" y="1025"/>
                  </a:lnTo>
                  <a:lnTo>
                    <a:pt x="252" y="956"/>
                  </a:lnTo>
                  <a:cubicBezTo>
                    <a:pt x="251" y="955"/>
                    <a:pt x="250" y="954"/>
                    <a:pt x="250" y="953"/>
                  </a:cubicBezTo>
                  <a:cubicBezTo>
                    <a:pt x="250" y="951"/>
                    <a:pt x="251" y="950"/>
                    <a:pt x="252" y="949"/>
                  </a:cubicBezTo>
                  <a:lnTo>
                    <a:pt x="289" y="924"/>
                  </a:lnTo>
                  <a:lnTo>
                    <a:pt x="317" y="803"/>
                  </a:lnTo>
                  <a:lnTo>
                    <a:pt x="304" y="796"/>
                  </a:lnTo>
                  <a:cubicBezTo>
                    <a:pt x="302" y="795"/>
                    <a:pt x="301" y="793"/>
                    <a:pt x="301" y="791"/>
                  </a:cubicBezTo>
                  <a:lnTo>
                    <a:pt x="318" y="698"/>
                  </a:lnTo>
                  <a:cubicBezTo>
                    <a:pt x="318" y="697"/>
                    <a:pt x="319" y="697"/>
                    <a:pt x="319" y="696"/>
                  </a:cubicBezTo>
                  <a:lnTo>
                    <a:pt x="306" y="676"/>
                  </a:lnTo>
                  <a:lnTo>
                    <a:pt x="305" y="613"/>
                  </a:lnTo>
                  <a:lnTo>
                    <a:pt x="253" y="589"/>
                  </a:lnTo>
                  <a:lnTo>
                    <a:pt x="230" y="549"/>
                  </a:lnTo>
                  <a:lnTo>
                    <a:pt x="221" y="501"/>
                  </a:lnTo>
                  <a:cubicBezTo>
                    <a:pt x="220" y="500"/>
                    <a:pt x="221" y="498"/>
                    <a:pt x="222" y="497"/>
                  </a:cubicBezTo>
                  <a:cubicBezTo>
                    <a:pt x="222" y="496"/>
                    <a:pt x="223" y="496"/>
                    <a:pt x="224" y="496"/>
                  </a:cubicBezTo>
                  <a:lnTo>
                    <a:pt x="199" y="492"/>
                  </a:lnTo>
                  <a:cubicBezTo>
                    <a:pt x="197" y="492"/>
                    <a:pt x="195" y="490"/>
                    <a:pt x="195" y="488"/>
                  </a:cubicBezTo>
                  <a:lnTo>
                    <a:pt x="191" y="465"/>
                  </a:lnTo>
                  <a:lnTo>
                    <a:pt x="71" y="424"/>
                  </a:lnTo>
                  <a:lnTo>
                    <a:pt x="45" y="432"/>
                  </a:lnTo>
                  <a:cubicBezTo>
                    <a:pt x="44" y="433"/>
                    <a:pt x="44" y="433"/>
                    <a:pt x="43" y="433"/>
                  </a:cubicBezTo>
                  <a:cubicBezTo>
                    <a:pt x="42" y="433"/>
                    <a:pt x="40" y="432"/>
                    <a:pt x="40" y="431"/>
                  </a:cubicBezTo>
                  <a:lnTo>
                    <a:pt x="10" y="397"/>
                  </a:lnTo>
                  <a:cubicBezTo>
                    <a:pt x="9" y="396"/>
                    <a:pt x="8" y="394"/>
                    <a:pt x="9" y="393"/>
                  </a:cubicBezTo>
                  <a:cubicBezTo>
                    <a:pt x="10" y="391"/>
                    <a:pt x="11" y="390"/>
                    <a:pt x="13" y="390"/>
                  </a:cubicBezTo>
                  <a:lnTo>
                    <a:pt x="29" y="387"/>
                  </a:lnTo>
                  <a:lnTo>
                    <a:pt x="19" y="376"/>
                  </a:lnTo>
                  <a:cubicBezTo>
                    <a:pt x="17" y="374"/>
                    <a:pt x="17" y="372"/>
                    <a:pt x="19" y="370"/>
                  </a:cubicBezTo>
                  <a:lnTo>
                    <a:pt x="26" y="363"/>
                  </a:lnTo>
                  <a:lnTo>
                    <a:pt x="5" y="365"/>
                  </a:lnTo>
                  <a:cubicBezTo>
                    <a:pt x="4" y="365"/>
                    <a:pt x="2" y="364"/>
                    <a:pt x="2" y="364"/>
                  </a:cubicBezTo>
                  <a:cubicBezTo>
                    <a:pt x="1" y="363"/>
                    <a:pt x="0" y="361"/>
                    <a:pt x="0" y="360"/>
                  </a:cubicBezTo>
                  <a:lnTo>
                    <a:pt x="5" y="334"/>
                  </a:lnTo>
                  <a:cubicBezTo>
                    <a:pt x="5" y="332"/>
                    <a:pt x="6" y="331"/>
                    <a:pt x="8" y="330"/>
                  </a:cubicBezTo>
                  <a:lnTo>
                    <a:pt x="114" y="297"/>
                  </a:lnTo>
                  <a:cubicBezTo>
                    <a:pt x="114" y="296"/>
                    <a:pt x="115" y="296"/>
                    <a:pt x="115" y="296"/>
                  </a:cubicBezTo>
                  <a:cubicBezTo>
                    <a:pt x="116" y="296"/>
                    <a:pt x="116" y="296"/>
                    <a:pt x="117" y="297"/>
                  </a:cubicBezTo>
                  <a:lnTo>
                    <a:pt x="185" y="326"/>
                  </a:lnTo>
                  <a:lnTo>
                    <a:pt x="275" y="322"/>
                  </a:lnTo>
                  <a:lnTo>
                    <a:pt x="246" y="188"/>
                  </a:lnTo>
                  <a:cubicBezTo>
                    <a:pt x="246" y="186"/>
                    <a:pt x="246" y="185"/>
                    <a:pt x="247" y="184"/>
                  </a:cubicBezTo>
                  <a:cubicBezTo>
                    <a:pt x="248" y="183"/>
                    <a:pt x="249" y="182"/>
                    <a:pt x="251" y="182"/>
                  </a:cubicBezTo>
                  <a:lnTo>
                    <a:pt x="298" y="186"/>
                  </a:lnTo>
                  <a:cubicBezTo>
                    <a:pt x="299" y="186"/>
                    <a:pt x="301" y="187"/>
                    <a:pt x="301" y="189"/>
                  </a:cubicBezTo>
                  <a:lnTo>
                    <a:pt x="321" y="224"/>
                  </a:lnTo>
                  <a:lnTo>
                    <a:pt x="416" y="218"/>
                  </a:lnTo>
                  <a:cubicBezTo>
                    <a:pt x="415" y="217"/>
                    <a:pt x="415" y="216"/>
                    <a:pt x="416" y="215"/>
                  </a:cubicBezTo>
                  <a:lnTo>
                    <a:pt x="424" y="181"/>
                  </a:lnTo>
                  <a:cubicBezTo>
                    <a:pt x="424" y="180"/>
                    <a:pt x="425" y="179"/>
                    <a:pt x="426" y="179"/>
                  </a:cubicBezTo>
                  <a:lnTo>
                    <a:pt x="534" y="116"/>
                  </a:lnTo>
                  <a:lnTo>
                    <a:pt x="547" y="30"/>
                  </a:lnTo>
                  <a:cubicBezTo>
                    <a:pt x="547" y="28"/>
                    <a:pt x="548" y="26"/>
                    <a:pt x="550" y="26"/>
                  </a:cubicBezTo>
                  <a:lnTo>
                    <a:pt x="631" y="0"/>
                  </a:lnTo>
                  <a:cubicBezTo>
                    <a:pt x="631" y="0"/>
                    <a:pt x="631" y="0"/>
                    <a:pt x="632" y="0"/>
                  </a:cubicBezTo>
                  <a:cubicBezTo>
                    <a:pt x="633" y="0"/>
                    <a:pt x="634" y="0"/>
                    <a:pt x="635" y="1"/>
                  </a:cubicBezTo>
                  <a:cubicBezTo>
                    <a:pt x="636" y="2"/>
                    <a:pt x="637" y="3"/>
                    <a:pt x="637" y="5"/>
                  </a:cubicBezTo>
                  <a:lnTo>
                    <a:pt x="637" y="36"/>
                  </a:lnTo>
                  <a:lnTo>
                    <a:pt x="736" y="98"/>
                  </a:lnTo>
                  <a:lnTo>
                    <a:pt x="753" y="139"/>
                  </a:lnTo>
                  <a:lnTo>
                    <a:pt x="810" y="127"/>
                  </a:lnTo>
                  <a:cubicBezTo>
                    <a:pt x="811" y="127"/>
                    <a:pt x="812" y="128"/>
                    <a:pt x="813" y="128"/>
                  </a:cubicBezTo>
                  <a:cubicBezTo>
                    <a:pt x="814" y="129"/>
                    <a:pt x="814" y="130"/>
                    <a:pt x="814" y="132"/>
                  </a:cubicBezTo>
                  <a:lnTo>
                    <a:pt x="814" y="175"/>
                  </a:lnTo>
                  <a:lnTo>
                    <a:pt x="875" y="195"/>
                  </a:lnTo>
                  <a:lnTo>
                    <a:pt x="916" y="199"/>
                  </a:lnTo>
                  <a:cubicBezTo>
                    <a:pt x="917" y="199"/>
                    <a:pt x="918" y="200"/>
                    <a:pt x="919" y="201"/>
                  </a:cubicBezTo>
                  <a:lnTo>
                    <a:pt x="957" y="243"/>
                  </a:lnTo>
                  <a:lnTo>
                    <a:pt x="1065" y="271"/>
                  </a:lnTo>
                  <a:cubicBezTo>
                    <a:pt x="1067" y="271"/>
                    <a:pt x="1068" y="272"/>
                    <a:pt x="1068" y="273"/>
                  </a:cubicBezTo>
                  <a:cubicBezTo>
                    <a:pt x="1069" y="275"/>
                    <a:pt x="1069" y="276"/>
                    <a:pt x="1068" y="277"/>
                  </a:cubicBezTo>
                  <a:lnTo>
                    <a:pt x="1026" y="387"/>
                  </a:lnTo>
                  <a:lnTo>
                    <a:pt x="1026" y="445"/>
                  </a:lnTo>
                  <a:cubicBezTo>
                    <a:pt x="1026" y="447"/>
                    <a:pt x="1025" y="449"/>
                    <a:pt x="1023" y="449"/>
                  </a:cubicBezTo>
                  <a:lnTo>
                    <a:pt x="978" y="462"/>
                  </a:lnTo>
                  <a:lnTo>
                    <a:pt x="899" y="591"/>
                  </a:lnTo>
                  <a:lnTo>
                    <a:pt x="902" y="617"/>
                  </a:lnTo>
                  <a:lnTo>
                    <a:pt x="925" y="594"/>
                  </a:lnTo>
                  <a:cubicBezTo>
                    <a:pt x="926" y="593"/>
                    <a:pt x="927" y="593"/>
                    <a:pt x="929" y="593"/>
                  </a:cubicBezTo>
                  <a:lnTo>
                    <a:pt x="958" y="593"/>
                  </a:lnTo>
                  <a:cubicBezTo>
                    <a:pt x="960" y="593"/>
                    <a:pt x="962" y="594"/>
                    <a:pt x="963" y="596"/>
                  </a:cubicBezTo>
                  <a:lnTo>
                    <a:pt x="984" y="655"/>
                  </a:lnTo>
                  <a:cubicBezTo>
                    <a:pt x="985" y="657"/>
                    <a:pt x="984" y="660"/>
                    <a:pt x="981" y="661"/>
                  </a:cubicBezTo>
                  <a:lnTo>
                    <a:pt x="964" y="667"/>
                  </a:lnTo>
                  <a:lnTo>
                    <a:pt x="988" y="727"/>
                  </a:lnTo>
                  <a:cubicBezTo>
                    <a:pt x="989" y="728"/>
                    <a:pt x="988" y="730"/>
                    <a:pt x="988" y="731"/>
                  </a:cubicBezTo>
                  <a:lnTo>
                    <a:pt x="965" y="769"/>
                  </a:lnTo>
                  <a:lnTo>
                    <a:pt x="974" y="775"/>
                  </a:lnTo>
                  <a:cubicBezTo>
                    <a:pt x="975" y="776"/>
                    <a:pt x="975" y="777"/>
                    <a:pt x="976" y="778"/>
                  </a:cubicBezTo>
                  <a:lnTo>
                    <a:pt x="988" y="851"/>
                  </a:lnTo>
                  <a:lnTo>
                    <a:pt x="1022" y="855"/>
                  </a:lnTo>
                  <a:cubicBezTo>
                    <a:pt x="1024" y="855"/>
                    <a:pt x="1026" y="857"/>
                    <a:pt x="1026" y="859"/>
                  </a:cubicBezTo>
                  <a:lnTo>
                    <a:pt x="1031" y="897"/>
                  </a:lnTo>
                  <a:cubicBezTo>
                    <a:pt x="1031" y="899"/>
                    <a:pt x="1030" y="900"/>
                    <a:pt x="1029" y="901"/>
                  </a:cubicBezTo>
                  <a:lnTo>
                    <a:pt x="915" y="990"/>
                  </a:lnTo>
                  <a:cubicBezTo>
                    <a:pt x="914" y="991"/>
                    <a:pt x="913" y="991"/>
                    <a:pt x="911" y="991"/>
                  </a:cubicBezTo>
                  <a:lnTo>
                    <a:pt x="910" y="991"/>
                  </a:lnTo>
                  <a:lnTo>
                    <a:pt x="817" y="953"/>
                  </a:lnTo>
                  <a:lnTo>
                    <a:pt x="735" y="941"/>
                  </a:lnTo>
                  <a:lnTo>
                    <a:pt x="670" y="981"/>
                  </a:lnTo>
                  <a:lnTo>
                    <a:pt x="662" y="1013"/>
                  </a:lnTo>
                  <a:lnTo>
                    <a:pt x="666" y="1062"/>
                  </a:lnTo>
                  <a:cubicBezTo>
                    <a:pt x="666" y="1063"/>
                    <a:pt x="666" y="1065"/>
                    <a:pt x="665" y="1066"/>
                  </a:cubicBezTo>
                  <a:cubicBezTo>
                    <a:pt x="664" y="1066"/>
                    <a:pt x="663" y="1067"/>
                    <a:pt x="662" y="1067"/>
                  </a:cubicBezTo>
                  <a:lnTo>
                    <a:pt x="573" y="1072"/>
                  </a:lnTo>
                  <a:cubicBezTo>
                    <a:pt x="572" y="1072"/>
                    <a:pt x="571" y="1071"/>
                    <a:pt x="571" y="1071"/>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79" name="Freeform 374"/>
            <p:cNvSpPr>
              <a:spLocks noChangeArrowheads="1"/>
            </p:cNvSpPr>
            <p:nvPr/>
          </p:nvSpPr>
          <p:spPr bwMode="auto">
            <a:xfrm>
              <a:off x="4098925" y="1952625"/>
              <a:ext cx="385763" cy="385763"/>
            </a:xfrm>
            <a:custGeom>
              <a:avLst/>
              <a:gdLst/>
              <a:ahLst/>
              <a:cxnLst>
                <a:cxn ang="0">
                  <a:pos x="571" y="1071"/>
                </a:cxn>
                <a:cxn ang="0">
                  <a:pos x="474" y="1029"/>
                </a:cxn>
                <a:cxn ang="0">
                  <a:pos x="343" y="1025"/>
                </a:cxn>
                <a:cxn ang="0">
                  <a:pos x="250" y="953"/>
                </a:cxn>
                <a:cxn ang="0">
                  <a:pos x="289" y="924"/>
                </a:cxn>
                <a:cxn ang="0">
                  <a:pos x="304" y="796"/>
                </a:cxn>
                <a:cxn ang="0">
                  <a:pos x="318" y="698"/>
                </a:cxn>
                <a:cxn ang="0">
                  <a:pos x="306" y="676"/>
                </a:cxn>
                <a:cxn ang="0">
                  <a:pos x="253" y="589"/>
                </a:cxn>
                <a:cxn ang="0">
                  <a:pos x="221" y="501"/>
                </a:cxn>
                <a:cxn ang="0">
                  <a:pos x="224" y="496"/>
                </a:cxn>
                <a:cxn ang="0">
                  <a:pos x="195" y="488"/>
                </a:cxn>
                <a:cxn ang="0">
                  <a:pos x="71" y="424"/>
                </a:cxn>
                <a:cxn ang="0">
                  <a:pos x="43" y="433"/>
                </a:cxn>
                <a:cxn ang="0">
                  <a:pos x="10" y="397"/>
                </a:cxn>
                <a:cxn ang="0">
                  <a:pos x="13" y="390"/>
                </a:cxn>
                <a:cxn ang="0">
                  <a:pos x="19" y="376"/>
                </a:cxn>
                <a:cxn ang="0">
                  <a:pos x="26" y="363"/>
                </a:cxn>
                <a:cxn ang="0">
                  <a:pos x="2" y="364"/>
                </a:cxn>
                <a:cxn ang="0">
                  <a:pos x="5" y="334"/>
                </a:cxn>
                <a:cxn ang="0">
                  <a:pos x="114" y="297"/>
                </a:cxn>
                <a:cxn ang="0">
                  <a:pos x="117" y="297"/>
                </a:cxn>
                <a:cxn ang="0">
                  <a:pos x="275" y="322"/>
                </a:cxn>
                <a:cxn ang="0">
                  <a:pos x="247" y="184"/>
                </a:cxn>
                <a:cxn ang="0">
                  <a:pos x="298" y="186"/>
                </a:cxn>
                <a:cxn ang="0">
                  <a:pos x="321" y="224"/>
                </a:cxn>
                <a:cxn ang="0">
                  <a:pos x="416" y="215"/>
                </a:cxn>
                <a:cxn ang="0">
                  <a:pos x="426" y="179"/>
                </a:cxn>
                <a:cxn ang="0">
                  <a:pos x="547" y="30"/>
                </a:cxn>
                <a:cxn ang="0">
                  <a:pos x="631" y="0"/>
                </a:cxn>
                <a:cxn ang="0">
                  <a:pos x="635" y="1"/>
                </a:cxn>
                <a:cxn ang="0">
                  <a:pos x="637" y="36"/>
                </a:cxn>
                <a:cxn ang="0">
                  <a:pos x="753" y="139"/>
                </a:cxn>
                <a:cxn ang="0">
                  <a:pos x="813" y="128"/>
                </a:cxn>
                <a:cxn ang="0">
                  <a:pos x="814" y="175"/>
                </a:cxn>
                <a:cxn ang="0">
                  <a:pos x="916" y="199"/>
                </a:cxn>
                <a:cxn ang="0">
                  <a:pos x="957" y="243"/>
                </a:cxn>
                <a:cxn ang="0">
                  <a:pos x="1068" y="273"/>
                </a:cxn>
                <a:cxn ang="0">
                  <a:pos x="1026" y="387"/>
                </a:cxn>
                <a:cxn ang="0">
                  <a:pos x="1023" y="449"/>
                </a:cxn>
                <a:cxn ang="0">
                  <a:pos x="899" y="591"/>
                </a:cxn>
                <a:cxn ang="0">
                  <a:pos x="925" y="594"/>
                </a:cxn>
                <a:cxn ang="0">
                  <a:pos x="958" y="593"/>
                </a:cxn>
                <a:cxn ang="0">
                  <a:pos x="984" y="655"/>
                </a:cxn>
                <a:cxn ang="0">
                  <a:pos x="964" y="667"/>
                </a:cxn>
                <a:cxn ang="0">
                  <a:pos x="988" y="731"/>
                </a:cxn>
                <a:cxn ang="0">
                  <a:pos x="974" y="775"/>
                </a:cxn>
                <a:cxn ang="0">
                  <a:pos x="988" y="851"/>
                </a:cxn>
                <a:cxn ang="0">
                  <a:pos x="1026" y="859"/>
                </a:cxn>
                <a:cxn ang="0">
                  <a:pos x="1029" y="901"/>
                </a:cxn>
                <a:cxn ang="0">
                  <a:pos x="911" y="991"/>
                </a:cxn>
                <a:cxn ang="0">
                  <a:pos x="817" y="953"/>
                </a:cxn>
                <a:cxn ang="0">
                  <a:pos x="670" y="981"/>
                </a:cxn>
                <a:cxn ang="0">
                  <a:pos x="666" y="1062"/>
                </a:cxn>
                <a:cxn ang="0">
                  <a:pos x="662" y="1067"/>
                </a:cxn>
              </a:cxnLst>
              <a:rect l="0" t="0" r="r" b="b"/>
              <a:pathLst>
                <a:path w="1070" h="1073">
                  <a:moveTo>
                    <a:pt x="573" y="1072"/>
                  </a:moveTo>
                  <a:cubicBezTo>
                    <a:pt x="572" y="1072"/>
                    <a:pt x="571" y="1071"/>
                    <a:pt x="571" y="1071"/>
                  </a:cubicBezTo>
                  <a:lnTo>
                    <a:pt x="511" y="1042"/>
                  </a:lnTo>
                  <a:lnTo>
                    <a:pt x="474" y="1029"/>
                  </a:lnTo>
                  <a:lnTo>
                    <a:pt x="439" y="1042"/>
                  </a:lnTo>
                  <a:lnTo>
                    <a:pt x="343" y="1025"/>
                  </a:lnTo>
                  <a:lnTo>
                    <a:pt x="252" y="956"/>
                  </a:lnTo>
                  <a:cubicBezTo>
                    <a:pt x="251" y="955"/>
                    <a:pt x="250" y="954"/>
                    <a:pt x="250" y="953"/>
                  </a:cubicBezTo>
                  <a:cubicBezTo>
                    <a:pt x="250" y="951"/>
                    <a:pt x="251" y="950"/>
                    <a:pt x="252" y="949"/>
                  </a:cubicBezTo>
                  <a:lnTo>
                    <a:pt x="289" y="924"/>
                  </a:lnTo>
                  <a:lnTo>
                    <a:pt x="317" y="803"/>
                  </a:lnTo>
                  <a:lnTo>
                    <a:pt x="304" y="796"/>
                  </a:lnTo>
                  <a:cubicBezTo>
                    <a:pt x="302" y="795"/>
                    <a:pt x="301" y="793"/>
                    <a:pt x="301" y="791"/>
                  </a:cubicBezTo>
                  <a:lnTo>
                    <a:pt x="318" y="698"/>
                  </a:lnTo>
                  <a:cubicBezTo>
                    <a:pt x="318" y="697"/>
                    <a:pt x="319" y="697"/>
                    <a:pt x="319" y="696"/>
                  </a:cubicBezTo>
                  <a:lnTo>
                    <a:pt x="306" y="676"/>
                  </a:lnTo>
                  <a:lnTo>
                    <a:pt x="305" y="613"/>
                  </a:lnTo>
                  <a:lnTo>
                    <a:pt x="253" y="589"/>
                  </a:lnTo>
                  <a:lnTo>
                    <a:pt x="230" y="549"/>
                  </a:lnTo>
                  <a:lnTo>
                    <a:pt x="221" y="501"/>
                  </a:lnTo>
                  <a:cubicBezTo>
                    <a:pt x="220" y="500"/>
                    <a:pt x="221" y="498"/>
                    <a:pt x="222" y="497"/>
                  </a:cubicBezTo>
                  <a:cubicBezTo>
                    <a:pt x="222" y="496"/>
                    <a:pt x="223" y="496"/>
                    <a:pt x="224" y="496"/>
                  </a:cubicBezTo>
                  <a:lnTo>
                    <a:pt x="199" y="492"/>
                  </a:lnTo>
                  <a:cubicBezTo>
                    <a:pt x="197" y="492"/>
                    <a:pt x="195" y="490"/>
                    <a:pt x="195" y="488"/>
                  </a:cubicBezTo>
                  <a:lnTo>
                    <a:pt x="191" y="465"/>
                  </a:lnTo>
                  <a:lnTo>
                    <a:pt x="71" y="424"/>
                  </a:lnTo>
                  <a:lnTo>
                    <a:pt x="45" y="432"/>
                  </a:lnTo>
                  <a:cubicBezTo>
                    <a:pt x="44" y="433"/>
                    <a:pt x="44" y="433"/>
                    <a:pt x="43" y="433"/>
                  </a:cubicBezTo>
                  <a:cubicBezTo>
                    <a:pt x="42" y="433"/>
                    <a:pt x="40" y="432"/>
                    <a:pt x="40" y="431"/>
                  </a:cubicBezTo>
                  <a:lnTo>
                    <a:pt x="10" y="397"/>
                  </a:lnTo>
                  <a:cubicBezTo>
                    <a:pt x="9" y="396"/>
                    <a:pt x="8" y="394"/>
                    <a:pt x="9" y="393"/>
                  </a:cubicBezTo>
                  <a:cubicBezTo>
                    <a:pt x="10" y="391"/>
                    <a:pt x="11" y="390"/>
                    <a:pt x="13" y="390"/>
                  </a:cubicBezTo>
                  <a:lnTo>
                    <a:pt x="29" y="387"/>
                  </a:lnTo>
                  <a:lnTo>
                    <a:pt x="19" y="376"/>
                  </a:lnTo>
                  <a:cubicBezTo>
                    <a:pt x="17" y="374"/>
                    <a:pt x="17" y="372"/>
                    <a:pt x="19" y="370"/>
                  </a:cubicBezTo>
                  <a:lnTo>
                    <a:pt x="26" y="363"/>
                  </a:lnTo>
                  <a:lnTo>
                    <a:pt x="5" y="365"/>
                  </a:lnTo>
                  <a:cubicBezTo>
                    <a:pt x="4" y="365"/>
                    <a:pt x="2" y="364"/>
                    <a:pt x="2" y="364"/>
                  </a:cubicBezTo>
                  <a:cubicBezTo>
                    <a:pt x="1" y="363"/>
                    <a:pt x="0" y="361"/>
                    <a:pt x="0" y="360"/>
                  </a:cubicBezTo>
                  <a:lnTo>
                    <a:pt x="5" y="334"/>
                  </a:lnTo>
                  <a:cubicBezTo>
                    <a:pt x="5" y="332"/>
                    <a:pt x="6" y="331"/>
                    <a:pt x="8" y="330"/>
                  </a:cubicBezTo>
                  <a:lnTo>
                    <a:pt x="114" y="297"/>
                  </a:lnTo>
                  <a:cubicBezTo>
                    <a:pt x="114" y="296"/>
                    <a:pt x="115" y="296"/>
                    <a:pt x="115" y="296"/>
                  </a:cubicBezTo>
                  <a:cubicBezTo>
                    <a:pt x="116" y="296"/>
                    <a:pt x="116" y="296"/>
                    <a:pt x="117" y="297"/>
                  </a:cubicBezTo>
                  <a:lnTo>
                    <a:pt x="185" y="326"/>
                  </a:lnTo>
                  <a:lnTo>
                    <a:pt x="275" y="322"/>
                  </a:lnTo>
                  <a:lnTo>
                    <a:pt x="246" y="188"/>
                  </a:lnTo>
                  <a:cubicBezTo>
                    <a:pt x="246" y="186"/>
                    <a:pt x="246" y="185"/>
                    <a:pt x="247" y="184"/>
                  </a:cubicBezTo>
                  <a:cubicBezTo>
                    <a:pt x="248" y="183"/>
                    <a:pt x="249" y="182"/>
                    <a:pt x="251" y="182"/>
                  </a:cubicBezTo>
                  <a:lnTo>
                    <a:pt x="298" y="186"/>
                  </a:lnTo>
                  <a:cubicBezTo>
                    <a:pt x="299" y="186"/>
                    <a:pt x="301" y="187"/>
                    <a:pt x="301" y="189"/>
                  </a:cubicBezTo>
                  <a:lnTo>
                    <a:pt x="321" y="224"/>
                  </a:lnTo>
                  <a:lnTo>
                    <a:pt x="416" y="218"/>
                  </a:lnTo>
                  <a:cubicBezTo>
                    <a:pt x="415" y="217"/>
                    <a:pt x="415" y="216"/>
                    <a:pt x="416" y="215"/>
                  </a:cubicBezTo>
                  <a:lnTo>
                    <a:pt x="424" y="181"/>
                  </a:lnTo>
                  <a:cubicBezTo>
                    <a:pt x="424" y="180"/>
                    <a:pt x="425" y="179"/>
                    <a:pt x="426" y="179"/>
                  </a:cubicBezTo>
                  <a:lnTo>
                    <a:pt x="534" y="116"/>
                  </a:lnTo>
                  <a:lnTo>
                    <a:pt x="547" y="30"/>
                  </a:lnTo>
                  <a:cubicBezTo>
                    <a:pt x="547" y="28"/>
                    <a:pt x="548" y="26"/>
                    <a:pt x="550" y="26"/>
                  </a:cubicBezTo>
                  <a:lnTo>
                    <a:pt x="631" y="0"/>
                  </a:lnTo>
                  <a:cubicBezTo>
                    <a:pt x="631" y="0"/>
                    <a:pt x="631" y="0"/>
                    <a:pt x="632" y="0"/>
                  </a:cubicBezTo>
                  <a:cubicBezTo>
                    <a:pt x="633" y="0"/>
                    <a:pt x="634" y="0"/>
                    <a:pt x="635" y="1"/>
                  </a:cubicBezTo>
                  <a:cubicBezTo>
                    <a:pt x="636" y="2"/>
                    <a:pt x="637" y="3"/>
                    <a:pt x="637" y="5"/>
                  </a:cubicBezTo>
                  <a:lnTo>
                    <a:pt x="637" y="36"/>
                  </a:lnTo>
                  <a:lnTo>
                    <a:pt x="736" y="98"/>
                  </a:lnTo>
                  <a:lnTo>
                    <a:pt x="753" y="139"/>
                  </a:lnTo>
                  <a:lnTo>
                    <a:pt x="810" y="127"/>
                  </a:lnTo>
                  <a:cubicBezTo>
                    <a:pt x="811" y="127"/>
                    <a:pt x="812" y="128"/>
                    <a:pt x="813" y="128"/>
                  </a:cubicBezTo>
                  <a:cubicBezTo>
                    <a:pt x="814" y="129"/>
                    <a:pt x="814" y="130"/>
                    <a:pt x="814" y="132"/>
                  </a:cubicBezTo>
                  <a:lnTo>
                    <a:pt x="814" y="175"/>
                  </a:lnTo>
                  <a:lnTo>
                    <a:pt x="875" y="195"/>
                  </a:lnTo>
                  <a:lnTo>
                    <a:pt x="916" y="199"/>
                  </a:lnTo>
                  <a:cubicBezTo>
                    <a:pt x="917" y="199"/>
                    <a:pt x="918" y="200"/>
                    <a:pt x="919" y="201"/>
                  </a:cubicBezTo>
                  <a:lnTo>
                    <a:pt x="957" y="243"/>
                  </a:lnTo>
                  <a:lnTo>
                    <a:pt x="1065" y="271"/>
                  </a:lnTo>
                  <a:cubicBezTo>
                    <a:pt x="1067" y="271"/>
                    <a:pt x="1068" y="272"/>
                    <a:pt x="1068" y="273"/>
                  </a:cubicBezTo>
                  <a:cubicBezTo>
                    <a:pt x="1069" y="275"/>
                    <a:pt x="1069" y="276"/>
                    <a:pt x="1068" y="277"/>
                  </a:cubicBezTo>
                  <a:lnTo>
                    <a:pt x="1026" y="387"/>
                  </a:lnTo>
                  <a:lnTo>
                    <a:pt x="1026" y="445"/>
                  </a:lnTo>
                  <a:cubicBezTo>
                    <a:pt x="1026" y="447"/>
                    <a:pt x="1025" y="449"/>
                    <a:pt x="1023" y="449"/>
                  </a:cubicBezTo>
                  <a:lnTo>
                    <a:pt x="978" y="462"/>
                  </a:lnTo>
                  <a:lnTo>
                    <a:pt x="899" y="591"/>
                  </a:lnTo>
                  <a:lnTo>
                    <a:pt x="902" y="617"/>
                  </a:lnTo>
                  <a:lnTo>
                    <a:pt x="925" y="594"/>
                  </a:lnTo>
                  <a:cubicBezTo>
                    <a:pt x="926" y="593"/>
                    <a:pt x="927" y="593"/>
                    <a:pt x="929" y="593"/>
                  </a:cubicBezTo>
                  <a:lnTo>
                    <a:pt x="958" y="593"/>
                  </a:lnTo>
                  <a:cubicBezTo>
                    <a:pt x="960" y="593"/>
                    <a:pt x="962" y="594"/>
                    <a:pt x="963" y="596"/>
                  </a:cubicBezTo>
                  <a:lnTo>
                    <a:pt x="984" y="655"/>
                  </a:lnTo>
                  <a:cubicBezTo>
                    <a:pt x="985" y="657"/>
                    <a:pt x="984" y="660"/>
                    <a:pt x="981" y="661"/>
                  </a:cubicBezTo>
                  <a:lnTo>
                    <a:pt x="964" y="667"/>
                  </a:lnTo>
                  <a:lnTo>
                    <a:pt x="988" y="727"/>
                  </a:lnTo>
                  <a:cubicBezTo>
                    <a:pt x="989" y="728"/>
                    <a:pt x="988" y="730"/>
                    <a:pt x="988" y="731"/>
                  </a:cubicBezTo>
                  <a:lnTo>
                    <a:pt x="965" y="769"/>
                  </a:lnTo>
                  <a:lnTo>
                    <a:pt x="974" y="775"/>
                  </a:lnTo>
                  <a:cubicBezTo>
                    <a:pt x="975" y="776"/>
                    <a:pt x="975" y="777"/>
                    <a:pt x="976" y="778"/>
                  </a:cubicBezTo>
                  <a:lnTo>
                    <a:pt x="988" y="851"/>
                  </a:lnTo>
                  <a:lnTo>
                    <a:pt x="1022" y="855"/>
                  </a:lnTo>
                  <a:cubicBezTo>
                    <a:pt x="1024" y="855"/>
                    <a:pt x="1026" y="857"/>
                    <a:pt x="1026" y="859"/>
                  </a:cubicBezTo>
                  <a:lnTo>
                    <a:pt x="1031" y="897"/>
                  </a:lnTo>
                  <a:cubicBezTo>
                    <a:pt x="1031" y="899"/>
                    <a:pt x="1030" y="900"/>
                    <a:pt x="1029" y="901"/>
                  </a:cubicBezTo>
                  <a:lnTo>
                    <a:pt x="915" y="990"/>
                  </a:lnTo>
                  <a:cubicBezTo>
                    <a:pt x="914" y="991"/>
                    <a:pt x="913" y="991"/>
                    <a:pt x="911" y="991"/>
                  </a:cubicBezTo>
                  <a:lnTo>
                    <a:pt x="910" y="991"/>
                  </a:lnTo>
                  <a:lnTo>
                    <a:pt x="817" y="953"/>
                  </a:lnTo>
                  <a:lnTo>
                    <a:pt x="735" y="941"/>
                  </a:lnTo>
                  <a:lnTo>
                    <a:pt x="670" y="981"/>
                  </a:lnTo>
                  <a:lnTo>
                    <a:pt x="662" y="1013"/>
                  </a:lnTo>
                  <a:lnTo>
                    <a:pt x="666" y="1062"/>
                  </a:lnTo>
                  <a:cubicBezTo>
                    <a:pt x="666" y="1063"/>
                    <a:pt x="666" y="1065"/>
                    <a:pt x="665" y="1066"/>
                  </a:cubicBezTo>
                  <a:cubicBezTo>
                    <a:pt x="664" y="1066"/>
                    <a:pt x="663" y="1067"/>
                    <a:pt x="662" y="1067"/>
                  </a:cubicBezTo>
                  <a:lnTo>
                    <a:pt x="573" y="107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0" name="Freeform 375"/>
            <p:cNvSpPr>
              <a:spLocks noChangeArrowheads="1"/>
            </p:cNvSpPr>
            <p:nvPr/>
          </p:nvSpPr>
          <p:spPr bwMode="auto">
            <a:xfrm>
              <a:off x="4495800" y="2308225"/>
              <a:ext cx="33338" cy="71438"/>
            </a:xfrm>
            <a:custGeom>
              <a:avLst/>
              <a:gdLst/>
              <a:ahLst/>
              <a:cxnLst>
                <a:cxn ang="0">
                  <a:pos x="60" y="196"/>
                </a:cxn>
                <a:cxn ang="0">
                  <a:pos x="56" y="194"/>
                </a:cxn>
                <a:cxn ang="0">
                  <a:pos x="14" y="148"/>
                </a:cxn>
                <a:cxn ang="0">
                  <a:pos x="0" y="69"/>
                </a:cxn>
                <a:cxn ang="0">
                  <a:pos x="1" y="65"/>
                </a:cxn>
                <a:cxn ang="0">
                  <a:pos x="14" y="48"/>
                </a:cxn>
                <a:cxn ang="0">
                  <a:pos x="60" y="31"/>
                </a:cxn>
                <a:cxn ang="0">
                  <a:pos x="64" y="4"/>
                </a:cxn>
                <a:cxn ang="0">
                  <a:pos x="68" y="0"/>
                </a:cxn>
                <a:cxn ang="0">
                  <a:pos x="68" y="0"/>
                </a:cxn>
                <a:cxn ang="0">
                  <a:pos x="73" y="4"/>
                </a:cxn>
                <a:cxn ang="0">
                  <a:pos x="90" y="93"/>
                </a:cxn>
                <a:cxn ang="0">
                  <a:pos x="64" y="192"/>
                </a:cxn>
                <a:cxn ang="0">
                  <a:pos x="61" y="195"/>
                </a:cxn>
                <a:cxn ang="0">
                  <a:pos x="60" y="196"/>
                </a:cxn>
              </a:cxnLst>
              <a:rect l="0" t="0" r="r" b="b"/>
              <a:pathLst>
                <a:path w="91" h="197">
                  <a:moveTo>
                    <a:pt x="60" y="196"/>
                  </a:moveTo>
                  <a:cubicBezTo>
                    <a:pt x="58" y="196"/>
                    <a:pt x="57" y="195"/>
                    <a:pt x="56" y="194"/>
                  </a:cubicBezTo>
                  <a:lnTo>
                    <a:pt x="14" y="148"/>
                  </a:lnTo>
                  <a:lnTo>
                    <a:pt x="0" y="69"/>
                  </a:lnTo>
                  <a:cubicBezTo>
                    <a:pt x="0" y="68"/>
                    <a:pt x="0" y="66"/>
                    <a:pt x="1" y="65"/>
                  </a:cubicBezTo>
                  <a:lnTo>
                    <a:pt x="14" y="48"/>
                  </a:lnTo>
                  <a:lnTo>
                    <a:pt x="60" y="31"/>
                  </a:lnTo>
                  <a:lnTo>
                    <a:pt x="64" y="4"/>
                  </a:lnTo>
                  <a:cubicBezTo>
                    <a:pt x="64" y="2"/>
                    <a:pt x="66" y="0"/>
                    <a:pt x="68" y="0"/>
                  </a:cubicBezTo>
                  <a:lnTo>
                    <a:pt x="68" y="0"/>
                  </a:lnTo>
                  <a:cubicBezTo>
                    <a:pt x="70" y="0"/>
                    <a:pt x="72" y="2"/>
                    <a:pt x="73" y="4"/>
                  </a:cubicBezTo>
                  <a:lnTo>
                    <a:pt x="90" y="93"/>
                  </a:lnTo>
                  <a:lnTo>
                    <a:pt x="64" y="192"/>
                  </a:lnTo>
                  <a:cubicBezTo>
                    <a:pt x="64" y="194"/>
                    <a:pt x="62" y="195"/>
                    <a:pt x="61" y="195"/>
                  </a:cubicBezTo>
                  <a:cubicBezTo>
                    <a:pt x="60" y="196"/>
                    <a:pt x="60" y="196"/>
                    <a:pt x="60" y="196"/>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1" name="Freeform 376"/>
            <p:cNvSpPr>
              <a:spLocks noChangeArrowheads="1"/>
            </p:cNvSpPr>
            <p:nvPr/>
          </p:nvSpPr>
          <p:spPr bwMode="auto">
            <a:xfrm>
              <a:off x="4495800" y="2308225"/>
              <a:ext cx="33338" cy="71438"/>
            </a:xfrm>
            <a:custGeom>
              <a:avLst/>
              <a:gdLst/>
              <a:ahLst/>
              <a:cxnLst>
                <a:cxn ang="0">
                  <a:pos x="60" y="196"/>
                </a:cxn>
                <a:cxn ang="0">
                  <a:pos x="56" y="194"/>
                </a:cxn>
                <a:cxn ang="0">
                  <a:pos x="14" y="148"/>
                </a:cxn>
                <a:cxn ang="0">
                  <a:pos x="0" y="69"/>
                </a:cxn>
                <a:cxn ang="0">
                  <a:pos x="1" y="65"/>
                </a:cxn>
                <a:cxn ang="0">
                  <a:pos x="14" y="48"/>
                </a:cxn>
                <a:cxn ang="0">
                  <a:pos x="60" y="31"/>
                </a:cxn>
                <a:cxn ang="0">
                  <a:pos x="64" y="4"/>
                </a:cxn>
                <a:cxn ang="0">
                  <a:pos x="68" y="0"/>
                </a:cxn>
                <a:cxn ang="0">
                  <a:pos x="68" y="0"/>
                </a:cxn>
                <a:cxn ang="0">
                  <a:pos x="73" y="4"/>
                </a:cxn>
                <a:cxn ang="0">
                  <a:pos x="90" y="93"/>
                </a:cxn>
                <a:cxn ang="0">
                  <a:pos x="64" y="192"/>
                </a:cxn>
                <a:cxn ang="0">
                  <a:pos x="61" y="195"/>
                </a:cxn>
                <a:cxn ang="0">
                  <a:pos x="60" y="196"/>
                </a:cxn>
              </a:cxnLst>
              <a:rect l="0" t="0" r="r" b="b"/>
              <a:pathLst>
                <a:path w="91" h="197">
                  <a:moveTo>
                    <a:pt x="60" y="196"/>
                  </a:moveTo>
                  <a:cubicBezTo>
                    <a:pt x="58" y="196"/>
                    <a:pt x="57" y="195"/>
                    <a:pt x="56" y="194"/>
                  </a:cubicBezTo>
                  <a:lnTo>
                    <a:pt x="14" y="148"/>
                  </a:lnTo>
                  <a:lnTo>
                    <a:pt x="0" y="69"/>
                  </a:lnTo>
                  <a:cubicBezTo>
                    <a:pt x="0" y="68"/>
                    <a:pt x="0" y="66"/>
                    <a:pt x="1" y="65"/>
                  </a:cubicBezTo>
                  <a:lnTo>
                    <a:pt x="14" y="48"/>
                  </a:lnTo>
                  <a:lnTo>
                    <a:pt x="60" y="31"/>
                  </a:lnTo>
                  <a:lnTo>
                    <a:pt x="64" y="4"/>
                  </a:lnTo>
                  <a:cubicBezTo>
                    <a:pt x="64" y="2"/>
                    <a:pt x="66" y="0"/>
                    <a:pt x="68" y="0"/>
                  </a:cubicBezTo>
                  <a:lnTo>
                    <a:pt x="68" y="0"/>
                  </a:lnTo>
                  <a:cubicBezTo>
                    <a:pt x="70" y="0"/>
                    <a:pt x="72" y="2"/>
                    <a:pt x="73" y="4"/>
                  </a:cubicBezTo>
                  <a:lnTo>
                    <a:pt x="90" y="93"/>
                  </a:lnTo>
                  <a:lnTo>
                    <a:pt x="64" y="192"/>
                  </a:lnTo>
                  <a:cubicBezTo>
                    <a:pt x="64" y="194"/>
                    <a:pt x="62" y="195"/>
                    <a:pt x="61" y="195"/>
                  </a:cubicBezTo>
                  <a:cubicBezTo>
                    <a:pt x="60" y="196"/>
                    <a:pt x="60" y="196"/>
                    <a:pt x="60" y="19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2" name="Freeform 377"/>
            <p:cNvSpPr>
              <a:spLocks noChangeArrowheads="1"/>
            </p:cNvSpPr>
            <p:nvPr/>
          </p:nvSpPr>
          <p:spPr bwMode="auto">
            <a:xfrm>
              <a:off x="6057900" y="2490788"/>
              <a:ext cx="433388" cy="328612"/>
            </a:xfrm>
            <a:custGeom>
              <a:avLst/>
              <a:gdLst/>
              <a:ahLst/>
              <a:cxnLst>
                <a:cxn ang="0">
                  <a:pos x="602" y="127"/>
                </a:cxn>
                <a:cxn ang="0">
                  <a:pos x="704" y="123"/>
                </a:cxn>
                <a:cxn ang="0">
                  <a:pos x="755" y="89"/>
                </a:cxn>
                <a:cxn ang="0">
                  <a:pos x="822" y="81"/>
                </a:cxn>
                <a:cxn ang="0">
                  <a:pos x="873" y="0"/>
                </a:cxn>
                <a:cxn ang="0">
                  <a:pos x="899" y="51"/>
                </a:cxn>
                <a:cxn ang="0">
                  <a:pos x="915" y="144"/>
                </a:cxn>
                <a:cxn ang="0">
                  <a:pos x="1085" y="106"/>
                </a:cxn>
                <a:cxn ang="0">
                  <a:pos x="1119" y="131"/>
                </a:cxn>
                <a:cxn ang="0">
                  <a:pos x="1204" y="119"/>
                </a:cxn>
                <a:cxn ang="0">
                  <a:pos x="1170" y="144"/>
                </a:cxn>
                <a:cxn ang="0">
                  <a:pos x="1106" y="169"/>
                </a:cxn>
                <a:cxn ang="0">
                  <a:pos x="907" y="246"/>
                </a:cxn>
                <a:cxn ang="0">
                  <a:pos x="937" y="313"/>
                </a:cxn>
                <a:cxn ang="0">
                  <a:pos x="882" y="415"/>
                </a:cxn>
                <a:cxn ang="0">
                  <a:pos x="877" y="461"/>
                </a:cxn>
                <a:cxn ang="0">
                  <a:pos x="827" y="525"/>
                </a:cxn>
                <a:cxn ang="0">
                  <a:pos x="729" y="626"/>
                </a:cxn>
                <a:cxn ang="0">
                  <a:pos x="704" y="703"/>
                </a:cxn>
                <a:cxn ang="0">
                  <a:pos x="640" y="681"/>
                </a:cxn>
                <a:cxn ang="0">
                  <a:pos x="610" y="728"/>
                </a:cxn>
                <a:cxn ang="0">
                  <a:pos x="496" y="770"/>
                </a:cxn>
                <a:cxn ang="0">
                  <a:pos x="483" y="872"/>
                </a:cxn>
                <a:cxn ang="0">
                  <a:pos x="327" y="893"/>
                </a:cxn>
                <a:cxn ang="0">
                  <a:pos x="246" y="897"/>
                </a:cxn>
                <a:cxn ang="0">
                  <a:pos x="34" y="872"/>
                </a:cxn>
                <a:cxn ang="0">
                  <a:pos x="102" y="745"/>
                </a:cxn>
                <a:cxn ang="0">
                  <a:pos x="22" y="681"/>
                </a:cxn>
                <a:cxn ang="0">
                  <a:pos x="26" y="508"/>
                </a:cxn>
                <a:cxn ang="0">
                  <a:pos x="0" y="457"/>
                </a:cxn>
                <a:cxn ang="0">
                  <a:pos x="34" y="427"/>
                </a:cxn>
                <a:cxn ang="0">
                  <a:pos x="65" y="297"/>
                </a:cxn>
                <a:cxn ang="0">
                  <a:pos x="191" y="339"/>
                </a:cxn>
                <a:cxn ang="0">
                  <a:pos x="233" y="292"/>
                </a:cxn>
                <a:cxn ang="0">
                  <a:pos x="339" y="220"/>
                </a:cxn>
                <a:cxn ang="0">
                  <a:pos x="416" y="127"/>
                </a:cxn>
                <a:cxn ang="0">
                  <a:pos x="513" y="110"/>
                </a:cxn>
                <a:cxn ang="0">
                  <a:pos x="65" y="297"/>
                </a:cxn>
                <a:cxn ang="0">
                  <a:pos x="68" y="275"/>
                </a:cxn>
              </a:cxnLst>
              <a:rect l="0" t="0" r="r" b="b"/>
              <a:pathLst>
                <a:path w="1205" h="915">
                  <a:moveTo>
                    <a:pt x="513" y="110"/>
                  </a:moveTo>
                  <a:lnTo>
                    <a:pt x="602" y="127"/>
                  </a:lnTo>
                  <a:lnTo>
                    <a:pt x="636" y="161"/>
                  </a:lnTo>
                  <a:lnTo>
                    <a:pt x="704" y="123"/>
                  </a:lnTo>
                  <a:lnTo>
                    <a:pt x="742" y="144"/>
                  </a:lnTo>
                  <a:lnTo>
                    <a:pt x="755" y="89"/>
                  </a:lnTo>
                  <a:lnTo>
                    <a:pt x="810" y="102"/>
                  </a:lnTo>
                  <a:lnTo>
                    <a:pt x="822" y="81"/>
                  </a:lnTo>
                  <a:lnTo>
                    <a:pt x="814" y="64"/>
                  </a:lnTo>
                  <a:lnTo>
                    <a:pt x="873" y="0"/>
                  </a:lnTo>
                  <a:lnTo>
                    <a:pt x="907" y="21"/>
                  </a:lnTo>
                  <a:lnTo>
                    <a:pt x="899" y="51"/>
                  </a:lnTo>
                  <a:lnTo>
                    <a:pt x="924" y="64"/>
                  </a:lnTo>
                  <a:lnTo>
                    <a:pt x="915" y="144"/>
                  </a:lnTo>
                  <a:lnTo>
                    <a:pt x="937" y="191"/>
                  </a:lnTo>
                  <a:lnTo>
                    <a:pt x="1085" y="106"/>
                  </a:lnTo>
                  <a:lnTo>
                    <a:pt x="1110" y="110"/>
                  </a:lnTo>
                  <a:lnTo>
                    <a:pt x="1119" y="131"/>
                  </a:lnTo>
                  <a:lnTo>
                    <a:pt x="1170" y="119"/>
                  </a:lnTo>
                  <a:lnTo>
                    <a:pt x="1204" y="119"/>
                  </a:lnTo>
                  <a:lnTo>
                    <a:pt x="1195" y="131"/>
                  </a:lnTo>
                  <a:lnTo>
                    <a:pt x="1170" y="144"/>
                  </a:lnTo>
                  <a:lnTo>
                    <a:pt x="1187" y="153"/>
                  </a:lnTo>
                  <a:lnTo>
                    <a:pt x="1106" y="169"/>
                  </a:lnTo>
                  <a:lnTo>
                    <a:pt x="1017" y="174"/>
                  </a:lnTo>
                  <a:lnTo>
                    <a:pt x="907" y="246"/>
                  </a:lnTo>
                  <a:lnTo>
                    <a:pt x="899" y="254"/>
                  </a:lnTo>
                  <a:lnTo>
                    <a:pt x="937" y="313"/>
                  </a:lnTo>
                  <a:lnTo>
                    <a:pt x="932" y="347"/>
                  </a:lnTo>
                  <a:lnTo>
                    <a:pt x="882" y="415"/>
                  </a:lnTo>
                  <a:lnTo>
                    <a:pt x="894" y="427"/>
                  </a:lnTo>
                  <a:lnTo>
                    <a:pt x="877" y="461"/>
                  </a:lnTo>
                  <a:lnTo>
                    <a:pt x="793" y="461"/>
                  </a:lnTo>
                  <a:lnTo>
                    <a:pt x="827" y="525"/>
                  </a:lnTo>
                  <a:lnTo>
                    <a:pt x="755" y="554"/>
                  </a:lnTo>
                  <a:lnTo>
                    <a:pt x="729" y="626"/>
                  </a:lnTo>
                  <a:lnTo>
                    <a:pt x="738" y="673"/>
                  </a:lnTo>
                  <a:lnTo>
                    <a:pt x="704" y="703"/>
                  </a:lnTo>
                  <a:lnTo>
                    <a:pt x="678" y="681"/>
                  </a:lnTo>
                  <a:lnTo>
                    <a:pt x="640" y="681"/>
                  </a:lnTo>
                  <a:lnTo>
                    <a:pt x="598" y="715"/>
                  </a:lnTo>
                  <a:lnTo>
                    <a:pt x="610" y="728"/>
                  </a:lnTo>
                  <a:lnTo>
                    <a:pt x="530" y="736"/>
                  </a:lnTo>
                  <a:lnTo>
                    <a:pt x="496" y="770"/>
                  </a:lnTo>
                  <a:lnTo>
                    <a:pt x="492" y="863"/>
                  </a:lnTo>
                  <a:lnTo>
                    <a:pt x="483" y="872"/>
                  </a:lnTo>
                  <a:lnTo>
                    <a:pt x="386" y="897"/>
                  </a:lnTo>
                  <a:lnTo>
                    <a:pt x="327" y="893"/>
                  </a:lnTo>
                  <a:lnTo>
                    <a:pt x="301" y="914"/>
                  </a:lnTo>
                  <a:lnTo>
                    <a:pt x="246" y="897"/>
                  </a:lnTo>
                  <a:lnTo>
                    <a:pt x="161" y="914"/>
                  </a:lnTo>
                  <a:lnTo>
                    <a:pt x="34" y="872"/>
                  </a:lnTo>
                  <a:lnTo>
                    <a:pt x="89" y="796"/>
                  </a:lnTo>
                  <a:lnTo>
                    <a:pt x="102" y="745"/>
                  </a:lnTo>
                  <a:lnTo>
                    <a:pt x="72" y="703"/>
                  </a:lnTo>
                  <a:lnTo>
                    <a:pt x="22" y="681"/>
                  </a:lnTo>
                  <a:lnTo>
                    <a:pt x="5" y="567"/>
                  </a:lnTo>
                  <a:lnTo>
                    <a:pt x="26" y="508"/>
                  </a:lnTo>
                  <a:lnTo>
                    <a:pt x="0" y="487"/>
                  </a:lnTo>
                  <a:lnTo>
                    <a:pt x="0" y="457"/>
                  </a:lnTo>
                  <a:lnTo>
                    <a:pt x="0" y="444"/>
                  </a:lnTo>
                  <a:lnTo>
                    <a:pt x="34" y="427"/>
                  </a:lnTo>
                  <a:lnTo>
                    <a:pt x="51" y="377"/>
                  </a:lnTo>
                  <a:lnTo>
                    <a:pt x="65" y="297"/>
                  </a:lnTo>
                  <a:lnTo>
                    <a:pt x="89" y="313"/>
                  </a:lnTo>
                  <a:lnTo>
                    <a:pt x="191" y="339"/>
                  </a:lnTo>
                  <a:lnTo>
                    <a:pt x="217" y="317"/>
                  </a:lnTo>
                  <a:lnTo>
                    <a:pt x="233" y="292"/>
                  </a:lnTo>
                  <a:lnTo>
                    <a:pt x="221" y="275"/>
                  </a:lnTo>
                  <a:lnTo>
                    <a:pt x="339" y="220"/>
                  </a:lnTo>
                  <a:lnTo>
                    <a:pt x="373" y="127"/>
                  </a:lnTo>
                  <a:lnTo>
                    <a:pt x="416" y="127"/>
                  </a:lnTo>
                  <a:lnTo>
                    <a:pt x="441" y="102"/>
                  </a:lnTo>
                  <a:lnTo>
                    <a:pt x="513" y="110"/>
                  </a:lnTo>
                  <a:close/>
                  <a:moveTo>
                    <a:pt x="68" y="275"/>
                  </a:moveTo>
                  <a:lnTo>
                    <a:pt x="65" y="297"/>
                  </a:lnTo>
                  <a:lnTo>
                    <a:pt x="64" y="296"/>
                  </a:lnTo>
                  <a:lnTo>
                    <a:pt x="68" y="275"/>
                  </a:lnTo>
                  <a:close/>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3" name="Freeform 378"/>
            <p:cNvSpPr>
              <a:spLocks noChangeArrowheads="1"/>
            </p:cNvSpPr>
            <p:nvPr/>
          </p:nvSpPr>
          <p:spPr bwMode="auto">
            <a:xfrm>
              <a:off x="6057900" y="2490788"/>
              <a:ext cx="433388" cy="328612"/>
            </a:xfrm>
            <a:custGeom>
              <a:avLst/>
              <a:gdLst/>
              <a:ahLst/>
              <a:cxnLst>
                <a:cxn ang="0">
                  <a:pos x="602" y="127"/>
                </a:cxn>
                <a:cxn ang="0">
                  <a:pos x="704" y="123"/>
                </a:cxn>
                <a:cxn ang="0">
                  <a:pos x="755" y="89"/>
                </a:cxn>
                <a:cxn ang="0">
                  <a:pos x="822" y="81"/>
                </a:cxn>
                <a:cxn ang="0">
                  <a:pos x="873" y="0"/>
                </a:cxn>
                <a:cxn ang="0">
                  <a:pos x="899" y="51"/>
                </a:cxn>
                <a:cxn ang="0">
                  <a:pos x="915" y="144"/>
                </a:cxn>
                <a:cxn ang="0">
                  <a:pos x="1085" y="106"/>
                </a:cxn>
                <a:cxn ang="0">
                  <a:pos x="1119" y="131"/>
                </a:cxn>
                <a:cxn ang="0">
                  <a:pos x="1204" y="119"/>
                </a:cxn>
                <a:cxn ang="0">
                  <a:pos x="1170" y="144"/>
                </a:cxn>
                <a:cxn ang="0">
                  <a:pos x="1106" y="169"/>
                </a:cxn>
                <a:cxn ang="0">
                  <a:pos x="907" y="246"/>
                </a:cxn>
                <a:cxn ang="0">
                  <a:pos x="937" y="313"/>
                </a:cxn>
                <a:cxn ang="0">
                  <a:pos x="882" y="415"/>
                </a:cxn>
                <a:cxn ang="0">
                  <a:pos x="877" y="461"/>
                </a:cxn>
                <a:cxn ang="0">
                  <a:pos x="827" y="525"/>
                </a:cxn>
                <a:cxn ang="0">
                  <a:pos x="729" y="626"/>
                </a:cxn>
                <a:cxn ang="0">
                  <a:pos x="704" y="703"/>
                </a:cxn>
                <a:cxn ang="0">
                  <a:pos x="640" y="681"/>
                </a:cxn>
                <a:cxn ang="0">
                  <a:pos x="610" y="728"/>
                </a:cxn>
                <a:cxn ang="0">
                  <a:pos x="496" y="770"/>
                </a:cxn>
                <a:cxn ang="0">
                  <a:pos x="483" y="872"/>
                </a:cxn>
                <a:cxn ang="0">
                  <a:pos x="327" y="893"/>
                </a:cxn>
                <a:cxn ang="0">
                  <a:pos x="246" y="897"/>
                </a:cxn>
                <a:cxn ang="0">
                  <a:pos x="34" y="872"/>
                </a:cxn>
                <a:cxn ang="0">
                  <a:pos x="102" y="745"/>
                </a:cxn>
                <a:cxn ang="0">
                  <a:pos x="22" y="681"/>
                </a:cxn>
                <a:cxn ang="0">
                  <a:pos x="26" y="508"/>
                </a:cxn>
                <a:cxn ang="0">
                  <a:pos x="0" y="457"/>
                </a:cxn>
                <a:cxn ang="0">
                  <a:pos x="34" y="427"/>
                </a:cxn>
                <a:cxn ang="0">
                  <a:pos x="65" y="296"/>
                </a:cxn>
                <a:cxn ang="0">
                  <a:pos x="191" y="339"/>
                </a:cxn>
                <a:cxn ang="0">
                  <a:pos x="233" y="292"/>
                </a:cxn>
                <a:cxn ang="0">
                  <a:pos x="339" y="220"/>
                </a:cxn>
                <a:cxn ang="0">
                  <a:pos x="416" y="127"/>
                </a:cxn>
                <a:cxn ang="0">
                  <a:pos x="513" y="110"/>
                </a:cxn>
              </a:cxnLst>
              <a:rect l="0" t="0" r="r" b="b"/>
              <a:pathLst>
                <a:path w="1205" h="915">
                  <a:moveTo>
                    <a:pt x="513" y="110"/>
                  </a:moveTo>
                  <a:lnTo>
                    <a:pt x="602" y="127"/>
                  </a:lnTo>
                  <a:lnTo>
                    <a:pt x="636" y="161"/>
                  </a:lnTo>
                  <a:lnTo>
                    <a:pt x="704" y="123"/>
                  </a:lnTo>
                  <a:lnTo>
                    <a:pt x="742" y="144"/>
                  </a:lnTo>
                  <a:lnTo>
                    <a:pt x="755" y="89"/>
                  </a:lnTo>
                  <a:lnTo>
                    <a:pt x="810" y="102"/>
                  </a:lnTo>
                  <a:lnTo>
                    <a:pt x="822" y="81"/>
                  </a:lnTo>
                  <a:lnTo>
                    <a:pt x="814" y="64"/>
                  </a:lnTo>
                  <a:lnTo>
                    <a:pt x="873" y="0"/>
                  </a:lnTo>
                  <a:lnTo>
                    <a:pt x="907" y="21"/>
                  </a:lnTo>
                  <a:lnTo>
                    <a:pt x="899" y="51"/>
                  </a:lnTo>
                  <a:lnTo>
                    <a:pt x="924" y="64"/>
                  </a:lnTo>
                  <a:lnTo>
                    <a:pt x="915" y="144"/>
                  </a:lnTo>
                  <a:lnTo>
                    <a:pt x="937" y="191"/>
                  </a:lnTo>
                  <a:lnTo>
                    <a:pt x="1085" y="106"/>
                  </a:lnTo>
                  <a:lnTo>
                    <a:pt x="1110" y="110"/>
                  </a:lnTo>
                  <a:lnTo>
                    <a:pt x="1119" y="131"/>
                  </a:lnTo>
                  <a:lnTo>
                    <a:pt x="1170" y="119"/>
                  </a:lnTo>
                  <a:lnTo>
                    <a:pt x="1204" y="119"/>
                  </a:lnTo>
                  <a:lnTo>
                    <a:pt x="1195" y="131"/>
                  </a:lnTo>
                  <a:lnTo>
                    <a:pt x="1170" y="144"/>
                  </a:lnTo>
                  <a:lnTo>
                    <a:pt x="1187" y="153"/>
                  </a:lnTo>
                  <a:lnTo>
                    <a:pt x="1106" y="169"/>
                  </a:lnTo>
                  <a:lnTo>
                    <a:pt x="1017" y="174"/>
                  </a:lnTo>
                  <a:lnTo>
                    <a:pt x="907" y="246"/>
                  </a:lnTo>
                  <a:lnTo>
                    <a:pt x="899" y="254"/>
                  </a:lnTo>
                  <a:lnTo>
                    <a:pt x="937" y="313"/>
                  </a:lnTo>
                  <a:lnTo>
                    <a:pt x="932" y="347"/>
                  </a:lnTo>
                  <a:lnTo>
                    <a:pt x="882" y="415"/>
                  </a:lnTo>
                  <a:lnTo>
                    <a:pt x="894" y="427"/>
                  </a:lnTo>
                  <a:lnTo>
                    <a:pt x="877" y="461"/>
                  </a:lnTo>
                  <a:lnTo>
                    <a:pt x="793" y="461"/>
                  </a:lnTo>
                  <a:lnTo>
                    <a:pt x="827" y="525"/>
                  </a:lnTo>
                  <a:lnTo>
                    <a:pt x="755" y="554"/>
                  </a:lnTo>
                  <a:lnTo>
                    <a:pt x="729" y="626"/>
                  </a:lnTo>
                  <a:lnTo>
                    <a:pt x="738" y="673"/>
                  </a:lnTo>
                  <a:lnTo>
                    <a:pt x="704" y="703"/>
                  </a:lnTo>
                  <a:lnTo>
                    <a:pt x="678" y="681"/>
                  </a:lnTo>
                  <a:lnTo>
                    <a:pt x="640" y="681"/>
                  </a:lnTo>
                  <a:lnTo>
                    <a:pt x="598" y="715"/>
                  </a:lnTo>
                  <a:lnTo>
                    <a:pt x="610" y="728"/>
                  </a:lnTo>
                  <a:lnTo>
                    <a:pt x="530" y="736"/>
                  </a:lnTo>
                  <a:lnTo>
                    <a:pt x="496" y="770"/>
                  </a:lnTo>
                  <a:lnTo>
                    <a:pt x="492" y="863"/>
                  </a:lnTo>
                  <a:lnTo>
                    <a:pt x="483" y="872"/>
                  </a:lnTo>
                  <a:lnTo>
                    <a:pt x="386" y="897"/>
                  </a:lnTo>
                  <a:lnTo>
                    <a:pt x="327" y="893"/>
                  </a:lnTo>
                  <a:lnTo>
                    <a:pt x="301" y="914"/>
                  </a:lnTo>
                  <a:lnTo>
                    <a:pt x="246" y="897"/>
                  </a:lnTo>
                  <a:lnTo>
                    <a:pt x="161" y="914"/>
                  </a:lnTo>
                  <a:lnTo>
                    <a:pt x="34" y="872"/>
                  </a:lnTo>
                  <a:lnTo>
                    <a:pt x="89" y="796"/>
                  </a:lnTo>
                  <a:lnTo>
                    <a:pt x="102" y="745"/>
                  </a:lnTo>
                  <a:lnTo>
                    <a:pt x="72" y="703"/>
                  </a:lnTo>
                  <a:lnTo>
                    <a:pt x="22" y="681"/>
                  </a:lnTo>
                  <a:lnTo>
                    <a:pt x="5" y="567"/>
                  </a:lnTo>
                  <a:lnTo>
                    <a:pt x="26" y="508"/>
                  </a:lnTo>
                  <a:lnTo>
                    <a:pt x="0" y="487"/>
                  </a:lnTo>
                  <a:lnTo>
                    <a:pt x="0" y="457"/>
                  </a:lnTo>
                  <a:lnTo>
                    <a:pt x="0" y="444"/>
                  </a:lnTo>
                  <a:lnTo>
                    <a:pt x="34" y="427"/>
                  </a:lnTo>
                  <a:lnTo>
                    <a:pt x="51" y="377"/>
                  </a:lnTo>
                  <a:lnTo>
                    <a:pt x="65" y="296"/>
                  </a:lnTo>
                  <a:lnTo>
                    <a:pt x="89" y="313"/>
                  </a:lnTo>
                  <a:lnTo>
                    <a:pt x="191" y="339"/>
                  </a:lnTo>
                  <a:lnTo>
                    <a:pt x="217" y="317"/>
                  </a:lnTo>
                  <a:lnTo>
                    <a:pt x="233" y="292"/>
                  </a:lnTo>
                  <a:lnTo>
                    <a:pt x="221" y="275"/>
                  </a:lnTo>
                  <a:lnTo>
                    <a:pt x="339" y="220"/>
                  </a:lnTo>
                  <a:lnTo>
                    <a:pt x="373" y="127"/>
                  </a:lnTo>
                  <a:lnTo>
                    <a:pt x="416" y="127"/>
                  </a:lnTo>
                  <a:lnTo>
                    <a:pt x="441" y="102"/>
                  </a:lnTo>
                  <a:lnTo>
                    <a:pt x="513" y="11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4" name="Freeform 379"/>
            <p:cNvSpPr>
              <a:spLocks noChangeArrowheads="1"/>
            </p:cNvSpPr>
            <p:nvPr/>
          </p:nvSpPr>
          <p:spPr bwMode="auto">
            <a:xfrm>
              <a:off x="6057900" y="2490788"/>
              <a:ext cx="433388" cy="328612"/>
            </a:xfrm>
            <a:custGeom>
              <a:avLst/>
              <a:gdLst/>
              <a:ahLst/>
              <a:cxnLst>
                <a:cxn ang="0">
                  <a:pos x="636" y="161"/>
                </a:cxn>
                <a:cxn ang="0">
                  <a:pos x="742" y="144"/>
                </a:cxn>
                <a:cxn ang="0">
                  <a:pos x="810" y="102"/>
                </a:cxn>
                <a:cxn ang="0">
                  <a:pos x="814" y="64"/>
                </a:cxn>
                <a:cxn ang="0">
                  <a:pos x="907" y="21"/>
                </a:cxn>
                <a:cxn ang="0">
                  <a:pos x="924" y="64"/>
                </a:cxn>
                <a:cxn ang="0">
                  <a:pos x="937" y="191"/>
                </a:cxn>
                <a:cxn ang="0">
                  <a:pos x="1110" y="110"/>
                </a:cxn>
                <a:cxn ang="0">
                  <a:pos x="1170" y="119"/>
                </a:cxn>
                <a:cxn ang="0">
                  <a:pos x="1195" y="131"/>
                </a:cxn>
                <a:cxn ang="0">
                  <a:pos x="1187" y="153"/>
                </a:cxn>
                <a:cxn ang="0">
                  <a:pos x="1017" y="174"/>
                </a:cxn>
                <a:cxn ang="0">
                  <a:pos x="899" y="254"/>
                </a:cxn>
                <a:cxn ang="0">
                  <a:pos x="932" y="347"/>
                </a:cxn>
                <a:cxn ang="0">
                  <a:pos x="894" y="427"/>
                </a:cxn>
                <a:cxn ang="0">
                  <a:pos x="793" y="461"/>
                </a:cxn>
                <a:cxn ang="0">
                  <a:pos x="755" y="554"/>
                </a:cxn>
                <a:cxn ang="0">
                  <a:pos x="738" y="673"/>
                </a:cxn>
                <a:cxn ang="0">
                  <a:pos x="678" y="681"/>
                </a:cxn>
                <a:cxn ang="0">
                  <a:pos x="598" y="715"/>
                </a:cxn>
                <a:cxn ang="0">
                  <a:pos x="530" y="736"/>
                </a:cxn>
                <a:cxn ang="0">
                  <a:pos x="492" y="863"/>
                </a:cxn>
                <a:cxn ang="0">
                  <a:pos x="386" y="897"/>
                </a:cxn>
                <a:cxn ang="0">
                  <a:pos x="301" y="914"/>
                </a:cxn>
                <a:cxn ang="0">
                  <a:pos x="161" y="914"/>
                </a:cxn>
                <a:cxn ang="0">
                  <a:pos x="89" y="796"/>
                </a:cxn>
                <a:cxn ang="0">
                  <a:pos x="72" y="703"/>
                </a:cxn>
                <a:cxn ang="0">
                  <a:pos x="5" y="567"/>
                </a:cxn>
                <a:cxn ang="0">
                  <a:pos x="0" y="487"/>
                </a:cxn>
                <a:cxn ang="0">
                  <a:pos x="0" y="444"/>
                </a:cxn>
                <a:cxn ang="0">
                  <a:pos x="51" y="377"/>
                </a:cxn>
                <a:cxn ang="0">
                  <a:pos x="89" y="313"/>
                </a:cxn>
                <a:cxn ang="0">
                  <a:pos x="217" y="317"/>
                </a:cxn>
                <a:cxn ang="0">
                  <a:pos x="221" y="275"/>
                </a:cxn>
                <a:cxn ang="0">
                  <a:pos x="373" y="127"/>
                </a:cxn>
                <a:cxn ang="0">
                  <a:pos x="441" y="102"/>
                </a:cxn>
                <a:cxn ang="0">
                  <a:pos x="602" y="127"/>
                </a:cxn>
                <a:cxn ang="0">
                  <a:pos x="65" y="297"/>
                </a:cxn>
                <a:cxn ang="0">
                  <a:pos x="68" y="275"/>
                </a:cxn>
              </a:cxnLst>
              <a:rect l="0" t="0" r="r" b="b"/>
              <a:pathLst>
                <a:path w="1205" h="915">
                  <a:moveTo>
                    <a:pt x="602" y="127"/>
                  </a:moveTo>
                  <a:lnTo>
                    <a:pt x="636" y="161"/>
                  </a:lnTo>
                  <a:lnTo>
                    <a:pt x="704" y="123"/>
                  </a:lnTo>
                  <a:lnTo>
                    <a:pt x="742" y="144"/>
                  </a:lnTo>
                  <a:lnTo>
                    <a:pt x="755" y="89"/>
                  </a:lnTo>
                  <a:lnTo>
                    <a:pt x="810" y="102"/>
                  </a:lnTo>
                  <a:lnTo>
                    <a:pt x="822" y="81"/>
                  </a:lnTo>
                  <a:lnTo>
                    <a:pt x="814" y="64"/>
                  </a:lnTo>
                  <a:lnTo>
                    <a:pt x="873" y="0"/>
                  </a:lnTo>
                  <a:lnTo>
                    <a:pt x="907" y="21"/>
                  </a:lnTo>
                  <a:lnTo>
                    <a:pt x="899" y="51"/>
                  </a:lnTo>
                  <a:lnTo>
                    <a:pt x="924" y="64"/>
                  </a:lnTo>
                  <a:lnTo>
                    <a:pt x="915" y="144"/>
                  </a:lnTo>
                  <a:lnTo>
                    <a:pt x="937" y="191"/>
                  </a:lnTo>
                  <a:lnTo>
                    <a:pt x="1085" y="106"/>
                  </a:lnTo>
                  <a:lnTo>
                    <a:pt x="1110" y="110"/>
                  </a:lnTo>
                  <a:lnTo>
                    <a:pt x="1119" y="131"/>
                  </a:lnTo>
                  <a:lnTo>
                    <a:pt x="1170" y="119"/>
                  </a:lnTo>
                  <a:lnTo>
                    <a:pt x="1204" y="119"/>
                  </a:lnTo>
                  <a:lnTo>
                    <a:pt x="1195" y="131"/>
                  </a:lnTo>
                  <a:lnTo>
                    <a:pt x="1170" y="144"/>
                  </a:lnTo>
                  <a:lnTo>
                    <a:pt x="1187" y="153"/>
                  </a:lnTo>
                  <a:lnTo>
                    <a:pt x="1106" y="169"/>
                  </a:lnTo>
                  <a:lnTo>
                    <a:pt x="1017" y="174"/>
                  </a:lnTo>
                  <a:lnTo>
                    <a:pt x="907" y="246"/>
                  </a:lnTo>
                  <a:lnTo>
                    <a:pt x="899" y="254"/>
                  </a:lnTo>
                  <a:lnTo>
                    <a:pt x="937" y="313"/>
                  </a:lnTo>
                  <a:lnTo>
                    <a:pt x="932" y="347"/>
                  </a:lnTo>
                  <a:lnTo>
                    <a:pt x="882" y="415"/>
                  </a:lnTo>
                  <a:lnTo>
                    <a:pt x="894" y="427"/>
                  </a:lnTo>
                  <a:lnTo>
                    <a:pt x="877" y="461"/>
                  </a:lnTo>
                  <a:lnTo>
                    <a:pt x="793" y="461"/>
                  </a:lnTo>
                  <a:lnTo>
                    <a:pt x="827" y="525"/>
                  </a:lnTo>
                  <a:lnTo>
                    <a:pt x="755" y="554"/>
                  </a:lnTo>
                  <a:lnTo>
                    <a:pt x="729" y="626"/>
                  </a:lnTo>
                  <a:lnTo>
                    <a:pt x="738" y="673"/>
                  </a:lnTo>
                  <a:lnTo>
                    <a:pt x="704" y="703"/>
                  </a:lnTo>
                  <a:lnTo>
                    <a:pt x="678" y="681"/>
                  </a:lnTo>
                  <a:lnTo>
                    <a:pt x="640" y="681"/>
                  </a:lnTo>
                  <a:lnTo>
                    <a:pt x="598" y="715"/>
                  </a:lnTo>
                  <a:lnTo>
                    <a:pt x="610" y="728"/>
                  </a:lnTo>
                  <a:lnTo>
                    <a:pt x="530" y="736"/>
                  </a:lnTo>
                  <a:lnTo>
                    <a:pt x="496" y="770"/>
                  </a:lnTo>
                  <a:lnTo>
                    <a:pt x="492" y="863"/>
                  </a:lnTo>
                  <a:lnTo>
                    <a:pt x="483" y="872"/>
                  </a:lnTo>
                  <a:lnTo>
                    <a:pt x="386" y="897"/>
                  </a:lnTo>
                  <a:lnTo>
                    <a:pt x="327" y="893"/>
                  </a:lnTo>
                  <a:lnTo>
                    <a:pt x="301" y="914"/>
                  </a:lnTo>
                  <a:lnTo>
                    <a:pt x="246" y="897"/>
                  </a:lnTo>
                  <a:lnTo>
                    <a:pt x="161" y="914"/>
                  </a:lnTo>
                  <a:lnTo>
                    <a:pt x="34" y="872"/>
                  </a:lnTo>
                  <a:lnTo>
                    <a:pt x="89" y="796"/>
                  </a:lnTo>
                  <a:lnTo>
                    <a:pt x="102" y="745"/>
                  </a:lnTo>
                  <a:lnTo>
                    <a:pt x="72" y="703"/>
                  </a:lnTo>
                  <a:lnTo>
                    <a:pt x="22" y="681"/>
                  </a:lnTo>
                  <a:lnTo>
                    <a:pt x="5" y="567"/>
                  </a:lnTo>
                  <a:lnTo>
                    <a:pt x="26" y="508"/>
                  </a:lnTo>
                  <a:lnTo>
                    <a:pt x="0" y="487"/>
                  </a:lnTo>
                  <a:lnTo>
                    <a:pt x="0" y="457"/>
                  </a:lnTo>
                  <a:lnTo>
                    <a:pt x="0" y="444"/>
                  </a:lnTo>
                  <a:lnTo>
                    <a:pt x="34" y="427"/>
                  </a:lnTo>
                  <a:lnTo>
                    <a:pt x="51" y="377"/>
                  </a:lnTo>
                  <a:lnTo>
                    <a:pt x="65" y="297"/>
                  </a:lnTo>
                  <a:lnTo>
                    <a:pt x="89" y="313"/>
                  </a:lnTo>
                  <a:lnTo>
                    <a:pt x="191" y="339"/>
                  </a:lnTo>
                  <a:lnTo>
                    <a:pt x="217" y="317"/>
                  </a:lnTo>
                  <a:lnTo>
                    <a:pt x="233" y="292"/>
                  </a:lnTo>
                  <a:lnTo>
                    <a:pt x="221" y="275"/>
                  </a:lnTo>
                  <a:lnTo>
                    <a:pt x="339" y="220"/>
                  </a:lnTo>
                  <a:lnTo>
                    <a:pt x="373" y="127"/>
                  </a:lnTo>
                  <a:lnTo>
                    <a:pt x="416" y="127"/>
                  </a:lnTo>
                  <a:lnTo>
                    <a:pt x="441" y="102"/>
                  </a:lnTo>
                  <a:lnTo>
                    <a:pt x="513" y="110"/>
                  </a:lnTo>
                  <a:lnTo>
                    <a:pt x="602" y="127"/>
                  </a:lnTo>
                  <a:close/>
                  <a:moveTo>
                    <a:pt x="68" y="275"/>
                  </a:moveTo>
                  <a:lnTo>
                    <a:pt x="65" y="297"/>
                  </a:lnTo>
                  <a:lnTo>
                    <a:pt x="64" y="296"/>
                  </a:lnTo>
                  <a:lnTo>
                    <a:pt x="68" y="275"/>
                  </a:lnTo>
                  <a:close/>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5" name="Freeform 380"/>
            <p:cNvSpPr>
              <a:spLocks noChangeArrowheads="1"/>
            </p:cNvSpPr>
            <p:nvPr/>
          </p:nvSpPr>
          <p:spPr bwMode="auto">
            <a:xfrm>
              <a:off x="6057900" y="2490788"/>
              <a:ext cx="433388" cy="328612"/>
            </a:xfrm>
            <a:custGeom>
              <a:avLst/>
              <a:gdLst/>
              <a:ahLst/>
              <a:cxnLst>
                <a:cxn ang="0">
                  <a:pos x="602" y="127"/>
                </a:cxn>
                <a:cxn ang="0">
                  <a:pos x="704" y="123"/>
                </a:cxn>
                <a:cxn ang="0">
                  <a:pos x="755" y="89"/>
                </a:cxn>
                <a:cxn ang="0">
                  <a:pos x="822" y="81"/>
                </a:cxn>
                <a:cxn ang="0">
                  <a:pos x="873" y="0"/>
                </a:cxn>
                <a:cxn ang="0">
                  <a:pos x="899" y="51"/>
                </a:cxn>
                <a:cxn ang="0">
                  <a:pos x="915" y="144"/>
                </a:cxn>
                <a:cxn ang="0">
                  <a:pos x="1085" y="106"/>
                </a:cxn>
                <a:cxn ang="0">
                  <a:pos x="1119" y="131"/>
                </a:cxn>
                <a:cxn ang="0">
                  <a:pos x="1204" y="119"/>
                </a:cxn>
                <a:cxn ang="0">
                  <a:pos x="1170" y="144"/>
                </a:cxn>
                <a:cxn ang="0">
                  <a:pos x="1106" y="169"/>
                </a:cxn>
                <a:cxn ang="0">
                  <a:pos x="907" y="246"/>
                </a:cxn>
                <a:cxn ang="0">
                  <a:pos x="937" y="313"/>
                </a:cxn>
                <a:cxn ang="0">
                  <a:pos x="882" y="415"/>
                </a:cxn>
                <a:cxn ang="0">
                  <a:pos x="877" y="461"/>
                </a:cxn>
                <a:cxn ang="0">
                  <a:pos x="827" y="525"/>
                </a:cxn>
                <a:cxn ang="0">
                  <a:pos x="729" y="626"/>
                </a:cxn>
                <a:cxn ang="0">
                  <a:pos x="704" y="703"/>
                </a:cxn>
                <a:cxn ang="0">
                  <a:pos x="640" y="681"/>
                </a:cxn>
                <a:cxn ang="0">
                  <a:pos x="610" y="728"/>
                </a:cxn>
                <a:cxn ang="0">
                  <a:pos x="496" y="770"/>
                </a:cxn>
                <a:cxn ang="0">
                  <a:pos x="483" y="872"/>
                </a:cxn>
                <a:cxn ang="0">
                  <a:pos x="327" y="893"/>
                </a:cxn>
                <a:cxn ang="0">
                  <a:pos x="246" y="897"/>
                </a:cxn>
                <a:cxn ang="0">
                  <a:pos x="34" y="872"/>
                </a:cxn>
                <a:cxn ang="0">
                  <a:pos x="102" y="745"/>
                </a:cxn>
                <a:cxn ang="0">
                  <a:pos x="22" y="681"/>
                </a:cxn>
                <a:cxn ang="0">
                  <a:pos x="26" y="508"/>
                </a:cxn>
                <a:cxn ang="0">
                  <a:pos x="0" y="457"/>
                </a:cxn>
                <a:cxn ang="0">
                  <a:pos x="34" y="427"/>
                </a:cxn>
                <a:cxn ang="0">
                  <a:pos x="65" y="296"/>
                </a:cxn>
                <a:cxn ang="0">
                  <a:pos x="191" y="339"/>
                </a:cxn>
                <a:cxn ang="0">
                  <a:pos x="233" y="292"/>
                </a:cxn>
                <a:cxn ang="0">
                  <a:pos x="339" y="220"/>
                </a:cxn>
                <a:cxn ang="0">
                  <a:pos x="416" y="127"/>
                </a:cxn>
                <a:cxn ang="0">
                  <a:pos x="513" y="110"/>
                </a:cxn>
              </a:cxnLst>
              <a:rect l="0" t="0" r="r" b="b"/>
              <a:pathLst>
                <a:path w="1205" h="915">
                  <a:moveTo>
                    <a:pt x="513" y="110"/>
                  </a:moveTo>
                  <a:lnTo>
                    <a:pt x="602" y="127"/>
                  </a:lnTo>
                  <a:lnTo>
                    <a:pt x="636" y="161"/>
                  </a:lnTo>
                  <a:lnTo>
                    <a:pt x="704" y="123"/>
                  </a:lnTo>
                  <a:lnTo>
                    <a:pt x="742" y="144"/>
                  </a:lnTo>
                  <a:lnTo>
                    <a:pt x="755" y="89"/>
                  </a:lnTo>
                  <a:lnTo>
                    <a:pt x="810" y="102"/>
                  </a:lnTo>
                  <a:lnTo>
                    <a:pt x="822" y="81"/>
                  </a:lnTo>
                  <a:lnTo>
                    <a:pt x="814" y="64"/>
                  </a:lnTo>
                  <a:lnTo>
                    <a:pt x="873" y="0"/>
                  </a:lnTo>
                  <a:lnTo>
                    <a:pt x="907" y="21"/>
                  </a:lnTo>
                  <a:lnTo>
                    <a:pt x="899" y="51"/>
                  </a:lnTo>
                  <a:lnTo>
                    <a:pt x="924" y="64"/>
                  </a:lnTo>
                  <a:lnTo>
                    <a:pt x="915" y="144"/>
                  </a:lnTo>
                  <a:lnTo>
                    <a:pt x="937" y="191"/>
                  </a:lnTo>
                  <a:lnTo>
                    <a:pt x="1085" y="106"/>
                  </a:lnTo>
                  <a:lnTo>
                    <a:pt x="1110" y="110"/>
                  </a:lnTo>
                  <a:lnTo>
                    <a:pt x="1119" y="131"/>
                  </a:lnTo>
                  <a:lnTo>
                    <a:pt x="1170" y="119"/>
                  </a:lnTo>
                  <a:lnTo>
                    <a:pt x="1204" y="119"/>
                  </a:lnTo>
                  <a:lnTo>
                    <a:pt x="1195" y="131"/>
                  </a:lnTo>
                  <a:lnTo>
                    <a:pt x="1170" y="144"/>
                  </a:lnTo>
                  <a:lnTo>
                    <a:pt x="1187" y="153"/>
                  </a:lnTo>
                  <a:lnTo>
                    <a:pt x="1106" y="169"/>
                  </a:lnTo>
                  <a:lnTo>
                    <a:pt x="1017" y="174"/>
                  </a:lnTo>
                  <a:lnTo>
                    <a:pt x="907" y="246"/>
                  </a:lnTo>
                  <a:lnTo>
                    <a:pt x="899" y="254"/>
                  </a:lnTo>
                  <a:lnTo>
                    <a:pt x="937" y="313"/>
                  </a:lnTo>
                  <a:lnTo>
                    <a:pt x="932" y="347"/>
                  </a:lnTo>
                  <a:lnTo>
                    <a:pt x="882" y="415"/>
                  </a:lnTo>
                  <a:lnTo>
                    <a:pt x="894" y="427"/>
                  </a:lnTo>
                  <a:lnTo>
                    <a:pt x="877" y="461"/>
                  </a:lnTo>
                  <a:lnTo>
                    <a:pt x="793" y="461"/>
                  </a:lnTo>
                  <a:lnTo>
                    <a:pt x="827" y="525"/>
                  </a:lnTo>
                  <a:lnTo>
                    <a:pt x="755" y="554"/>
                  </a:lnTo>
                  <a:lnTo>
                    <a:pt x="729" y="626"/>
                  </a:lnTo>
                  <a:lnTo>
                    <a:pt x="738" y="673"/>
                  </a:lnTo>
                  <a:lnTo>
                    <a:pt x="704" y="703"/>
                  </a:lnTo>
                  <a:lnTo>
                    <a:pt x="678" y="681"/>
                  </a:lnTo>
                  <a:lnTo>
                    <a:pt x="640" y="681"/>
                  </a:lnTo>
                  <a:lnTo>
                    <a:pt x="598" y="715"/>
                  </a:lnTo>
                  <a:lnTo>
                    <a:pt x="610" y="728"/>
                  </a:lnTo>
                  <a:lnTo>
                    <a:pt x="530" y="736"/>
                  </a:lnTo>
                  <a:lnTo>
                    <a:pt x="496" y="770"/>
                  </a:lnTo>
                  <a:lnTo>
                    <a:pt x="492" y="863"/>
                  </a:lnTo>
                  <a:lnTo>
                    <a:pt x="483" y="872"/>
                  </a:lnTo>
                  <a:lnTo>
                    <a:pt x="386" y="897"/>
                  </a:lnTo>
                  <a:lnTo>
                    <a:pt x="327" y="893"/>
                  </a:lnTo>
                  <a:lnTo>
                    <a:pt x="301" y="914"/>
                  </a:lnTo>
                  <a:lnTo>
                    <a:pt x="246" y="897"/>
                  </a:lnTo>
                  <a:lnTo>
                    <a:pt x="161" y="914"/>
                  </a:lnTo>
                  <a:lnTo>
                    <a:pt x="34" y="872"/>
                  </a:lnTo>
                  <a:lnTo>
                    <a:pt x="89" y="796"/>
                  </a:lnTo>
                  <a:lnTo>
                    <a:pt x="102" y="745"/>
                  </a:lnTo>
                  <a:lnTo>
                    <a:pt x="72" y="703"/>
                  </a:lnTo>
                  <a:lnTo>
                    <a:pt x="22" y="681"/>
                  </a:lnTo>
                  <a:lnTo>
                    <a:pt x="5" y="567"/>
                  </a:lnTo>
                  <a:lnTo>
                    <a:pt x="26" y="508"/>
                  </a:lnTo>
                  <a:lnTo>
                    <a:pt x="0" y="487"/>
                  </a:lnTo>
                  <a:lnTo>
                    <a:pt x="0" y="457"/>
                  </a:lnTo>
                  <a:lnTo>
                    <a:pt x="0" y="444"/>
                  </a:lnTo>
                  <a:lnTo>
                    <a:pt x="34" y="427"/>
                  </a:lnTo>
                  <a:lnTo>
                    <a:pt x="51" y="377"/>
                  </a:lnTo>
                  <a:lnTo>
                    <a:pt x="65" y="296"/>
                  </a:lnTo>
                  <a:lnTo>
                    <a:pt x="89" y="313"/>
                  </a:lnTo>
                  <a:lnTo>
                    <a:pt x="191" y="339"/>
                  </a:lnTo>
                  <a:lnTo>
                    <a:pt x="217" y="317"/>
                  </a:lnTo>
                  <a:lnTo>
                    <a:pt x="233" y="292"/>
                  </a:lnTo>
                  <a:lnTo>
                    <a:pt x="221" y="275"/>
                  </a:lnTo>
                  <a:lnTo>
                    <a:pt x="339" y="220"/>
                  </a:lnTo>
                  <a:lnTo>
                    <a:pt x="373" y="127"/>
                  </a:lnTo>
                  <a:lnTo>
                    <a:pt x="416" y="127"/>
                  </a:lnTo>
                  <a:lnTo>
                    <a:pt x="441" y="102"/>
                  </a:lnTo>
                  <a:lnTo>
                    <a:pt x="513" y="11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6" name="Freeform 381"/>
            <p:cNvSpPr>
              <a:spLocks noChangeArrowheads="1"/>
            </p:cNvSpPr>
            <p:nvPr/>
          </p:nvSpPr>
          <p:spPr bwMode="auto">
            <a:xfrm>
              <a:off x="5753100" y="2922588"/>
              <a:ext cx="9525" cy="14287"/>
            </a:xfrm>
            <a:custGeom>
              <a:avLst/>
              <a:gdLst/>
              <a:ahLst/>
              <a:cxnLst>
                <a:cxn ang="0">
                  <a:pos x="4" y="35"/>
                </a:cxn>
                <a:cxn ang="0">
                  <a:pos x="0" y="6"/>
                </a:cxn>
                <a:cxn ang="0">
                  <a:pos x="1" y="2"/>
                </a:cxn>
                <a:cxn ang="0">
                  <a:pos x="4" y="0"/>
                </a:cxn>
                <a:cxn ang="0">
                  <a:pos x="6" y="0"/>
                </a:cxn>
                <a:cxn ang="0">
                  <a:pos x="23" y="5"/>
                </a:cxn>
                <a:cxn ang="0">
                  <a:pos x="26" y="7"/>
                </a:cxn>
                <a:cxn ang="0">
                  <a:pos x="26" y="11"/>
                </a:cxn>
                <a:cxn ang="0">
                  <a:pos x="13" y="37"/>
                </a:cxn>
                <a:cxn ang="0">
                  <a:pos x="9" y="39"/>
                </a:cxn>
                <a:cxn ang="0">
                  <a:pos x="8" y="39"/>
                </a:cxn>
                <a:cxn ang="0">
                  <a:pos x="4" y="35"/>
                </a:cxn>
              </a:cxnLst>
              <a:rect l="0" t="0" r="r" b="b"/>
              <a:pathLst>
                <a:path w="27" h="40">
                  <a:moveTo>
                    <a:pt x="4" y="35"/>
                  </a:moveTo>
                  <a:lnTo>
                    <a:pt x="0" y="6"/>
                  </a:lnTo>
                  <a:cubicBezTo>
                    <a:pt x="0" y="4"/>
                    <a:pt x="0" y="3"/>
                    <a:pt x="1" y="2"/>
                  </a:cubicBezTo>
                  <a:cubicBezTo>
                    <a:pt x="2" y="1"/>
                    <a:pt x="3" y="0"/>
                    <a:pt x="4" y="0"/>
                  </a:cubicBezTo>
                  <a:cubicBezTo>
                    <a:pt x="5" y="0"/>
                    <a:pt x="5" y="0"/>
                    <a:pt x="6" y="0"/>
                  </a:cubicBezTo>
                  <a:lnTo>
                    <a:pt x="23" y="5"/>
                  </a:lnTo>
                  <a:cubicBezTo>
                    <a:pt x="24" y="5"/>
                    <a:pt x="25" y="6"/>
                    <a:pt x="26" y="7"/>
                  </a:cubicBezTo>
                  <a:cubicBezTo>
                    <a:pt x="26" y="9"/>
                    <a:pt x="26" y="10"/>
                    <a:pt x="26" y="11"/>
                  </a:cubicBezTo>
                  <a:lnTo>
                    <a:pt x="13" y="37"/>
                  </a:lnTo>
                  <a:cubicBezTo>
                    <a:pt x="12" y="38"/>
                    <a:pt x="10" y="39"/>
                    <a:pt x="9" y="39"/>
                  </a:cubicBezTo>
                  <a:lnTo>
                    <a:pt x="8" y="39"/>
                  </a:lnTo>
                  <a:cubicBezTo>
                    <a:pt x="6" y="39"/>
                    <a:pt x="4" y="37"/>
                    <a:pt x="4" y="3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7" name="Freeform 382"/>
            <p:cNvSpPr>
              <a:spLocks noChangeArrowheads="1"/>
            </p:cNvSpPr>
            <p:nvPr/>
          </p:nvSpPr>
          <p:spPr bwMode="auto">
            <a:xfrm>
              <a:off x="5753100" y="2922588"/>
              <a:ext cx="9525" cy="14287"/>
            </a:xfrm>
            <a:custGeom>
              <a:avLst/>
              <a:gdLst/>
              <a:ahLst/>
              <a:cxnLst>
                <a:cxn ang="0">
                  <a:pos x="8" y="39"/>
                </a:cxn>
                <a:cxn ang="0">
                  <a:pos x="4" y="35"/>
                </a:cxn>
                <a:cxn ang="0">
                  <a:pos x="0" y="6"/>
                </a:cxn>
                <a:cxn ang="0">
                  <a:pos x="1" y="2"/>
                </a:cxn>
                <a:cxn ang="0">
                  <a:pos x="4" y="0"/>
                </a:cxn>
                <a:cxn ang="0">
                  <a:pos x="6" y="0"/>
                </a:cxn>
                <a:cxn ang="0">
                  <a:pos x="23" y="5"/>
                </a:cxn>
                <a:cxn ang="0">
                  <a:pos x="26" y="7"/>
                </a:cxn>
                <a:cxn ang="0">
                  <a:pos x="26" y="11"/>
                </a:cxn>
                <a:cxn ang="0">
                  <a:pos x="13" y="37"/>
                </a:cxn>
                <a:cxn ang="0">
                  <a:pos x="9" y="39"/>
                </a:cxn>
                <a:cxn ang="0">
                  <a:pos x="8" y="39"/>
                </a:cxn>
              </a:cxnLst>
              <a:rect l="0" t="0" r="r" b="b"/>
              <a:pathLst>
                <a:path w="27" h="40">
                  <a:moveTo>
                    <a:pt x="8" y="39"/>
                  </a:moveTo>
                  <a:cubicBezTo>
                    <a:pt x="6" y="39"/>
                    <a:pt x="4" y="37"/>
                    <a:pt x="4" y="35"/>
                  </a:cubicBezTo>
                  <a:lnTo>
                    <a:pt x="0" y="6"/>
                  </a:lnTo>
                  <a:cubicBezTo>
                    <a:pt x="0" y="4"/>
                    <a:pt x="0" y="3"/>
                    <a:pt x="1" y="2"/>
                  </a:cubicBezTo>
                  <a:cubicBezTo>
                    <a:pt x="2" y="1"/>
                    <a:pt x="3" y="0"/>
                    <a:pt x="4" y="0"/>
                  </a:cubicBezTo>
                  <a:cubicBezTo>
                    <a:pt x="5" y="0"/>
                    <a:pt x="5" y="0"/>
                    <a:pt x="6" y="0"/>
                  </a:cubicBezTo>
                  <a:lnTo>
                    <a:pt x="23" y="5"/>
                  </a:lnTo>
                  <a:cubicBezTo>
                    <a:pt x="24" y="5"/>
                    <a:pt x="25" y="6"/>
                    <a:pt x="26" y="7"/>
                  </a:cubicBezTo>
                  <a:cubicBezTo>
                    <a:pt x="26" y="9"/>
                    <a:pt x="26" y="10"/>
                    <a:pt x="26" y="11"/>
                  </a:cubicBezTo>
                  <a:lnTo>
                    <a:pt x="13" y="37"/>
                  </a:lnTo>
                  <a:cubicBezTo>
                    <a:pt x="12" y="38"/>
                    <a:pt x="10" y="39"/>
                    <a:pt x="9" y="39"/>
                  </a:cubicBezTo>
                  <a:lnTo>
                    <a:pt x="8" y="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8" name="Freeform 383"/>
            <p:cNvSpPr>
              <a:spLocks noChangeArrowheads="1"/>
            </p:cNvSpPr>
            <p:nvPr/>
          </p:nvSpPr>
          <p:spPr bwMode="auto">
            <a:xfrm>
              <a:off x="5400675" y="2527300"/>
              <a:ext cx="303213" cy="301625"/>
            </a:xfrm>
            <a:custGeom>
              <a:avLst/>
              <a:gdLst/>
              <a:ahLst/>
              <a:cxnLst>
                <a:cxn ang="0">
                  <a:pos x="581" y="810"/>
                </a:cxn>
                <a:cxn ang="0">
                  <a:pos x="519" y="834"/>
                </a:cxn>
                <a:cxn ang="0">
                  <a:pos x="517" y="835"/>
                </a:cxn>
                <a:cxn ang="0">
                  <a:pos x="516" y="834"/>
                </a:cxn>
                <a:cxn ang="0">
                  <a:pos x="418" y="792"/>
                </a:cxn>
                <a:cxn ang="0">
                  <a:pos x="415" y="788"/>
                </a:cxn>
                <a:cxn ang="0">
                  <a:pos x="407" y="724"/>
                </a:cxn>
                <a:cxn ang="0">
                  <a:pos x="368" y="716"/>
                </a:cxn>
                <a:cxn ang="0">
                  <a:pos x="365" y="714"/>
                </a:cxn>
                <a:cxn ang="0">
                  <a:pos x="344" y="680"/>
                </a:cxn>
                <a:cxn ang="0">
                  <a:pos x="261" y="648"/>
                </a:cxn>
                <a:cxn ang="0">
                  <a:pos x="163" y="580"/>
                </a:cxn>
                <a:cxn ang="0">
                  <a:pos x="37" y="543"/>
                </a:cxn>
                <a:cxn ang="0">
                  <a:pos x="34" y="539"/>
                </a:cxn>
                <a:cxn ang="0">
                  <a:pos x="0" y="434"/>
                </a:cxn>
                <a:cxn ang="0">
                  <a:pos x="2" y="428"/>
                </a:cxn>
                <a:cxn ang="0">
                  <a:pos x="200" y="311"/>
                </a:cxn>
                <a:cxn ang="0">
                  <a:pos x="212" y="274"/>
                </a:cxn>
                <a:cxn ang="0">
                  <a:pos x="220" y="110"/>
                </a:cxn>
                <a:cxn ang="0">
                  <a:pos x="224" y="106"/>
                </a:cxn>
                <a:cxn ang="0">
                  <a:pos x="274" y="89"/>
                </a:cxn>
                <a:cxn ang="0">
                  <a:pos x="323" y="32"/>
                </a:cxn>
                <a:cxn ang="0">
                  <a:pos x="362" y="1"/>
                </a:cxn>
                <a:cxn ang="0">
                  <a:pos x="365" y="0"/>
                </a:cxn>
                <a:cxn ang="0">
                  <a:pos x="471" y="13"/>
                </a:cxn>
                <a:cxn ang="0">
                  <a:pos x="475" y="15"/>
                </a:cxn>
                <a:cxn ang="0">
                  <a:pos x="482" y="25"/>
                </a:cxn>
                <a:cxn ang="0">
                  <a:pos x="517" y="21"/>
                </a:cxn>
                <a:cxn ang="0">
                  <a:pos x="520" y="22"/>
                </a:cxn>
                <a:cxn ang="0">
                  <a:pos x="522" y="26"/>
                </a:cxn>
                <a:cxn ang="0">
                  <a:pos x="526" y="72"/>
                </a:cxn>
                <a:cxn ang="0">
                  <a:pos x="576" y="146"/>
                </a:cxn>
                <a:cxn ang="0">
                  <a:pos x="642" y="170"/>
                </a:cxn>
                <a:cxn ang="0">
                  <a:pos x="644" y="173"/>
                </a:cxn>
                <a:cxn ang="0">
                  <a:pos x="644" y="177"/>
                </a:cxn>
                <a:cxn ang="0">
                  <a:pos x="627" y="206"/>
                </a:cxn>
                <a:cxn ang="0">
                  <a:pos x="632" y="233"/>
                </a:cxn>
                <a:cxn ang="0">
                  <a:pos x="631" y="236"/>
                </a:cxn>
                <a:cxn ang="0">
                  <a:pos x="585" y="308"/>
                </a:cxn>
                <a:cxn ang="0">
                  <a:pos x="569" y="360"/>
                </a:cxn>
                <a:cxn ang="0">
                  <a:pos x="623" y="447"/>
                </a:cxn>
                <a:cxn ang="0">
                  <a:pos x="727" y="513"/>
                </a:cxn>
                <a:cxn ang="0">
                  <a:pos x="759" y="578"/>
                </a:cxn>
                <a:cxn ang="0">
                  <a:pos x="755" y="653"/>
                </a:cxn>
                <a:cxn ang="0">
                  <a:pos x="773" y="661"/>
                </a:cxn>
                <a:cxn ang="0">
                  <a:pos x="776" y="664"/>
                </a:cxn>
                <a:cxn ang="0">
                  <a:pos x="789" y="706"/>
                </a:cxn>
                <a:cxn ang="0">
                  <a:pos x="838" y="746"/>
                </a:cxn>
                <a:cxn ang="0">
                  <a:pos x="840" y="750"/>
                </a:cxn>
                <a:cxn ang="0">
                  <a:pos x="838" y="754"/>
                </a:cxn>
                <a:cxn ang="0">
                  <a:pos x="821" y="766"/>
                </a:cxn>
                <a:cxn ang="0">
                  <a:pos x="818" y="767"/>
                </a:cxn>
                <a:cxn ang="0">
                  <a:pos x="817" y="767"/>
                </a:cxn>
                <a:cxn ang="0">
                  <a:pos x="783" y="758"/>
                </a:cxn>
                <a:cxn ang="0">
                  <a:pos x="727" y="759"/>
                </a:cxn>
                <a:cxn ang="0">
                  <a:pos x="669" y="837"/>
                </a:cxn>
                <a:cxn ang="0">
                  <a:pos x="666" y="839"/>
                </a:cxn>
                <a:cxn ang="0">
                  <a:pos x="664" y="839"/>
                </a:cxn>
                <a:cxn ang="0">
                  <a:pos x="581" y="810"/>
                </a:cxn>
              </a:cxnLst>
              <a:rect l="0" t="0" r="r" b="b"/>
              <a:pathLst>
                <a:path w="841" h="840">
                  <a:moveTo>
                    <a:pt x="581" y="810"/>
                  </a:moveTo>
                  <a:lnTo>
                    <a:pt x="519" y="834"/>
                  </a:lnTo>
                  <a:cubicBezTo>
                    <a:pt x="519" y="835"/>
                    <a:pt x="518" y="835"/>
                    <a:pt x="517" y="835"/>
                  </a:cubicBezTo>
                  <a:cubicBezTo>
                    <a:pt x="517" y="835"/>
                    <a:pt x="516" y="835"/>
                    <a:pt x="516" y="834"/>
                  </a:cubicBezTo>
                  <a:lnTo>
                    <a:pt x="418" y="792"/>
                  </a:lnTo>
                  <a:cubicBezTo>
                    <a:pt x="417" y="791"/>
                    <a:pt x="416" y="790"/>
                    <a:pt x="415" y="788"/>
                  </a:cubicBezTo>
                  <a:lnTo>
                    <a:pt x="407" y="724"/>
                  </a:lnTo>
                  <a:lnTo>
                    <a:pt x="368" y="716"/>
                  </a:lnTo>
                  <a:cubicBezTo>
                    <a:pt x="367" y="716"/>
                    <a:pt x="366" y="715"/>
                    <a:pt x="365" y="714"/>
                  </a:cubicBezTo>
                  <a:lnTo>
                    <a:pt x="344" y="680"/>
                  </a:lnTo>
                  <a:lnTo>
                    <a:pt x="261" y="648"/>
                  </a:lnTo>
                  <a:lnTo>
                    <a:pt x="163" y="580"/>
                  </a:lnTo>
                  <a:lnTo>
                    <a:pt x="37" y="543"/>
                  </a:lnTo>
                  <a:cubicBezTo>
                    <a:pt x="36" y="542"/>
                    <a:pt x="35" y="541"/>
                    <a:pt x="34" y="539"/>
                  </a:cubicBezTo>
                  <a:lnTo>
                    <a:pt x="0" y="434"/>
                  </a:lnTo>
                  <a:cubicBezTo>
                    <a:pt x="0" y="432"/>
                    <a:pt x="1" y="429"/>
                    <a:pt x="2" y="428"/>
                  </a:cubicBezTo>
                  <a:lnTo>
                    <a:pt x="200" y="311"/>
                  </a:lnTo>
                  <a:lnTo>
                    <a:pt x="212" y="274"/>
                  </a:lnTo>
                  <a:lnTo>
                    <a:pt x="220" y="110"/>
                  </a:lnTo>
                  <a:cubicBezTo>
                    <a:pt x="220" y="109"/>
                    <a:pt x="222" y="107"/>
                    <a:pt x="224" y="106"/>
                  </a:cubicBezTo>
                  <a:lnTo>
                    <a:pt x="274" y="89"/>
                  </a:lnTo>
                  <a:lnTo>
                    <a:pt x="323" y="32"/>
                  </a:lnTo>
                  <a:lnTo>
                    <a:pt x="362" y="1"/>
                  </a:lnTo>
                  <a:cubicBezTo>
                    <a:pt x="363" y="1"/>
                    <a:pt x="364" y="0"/>
                    <a:pt x="365" y="0"/>
                  </a:cubicBezTo>
                  <a:lnTo>
                    <a:pt x="471" y="13"/>
                  </a:lnTo>
                  <a:cubicBezTo>
                    <a:pt x="473" y="13"/>
                    <a:pt x="474" y="14"/>
                    <a:pt x="475" y="15"/>
                  </a:cubicBezTo>
                  <a:lnTo>
                    <a:pt x="482" y="25"/>
                  </a:lnTo>
                  <a:lnTo>
                    <a:pt x="517" y="21"/>
                  </a:lnTo>
                  <a:cubicBezTo>
                    <a:pt x="518" y="21"/>
                    <a:pt x="520" y="22"/>
                    <a:pt x="520" y="22"/>
                  </a:cubicBezTo>
                  <a:cubicBezTo>
                    <a:pt x="521" y="23"/>
                    <a:pt x="522" y="24"/>
                    <a:pt x="522" y="26"/>
                  </a:cubicBezTo>
                  <a:lnTo>
                    <a:pt x="526" y="72"/>
                  </a:lnTo>
                  <a:lnTo>
                    <a:pt x="576" y="146"/>
                  </a:lnTo>
                  <a:lnTo>
                    <a:pt x="642" y="170"/>
                  </a:lnTo>
                  <a:cubicBezTo>
                    <a:pt x="643" y="170"/>
                    <a:pt x="644" y="171"/>
                    <a:pt x="644" y="173"/>
                  </a:cubicBezTo>
                  <a:cubicBezTo>
                    <a:pt x="645" y="174"/>
                    <a:pt x="645" y="175"/>
                    <a:pt x="644" y="177"/>
                  </a:cubicBezTo>
                  <a:lnTo>
                    <a:pt x="627" y="206"/>
                  </a:lnTo>
                  <a:lnTo>
                    <a:pt x="632" y="233"/>
                  </a:lnTo>
                  <a:cubicBezTo>
                    <a:pt x="632" y="234"/>
                    <a:pt x="632" y="235"/>
                    <a:pt x="631" y="236"/>
                  </a:cubicBezTo>
                  <a:lnTo>
                    <a:pt x="585" y="308"/>
                  </a:lnTo>
                  <a:lnTo>
                    <a:pt x="569" y="360"/>
                  </a:lnTo>
                  <a:lnTo>
                    <a:pt x="623" y="447"/>
                  </a:lnTo>
                  <a:lnTo>
                    <a:pt x="727" y="513"/>
                  </a:lnTo>
                  <a:lnTo>
                    <a:pt x="759" y="578"/>
                  </a:lnTo>
                  <a:lnTo>
                    <a:pt x="755" y="653"/>
                  </a:lnTo>
                  <a:lnTo>
                    <a:pt x="773" y="661"/>
                  </a:lnTo>
                  <a:cubicBezTo>
                    <a:pt x="775" y="661"/>
                    <a:pt x="776" y="662"/>
                    <a:pt x="776" y="664"/>
                  </a:cubicBezTo>
                  <a:lnTo>
                    <a:pt x="789" y="706"/>
                  </a:lnTo>
                  <a:lnTo>
                    <a:pt x="838" y="746"/>
                  </a:lnTo>
                  <a:cubicBezTo>
                    <a:pt x="839" y="747"/>
                    <a:pt x="840" y="748"/>
                    <a:pt x="840" y="750"/>
                  </a:cubicBezTo>
                  <a:cubicBezTo>
                    <a:pt x="840" y="751"/>
                    <a:pt x="839" y="753"/>
                    <a:pt x="838" y="754"/>
                  </a:cubicBezTo>
                  <a:lnTo>
                    <a:pt x="821" y="766"/>
                  </a:lnTo>
                  <a:cubicBezTo>
                    <a:pt x="820" y="767"/>
                    <a:pt x="819" y="767"/>
                    <a:pt x="818" y="767"/>
                  </a:cubicBezTo>
                  <a:lnTo>
                    <a:pt x="817" y="767"/>
                  </a:lnTo>
                  <a:lnTo>
                    <a:pt x="783" y="758"/>
                  </a:lnTo>
                  <a:lnTo>
                    <a:pt x="727" y="759"/>
                  </a:lnTo>
                  <a:lnTo>
                    <a:pt x="669" y="837"/>
                  </a:lnTo>
                  <a:cubicBezTo>
                    <a:pt x="669" y="838"/>
                    <a:pt x="667" y="839"/>
                    <a:pt x="666" y="839"/>
                  </a:cubicBezTo>
                  <a:cubicBezTo>
                    <a:pt x="666" y="839"/>
                    <a:pt x="665" y="839"/>
                    <a:pt x="664" y="839"/>
                  </a:cubicBezTo>
                  <a:lnTo>
                    <a:pt x="581" y="81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89" name="Freeform 384"/>
            <p:cNvSpPr>
              <a:spLocks noChangeArrowheads="1"/>
            </p:cNvSpPr>
            <p:nvPr/>
          </p:nvSpPr>
          <p:spPr bwMode="auto">
            <a:xfrm>
              <a:off x="5400675" y="2527300"/>
              <a:ext cx="303213" cy="301625"/>
            </a:xfrm>
            <a:custGeom>
              <a:avLst/>
              <a:gdLst/>
              <a:ahLst/>
              <a:cxnLst>
                <a:cxn ang="0">
                  <a:pos x="664" y="839"/>
                </a:cxn>
                <a:cxn ang="0">
                  <a:pos x="581" y="810"/>
                </a:cxn>
                <a:cxn ang="0">
                  <a:pos x="519" y="834"/>
                </a:cxn>
                <a:cxn ang="0">
                  <a:pos x="517" y="835"/>
                </a:cxn>
                <a:cxn ang="0">
                  <a:pos x="516" y="834"/>
                </a:cxn>
                <a:cxn ang="0">
                  <a:pos x="418" y="792"/>
                </a:cxn>
                <a:cxn ang="0">
                  <a:pos x="415" y="788"/>
                </a:cxn>
                <a:cxn ang="0">
                  <a:pos x="407" y="724"/>
                </a:cxn>
                <a:cxn ang="0">
                  <a:pos x="368" y="716"/>
                </a:cxn>
                <a:cxn ang="0">
                  <a:pos x="365" y="714"/>
                </a:cxn>
                <a:cxn ang="0">
                  <a:pos x="344" y="680"/>
                </a:cxn>
                <a:cxn ang="0">
                  <a:pos x="261" y="648"/>
                </a:cxn>
                <a:cxn ang="0">
                  <a:pos x="163" y="580"/>
                </a:cxn>
                <a:cxn ang="0">
                  <a:pos x="37" y="543"/>
                </a:cxn>
                <a:cxn ang="0">
                  <a:pos x="34" y="539"/>
                </a:cxn>
                <a:cxn ang="0">
                  <a:pos x="0" y="434"/>
                </a:cxn>
                <a:cxn ang="0">
                  <a:pos x="2" y="428"/>
                </a:cxn>
                <a:cxn ang="0">
                  <a:pos x="200" y="311"/>
                </a:cxn>
                <a:cxn ang="0">
                  <a:pos x="212" y="274"/>
                </a:cxn>
                <a:cxn ang="0">
                  <a:pos x="220" y="110"/>
                </a:cxn>
                <a:cxn ang="0">
                  <a:pos x="224" y="106"/>
                </a:cxn>
                <a:cxn ang="0">
                  <a:pos x="274" y="89"/>
                </a:cxn>
                <a:cxn ang="0">
                  <a:pos x="323" y="32"/>
                </a:cxn>
                <a:cxn ang="0">
                  <a:pos x="362" y="1"/>
                </a:cxn>
                <a:cxn ang="0">
                  <a:pos x="365" y="0"/>
                </a:cxn>
                <a:cxn ang="0">
                  <a:pos x="471" y="13"/>
                </a:cxn>
                <a:cxn ang="0">
                  <a:pos x="475" y="15"/>
                </a:cxn>
                <a:cxn ang="0">
                  <a:pos x="482" y="25"/>
                </a:cxn>
                <a:cxn ang="0">
                  <a:pos x="517" y="21"/>
                </a:cxn>
                <a:cxn ang="0">
                  <a:pos x="520" y="22"/>
                </a:cxn>
                <a:cxn ang="0">
                  <a:pos x="522" y="26"/>
                </a:cxn>
                <a:cxn ang="0">
                  <a:pos x="526" y="72"/>
                </a:cxn>
                <a:cxn ang="0">
                  <a:pos x="576" y="146"/>
                </a:cxn>
                <a:cxn ang="0">
                  <a:pos x="642" y="170"/>
                </a:cxn>
                <a:cxn ang="0">
                  <a:pos x="644" y="173"/>
                </a:cxn>
                <a:cxn ang="0">
                  <a:pos x="644" y="177"/>
                </a:cxn>
                <a:cxn ang="0">
                  <a:pos x="627" y="206"/>
                </a:cxn>
                <a:cxn ang="0">
                  <a:pos x="632" y="233"/>
                </a:cxn>
                <a:cxn ang="0">
                  <a:pos x="631" y="236"/>
                </a:cxn>
                <a:cxn ang="0">
                  <a:pos x="585" y="308"/>
                </a:cxn>
                <a:cxn ang="0">
                  <a:pos x="569" y="360"/>
                </a:cxn>
                <a:cxn ang="0">
                  <a:pos x="623" y="447"/>
                </a:cxn>
                <a:cxn ang="0">
                  <a:pos x="727" y="513"/>
                </a:cxn>
                <a:cxn ang="0">
                  <a:pos x="759" y="578"/>
                </a:cxn>
                <a:cxn ang="0">
                  <a:pos x="755" y="653"/>
                </a:cxn>
                <a:cxn ang="0">
                  <a:pos x="773" y="661"/>
                </a:cxn>
                <a:cxn ang="0">
                  <a:pos x="776" y="664"/>
                </a:cxn>
                <a:cxn ang="0">
                  <a:pos x="789" y="706"/>
                </a:cxn>
                <a:cxn ang="0">
                  <a:pos x="838" y="746"/>
                </a:cxn>
                <a:cxn ang="0">
                  <a:pos x="840" y="750"/>
                </a:cxn>
                <a:cxn ang="0">
                  <a:pos x="838" y="754"/>
                </a:cxn>
                <a:cxn ang="0">
                  <a:pos x="821" y="766"/>
                </a:cxn>
                <a:cxn ang="0">
                  <a:pos x="818" y="767"/>
                </a:cxn>
                <a:cxn ang="0">
                  <a:pos x="817" y="767"/>
                </a:cxn>
                <a:cxn ang="0">
                  <a:pos x="783" y="758"/>
                </a:cxn>
                <a:cxn ang="0">
                  <a:pos x="727" y="759"/>
                </a:cxn>
                <a:cxn ang="0">
                  <a:pos x="669" y="837"/>
                </a:cxn>
                <a:cxn ang="0">
                  <a:pos x="666" y="839"/>
                </a:cxn>
                <a:cxn ang="0">
                  <a:pos x="664" y="839"/>
                </a:cxn>
              </a:cxnLst>
              <a:rect l="0" t="0" r="r" b="b"/>
              <a:pathLst>
                <a:path w="841" h="840">
                  <a:moveTo>
                    <a:pt x="664" y="839"/>
                  </a:moveTo>
                  <a:lnTo>
                    <a:pt x="581" y="810"/>
                  </a:lnTo>
                  <a:lnTo>
                    <a:pt x="519" y="834"/>
                  </a:lnTo>
                  <a:cubicBezTo>
                    <a:pt x="519" y="835"/>
                    <a:pt x="518" y="835"/>
                    <a:pt x="517" y="835"/>
                  </a:cubicBezTo>
                  <a:cubicBezTo>
                    <a:pt x="517" y="835"/>
                    <a:pt x="516" y="835"/>
                    <a:pt x="516" y="834"/>
                  </a:cubicBezTo>
                  <a:lnTo>
                    <a:pt x="418" y="792"/>
                  </a:lnTo>
                  <a:cubicBezTo>
                    <a:pt x="417" y="791"/>
                    <a:pt x="416" y="790"/>
                    <a:pt x="415" y="788"/>
                  </a:cubicBezTo>
                  <a:lnTo>
                    <a:pt x="407" y="724"/>
                  </a:lnTo>
                  <a:lnTo>
                    <a:pt x="368" y="716"/>
                  </a:lnTo>
                  <a:cubicBezTo>
                    <a:pt x="367" y="716"/>
                    <a:pt x="366" y="715"/>
                    <a:pt x="365" y="714"/>
                  </a:cubicBezTo>
                  <a:lnTo>
                    <a:pt x="344" y="680"/>
                  </a:lnTo>
                  <a:lnTo>
                    <a:pt x="261" y="648"/>
                  </a:lnTo>
                  <a:lnTo>
                    <a:pt x="163" y="580"/>
                  </a:lnTo>
                  <a:lnTo>
                    <a:pt x="37" y="543"/>
                  </a:lnTo>
                  <a:cubicBezTo>
                    <a:pt x="36" y="542"/>
                    <a:pt x="35" y="541"/>
                    <a:pt x="34" y="539"/>
                  </a:cubicBezTo>
                  <a:lnTo>
                    <a:pt x="0" y="434"/>
                  </a:lnTo>
                  <a:cubicBezTo>
                    <a:pt x="0" y="432"/>
                    <a:pt x="1" y="429"/>
                    <a:pt x="2" y="428"/>
                  </a:cubicBezTo>
                  <a:lnTo>
                    <a:pt x="200" y="311"/>
                  </a:lnTo>
                  <a:lnTo>
                    <a:pt x="212" y="274"/>
                  </a:lnTo>
                  <a:lnTo>
                    <a:pt x="220" y="110"/>
                  </a:lnTo>
                  <a:cubicBezTo>
                    <a:pt x="220" y="109"/>
                    <a:pt x="222" y="107"/>
                    <a:pt x="224" y="106"/>
                  </a:cubicBezTo>
                  <a:lnTo>
                    <a:pt x="274" y="89"/>
                  </a:lnTo>
                  <a:lnTo>
                    <a:pt x="323" y="32"/>
                  </a:lnTo>
                  <a:lnTo>
                    <a:pt x="362" y="1"/>
                  </a:lnTo>
                  <a:cubicBezTo>
                    <a:pt x="363" y="1"/>
                    <a:pt x="364" y="0"/>
                    <a:pt x="365" y="0"/>
                  </a:cubicBezTo>
                  <a:lnTo>
                    <a:pt x="471" y="13"/>
                  </a:lnTo>
                  <a:cubicBezTo>
                    <a:pt x="473" y="13"/>
                    <a:pt x="474" y="14"/>
                    <a:pt x="475" y="15"/>
                  </a:cubicBezTo>
                  <a:lnTo>
                    <a:pt x="482" y="25"/>
                  </a:lnTo>
                  <a:lnTo>
                    <a:pt x="517" y="21"/>
                  </a:lnTo>
                  <a:cubicBezTo>
                    <a:pt x="518" y="21"/>
                    <a:pt x="520" y="22"/>
                    <a:pt x="520" y="22"/>
                  </a:cubicBezTo>
                  <a:cubicBezTo>
                    <a:pt x="521" y="23"/>
                    <a:pt x="522" y="24"/>
                    <a:pt x="522" y="26"/>
                  </a:cubicBezTo>
                  <a:lnTo>
                    <a:pt x="526" y="72"/>
                  </a:lnTo>
                  <a:lnTo>
                    <a:pt x="576" y="146"/>
                  </a:lnTo>
                  <a:lnTo>
                    <a:pt x="642" y="170"/>
                  </a:lnTo>
                  <a:cubicBezTo>
                    <a:pt x="643" y="170"/>
                    <a:pt x="644" y="171"/>
                    <a:pt x="644" y="173"/>
                  </a:cubicBezTo>
                  <a:cubicBezTo>
                    <a:pt x="645" y="174"/>
                    <a:pt x="645" y="175"/>
                    <a:pt x="644" y="177"/>
                  </a:cubicBezTo>
                  <a:lnTo>
                    <a:pt x="627" y="206"/>
                  </a:lnTo>
                  <a:lnTo>
                    <a:pt x="632" y="233"/>
                  </a:lnTo>
                  <a:cubicBezTo>
                    <a:pt x="632" y="234"/>
                    <a:pt x="632" y="235"/>
                    <a:pt x="631" y="236"/>
                  </a:cubicBezTo>
                  <a:lnTo>
                    <a:pt x="585" y="308"/>
                  </a:lnTo>
                  <a:lnTo>
                    <a:pt x="569" y="360"/>
                  </a:lnTo>
                  <a:lnTo>
                    <a:pt x="623" y="447"/>
                  </a:lnTo>
                  <a:lnTo>
                    <a:pt x="727" y="513"/>
                  </a:lnTo>
                  <a:lnTo>
                    <a:pt x="759" y="578"/>
                  </a:lnTo>
                  <a:lnTo>
                    <a:pt x="755" y="653"/>
                  </a:lnTo>
                  <a:lnTo>
                    <a:pt x="773" y="661"/>
                  </a:lnTo>
                  <a:cubicBezTo>
                    <a:pt x="775" y="661"/>
                    <a:pt x="776" y="662"/>
                    <a:pt x="776" y="664"/>
                  </a:cubicBezTo>
                  <a:lnTo>
                    <a:pt x="789" y="706"/>
                  </a:lnTo>
                  <a:lnTo>
                    <a:pt x="838" y="746"/>
                  </a:lnTo>
                  <a:cubicBezTo>
                    <a:pt x="839" y="747"/>
                    <a:pt x="840" y="748"/>
                    <a:pt x="840" y="750"/>
                  </a:cubicBezTo>
                  <a:cubicBezTo>
                    <a:pt x="840" y="751"/>
                    <a:pt x="839" y="753"/>
                    <a:pt x="838" y="754"/>
                  </a:cubicBezTo>
                  <a:lnTo>
                    <a:pt x="821" y="766"/>
                  </a:lnTo>
                  <a:cubicBezTo>
                    <a:pt x="820" y="767"/>
                    <a:pt x="819" y="767"/>
                    <a:pt x="818" y="767"/>
                  </a:cubicBezTo>
                  <a:lnTo>
                    <a:pt x="817" y="767"/>
                  </a:lnTo>
                  <a:lnTo>
                    <a:pt x="783" y="758"/>
                  </a:lnTo>
                  <a:lnTo>
                    <a:pt x="727" y="759"/>
                  </a:lnTo>
                  <a:lnTo>
                    <a:pt x="669" y="837"/>
                  </a:lnTo>
                  <a:cubicBezTo>
                    <a:pt x="669" y="838"/>
                    <a:pt x="667" y="839"/>
                    <a:pt x="666" y="839"/>
                  </a:cubicBezTo>
                  <a:cubicBezTo>
                    <a:pt x="666" y="839"/>
                    <a:pt x="665" y="839"/>
                    <a:pt x="664" y="8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0" name="Freeform 385"/>
            <p:cNvSpPr>
              <a:spLocks noChangeArrowheads="1"/>
            </p:cNvSpPr>
            <p:nvPr/>
          </p:nvSpPr>
          <p:spPr bwMode="auto">
            <a:xfrm>
              <a:off x="5584825" y="2814638"/>
              <a:ext cx="57150" cy="28575"/>
            </a:xfrm>
            <a:custGeom>
              <a:avLst/>
              <a:gdLst/>
              <a:ahLst/>
              <a:cxnLst>
                <a:cxn ang="0">
                  <a:pos x="65" y="76"/>
                </a:cxn>
                <a:cxn ang="0">
                  <a:pos x="2" y="34"/>
                </a:cxn>
                <a:cxn ang="0">
                  <a:pos x="0" y="29"/>
                </a:cxn>
                <a:cxn ang="0">
                  <a:pos x="3" y="26"/>
                </a:cxn>
                <a:cxn ang="0">
                  <a:pos x="66" y="0"/>
                </a:cxn>
                <a:cxn ang="0">
                  <a:pos x="68" y="0"/>
                </a:cxn>
                <a:cxn ang="0">
                  <a:pos x="70" y="0"/>
                </a:cxn>
                <a:cxn ang="0">
                  <a:pos x="154" y="30"/>
                </a:cxn>
                <a:cxn ang="0">
                  <a:pos x="157" y="34"/>
                </a:cxn>
                <a:cxn ang="0">
                  <a:pos x="155" y="38"/>
                </a:cxn>
                <a:cxn ang="0">
                  <a:pos x="70" y="77"/>
                </a:cxn>
                <a:cxn ang="0">
                  <a:pos x="68" y="77"/>
                </a:cxn>
                <a:cxn ang="0">
                  <a:pos x="65" y="76"/>
                </a:cxn>
              </a:cxnLst>
              <a:rect l="0" t="0" r="r" b="b"/>
              <a:pathLst>
                <a:path w="159" h="78">
                  <a:moveTo>
                    <a:pt x="65" y="76"/>
                  </a:moveTo>
                  <a:lnTo>
                    <a:pt x="2" y="34"/>
                  </a:lnTo>
                  <a:cubicBezTo>
                    <a:pt x="0" y="33"/>
                    <a:pt x="0" y="31"/>
                    <a:pt x="0" y="29"/>
                  </a:cubicBezTo>
                  <a:cubicBezTo>
                    <a:pt x="0" y="28"/>
                    <a:pt x="1" y="26"/>
                    <a:pt x="3" y="26"/>
                  </a:cubicBezTo>
                  <a:lnTo>
                    <a:pt x="66" y="0"/>
                  </a:lnTo>
                  <a:cubicBezTo>
                    <a:pt x="67" y="0"/>
                    <a:pt x="67" y="0"/>
                    <a:pt x="68" y="0"/>
                  </a:cubicBezTo>
                  <a:cubicBezTo>
                    <a:pt x="68" y="0"/>
                    <a:pt x="69" y="0"/>
                    <a:pt x="70" y="0"/>
                  </a:cubicBezTo>
                  <a:lnTo>
                    <a:pt x="154" y="30"/>
                  </a:lnTo>
                  <a:cubicBezTo>
                    <a:pt x="156" y="31"/>
                    <a:pt x="157" y="32"/>
                    <a:pt x="157" y="34"/>
                  </a:cubicBezTo>
                  <a:cubicBezTo>
                    <a:pt x="158" y="36"/>
                    <a:pt x="156" y="38"/>
                    <a:pt x="155" y="38"/>
                  </a:cubicBezTo>
                  <a:lnTo>
                    <a:pt x="70" y="77"/>
                  </a:lnTo>
                  <a:cubicBezTo>
                    <a:pt x="69" y="77"/>
                    <a:pt x="69" y="77"/>
                    <a:pt x="68" y="77"/>
                  </a:cubicBezTo>
                  <a:cubicBezTo>
                    <a:pt x="67" y="77"/>
                    <a:pt x="66" y="77"/>
                    <a:pt x="65" y="7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1" name="Freeform 386"/>
            <p:cNvSpPr>
              <a:spLocks noChangeArrowheads="1"/>
            </p:cNvSpPr>
            <p:nvPr/>
          </p:nvSpPr>
          <p:spPr bwMode="auto">
            <a:xfrm>
              <a:off x="5584825" y="2814638"/>
              <a:ext cx="57150" cy="28575"/>
            </a:xfrm>
            <a:custGeom>
              <a:avLst/>
              <a:gdLst/>
              <a:ahLst/>
              <a:cxnLst>
                <a:cxn ang="0">
                  <a:pos x="68" y="77"/>
                </a:cxn>
                <a:cxn ang="0">
                  <a:pos x="65" y="76"/>
                </a:cxn>
                <a:cxn ang="0">
                  <a:pos x="2" y="34"/>
                </a:cxn>
                <a:cxn ang="0">
                  <a:pos x="0" y="29"/>
                </a:cxn>
                <a:cxn ang="0">
                  <a:pos x="3" y="26"/>
                </a:cxn>
                <a:cxn ang="0">
                  <a:pos x="66" y="0"/>
                </a:cxn>
                <a:cxn ang="0">
                  <a:pos x="68" y="0"/>
                </a:cxn>
                <a:cxn ang="0">
                  <a:pos x="70" y="0"/>
                </a:cxn>
                <a:cxn ang="0">
                  <a:pos x="154" y="30"/>
                </a:cxn>
                <a:cxn ang="0">
                  <a:pos x="157" y="34"/>
                </a:cxn>
                <a:cxn ang="0">
                  <a:pos x="155" y="38"/>
                </a:cxn>
                <a:cxn ang="0">
                  <a:pos x="70" y="77"/>
                </a:cxn>
                <a:cxn ang="0">
                  <a:pos x="68" y="77"/>
                </a:cxn>
              </a:cxnLst>
              <a:rect l="0" t="0" r="r" b="b"/>
              <a:pathLst>
                <a:path w="159" h="78">
                  <a:moveTo>
                    <a:pt x="68" y="77"/>
                  </a:moveTo>
                  <a:cubicBezTo>
                    <a:pt x="67" y="77"/>
                    <a:pt x="66" y="77"/>
                    <a:pt x="65" y="76"/>
                  </a:cubicBezTo>
                  <a:lnTo>
                    <a:pt x="2" y="34"/>
                  </a:lnTo>
                  <a:cubicBezTo>
                    <a:pt x="0" y="33"/>
                    <a:pt x="0" y="31"/>
                    <a:pt x="0" y="29"/>
                  </a:cubicBezTo>
                  <a:cubicBezTo>
                    <a:pt x="0" y="28"/>
                    <a:pt x="1" y="26"/>
                    <a:pt x="3" y="26"/>
                  </a:cubicBezTo>
                  <a:lnTo>
                    <a:pt x="66" y="0"/>
                  </a:lnTo>
                  <a:cubicBezTo>
                    <a:pt x="67" y="0"/>
                    <a:pt x="67" y="0"/>
                    <a:pt x="68" y="0"/>
                  </a:cubicBezTo>
                  <a:cubicBezTo>
                    <a:pt x="68" y="0"/>
                    <a:pt x="69" y="0"/>
                    <a:pt x="70" y="0"/>
                  </a:cubicBezTo>
                  <a:lnTo>
                    <a:pt x="154" y="30"/>
                  </a:lnTo>
                  <a:cubicBezTo>
                    <a:pt x="156" y="31"/>
                    <a:pt x="157" y="32"/>
                    <a:pt x="157" y="34"/>
                  </a:cubicBezTo>
                  <a:cubicBezTo>
                    <a:pt x="158" y="36"/>
                    <a:pt x="156" y="38"/>
                    <a:pt x="155" y="38"/>
                  </a:cubicBezTo>
                  <a:lnTo>
                    <a:pt x="70" y="77"/>
                  </a:lnTo>
                  <a:cubicBezTo>
                    <a:pt x="69" y="77"/>
                    <a:pt x="69" y="77"/>
                    <a:pt x="68" y="7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2" name="Freeform 387"/>
            <p:cNvSpPr>
              <a:spLocks noChangeArrowheads="1"/>
            </p:cNvSpPr>
            <p:nvPr/>
          </p:nvSpPr>
          <p:spPr bwMode="auto">
            <a:xfrm>
              <a:off x="5262563" y="2684463"/>
              <a:ext cx="46037" cy="141287"/>
            </a:xfrm>
            <a:custGeom>
              <a:avLst/>
              <a:gdLst/>
              <a:ahLst/>
              <a:cxnLst>
                <a:cxn ang="0">
                  <a:pos x="64" y="387"/>
                </a:cxn>
                <a:cxn ang="0">
                  <a:pos x="0" y="201"/>
                </a:cxn>
                <a:cxn ang="0">
                  <a:pos x="1" y="197"/>
                </a:cxn>
                <a:cxn ang="0">
                  <a:pos x="30" y="154"/>
                </a:cxn>
                <a:cxn ang="0">
                  <a:pos x="72" y="12"/>
                </a:cxn>
                <a:cxn ang="0">
                  <a:pos x="77" y="9"/>
                </a:cxn>
                <a:cxn ang="0">
                  <a:pos x="112" y="12"/>
                </a:cxn>
                <a:cxn ang="0">
                  <a:pos x="119" y="2"/>
                </a:cxn>
                <a:cxn ang="0">
                  <a:pos x="123" y="0"/>
                </a:cxn>
                <a:cxn ang="0">
                  <a:pos x="125" y="0"/>
                </a:cxn>
                <a:cxn ang="0">
                  <a:pos x="128" y="5"/>
                </a:cxn>
                <a:cxn ang="0">
                  <a:pos x="124" y="56"/>
                </a:cxn>
                <a:cxn ang="0">
                  <a:pos x="124" y="89"/>
                </a:cxn>
                <a:cxn ang="0">
                  <a:pos x="121" y="93"/>
                </a:cxn>
                <a:cxn ang="0">
                  <a:pos x="119" y="94"/>
                </a:cxn>
                <a:cxn ang="0">
                  <a:pos x="117" y="93"/>
                </a:cxn>
                <a:cxn ang="0">
                  <a:pos x="91" y="79"/>
                </a:cxn>
                <a:cxn ang="0">
                  <a:pos x="72" y="105"/>
                </a:cxn>
                <a:cxn ang="0">
                  <a:pos x="73" y="136"/>
                </a:cxn>
                <a:cxn ang="0">
                  <a:pos x="90" y="140"/>
                </a:cxn>
                <a:cxn ang="0">
                  <a:pos x="94" y="142"/>
                </a:cxn>
                <a:cxn ang="0">
                  <a:pos x="93" y="147"/>
                </a:cxn>
                <a:cxn ang="0">
                  <a:pos x="73" y="180"/>
                </a:cxn>
                <a:cxn ang="0">
                  <a:pos x="111" y="173"/>
                </a:cxn>
                <a:cxn ang="0">
                  <a:pos x="114" y="175"/>
                </a:cxn>
                <a:cxn ang="0">
                  <a:pos x="115" y="179"/>
                </a:cxn>
                <a:cxn ang="0">
                  <a:pos x="77" y="374"/>
                </a:cxn>
                <a:cxn ang="0">
                  <a:pos x="73" y="387"/>
                </a:cxn>
                <a:cxn ang="0">
                  <a:pos x="68" y="390"/>
                </a:cxn>
                <a:cxn ang="0">
                  <a:pos x="64" y="387"/>
                </a:cxn>
              </a:cxnLst>
              <a:rect l="0" t="0" r="r" b="b"/>
              <a:pathLst>
                <a:path w="129" h="391">
                  <a:moveTo>
                    <a:pt x="64" y="387"/>
                  </a:moveTo>
                  <a:lnTo>
                    <a:pt x="0" y="201"/>
                  </a:lnTo>
                  <a:cubicBezTo>
                    <a:pt x="0" y="199"/>
                    <a:pt x="0" y="198"/>
                    <a:pt x="1" y="197"/>
                  </a:cubicBezTo>
                  <a:lnTo>
                    <a:pt x="30" y="154"/>
                  </a:lnTo>
                  <a:lnTo>
                    <a:pt x="72" y="12"/>
                  </a:lnTo>
                  <a:cubicBezTo>
                    <a:pt x="73" y="10"/>
                    <a:pt x="74" y="9"/>
                    <a:pt x="77" y="9"/>
                  </a:cubicBezTo>
                  <a:lnTo>
                    <a:pt x="112" y="12"/>
                  </a:lnTo>
                  <a:lnTo>
                    <a:pt x="119" y="2"/>
                  </a:lnTo>
                  <a:cubicBezTo>
                    <a:pt x="120" y="1"/>
                    <a:pt x="122" y="0"/>
                    <a:pt x="123" y="0"/>
                  </a:cubicBezTo>
                  <a:cubicBezTo>
                    <a:pt x="123" y="0"/>
                    <a:pt x="124" y="0"/>
                    <a:pt x="125" y="0"/>
                  </a:cubicBezTo>
                  <a:cubicBezTo>
                    <a:pt x="127" y="1"/>
                    <a:pt x="128" y="3"/>
                    <a:pt x="128" y="5"/>
                  </a:cubicBezTo>
                  <a:lnTo>
                    <a:pt x="124" y="56"/>
                  </a:lnTo>
                  <a:lnTo>
                    <a:pt x="124" y="89"/>
                  </a:lnTo>
                  <a:cubicBezTo>
                    <a:pt x="124" y="91"/>
                    <a:pt x="123" y="93"/>
                    <a:pt x="121" y="93"/>
                  </a:cubicBezTo>
                  <a:cubicBezTo>
                    <a:pt x="121" y="94"/>
                    <a:pt x="120" y="94"/>
                    <a:pt x="119" y="94"/>
                  </a:cubicBezTo>
                  <a:cubicBezTo>
                    <a:pt x="118" y="94"/>
                    <a:pt x="117" y="94"/>
                    <a:pt x="117" y="93"/>
                  </a:cubicBezTo>
                  <a:lnTo>
                    <a:pt x="91" y="79"/>
                  </a:lnTo>
                  <a:lnTo>
                    <a:pt x="72" y="105"/>
                  </a:lnTo>
                  <a:lnTo>
                    <a:pt x="73" y="136"/>
                  </a:lnTo>
                  <a:lnTo>
                    <a:pt x="90" y="140"/>
                  </a:lnTo>
                  <a:cubicBezTo>
                    <a:pt x="92" y="140"/>
                    <a:pt x="93" y="141"/>
                    <a:pt x="94" y="142"/>
                  </a:cubicBezTo>
                  <a:cubicBezTo>
                    <a:pt x="94" y="144"/>
                    <a:pt x="94" y="145"/>
                    <a:pt x="93" y="147"/>
                  </a:cubicBezTo>
                  <a:lnTo>
                    <a:pt x="73" y="180"/>
                  </a:lnTo>
                  <a:lnTo>
                    <a:pt x="111" y="173"/>
                  </a:lnTo>
                  <a:cubicBezTo>
                    <a:pt x="112" y="173"/>
                    <a:pt x="113" y="174"/>
                    <a:pt x="114" y="175"/>
                  </a:cubicBezTo>
                  <a:cubicBezTo>
                    <a:pt x="115" y="176"/>
                    <a:pt x="115" y="178"/>
                    <a:pt x="115" y="179"/>
                  </a:cubicBezTo>
                  <a:lnTo>
                    <a:pt x="77" y="374"/>
                  </a:lnTo>
                  <a:lnTo>
                    <a:pt x="73" y="387"/>
                  </a:lnTo>
                  <a:cubicBezTo>
                    <a:pt x="72" y="389"/>
                    <a:pt x="70" y="390"/>
                    <a:pt x="68" y="390"/>
                  </a:cubicBezTo>
                  <a:cubicBezTo>
                    <a:pt x="66" y="390"/>
                    <a:pt x="64" y="389"/>
                    <a:pt x="64" y="38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3" name="Freeform 388"/>
            <p:cNvSpPr>
              <a:spLocks noChangeArrowheads="1"/>
            </p:cNvSpPr>
            <p:nvPr/>
          </p:nvSpPr>
          <p:spPr bwMode="auto">
            <a:xfrm>
              <a:off x="5262563" y="2684463"/>
              <a:ext cx="46037" cy="141287"/>
            </a:xfrm>
            <a:custGeom>
              <a:avLst/>
              <a:gdLst/>
              <a:ahLst/>
              <a:cxnLst>
                <a:cxn ang="0">
                  <a:pos x="68" y="390"/>
                </a:cxn>
                <a:cxn ang="0">
                  <a:pos x="64" y="387"/>
                </a:cxn>
                <a:cxn ang="0">
                  <a:pos x="0" y="201"/>
                </a:cxn>
                <a:cxn ang="0">
                  <a:pos x="1" y="197"/>
                </a:cxn>
                <a:cxn ang="0">
                  <a:pos x="30" y="154"/>
                </a:cxn>
                <a:cxn ang="0">
                  <a:pos x="72" y="12"/>
                </a:cxn>
                <a:cxn ang="0">
                  <a:pos x="77" y="9"/>
                </a:cxn>
                <a:cxn ang="0">
                  <a:pos x="112" y="12"/>
                </a:cxn>
                <a:cxn ang="0">
                  <a:pos x="119" y="2"/>
                </a:cxn>
                <a:cxn ang="0">
                  <a:pos x="123" y="0"/>
                </a:cxn>
                <a:cxn ang="0">
                  <a:pos x="125" y="0"/>
                </a:cxn>
                <a:cxn ang="0">
                  <a:pos x="128" y="5"/>
                </a:cxn>
                <a:cxn ang="0">
                  <a:pos x="124" y="56"/>
                </a:cxn>
                <a:cxn ang="0">
                  <a:pos x="124" y="89"/>
                </a:cxn>
                <a:cxn ang="0">
                  <a:pos x="121" y="93"/>
                </a:cxn>
                <a:cxn ang="0">
                  <a:pos x="119" y="94"/>
                </a:cxn>
                <a:cxn ang="0">
                  <a:pos x="117" y="93"/>
                </a:cxn>
                <a:cxn ang="0">
                  <a:pos x="91" y="79"/>
                </a:cxn>
                <a:cxn ang="0">
                  <a:pos x="72" y="105"/>
                </a:cxn>
                <a:cxn ang="0">
                  <a:pos x="73" y="136"/>
                </a:cxn>
                <a:cxn ang="0">
                  <a:pos x="90" y="140"/>
                </a:cxn>
                <a:cxn ang="0">
                  <a:pos x="94" y="142"/>
                </a:cxn>
                <a:cxn ang="0">
                  <a:pos x="93" y="147"/>
                </a:cxn>
                <a:cxn ang="0">
                  <a:pos x="73" y="180"/>
                </a:cxn>
                <a:cxn ang="0">
                  <a:pos x="111" y="173"/>
                </a:cxn>
                <a:cxn ang="0">
                  <a:pos x="114" y="175"/>
                </a:cxn>
                <a:cxn ang="0">
                  <a:pos x="115" y="179"/>
                </a:cxn>
                <a:cxn ang="0">
                  <a:pos x="77" y="374"/>
                </a:cxn>
                <a:cxn ang="0">
                  <a:pos x="73" y="387"/>
                </a:cxn>
                <a:cxn ang="0">
                  <a:pos x="68" y="390"/>
                </a:cxn>
              </a:cxnLst>
              <a:rect l="0" t="0" r="r" b="b"/>
              <a:pathLst>
                <a:path w="129" h="391">
                  <a:moveTo>
                    <a:pt x="68" y="390"/>
                  </a:moveTo>
                  <a:cubicBezTo>
                    <a:pt x="66" y="390"/>
                    <a:pt x="64" y="389"/>
                    <a:pt x="64" y="387"/>
                  </a:cubicBezTo>
                  <a:lnTo>
                    <a:pt x="0" y="201"/>
                  </a:lnTo>
                  <a:cubicBezTo>
                    <a:pt x="0" y="199"/>
                    <a:pt x="0" y="198"/>
                    <a:pt x="1" y="197"/>
                  </a:cubicBezTo>
                  <a:lnTo>
                    <a:pt x="30" y="154"/>
                  </a:lnTo>
                  <a:lnTo>
                    <a:pt x="72" y="12"/>
                  </a:lnTo>
                  <a:cubicBezTo>
                    <a:pt x="73" y="10"/>
                    <a:pt x="74" y="9"/>
                    <a:pt x="77" y="9"/>
                  </a:cubicBezTo>
                  <a:lnTo>
                    <a:pt x="112" y="12"/>
                  </a:lnTo>
                  <a:lnTo>
                    <a:pt x="119" y="2"/>
                  </a:lnTo>
                  <a:cubicBezTo>
                    <a:pt x="120" y="1"/>
                    <a:pt x="122" y="0"/>
                    <a:pt x="123" y="0"/>
                  </a:cubicBezTo>
                  <a:cubicBezTo>
                    <a:pt x="123" y="0"/>
                    <a:pt x="124" y="0"/>
                    <a:pt x="125" y="0"/>
                  </a:cubicBezTo>
                  <a:cubicBezTo>
                    <a:pt x="127" y="1"/>
                    <a:pt x="128" y="3"/>
                    <a:pt x="128" y="5"/>
                  </a:cubicBezTo>
                  <a:lnTo>
                    <a:pt x="124" y="56"/>
                  </a:lnTo>
                  <a:lnTo>
                    <a:pt x="124" y="89"/>
                  </a:lnTo>
                  <a:cubicBezTo>
                    <a:pt x="124" y="91"/>
                    <a:pt x="123" y="93"/>
                    <a:pt x="121" y="93"/>
                  </a:cubicBezTo>
                  <a:cubicBezTo>
                    <a:pt x="121" y="94"/>
                    <a:pt x="120" y="94"/>
                    <a:pt x="119" y="94"/>
                  </a:cubicBezTo>
                  <a:cubicBezTo>
                    <a:pt x="118" y="94"/>
                    <a:pt x="117" y="94"/>
                    <a:pt x="117" y="93"/>
                  </a:cubicBezTo>
                  <a:lnTo>
                    <a:pt x="91" y="79"/>
                  </a:lnTo>
                  <a:lnTo>
                    <a:pt x="72" y="105"/>
                  </a:lnTo>
                  <a:lnTo>
                    <a:pt x="73" y="136"/>
                  </a:lnTo>
                  <a:lnTo>
                    <a:pt x="90" y="140"/>
                  </a:lnTo>
                  <a:cubicBezTo>
                    <a:pt x="92" y="140"/>
                    <a:pt x="93" y="141"/>
                    <a:pt x="94" y="142"/>
                  </a:cubicBezTo>
                  <a:cubicBezTo>
                    <a:pt x="94" y="144"/>
                    <a:pt x="94" y="145"/>
                    <a:pt x="93" y="147"/>
                  </a:cubicBezTo>
                  <a:lnTo>
                    <a:pt x="73" y="180"/>
                  </a:lnTo>
                  <a:lnTo>
                    <a:pt x="111" y="173"/>
                  </a:lnTo>
                  <a:cubicBezTo>
                    <a:pt x="112" y="173"/>
                    <a:pt x="113" y="174"/>
                    <a:pt x="114" y="175"/>
                  </a:cubicBezTo>
                  <a:cubicBezTo>
                    <a:pt x="115" y="176"/>
                    <a:pt x="115" y="178"/>
                    <a:pt x="115" y="179"/>
                  </a:cubicBezTo>
                  <a:lnTo>
                    <a:pt x="77" y="374"/>
                  </a:lnTo>
                  <a:lnTo>
                    <a:pt x="73" y="387"/>
                  </a:lnTo>
                  <a:cubicBezTo>
                    <a:pt x="72" y="389"/>
                    <a:pt x="70" y="390"/>
                    <a:pt x="68" y="39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4" name="Freeform 389"/>
            <p:cNvSpPr>
              <a:spLocks noChangeArrowheads="1"/>
            </p:cNvSpPr>
            <p:nvPr/>
          </p:nvSpPr>
          <p:spPr bwMode="auto">
            <a:xfrm>
              <a:off x="5284788" y="2681288"/>
              <a:ext cx="131762" cy="147637"/>
            </a:xfrm>
            <a:custGeom>
              <a:avLst/>
              <a:gdLst/>
              <a:ahLst/>
              <a:cxnLst>
                <a:cxn ang="0">
                  <a:pos x="13" y="403"/>
                </a:cxn>
                <a:cxn ang="0">
                  <a:pos x="9" y="398"/>
                </a:cxn>
                <a:cxn ang="0">
                  <a:pos x="9" y="381"/>
                </a:cxn>
                <a:cxn ang="0">
                  <a:pos x="46" y="192"/>
                </a:cxn>
                <a:cxn ang="0">
                  <a:pos x="5" y="199"/>
                </a:cxn>
                <a:cxn ang="0">
                  <a:pos x="1" y="197"/>
                </a:cxn>
                <a:cxn ang="0">
                  <a:pos x="1" y="192"/>
                </a:cxn>
                <a:cxn ang="0">
                  <a:pos x="23" y="156"/>
                </a:cxn>
                <a:cxn ang="0">
                  <a:pos x="8" y="153"/>
                </a:cxn>
                <a:cxn ang="0">
                  <a:pos x="5" y="148"/>
                </a:cxn>
                <a:cxn ang="0">
                  <a:pos x="5" y="110"/>
                </a:cxn>
                <a:cxn ang="0">
                  <a:pos x="27" y="78"/>
                </a:cxn>
                <a:cxn ang="0">
                  <a:pos x="30" y="76"/>
                </a:cxn>
                <a:cxn ang="0">
                  <a:pos x="33" y="76"/>
                </a:cxn>
                <a:cxn ang="0">
                  <a:pos x="55" y="89"/>
                </a:cxn>
                <a:cxn ang="0">
                  <a:pos x="55" y="63"/>
                </a:cxn>
                <a:cxn ang="0">
                  <a:pos x="60" y="59"/>
                </a:cxn>
                <a:cxn ang="0">
                  <a:pos x="81" y="59"/>
                </a:cxn>
                <a:cxn ang="0">
                  <a:pos x="145" y="96"/>
                </a:cxn>
                <a:cxn ang="0">
                  <a:pos x="325" y="0"/>
                </a:cxn>
                <a:cxn ang="0">
                  <a:pos x="327" y="0"/>
                </a:cxn>
                <a:cxn ang="0">
                  <a:pos x="329" y="0"/>
                </a:cxn>
                <a:cxn ang="0">
                  <a:pos x="331" y="3"/>
                </a:cxn>
                <a:cxn ang="0">
                  <a:pos x="365" y="109"/>
                </a:cxn>
                <a:cxn ang="0">
                  <a:pos x="364" y="113"/>
                </a:cxn>
                <a:cxn ang="0">
                  <a:pos x="339" y="147"/>
                </a:cxn>
                <a:cxn ang="0">
                  <a:pos x="336" y="149"/>
                </a:cxn>
                <a:cxn ang="0">
                  <a:pos x="188" y="177"/>
                </a:cxn>
                <a:cxn ang="0">
                  <a:pos x="271" y="268"/>
                </a:cxn>
                <a:cxn ang="0">
                  <a:pos x="272" y="271"/>
                </a:cxn>
                <a:cxn ang="0">
                  <a:pos x="270" y="275"/>
                </a:cxn>
                <a:cxn ang="0">
                  <a:pos x="236" y="296"/>
                </a:cxn>
                <a:cxn ang="0">
                  <a:pos x="225" y="327"/>
                </a:cxn>
                <a:cxn ang="0">
                  <a:pos x="222" y="330"/>
                </a:cxn>
                <a:cxn ang="0">
                  <a:pos x="160" y="343"/>
                </a:cxn>
                <a:cxn ang="0">
                  <a:pos x="110" y="409"/>
                </a:cxn>
                <a:cxn ang="0">
                  <a:pos x="107" y="411"/>
                </a:cxn>
                <a:cxn ang="0">
                  <a:pos x="13" y="403"/>
                </a:cxn>
              </a:cxnLst>
              <a:rect l="0" t="0" r="r" b="b"/>
              <a:pathLst>
                <a:path w="367" h="412">
                  <a:moveTo>
                    <a:pt x="13" y="403"/>
                  </a:moveTo>
                  <a:cubicBezTo>
                    <a:pt x="10" y="402"/>
                    <a:pt x="9" y="400"/>
                    <a:pt x="9" y="398"/>
                  </a:cubicBezTo>
                  <a:lnTo>
                    <a:pt x="9" y="381"/>
                  </a:lnTo>
                  <a:lnTo>
                    <a:pt x="46" y="192"/>
                  </a:lnTo>
                  <a:lnTo>
                    <a:pt x="5" y="199"/>
                  </a:lnTo>
                  <a:cubicBezTo>
                    <a:pt x="3" y="199"/>
                    <a:pt x="2" y="199"/>
                    <a:pt x="1" y="197"/>
                  </a:cubicBezTo>
                  <a:cubicBezTo>
                    <a:pt x="0" y="196"/>
                    <a:pt x="0" y="194"/>
                    <a:pt x="1" y="192"/>
                  </a:cubicBezTo>
                  <a:lnTo>
                    <a:pt x="23" y="156"/>
                  </a:lnTo>
                  <a:lnTo>
                    <a:pt x="8" y="153"/>
                  </a:lnTo>
                  <a:cubicBezTo>
                    <a:pt x="6" y="152"/>
                    <a:pt x="5" y="150"/>
                    <a:pt x="5" y="148"/>
                  </a:cubicBezTo>
                  <a:lnTo>
                    <a:pt x="5" y="110"/>
                  </a:lnTo>
                  <a:lnTo>
                    <a:pt x="27" y="78"/>
                  </a:lnTo>
                  <a:cubicBezTo>
                    <a:pt x="27" y="76"/>
                    <a:pt x="29" y="76"/>
                    <a:pt x="30" y="76"/>
                  </a:cubicBezTo>
                  <a:cubicBezTo>
                    <a:pt x="31" y="76"/>
                    <a:pt x="32" y="76"/>
                    <a:pt x="33" y="76"/>
                  </a:cubicBezTo>
                  <a:lnTo>
                    <a:pt x="55" y="89"/>
                  </a:lnTo>
                  <a:lnTo>
                    <a:pt x="55" y="63"/>
                  </a:lnTo>
                  <a:cubicBezTo>
                    <a:pt x="55" y="61"/>
                    <a:pt x="57" y="59"/>
                    <a:pt x="60" y="59"/>
                  </a:cubicBezTo>
                  <a:lnTo>
                    <a:pt x="81" y="59"/>
                  </a:lnTo>
                  <a:lnTo>
                    <a:pt x="145" y="96"/>
                  </a:lnTo>
                  <a:lnTo>
                    <a:pt x="325" y="0"/>
                  </a:lnTo>
                  <a:cubicBezTo>
                    <a:pt x="325" y="0"/>
                    <a:pt x="326" y="0"/>
                    <a:pt x="327" y="0"/>
                  </a:cubicBezTo>
                  <a:cubicBezTo>
                    <a:pt x="328" y="0"/>
                    <a:pt x="328" y="0"/>
                    <a:pt x="329" y="0"/>
                  </a:cubicBezTo>
                  <a:cubicBezTo>
                    <a:pt x="330" y="0"/>
                    <a:pt x="331" y="2"/>
                    <a:pt x="331" y="3"/>
                  </a:cubicBezTo>
                  <a:lnTo>
                    <a:pt x="365" y="109"/>
                  </a:lnTo>
                  <a:cubicBezTo>
                    <a:pt x="366" y="110"/>
                    <a:pt x="366" y="112"/>
                    <a:pt x="364" y="113"/>
                  </a:cubicBezTo>
                  <a:lnTo>
                    <a:pt x="339" y="147"/>
                  </a:lnTo>
                  <a:cubicBezTo>
                    <a:pt x="338" y="148"/>
                    <a:pt x="337" y="148"/>
                    <a:pt x="336" y="149"/>
                  </a:cubicBezTo>
                  <a:lnTo>
                    <a:pt x="188" y="177"/>
                  </a:lnTo>
                  <a:lnTo>
                    <a:pt x="271" y="268"/>
                  </a:lnTo>
                  <a:cubicBezTo>
                    <a:pt x="272" y="269"/>
                    <a:pt x="272" y="270"/>
                    <a:pt x="272" y="271"/>
                  </a:cubicBezTo>
                  <a:cubicBezTo>
                    <a:pt x="272" y="273"/>
                    <a:pt x="271" y="274"/>
                    <a:pt x="270" y="275"/>
                  </a:cubicBezTo>
                  <a:lnTo>
                    <a:pt x="236" y="296"/>
                  </a:lnTo>
                  <a:lnTo>
                    <a:pt x="225" y="327"/>
                  </a:lnTo>
                  <a:cubicBezTo>
                    <a:pt x="225" y="329"/>
                    <a:pt x="224" y="330"/>
                    <a:pt x="222" y="330"/>
                  </a:cubicBezTo>
                  <a:lnTo>
                    <a:pt x="160" y="343"/>
                  </a:lnTo>
                  <a:lnTo>
                    <a:pt x="110" y="409"/>
                  </a:lnTo>
                  <a:cubicBezTo>
                    <a:pt x="110" y="410"/>
                    <a:pt x="108" y="411"/>
                    <a:pt x="107" y="411"/>
                  </a:cubicBezTo>
                  <a:lnTo>
                    <a:pt x="13" y="403"/>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5" name="Freeform 390"/>
            <p:cNvSpPr>
              <a:spLocks noChangeArrowheads="1"/>
            </p:cNvSpPr>
            <p:nvPr/>
          </p:nvSpPr>
          <p:spPr bwMode="auto">
            <a:xfrm>
              <a:off x="5284788" y="2681288"/>
              <a:ext cx="131762" cy="147637"/>
            </a:xfrm>
            <a:custGeom>
              <a:avLst/>
              <a:gdLst/>
              <a:ahLst/>
              <a:cxnLst>
                <a:cxn ang="0">
                  <a:pos x="13" y="403"/>
                </a:cxn>
                <a:cxn ang="0">
                  <a:pos x="9" y="398"/>
                </a:cxn>
                <a:cxn ang="0">
                  <a:pos x="9" y="381"/>
                </a:cxn>
                <a:cxn ang="0">
                  <a:pos x="46" y="192"/>
                </a:cxn>
                <a:cxn ang="0">
                  <a:pos x="5" y="199"/>
                </a:cxn>
                <a:cxn ang="0">
                  <a:pos x="1" y="197"/>
                </a:cxn>
                <a:cxn ang="0">
                  <a:pos x="1" y="192"/>
                </a:cxn>
                <a:cxn ang="0">
                  <a:pos x="23" y="156"/>
                </a:cxn>
                <a:cxn ang="0">
                  <a:pos x="8" y="153"/>
                </a:cxn>
                <a:cxn ang="0">
                  <a:pos x="5" y="148"/>
                </a:cxn>
                <a:cxn ang="0">
                  <a:pos x="5" y="110"/>
                </a:cxn>
                <a:cxn ang="0">
                  <a:pos x="27" y="78"/>
                </a:cxn>
                <a:cxn ang="0">
                  <a:pos x="30" y="76"/>
                </a:cxn>
                <a:cxn ang="0">
                  <a:pos x="33" y="76"/>
                </a:cxn>
                <a:cxn ang="0">
                  <a:pos x="55" y="89"/>
                </a:cxn>
                <a:cxn ang="0">
                  <a:pos x="55" y="63"/>
                </a:cxn>
                <a:cxn ang="0">
                  <a:pos x="60" y="59"/>
                </a:cxn>
                <a:cxn ang="0">
                  <a:pos x="81" y="59"/>
                </a:cxn>
                <a:cxn ang="0">
                  <a:pos x="145" y="96"/>
                </a:cxn>
                <a:cxn ang="0">
                  <a:pos x="325" y="0"/>
                </a:cxn>
                <a:cxn ang="0">
                  <a:pos x="327" y="0"/>
                </a:cxn>
                <a:cxn ang="0">
                  <a:pos x="329" y="0"/>
                </a:cxn>
                <a:cxn ang="0">
                  <a:pos x="331" y="3"/>
                </a:cxn>
                <a:cxn ang="0">
                  <a:pos x="365" y="109"/>
                </a:cxn>
                <a:cxn ang="0">
                  <a:pos x="364" y="113"/>
                </a:cxn>
                <a:cxn ang="0">
                  <a:pos x="339" y="147"/>
                </a:cxn>
                <a:cxn ang="0">
                  <a:pos x="336" y="149"/>
                </a:cxn>
                <a:cxn ang="0">
                  <a:pos x="188" y="177"/>
                </a:cxn>
                <a:cxn ang="0">
                  <a:pos x="271" y="268"/>
                </a:cxn>
                <a:cxn ang="0">
                  <a:pos x="272" y="271"/>
                </a:cxn>
                <a:cxn ang="0">
                  <a:pos x="270" y="275"/>
                </a:cxn>
                <a:cxn ang="0">
                  <a:pos x="236" y="296"/>
                </a:cxn>
                <a:cxn ang="0">
                  <a:pos x="225" y="327"/>
                </a:cxn>
                <a:cxn ang="0">
                  <a:pos x="222" y="330"/>
                </a:cxn>
                <a:cxn ang="0">
                  <a:pos x="160" y="343"/>
                </a:cxn>
                <a:cxn ang="0">
                  <a:pos x="110" y="409"/>
                </a:cxn>
                <a:cxn ang="0">
                  <a:pos x="107" y="411"/>
                </a:cxn>
                <a:cxn ang="0">
                  <a:pos x="13" y="403"/>
                </a:cxn>
              </a:cxnLst>
              <a:rect l="0" t="0" r="r" b="b"/>
              <a:pathLst>
                <a:path w="367" h="412">
                  <a:moveTo>
                    <a:pt x="13" y="403"/>
                  </a:moveTo>
                  <a:cubicBezTo>
                    <a:pt x="10" y="402"/>
                    <a:pt x="9" y="400"/>
                    <a:pt x="9" y="398"/>
                  </a:cubicBezTo>
                  <a:lnTo>
                    <a:pt x="9" y="381"/>
                  </a:lnTo>
                  <a:lnTo>
                    <a:pt x="46" y="192"/>
                  </a:lnTo>
                  <a:lnTo>
                    <a:pt x="5" y="199"/>
                  </a:lnTo>
                  <a:cubicBezTo>
                    <a:pt x="3" y="199"/>
                    <a:pt x="2" y="199"/>
                    <a:pt x="1" y="197"/>
                  </a:cubicBezTo>
                  <a:cubicBezTo>
                    <a:pt x="0" y="196"/>
                    <a:pt x="0" y="194"/>
                    <a:pt x="1" y="192"/>
                  </a:cubicBezTo>
                  <a:lnTo>
                    <a:pt x="23" y="156"/>
                  </a:lnTo>
                  <a:lnTo>
                    <a:pt x="8" y="153"/>
                  </a:lnTo>
                  <a:cubicBezTo>
                    <a:pt x="6" y="152"/>
                    <a:pt x="5" y="150"/>
                    <a:pt x="5" y="148"/>
                  </a:cubicBezTo>
                  <a:lnTo>
                    <a:pt x="5" y="110"/>
                  </a:lnTo>
                  <a:lnTo>
                    <a:pt x="27" y="78"/>
                  </a:lnTo>
                  <a:cubicBezTo>
                    <a:pt x="27" y="76"/>
                    <a:pt x="29" y="76"/>
                    <a:pt x="30" y="76"/>
                  </a:cubicBezTo>
                  <a:cubicBezTo>
                    <a:pt x="31" y="76"/>
                    <a:pt x="32" y="76"/>
                    <a:pt x="33" y="76"/>
                  </a:cubicBezTo>
                  <a:lnTo>
                    <a:pt x="55" y="89"/>
                  </a:lnTo>
                  <a:lnTo>
                    <a:pt x="55" y="63"/>
                  </a:lnTo>
                  <a:cubicBezTo>
                    <a:pt x="55" y="61"/>
                    <a:pt x="57" y="59"/>
                    <a:pt x="60" y="59"/>
                  </a:cubicBezTo>
                  <a:lnTo>
                    <a:pt x="81" y="59"/>
                  </a:lnTo>
                  <a:lnTo>
                    <a:pt x="145" y="96"/>
                  </a:lnTo>
                  <a:lnTo>
                    <a:pt x="325" y="0"/>
                  </a:lnTo>
                  <a:cubicBezTo>
                    <a:pt x="325" y="0"/>
                    <a:pt x="326" y="0"/>
                    <a:pt x="327" y="0"/>
                  </a:cubicBezTo>
                  <a:cubicBezTo>
                    <a:pt x="328" y="0"/>
                    <a:pt x="328" y="0"/>
                    <a:pt x="329" y="0"/>
                  </a:cubicBezTo>
                  <a:cubicBezTo>
                    <a:pt x="330" y="0"/>
                    <a:pt x="331" y="2"/>
                    <a:pt x="331" y="3"/>
                  </a:cubicBezTo>
                  <a:lnTo>
                    <a:pt x="365" y="109"/>
                  </a:lnTo>
                  <a:cubicBezTo>
                    <a:pt x="366" y="110"/>
                    <a:pt x="366" y="112"/>
                    <a:pt x="364" y="113"/>
                  </a:cubicBezTo>
                  <a:lnTo>
                    <a:pt x="339" y="147"/>
                  </a:lnTo>
                  <a:cubicBezTo>
                    <a:pt x="338" y="148"/>
                    <a:pt x="337" y="148"/>
                    <a:pt x="336" y="149"/>
                  </a:cubicBezTo>
                  <a:lnTo>
                    <a:pt x="188" y="177"/>
                  </a:lnTo>
                  <a:lnTo>
                    <a:pt x="271" y="268"/>
                  </a:lnTo>
                  <a:cubicBezTo>
                    <a:pt x="272" y="269"/>
                    <a:pt x="272" y="270"/>
                    <a:pt x="272" y="271"/>
                  </a:cubicBezTo>
                  <a:cubicBezTo>
                    <a:pt x="272" y="273"/>
                    <a:pt x="271" y="274"/>
                    <a:pt x="270" y="275"/>
                  </a:cubicBezTo>
                  <a:lnTo>
                    <a:pt x="236" y="296"/>
                  </a:lnTo>
                  <a:lnTo>
                    <a:pt x="225" y="327"/>
                  </a:lnTo>
                  <a:cubicBezTo>
                    <a:pt x="225" y="329"/>
                    <a:pt x="224" y="330"/>
                    <a:pt x="222" y="330"/>
                  </a:cubicBezTo>
                  <a:lnTo>
                    <a:pt x="160" y="343"/>
                  </a:lnTo>
                  <a:lnTo>
                    <a:pt x="110" y="409"/>
                  </a:lnTo>
                  <a:cubicBezTo>
                    <a:pt x="110" y="410"/>
                    <a:pt x="108" y="411"/>
                    <a:pt x="107" y="411"/>
                  </a:cubicBezTo>
                  <a:lnTo>
                    <a:pt x="13" y="40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6" name="Freeform 391"/>
            <p:cNvSpPr>
              <a:spLocks noChangeArrowheads="1"/>
            </p:cNvSpPr>
            <p:nvPr/>
          </p:nvSpPr>
          <p:spPr bwMode="auto">
            <a:xfrm>
              <a:off x="5638800" y="2797175"/>
              <a:ext cx="55563" cy="53975"/>
            </a:xfrm>
            <a:custGeom>
              <a:avLst/>
              <a:gdLst/>
              <a:ahLst/>
              <a:cxnLst>
                <a:cxn ang="0">
                  <a:pos x="98" y="149"/>
                </a:cxn>
                <a:cxn ang="0">
                  <a:pos x="94" y="147"/>
                </a:cxn>
                <a:cxn ang="0">
                  <a:pos x="69" y="109"/>
                </a:cxn>
                <a:cxn ang="0">
                  <a:pos x="3" y="90"/>
                </a:cxn>
                <a:cxn ang="0">
                  <a:pos x="0" y="87"/>
                </a:cxn>
                <a:cxn ang="0">
                  <a:pos x="1" y="82"/>
                </a:cxn>
                <a:cxn ang="0">
                  <a:pos x="60" y="2"/>
                </a:cxn>
                <a:cxn ang="0">
                  <a:pos x="64" y="0"/>
                </a:cxn>
                <a:cxn ang="0">
                  <a:pos x="123" y="0"/>
                </a:cxn>
                <a:cxn ang="0">
                  <a:pos x="127" y="3"/>
                </a:cxn>
                <a:cxn ang="0">
                  <a:pos x="144" y="37"/>
                </a:cxn>
                <a:cxn ang="0">
                  <a:pos x="143" y="42"/>
                </a:cxn>
                <a:cxn ang="0">
                  <a:pos x="109" y="69"/>
                </a:cxn>
                <a:cxn ang="0">
                  <a:pos x="128" y="72"/>
                </a:cxn>
                <a:cxn ang="0">
                  <a:pos x="132" y="75"/>
                </a:cxn>
                <a:cxn ang="0">
                  <a:pos x="153" y="143"/>
                </a:cxn>
                <a:cxn ang="0">
                  <a:pos x="152" y="147"/>
                </a:cxn>
                <a:cxn ang="0">
                  <a:pos x="149" y="149"/>
                </a:cxn>
                <a:cxn ang="0">
                  <a:pos x="98" y="149"/>
                </a:cxn>
              </a:cxnLst>
              <a:rect l="0" t="0" r="r" b="b"/>
              <a:pathLst>
                <a:path w="155" h="150">
                  <a:moveTo>
                    <a:pt x="98" y="149"/>
                  </a:moveTo>
                  <a:cubicBezTo>
                    <a:pt x="96" y="149"/>
                    <a:pt x="95" y="148"/>
                    <a:pt x="94" y="147"/>
                  </a:cubicBezTo>
                  <a:lnTo>
                    <a:pt x="69" y="109"/>
                  </a:lnTo>
                  <a:lnTo>
                    <a:pt x="3" y="90"/>
                  </a:lnTo>
                  <a:cubicBezTo>
                    <a:pt x="2" y="89"/>
                    <a:pt x="1" y="88"/>
                    <a:pt x="0" y="87"/>
                  </a:cubicBezTo>
                  <a:cubicBezTo>
                    <a:pt x="0" y="85"/>
                    <a:pt x="0" y="84"/>
                    <a:pt x="1" y="82"/>
                  </a:cubicBezTo>
                  <a:lnTo>
                    <a:pt x="60" y="2"/>
                  </a:lnTo>
                  <a:cubicBezTo>
                    <a:pt x="61" y="1"/>
                    <a:pt x="62" y="0"/>
                    <a:pt x="64" y="0"/>
                  </a:cubicBezTo>
                  <a:lnTo>
                    <a:pt x="123" y="0"/>
                  </a:lnTo>
                  <a:cubicBezTo>
                    <a:pt x="125" y="0"/>
                    <a:pt x="127" y="1"/>
                    <a:pt x="127" y="3"/>
                  </a:cubicBezTo>
                  <a:lnTo>
                    <a:pt x="144" y="37"/>
                  </a:lnTo>
                  <a:cubicBezTo>
                    <a:pt x="146" y="39"/>
                    <a:pt x="145" y="41"/>
                    <a:pt x="143" y="42"/>
                  </a:cubicBezTo>
                  <a:lnTo>
                    <a:pt x="109" y="69"/>
                  </a:lnTo>
                  <a:lnTo>
                    <a:pt x="128" y="72"/>
                  </a:lnTo>
                  <a:cubicBezTo>
                    <a:pt x="130" y="72"/>
                    <a:pt x="131" y="74"/>
                    <a:pt x="132" y="75"/>
                  </a:cubicBezTo>
                  <a:lnTo>
                    <a:pt x="153" y="143"/>
                  </a:lnTo>
                  <a:cubicBezTo>
                    <a:pt x="154" y="145"/>
                    <a:pt x="153" y="146"/>
                    <a:pt x="152" y="147"/>
                  </a:cubicBezTo>
                  <a:cubicBezTo>
                    <a:pt x="152" y="148"/>
                    <a:pt x="150" y="149"/>
                    <a:pt x="149" y="149"/>
                  </a:cubicBezTo>
                  <a:lnTo>
                    <a:pt x="98" y="14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7" name="Freeform 392"/>
            <p:cNvSpPr>
              <a:spLocks noChangeArrowheads="1"/>
            </p:cNvSpPr>
            <p:nvPr/>
          </p:nvSpPr>
          <p:spPr bwMode="auto">
            <a:xfrm>
              <a:off x="5638800" y="2797175"/>
              <a:ext cx="55563" cy="53975"/>
            </a:xfrm>
            <a:custGeom>
              <a:avLst/>
              <a:gdLst/>
              <a:ahLst/>
              <a:cxnLst>
                <a:cxn ang="0">
                  <a:pos x="98" y="149"/>
                </a:cxn>
                <a:cxn ang="0">
                  <a:pos x="94" y="147"/>
                </a:cxn>
                <a:cxn ang="0">
                  <a:pos x="69" y="109"/>
                </a:cxn>
                <a:cxn ang="0">
                  <a:pos x="3" y="90"/>
                </a:cxn>
                <a:cxn ang="0">
                  <a:pos x="0" y="87"/>
                </a:cxn>
                <a:cxn ang="0">
                  <a:pos x="1" y="82"/>
                </a:cxn>
                <a:cxn ang="0">
                  <a:pos x="60" y="2"/>
                </a:cxn>
                <a:cxn ang="0">
                  <a:pos x="64" y="0"/>
                </a:cxn>
                <a:cxn ang="0">
                  <a:pos x="123" y="0"/>
                </a:cxn>
                <a:cxn ang="0">
                  <a:pos x="127" y="3"/>
                </a:cxn>
                <a:cxn ang="0">
                  <a:pos x="144" y="37"/>
                </a:cxn>
                <a:cxn ang="0">
                  <a:pos x="143" y="42"/>
                </a:cxn>
                <a:cxn ang="0">
                  <a:pos x="109" y="69"/>
                </a:cxn>
                <a:cxn ang="0">
                  <a:pos x="128" y="72"/>
                </a:cxn>
                <a:cxn ang="0">
                  <a:pos x="132" y="75"/>
                </a:cxn>
                <a:cxn ang="0">
                  <a:pos x="153" y="143"/>
                </a:cxn>
                <a:cxn ang="0">
                  <a:pos x="152" y="147"/>
                </a:cxn>
                <a:cxn ang="0">
                  <a:pos x="149" y="149"/>
                </a:cxn>
                <a:cxn ang="0">
                  <a:pos x="98" y="149"/>
                </a:cxn>
              </a:cxnLst>
              <a:rect l="0" t="0" r="r" b="b"/>
              <a:pathLst>
                <a:path w="155" h="150">
                  <a:moveTo>
                    <a:pt x="98" y="149"/>
                  </a:moveTo>
                  <a:cubicBezTo>
                    <a:pt x="96" y="149"/>
                    <a:pt x="95" y="148"/>
                    <a:pt x="94" y="147"/>
                  </a:cubicBezTo>
                  <a:lnTo>
                    <a:pt x="69" y="109"/>
                  </a:lnTo>
                  <a:lnTo>
                    <a:pt x="3" y="90"/>
                  </a:lnTo>
                  <a:cubicBezTo>
                    <a:pt x="2" y="89"/>
                    <a:pt x="1" y="88"/>
                    <a:pt x="0" y="87"/>
                  </a:cubicBezTo>
                  <a:cubicBezTo>
                    <a:pt x="0" y="85"/>
                    <a:pt x="0" y="84"/>
                    <a:pt x="1" y="82"/>
                  </a:cubicBezTo>
                  <a:lnTo>
                    <a:pt x="60" y="2"/>
                  </a:lnTo>
                  <a:cubicBezTo>
                    <a:pt x="61" y="1"/>
                    <a:pt x="62" y="0"/>
                    <a:pt x="64" y="0"/>
                  </a:cubicBezTo>
                  <a:lnTo>
                    <a:pt x="123" y="0"/>
                  </a:lnTo>
                  <a:cubicBezTo>
                    <a:pt x="125" y="0"/>
                    <a:pt x="127" y="1"/>
                    <a:pt x="127" y="3"/>
                  </a:cubicBezTo>
                  <a:lnTo>
                    <a:pt x="144" y="37"/>
                  </a:lnTo>
                  <a:cubicBezTo>
                    <a:pt x="146" y="39"/>
                    <a:pt x="145" y="41"/>
                    <a:pt x="143" y="42"/>
                  </a:cubicBezTo>
                  <a:lnTo>
                    <a:pt x="109" y="69"/>
                  </a:lnTo>
                  <a:lnTo>
                    <a:pt x="128" y="72"/>
                  </a:lnTo>
                  <a:cubicBezTo>
                    <a:pt x="130" y="72"/>
                    <a:pt x="131" y="74"/>
                    <a:pt x="132" y="75"/>
                  </a:cubicBezTo>
                  <a:lnTo>
                    <a:pt x="153" y="143"/>
                  </a:lnTo>
                  <a:cubicBezTo>
                    <a:pt x="154" y="145"/>
                    <a:pt x="153" y="146"/>
                    <a:pt x="152" y="147"/>
                  </a:cubicBezTo>
                  <a:cubicBezTo>
                    <a:pt x="152" y="148"/>
                    <a:pt x="150" y="149"/>
                    <a:pt x="149" y="149"/>
                  </a:cubicBezTo>
                  <a:lnTo>
                    <a:pt x="98" y="14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8" name="Freeform 393"/>
            <p:cNvSpPr>
              <a:spLocks noChangeArrowheads="1"/>
            </p:cNvSpPr>
            <p:nvPr/>
          </p:nvSpPr>
          <p:spPr bwMode="auto">
            <a:xfrm>
              <a:off x="5289550" y="2628900"/>
              <a:ext cx="55563" cy="63500"/>
            </a:xfrm>
            <a:custGeom>
              <a:avLst/>
              <a:gdLst/>
              <a:ahLst/>
              <a:cxnLst>
                <a:cxn ang="0">
                  <a:pos x="4" y="170"/>
                </a:cxn>
                <a:cxn ang="0">
                  <a:pos x="0" y="167"/>
                </a:cxn>
                <a:cxn ang="0">
                  <a:pos x="0" y="163"/>
                </a:cxn>
                <a:cxn ang="0">
                  <a:pos x="85" y="2"/>
                </a:cxn>
                <a:cxn ang="0">
                  <a:pos x="89" y="0"/>
                </a:cxn>
                <a:cxn ang="0">
                  <a:pos x="132" y="0"/>
                </a:cxn>
                <a:cxn ang="0">
                  <a:pos x="136" y="2"/>
                </a:cxn>
                <a:cxn ang="0">
                  <a:pos x="136" y="6"/>
                </a:cxn>
                <a:cxn ang="0">
                  <a:pos x="129" y="21"/>
                </a:cxn>
                <a:cxn ang="0">
                  <a:pos x="152" y="52"/>
                </a:cxn>
                <a:cxn ang="0">
                  <a:pos x="152" y="59"/>
                </a:cxn>
                <a:cxn ang="0">
                  <a:pos x="125" y="82"/>
                </a:cxn>
                <a:cxn ang="0">
                  <a:pos x="127" y="87"/>
                </a:cxn>
                <a:cxn ang="0">
                  <a:pos x="127" y="91"/>
                </a:cxn>
                <a:cxn ang="0">
                  <a:pos x="124" y="94"/>
                </a:cxn>
                <a:cxn ang="0">
                  <a:pos x="98" y="101"/>
                </a:cxn>
                <a:cxn ang="0">
                  <a:pos x="98" y="123"/>
                </a:cxn>
                <a:cxn ang="0">
                  <a:pos x="96" y="127"/>
                </a:cxn>
                <a:cxn ang="0">
                  <a:pos x="54" y="160"/>
                </a:cxn>
                <a:cxn ang="0">
                  <a:pos x="47" y="172"/>
                </a:cxn>
                <a:cxn ang="0">
                  <a:pos x="43" y="174"/>
                </a:cxn>
                <a:cxn ang="0">
                  <a:pos x="4" y="170"/>
                </a:cxn>
              </a:cxnLst>
              <a:rect l="0" t="0" r="r" b="b"/>
              <a:pathLst>
                <a:path w="155" h="175">
                  <a:moveTo>
                    <a:pt x="4" y="170"/>
                  </a:moveTo>
                  <a:cubicBezTo>
                    <a:pt x="3" y="170"/>
                    <a:pt x="1" y="169"/>
                    <a:pt x="0" y="167"/>
                  </a:cubicBezTo>
                  <a:cubicBezTo>
                    <a:pt x="0" y="166"/>
                    <a:pt x="0" y="164"/>
                    <a:pt x="0" y="163"/>
                  </a:cubicBezTo>
                  <a:lnTo>
                    <a:pt x="85" y="2"/>
                  </a:lnTo>
                  <a:cubicBezTo>
                    <a:pt x="86" y="1"/>
                    <a:pt x="88" y="0"/>
                    <a:pt x="89" y="0"/>
                  </a:cubicBezTo>
                  <a:lnTo>
                    <a:pt x="132" y="0"/>
                  </a:lnTo>
                  <a:cubicBezTo>
                    <a:pt x="133" y="0"/>
                    <a:pt x="135" y="1"/>
                    <a:pt x="136" y="2"/>
                  </a:cubicBezTo>
                  <a:cubicBezTo>
                    <a:pt x="137" y="3"/>
                    <a:pt x="137" y="5"/>
                    <a:pt x="136" y="6"/>
                  </a:cubicBezTo>
                  <a:lnTo>
                    <a:pt x="129" y="21"/>
                  </a:lnTo>
                  <a:lnTo>
                    <a:pt x="152" y="52"/>
                  </a:lnTo>
                  <a:cubicBezTo>
                    <a:pt x="154" y="54"/>
                    <a:pt x="153" y="57"/>
                    <a:pt x="152" y="59"/>
                  </a:cubicBezTo>
                  <a:lnTo>
                    <a:pt x="125" y="82"/>
                  </a:lnTo>
                  <a:lnTo>
                    <a:pt x="127" y="87"/>
                  </a:lnTo>
                  <a:cubicBezTo>
                    <a:pt x="128" y="88"/>
                    <a:pt x="128" y="90"/>
                    <a:pt x="127" y="91"/>
                  </a:cubicBezTo>
                  <a:cubicBezTo>
                    <a:pt x="127" y="92"/>
                    <a:pt x="126" y="93"/>
                    <a:pt x="124" y="94"/>
                  </a:cubicBezTo>
                  <a:lnTo>
                    <a:pt x="98" y="101"/>
                  </a:lnTo>
                  <a:lnTo>
                    <a:pt x="98" y="123"/>
                  </a:lnTo>
                  <a:cubicBezTo>
                    <a:pt x="98" y="124"/>
                    <a:pt x="98" y="126"/>
                    <a:pt x="96" y="127"/>
                  </a:cubicBezTo>
                  <a:lnTo>
                    <a:pt x="54" y="160"/>
                  </a:lnTo>
                  <a:lnTo>
                    <a:pt x="47" y="172"/>
                  </a:lnTo>
                  <a:cubicBezTo>
                    <a:pt x="46" y="173"/>
                    <a:pt x="44" y="174"/>
                    <a:pt x="43" y="174"/>
                  </a:cubicBezTo>
                  <a:lnTo>
                    <a:pt x="4" y="17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399" name="Freeform 394"/>
            <p:cNvSpPr>
              <a:spLocks noChangeArrowheads="1"/>
            </p:cNvSpPr>
            <p:nvPr/>
          </p:nvSpPr>
          <p:spPr bwMode="auto">
            <a:xfrm>
              <a:off x="5289550" y="2628900"/>
              <a:ext cx="55563" cy="63500"/>
            </a:xfrm>
            <a:custGeom>
              <a:avLst/>
              <a:gdLst/>
              <a:ahLst/>
              <a:cxnLst>
                <a:cxn ang="0">
                  <a:pos x="4" y="170"/>
                </a:cxn>
                <a:cxn ang="0">
                  <a:pos x="0" y="167"/>
                </a:cxn>
                <a:cxn ang="0">
                  <a:pos x="0" y="163"/>
                </a:cxn>
                <a:cxn ang="0">
                  <a:pos x="85" y="2"/>
                </a:cxn>
                <a:cxn ang="0">
                  <a:pos x="89" y="0"/>
                </a:cxn>
                <a:cxn ang="0">
                  <a:pos x="132" y="0"/>
                </a:cxn>
                <a:cxn ang="0">
                  <a:pos x="136" y="2"/>
                </a:cxn>
                <a:cxn ang="0">
                  <a:pos x="136" y="6"/>
                </a:cxn>
                <a:cxn ang="0">
                  <a:pos x="129" y="21"/>
                </a:cxn>
                <a:cxn ang="0">
                  <a:pos x="152" y="52"/>
                </a:cxn>
                <a:cxn ang="0">
                  <a:pos x="152" y="59"/>
                </a:cxn>
                <a:cxn ang="0">
                  <a:pos x="125" y="82"/>
                </a:cxn>
                <a:cxn ang="0">
                  <a:pos x="127" y="87"/>
                </a:cxn>
                <a:cxn ang="0">
                  <a:pos x="127" y="91"/>
                </a:cxn>
                <a:cxn ang="0">
                  <a:pos x="124" y="94"/>
                </a:cxn>
                <a:cxn ang="0">
                  <a:pos x="98" y="101"/>
                </a:cxn>
                <a:cxn ang="0">
                  <a:pos x="98" y="123"/>
                </a:cxn>
                <a:cxn ang="0">
                  <a:pos x="96" y="127"/>
                </a:cxn>
                <a:cxn ang="0">
                  <a:pos x="54" y="160"/>
                </a:cxn>
                <a:cxn ang="0">
                  <a:pos x="47" y="172"/>
                </a:cxn>
                <a:cxn ang="0">
                  <a:pos x="43" y="174"/>
                </a:cxn>
                <a:cxn ang="0">
                  <a:pos x="4" y="170"/>
                </a:cxn>
              </a:cxnLst>
              <a:rect l="0" t="0" r="r" b="b"/>
              <a:pathLst>
                <a:path w="155" h="175">
                  <a:moveTo>
                    <a:pt x="4" y="170"/>
                  </a:moveTo>
                  <a:cubicBezTo>
                    <a:pt x="3" y="170"/>
                    <a:pt x="1" y="169"/>
                    <a:pt x="0" y="167"/>
                  </a:cubicBezTo>
                  <a:cubicBezTo>
                    <a:pt x="0" y="166"/>
                    <a:pt x="0" y="164"/>
                    <a:pt x="0" y="163"/>
                  </a:cubicBezTo>
                  <a:lnTo>
                    <a:pt x="85" y="2"/>
                  </a:lnTo>
                  <a:cubicBezTo>
                    <a:pt x="86" y="1"/>
                    <a:pt x="88" y="0"/>
                    <a:pt x="89" y="0"/>
                  </a:cubicBezTo>
                  <a:lnTo>
                    <a:pt x="132" y="0"/>
                  </a:lnTo>
                  <a:cubicBezTo>
                    <a:pt x="133" y="0"/>
                    <a:pt x="135" y="1"/>
                    <a:pt x="136" y="2"/>
                  </a:cubicBezTo>
                  <a:cubicBezTo>
                    <a:pt x="137" y="3"/>
                    <a:pt x="137" y="5"/>
                    <a:pt x="136" y="6"/>
                  </a:cubicBezTo>
                  <a:lnTo>
                    <a:pt x="129" y="21"/>
                  </a:lnTo>
                  <a:lnTo>
                    <a:pt x="152" y="52"/>
                  </a:lnTo>
                  <a:cubicBezTo>
                    <a:pt x="154" y="54"/>
                    <a:pt x="153" y="57"/>
                    <a:pt x="152" y="59"/>
                  </a:cubicBezTo>
                  <a:lnTo>
                    <a:pt x="125" y="82"/>
                  </a:lnTo>
                  <a:lnTo>
                    <a:pt x="127" y="87"/>
                  </a:lnTo>
                  <a:cubicBezTo>
                    <a:pt x="128" y="88"/>
                    <a:pt x="128" y="90"/>
                    <a:pt x="127" y="91"/>
                  </a:cubicBezTo>
                  <a:cubicBezTo>
                    <a:pt x="127" y="92"/>
                    <a:pt x="126" y="93"/>
                    <a:pt x="124" y="94"/>
                  </a:cubicBezTo>
                  <a:lnTo>
                    <a:pt x="98" y="101"/>
                  </a:lnTo>
                  <a:lnTo>
                    <a:pt x="98" y="123"/>
                  </a:lnTo>
                  <a:cubicBezTo>
                    <a:pt x="98" y="124"/>
                    <a:pt x="98" y="126"/>
                    <a:pt x="96" y="127"/>
                  </a:cubicBezTo>
                  <a:lnTo>
                    <a:pt x="54" y="160"/>
                  </a:lnTo>
                  <a:lnTo>
                    <a:pt x="47" y="172"/>
                  </a:lnTo>
                  <a:cubicBezTo>
                    <a:pt x="46" y="173"/>
                    <a:pt x="44" y="174"/>
                    <a:pt x="43" y="174"/>
                  </a:cubicBezTo>
                  <a:lnTo>
                    <a:pt x="4" y="17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0" name="Freeform 395"/>
            <p:cNvSpPr>
              <a:spLocks noChangeArrowheads="1"/>
            </p:cNvSpPr>
            <p:nvPr/>
          </p:nvSpPr>
          <p:spPr bwMode="auto">
            <a:xfrm>
              <a:off x="5800725" y="2968625"/>
              <a:ext cx="238125" cy="268288"/>
            </a:xfrm>
            <a:custGeom>
              <a:avLst/>
              <a:gdLst/>
              <a:ahLst/>
              <a:cxnLst>
                <a:cxn ang="0">
                  <a:pos x="85" y="743"/>
                </a:cxn>
                <a:cxn ang="0">
                  <a:pos x="0" y="536"/>
                </a:cxn>
                <a:cxn ang="0">
                  <a:pos x="1" y="532"/>
                </a:cxn>
                <a:cxn ang="0">
                  <a:pos x="3" y="529"/>
                </a:cxn>
                <a:cxn ang="0">
                  <a:pos x="251" y="441"/>
                </a:cxn>
                <a:cxn ang="0">
                  <a:pos x="313" y="272"/>
                </a:cxn>
                <a:cxn ang="0">
                  <a:pos x="272" y="206"/>
                </a:cxn>
                <a:cxn ang="0">
                  <a:pos x="271" y="203"/>
                </a:cxn>
                <a:cxn ang="0">
                  <a:pos x="288" y="93"/>
                </a:cxn>
                <a:cxn ang="0">
                  <a:pos x="291" y="89"/>
                </a:cxn>
                <a:cxn ang="0">
                  <a:pos x="334" y="74"/>
                </a:cxn>
                <a:cxn ang="0">
                  <a:pos x="314" y="11"/>
                </a:cxn>
                <a:cxn ang="0">
                  <a:pos x="314" y="7"/>
                </a:cxn>
                <a:cxn ang="0">
                  <a:pos x="318" y="4"/>
                </a:cxn>
                <a:cxn ang="0">
                  <a:pos x="365" y="0"/>
                </a:cxn>
                <a:cxn ang="0">
                  <a:pos x="369" y="2"/>
                </a:cxn>
                <a:cxn ang="0">
                  <a:pos x="415" y="66"/>
                </a:cxn>
                <a:cxn ang="0">
                  <a:pos x="566" y="123"/>
                </a:cxn>
                <a:cxn ang="0">
                  <a:pos x="614" y="193"/>
                </a:cxn>
                <a:cxn ang="0">
                  <a:pos x="660" y="225"/>
                </a:cxn>
                <a:cxn ang="0">
                  <a:pos x="662" y="231"/>
                </a:cxn>
                <a:cxn ang="0">
                  <a:pos x="645" y="281"/>
                </a:cxn>
                <a:cxn ang="0">
                  <a:pos x="551" y="410"/>
                </a:cxn>
                <a:cxn ang="0">
                  <a:pos x="548" y="412"/>
                </a:cxn>
                <a:cxn ang="0">
                  <a:pos x="547" y="412"/>
                </a:cxn>
                <a:cxn ang="0">
                  <a:pos x="544" y="411"/>
                </a:cxn>
                <a:cxn ang="0">
                  <a:pos x="526" y="396"/>
                </a:cxn>
                <a:cxn ang="0">
                  <a:pos x="508" y="414"/>
                </a:cxn>
                <a:cxn ang="0">
                  <a:pos x="487" y="443"/>
                </a:cxn>
                <a:cxn ang="0">
                  <a:pos x="492" y="529"/>
                </a:cxn>
                <a:cxn ang="0">
                  <a:pos x="489" y="534"/>
                </a:cxn>
                <a:cxn ang="0">
                  <a:pos x="406" y="559"/>
                </a:cxn>
                <a:cxn ang="0">
                  <a:pos x="373" y="625"/>
                </a:cxn>
                <a:cxn ang="0">
                  <a:pos x="370" y="627"/>
                </a:cxn>
                <a:cxn ang="0">
                  <a:pos x="304" y="644"/>
                </a:cxn>
                <a:cxn ang="0">
                  <a:pos x="254" y="714"/>
                </a:cxn>
                <a:cxn ang="0">
                  <a:pos x="250" y="716"/>
                </a:cxn>
                <a:cxn ang="0">
                  <a:pos x="186" y="712"/>
                </a:cxn>
                <a:cxn ang="0">
                  <a:pos x="91" y="746"/>
                </a:cxn>
                <a:cxn ang="0">
                  <a:pos x="89" y="746"/>
                </a:cxn>
                <a:cxn ang="0">
                  <a:pos x="85" y="743"/>
                </a:cxn>
              </a:cxnLst>
              <a:rect l="0" t="0" r="r" b="b"/>
              <a:pathLst>
                <a:path w="663" h="747">
                  <a:moveTo>
                    <a:pt x="85" y="743"/>
                  </a:moveTo>
                  <a:lnTo>
                    <a:pt x="0" y="536"/>
                  </a:lnTo>
                  <a:cubicBezTo>
                    <a:pt x="0" y="534"/>
                    <a:pt x="0" y="533"/>
                    <a:pt x="1" y="532"/>
                  </a:cubicBezTo>
                  <a:cubicBezTo>
                    <a:pt x="1" y="531"/>
                    <a:pt x="2" y="530"/>
                    <a:pt x="3" y="529"/>
                  </a:cubicBezTo>
                  <a:lnTo>
                    <a:pt x="251" y="441"/>
                  </a:lnTo>
                  <a:lnTo>
                    <a:pt x="313" y="272"/>
                  </a:lnTo>
                  <a:lnTo>
                    <a:pt x="272" y="206"/>
                  </a:lnTo>
                  <a:cubicBezTo>
                    <a:pt x="271" y="205"/>
                    <a:pt x="271" y="204"/>
                    <a:pt x="271" y="203"/>
                  </a:cubicBezTo>
                  <a:lnTo>
                    <a:pt x="288" y="93"/>
                  </a:lnTo>
                  <a:cubicBezTo>
                    <a:pt x="288" y="91"/>
                    <a:pt x="290" y="90"/>
                    <a:pt x="291" y="89"/>
                  </a:cubicBezTo>
                  <a:lnTo>
                    <a:pt x="334" y="74"/>
                  </a:lnTo>
                  <a:lnTo>
                    <a:pt x="314" y="11"/>
                  </a:lnTo>
                  <a:cubicBezTo>
                    <a:pt x="313" y="9"/>
                    <a:pt x="313" y="8"/>
                    <a:pt x="314" y="7"/>
                  </a:cubicBezTo>
                  <a:cubicBezTo>
                    <a:pt x="315" y="5"/>
                    <a:pt x="316" y="5"/>
                    <a:pt x="318" y="4"/>
                  </a:cubicBezTo>
                  <a:lnTo>
                    <a:pt x="365" y="0"/>
                  </a:lnTo>
                  <a:cubicBezTo>
                    <a:pt x="366" y="0"/>
                    <a:pt x="368" y="1"/>
                    <a:pt x="369" y="2"/>
                  </a:cubicBezTo>
                  <a:lnTo>
                    <a:pt x="415" y="66"/>
                  </a:lnTo>
                  <a:lnTo>
                    <a:pt x="566" y="123"/>
                  </a:lnTo>
                  <a:lnTo>
                    <a:pt x="614" y="193"/>
                  </a:lnTo>
                  <a:lnTo>
                    <a:pt x="660" y="225"/>
                  </a:lnTo>
                  <a:cubicBezTo>
                    <a:pt x="662" y="227"/>
                    <a:pt x="662" y="229"/>
                    <a:pt x="662" y="231"/>
                  </a:cubicBezTo>
                  <a:lnTo>
                    <a:pt x="645" y="281"/>
                  </a:lnTo>
                  <a:lnTo>
                    <a:pt x="551" y="410"/>
                  </a:lnTo>
                  <a:cubicBezTo>
                    <a:pt x="550" y="411"/>
                    <a:pt x="549" y="411"/>
                    <a:pt x="548" y="412"/>
                  </a:cubicBezTo>
                  <a:lnTo>
                    <a:pt x="547" y="412"/>
                  </a:lnTo>
                  <a:cubicBezTo>
                    <a:pt x="546" y="412"/>
                    <a:pt x="545" y="411"/>
                    <a:pt x="544" y="411"/>
                  </a:cubicBezTo>
                  <a:lnTo>
                    <a:pt x="526" y="396"/>
                  </a:lnTo>
                  <a:lnTo>
                    <a:pt x="508" y="414"/>
                  </a:lnTo>
                  <a:lnTo>
                    <a:pt x="487" y="443"/>
                  </a:lnTo>
                  <a:lnTo>
                    <a:pt x="492" y="529"/>
                  </a:lnTo>
                  <a:cubicBezTo>
                    <a:pt x="492" y="531"/>
                    <a:pt x="491" y="533"/>
                    <a:pt x="489" y="534"/>
                  </a:cubicBezTo>
                  <a:lnTo>
                    <a:pt x="406" y="559"/>
                  </a:lnTo>
                  <a:lnTo>
                    <a:pt x="373" y="625"/>
                  </a:lnTo>
                  <a:cubicBezTo>
                    <a:pt x="372" y="626"/>
                    <a:pt x="371" y="627"/>
                    <a:pt x="370" y="627"/>
                  </a:cubicBezTo>
                  <a:lnTo>
                    <a:pt x="304" y="644"/>
                  </a:lnTo>
                  <a:lnTo>
                    <a:pt x="254" y="714"/>
                  </a:lnTo>
                  <a:cubicBezTo>
                    <a:pt x="253" y="716"/>
                    <a:pt x="252" y="716"/>
                    <a:pt x="250" y="716"/>
                  </a:cubicBezTo>
                  <a:lnTo>
                    <a:pt x="186" y="712"/>
                  </a:lnTo>
                  <a:lnTo>
                    <a:pt x="91" y="746"/>
                  </a:lnTo>
                  <a:cubicBezTo>
                    <a:pt x="91" y="746"/>
                    <a:pt x="90" y="746"/>
                    <a:pt x="89" y="746"/>
                  </a:cubicBezTo>
                  <a:cubicBezTo>
                    <a:pt x="87" y="746"/>
                    <a:pt x="86" y="745"/>
                    <a:pt x="85" y="74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1" name="Freeform 396"/>
            <p:cNvSpPr>
              <a:spLocks noChangeArrowheads="1"/>
            </p:cNvSpPr>
            <p:nvPr/>
          </p:nvSpPr>
          <p:spPr bwMode="auto">
            <a:xfrm>
              <a:off x="5800725" y="2968625"/>
              <a:ext cx="238125" cy="268288"/>
            </a:xfrm>
            <a:custGeom>
              <a:avLst/>
              <a:gdLst/>
              <a:ahLst/>
              <a:cxnLst>
                <a:cxn ang="0">
                  <a:pos x="89" y="746"/>
                </a:cxn>
                <a:cxn ang="0">
                  <a:pos x="85" y="743"/>
                </a:cxn>
                <a:cxn ang="0">
                  <a:pos x="0" y="536"/>
                </a:cxn>
                <a:cxn ang="0">
                  <a:pos x="1" y="532"/>
                </a:cxn>
                <a:cxn ang="0">
                  <a:pos x="3" y="529"/>
                </a:cxn>
                <a:cxn ang="0">
                  <a:pos x="251" y="441"/>
                </a:cxn>
                <a:cxn ang="0">
                  <a:pos x="313" y="272"/>
                </a:cxn>
                <a:cxn ang="0">
                  <a:pos x="272" y="206"/>
                </a:cxn>
                <a:cxn ang="0">
                  <a:pos x="271" y="203"/>
                </a:cxn>
                <a:cxn ang="0">
                  <a:pos x="288" y="93"/>
                </a:cxn>
                <a:cxn ang="0">
                  <a:pos x="291" y="89"/>
                </a:cxn>
                <a:cxn ang="0">
                  <a:pos x="334" y="74"/>
                </a:cxn>
                <a:cxn ang="0">
                  <a:pos x="314" y="11"/>
                </a:cxn>
                <a:cxn ang="0">
                  <a:pos x="314" y="7"/>
                </a:cxn>
                <a:cxn ang="0">
                  <a:pos x="318" y="4"/>
                </a:cxn>
                <a:cxn ang="0">
                  <a:pos x="365" y="0"/>
                </a:cxn>
                <a:cxn ang="0">
                  <a:pos x="369" y="2"/>
                </a:cxn>
                <a:cxn ang="0">
                  <a:pos x="415" y="66"/>
                </a:cxn>
                <a:cxn ang="0">
                  <a:pos x="566" y="123"/>
                </a:cxn>
                <a:cxn ang="0">
                  <a:pos x="614" y="193"/>
                </a:cxn>
                <a:cxn ang="0">
                  <a:pos x="660" y="225"/>
                </a:cxn>
                <a:cxn ang="0">
                  <a:pos x="662" y="231"/>
                </a:cxn>
                <a:cxn ang="0">
                  <a:pos x="645" y="281"/>
                </a:cxn>
                <a:cxn ang="0">
                  <a:pos x="551" y="410"/>
                </a:cxn>
                <a:cxn ang="0">
                  <a:pos x="548" y="412"/>
                </a:cxn>
                <a:cxn ang="0">
                  <a:pos x="547" y="412"/>
                </a:cxn>
                <a:cxn ang="0">
                  <a:pos x="544" y="411"/>
                </a:cxn>
                <a:cxn ang="0">
                  <a:pos x="526" y="396"/>
                </a:cxn>
                <a:cxn ang="0">
                  <a:pos x="508" y="414"/>
                </a:cxn>
                <a:cxn ang="0">
                  <a:pos x="487" y="443"/>
                </a:cxn>
                <a:cxn ang="0">
                  <a:pos x="492" y="529"/>
                </a:cxn>
                <a:cxn ang="0">
                  <a:pos x="489" y="534"/>
                </a:cxn>
                <a:cxn ang="0">
                  <a:pos x="406" y="559"/>
                </a:cxn>
                <a:cxn ang="0">
                  <a:pos x="373" y="625"/>
                </a:cxn>
                <a:cxn ang="0">
                  <a:pos x="370" y="627"/>
                </a:cxn>
                <a:cxn ang="0">
                  <a:pos x="304" y="644"/>
                </a:cxn>
                <a:cxn ang="0">
                  <a:pos x="254" y="714"/>
                </a:cxn>
                <a:cxn ang="0">
                  <a:pos x="250" y="716"/>
                </a:cxn>
                <a:cxn ang="0">
                  <a:pos x="186" y="712"/>
                </a:cxn>
                <a:cxn ang="0">
                  <a:pos x="91" y="746"/>
                </a:cxn>
                <a:cxn ang="0">
                  <a:pos x="89" y="746"/>
                </a:cxn>
              </a:cxnLst>
              <a:rect l="0" t="0" r="r" b="b"/>
              <a:pathLst>
                <a:path w="663" h="747">
                  <a:moveTo>
                    <a:pt x="89" y="746"/>
                  </a:moveTo>
                  <a:cubicBezTo>
                    <a:pt x="87" y="746"/>
                    <a:pt x="86" y="745"/>
                    <a:pt x="85" y="743"/>
                  </a:cubicBezTo>
                  <a:lnTo>
                    <a:pt x="0" y="536"/>
                  </a:lnTo>
                  <a:cubicBezTo>
                    <a:pt x="0" y="534"/>
                    <a:pt x="0" y="533"/>
                    <a:pt x="1" y="532"/>
                  </a:cubicBezTo>
                  <a:cubicBezTo>
                    <a:pt x="1" y="531"/>
                    <a:pt x="2" y="530"/>
                    <a:pt x="3" y="529"/>
                  </a:cubicBezTo>
                  <a:lnTo>
                    <a:pt x="251" y="441"/>
                  </a:lnTo>
                  <a:lnTo>
                    <a:pt x="313" y="272"/>
                  </a:lnTo>
                  <a:lnTo>
                    <a:pt x="272" y="206"/>
                  </a:lnTo>
                  <a:cubicBezTo>
                    <a:pt x="271" y="205"/>
                    <a:pt x="271" y="204"/>
                    <a:pt x="271" y="203"/>
                  </a:cubicBezTo>
                  <a:lnTo>
                    <a:pt x="288" y="93"/>
                  </a:lnTo>
                  <a:cubicBezTo>
                    <a:pt x="288" y="91"/>
                    <a:pt x="290" y="90"/>
                    <a:pt x="291" y="89"/>
                  </a:cubicBezTo>
                  <a:lnTo>
                    <a:pt x="334" y="74"/>
                  </a:lnTo>
                  <a:lnTo>
                    <a:pt x="314" y="11"/>
                  </a:lnTo>
                  <a:cubicBezTo>
                    <a:pt x="313" y="9"/>
                    <a:pt x="313" y="8"/>
                    <a:pt x="314" y="7"/>
                  </a:cubicBezTo>
                  <a:cubicBezTo>
                    <a:pt x="315" y="5"/>
                    <a:pt x="316" y="5"/>
                    <a:pt x="318" y="4"/>
                  </a:cubicBezTo>
                  <a:lnTo>
                    <a:pt x="365" y="0"/>
                  </a:lnTo>
                  <a:cubicBezTo>
                    <a:pt x="366" y="0"/>
                    <a:pt x="368" y="1"/>
                    <a:pt x="369" y="2"/>
                  </a:cubicBezTo>
                  <a:lnTo>
                    <a:pt x="415" y="66"/>
                  </a:lnTo>
                  <a:lnTo>
                    <a:pt x="566" y="123"/>
                  </a:lnTo>
                  <a:lnTo>
                    <a:pt x="614" y="193"/>
                  </a:lnTo>
                  <a:lnTo>
                    <a:pt x="660" y="225"/>
                  </a:lnTo>
                  <a:cubicBezTo>
                    <a:pt x="662" y="227"/>
                    <a:pt x="662" y="229"/>
                    <a:pt x="662" y="231"/>
                  </a:cubicBezTo>
                  <a:lnTo>
                    <a:pt x="645" y="281"/>
                  </a:lnTo>
                  <a:lnTo>
                    <a:pt x="551" y="410"/>
                  </a:lnTo>
                  <a:cubicBezTo>
                    <a:pt x="550" y="411"/>
                    <a:pt x="549" y="411"/>
                    <a:pt x="548" y="412"/>
                  </a:cubicBezTo>
                  <a:lnTo>
                    <a:pt x="547" y="412"/>
                  </a:lnTo>
                  <a:cubicBezTo>
                    <a:pt x="546" y="412"/>
                    <a:pt x="545" y="411"/>
                    <a:pt x="544" y="411"/>
                  </a:cubicBezTo>
                  <a:lnTo>
                    <a:pt x="526" y="396"/>
                  </a:lnTo>
                  <a:lnTo>
                    <a:pt x="508" y="414"/>
                  </a:lnTo>
                  <a:lnTo>
                    <a:pt x="487" y="443"/>
                  </a:lnTo>
                  <a:lnTo>
                    <a:pt x="492" y="529"/>
                  </a:lnTo>
                  <a:cubicBezTo>
                    <a:pt x="492" y="531"/>
                    <a:pt x="491" y="533"/>
                    <a:pt x="489" y="534"/>
                  </a:cubicBezTo>
                  <a:lnTo>
                    <a:pt x="406" y="559"/>
                  </a:lnTo>
                  <a:lnTo>
                    <a:pt x="373" y="625"/>
                  </a:lnTo>
                  <a:cubicBezTo>
                    <a:pt x="372" y="626"/>
                    <a:pt x="371" y="627"/>
                    <a:pt x="370" y="627"/>
                  </a:cubicBezTo>
                  <a:lnTo>
                    <a:pt x="304" y="644"/>
                  </a:lnTo>
                  <a:lnTo>
                    <a:pt x="254" y="714"/>
                  </a:lnTo>
                  <a:cubicBezTo>
                    <a:pt x="253" y="716"/>
                    <a:pt x="252" y="716"/>
                    <a:pt x="250" y="716"/>
                  </a:cubicBezTo>
                  <a:lnTo>
                    <a:pt x="186" y="712"/>
                  </a:lnTo>
                  <a:lnTo>
                    <a:pt x="91" y="746"/>
                  </a:lnTo>
                  <a:cubicBezTo>
                    <a:pt x="91" y="746"/>
                    <a:pt x="90" y="746"/>
                    <a:pt x="89" y="74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2" name="Freeform 397"/>
            <p:cNvSpPr>
              <a:spLocks noChangeArrowheads="1"/>
            </p:cNvSpPr>
            <p:nvPr/>
          </p:nvSpPr>
          <p:spPr bwMode="auto">
            <a:xfrm>
              <a:off x="5921375" y="2922588"/>
              <a:ext cx="12700" cy="25400"/>
            </a:xfrm>
            <a:custGeom>
              <a:avLst/>
              <a:gdLst/>
              <a:ahLst/>
              <a:cxnLst>
                <a:cxn ang="0">
                  <a:pos x="4" y="64"/>
                </a:cxn>
                <a:cxn ang="0">
                  <a:pos x="0" y="60"/>
                </a:cxn>
                <a:cxn ang="0">
                  <a:pos x="0" y="26"/>
                </a:cxn>
                <a:cxn ang="0">
                  <a:pos x="2" y="22"/>
                </a:cxn>
                <a:cxn ang="0">
                  <a:pos x="27" y="1"/>
                </a:cxn>
                <a:cxn ang="0">
                  <a:pos x="30" y="0"/>
                </a:cxn>
                <a:cxn ang="0">
                  <a:pos x="32" y="1"/>
                </a:cxn>
                <a:cxn ang="0">
                  <a:pos x="35" y="6"/>
                </a:cxn>
                <a:cxn ang="0">
                  <a:pos x="26" y="65"/>
                </a:cxn>
                <a:cxn ang="0">
                  <a:pos x="24" y="68"/>
                </a:cxn>
                <a:cxn ang="0">
                  <a:pos x="22" y="69"/>
                </a:cxn>
                <a:cxn ang="0">
                  <a:pos x="20" y="69"/>
                </a:cxn>
                <a:cxn ang="0">
                  <a:pos x="4" y="64"/>
                </a:cxn>
              </a:cxnLst>
              <a:rect l="0" t="0" r="r" b="b"/>
              <a:pathLst>
                <a:path w="36" h="70">
                  <a:moveTo>
                    <a:pt x="4" y="64"/>
                  </a:moveTo>
                  <a:cubicBezTo>
                    <a:pt x="1" y="64"/>
                    <a:pt x="0" y="62"/>
                    <a:pt x="0" y="60"/>
                  </a:cubicBezTo>
                  <a:lnTo>
                    <a:pt x="0" y="26"/>
                  </a:lnTo>
                  <a:cubicBezTo>
                    <a:pt x="0" y="25"/>
                    <a:pt x="1" y="23"/>
                    <a:pt x="2" y="22"/>
                  </a:cubicBezTo>
                  <a:lnTo>
                    <a:pt x="27" y="1"/>
                  </a:lnTo>
                  <a:cubicBezTo>
                    <a:pt x="28" y="1"/>
                    <a:pt x="29" y="0"/>
                    <a:pt x="30" y="0"/>
                  </a:cubicBezTo>
                  <a:cubicBezTo>
                    <a:pt x="31" y="0"/>
                    <a:pt x="32" y="0"/>
                    <a:pt x="32" y="1"/>
                  </a:cubicBezTo>
                  <a:cubicBezTo>
                    <a:pt x="34" y="2"/>
                    <a:pt x="35" y="4"/>
                    <a:pt x="35" y="6"/>
                  </a:cubicBezTo>
                  <a:lnTo>
                    <a:pt x="26" y="65"/>
                  </a:lnTo>
                  <a:cubicBezTo>
                    <a:pt x="26" y="66"/>
                    <a:pt x="25" y="67"/>
                    <a:pt x="24" y="68"/>
                  </a:cubicBezTo>
                  <a:cubicBezTo>
                    <a:pt x="23" y="69"/>
                    <a:pt x="23" y="69"/>
                    <a:pt x="22" y="69"/>
                  </a:cubicBezTo>
                  <a:cubicBezTo>
                    <a:pt x="22" y="69"/>
                    <a:pt x="21" y="69"/>
                    <a:pt x="20" y="69"/>
                  </a:cubicBezTo>
                  <a:lnTo>
                    <a:pt x="4" y="6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3" name="Freeform 398"/>
            <p:cNvSpPr>
              <a:spLocks noChangeArrowheads="1"/>
            </p:cNvSpPr>
            <p:nvPr/>
          </p:nvSpPr>
          <p:spPr bwMode="auto">
            <a:xfrm>
              <a:off x="5921375" y="2922588"/>
              <a:ext cx="12700" cy="25400"/>
            </a:xfrm>
            <a:custGeom>
              <a:avLst/>
              <a:gdLst/>
              <a:ahLst/>
              <a:cxnLst>
                <a:cxn ang="0">
                  <a:pos x="20" y="69"/>
                </a:cxn>
                <a:cxn ang="0">
                  <a:pos x="4" y="64"/>
                </a:cxn>
                <a:cxn ang="0">
                  <a:pos x="0" y="60"/>
                </a:cxn>
                <a:cxn ang="0">
                  <a:pos x="0" y="26"/>
                </a:cxn>
                <a:cxn ang="0">
                  <a:pos x="2" y="22"/>
                </a:cxn>
                <a:cxn ang="0">
                  <a:pos x="27" y="1"/>
                </a:cxn>
                <a:cxn ang="0">
                  <a:pos x="30" y="0"/>
                </a:cxn>
                <a:cxn ang="0">
                  <a:pos x="32" y="1"/>
                </a:cxn>
                <a:cxn ang="0">
                  <a:pos x="35" y="6"/>
                </a:cxn>
                <a:cxn ang="0">
                  <a:pos x="26" y="65"/>
                </a:cxn>
                <a:cxn ang="0">
                  <a:pos x="24" y="68"/>
                </a:cxn>
                <a:cxn ang="0">
                  <a:pos x="22" y="69"/>
                </a:cxn>
                <a:cxn ang="0">
                  <a:pos x="20" y="69"/>
                </a:cxn>
              </a:cxnLst>
              <a:rect l="0" t="0" r="r" b="b"/>
              <a:pathLst>
                <a:path w="36" h="70">
                  <a:moveTo>
                    <a:pt x="20" y="69"/>
                  </a:moveTo>
                  <a:lnTo>
                    <a:pt x="4" y="64"/>
                  </a:lnTo>
                  <a:cubicBezTo>
                    <a:pt x="1" y="64"/>
                    <a:pt x="0" y="62"/>
                    <a:pt x="0" y="60"/>
                  </a:cubicBezTo>
                  <a:lnTo>
                    <a:pt x="0" y="26"/>
                  </a:lnTo>
                  <a:cubicBezTo>
                    <a:pt x="0" y="25"/>
                    <a:pt x="1" y="23"/>
                    <a:pt x="2" y="22"/>
                  </a:cubicBezTo>
                  <a:lnTo>
                    <a:pt x="27" y="1"/>
                  </a:lnTo>
                  <a:cubicBezTo>
                    <a:pt x="28" y="1"/>
                    <a:pt x="29" y="0"/>
                    <a:pt x="30" y="0"/>
                  </a:cubicBezTo>
                  <a:cubicBezTo>
                    <a:pt x="31" y="0"/>
                    <a:pt x="32" y="0"/>
                    <a:pt x="32" y="1"/>
                  </a:cubicBezTo>
                  <a:cubicBezTo>
                    <a:pt x="34" y="2"/>
                    <a:pt x="35" y="4"/>
                    <a:pt x="35" y="6"/>
                  </a:cubicBezTo>
                  <a:lnTo>
                    <a:pt x="26" y="65"/>
                  </a:lnTo>
                  <a:cubicBezTo>
                    <a:pt x="26" y="66"/>
                    <a:pt x="25" y="67"/>
                    <a:pt x="24" y="68"/>
                  </a:cubicBezTo>
                  <a:cubicBezTo>
                    <a:pt x="23" y="69"/>
                    <a:pt x="23" y="69"/>
                    <a:pt x="22" y="69"/>
                  </a:cubicBezTo>
                  <a:cubicBezTo>
                    <a:pt x="22" y="69"/>
                    <a:pt x="21" y="69"/>
                    <a:pt x="20" y="6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4" name="Freeform 399"/>
            <p:cNvSpPr>
              <a:spLocks noChangeArrowheads="1"/>
            </p:cNvSpPr>
            <p:nvPr/>
          </p:nvSpPr>
          <p:spPr bwMode="auto">
            <a:xfrm>
              <a:off x="6067425" y="2543175"/>
              <a:ext cx="508000" cy="465138"/>
            </a:xfrm>
            <a:custGeom>
              <a:avLst/>
              <a:gdLst/>
              <a:ahLst/>
              <a:cxnLst>
                <a:cxn ang="0">
                  <a:pos x="523" y="1205"/>
                </a:cxn>
                <a:cxn ang="0">
                  <a:pos x="344" y="1151"/>
                </a:cxn>
                <a:cxn ang="0">
                  <a:pos x="315" y="1168"/>
                </a:cxn>
                <a:cxn ang="0">
                  <a:pos x="107" y="1164"/>
                </a:cxn>
                <a:cxn ang="0">
                  <a:pos x="75" y="1176"/>
                </a:cxn>
                <a:cxn ang="0">
                  <a:pos x="81" y="1074"/>
                </a:cxn>
                <a:cxn ang="0">
                  <a:pos x="198" y="980"/>
                </a:cxn>
                <a:cxn ang="0">
                  <a:pos x="158" y="887"/>
                </a:cxn>
                <a:cxn ang="0">
                  <a:pos x="2" y="721"/>
                </a:cxn>
                <a:cxn ang="0">
                  <a:pos x="134" y="762"/>
                </a:cxn>
                <a:cxn ang="0">
                  <a:pos x="295" y="741"/>
                </a:cxn>
                <a:cxn ang="0">
                  <a:pos x="453" y="719"/>
                </a:cxn>
                <a:cxn ang="0">
                  <a:pos x="464" y="619"/>
                </a:cxn>
                <a:cxn ang="0">
                  <a:pos x="565" y="570"/>
                </a:cxn>
                <a:cxn ang="0">
                  <a:pos x="608" y="530"/>
                </a:cxn>
                <a:cxn ang="0">
                  <a:pos x="704" y="523"/>
                </a:cxn>
                <a:cxn ang="0">
                  <a:pos x="724" y="402"/>
                </a:cxn>
                <a:cxn ang="0">
                  <a:pos x="760" y="311"/>
                </a:cxn>
                <a:cxn ang="0">
                  <a:pos x="860" y="280"/>
                </a:cxn>
                <a:cxn ang="0">
                  <a:pos x="900" y="196"/>
                </a:cxn>
                <a:cxn ang="0">
                  <a:pos x="866" y="103"/>
                </a:cxn>
                <a:cxn ang="0">
                  <a:pos x="1077" y="17"/>
                </a:cxn>
                <a:cxn ang="0">
                  <a:pos x="1221" y="16"/>
                </a:cxn>
                <a:cxn ang="0">
                  <a:pos x="1255" y="40"/>
                </a:cxn>
                <a:cxn ang="0">
                  <a:pos x="1268" y="104"/>
                </a:cxn>
                <a:cxn ang="0">
                  <a:pos x="1318" y="120"/>
                </a:cxn>
                <a:cxn ang="0">
                  <a:pos x="1408" y="169"/>
                </a:cxn>
                <a:cxn ang="0">
                  <a:pos x="1340" y="243"/>
                </a:cxn>
                <a:cxn ang="0">
                  <a:pos x="1231" y="263"/>
                </a:cxn>
                <a:cxn ang="0">
                  <a:pos x="1087" y="273"/>
                </a:cxn>
                <a:cxn ang="0">
                  <a:pos x="1103" y="286"/>
                </a:cxn>
                <a:cxn ang="0">
                  <a:pos x="1124" y="317"/>
                </a:cxn>
                <a:cxn ang="0">
                  <a:pos x="1123" y="361"/>
                </a:cxn>
                <a:cxn ang="0">
                  <a:pos x="1127" y="425"/>
                </a:cxn>
                <a:cxn ang="0">
                  <a:pos x="1166" y="461"/>
                </a:cxn>
                <a:cxn ang="0">
                  <a:pos x="1221" y="493"/>
                </a:cxn>
                <a:cxn ang="0">
                  <a:pos x="1150" y="550"/>
                </a:cxn>
                <a:cxn ang="0">
                  <a:pos x="1152" y="591"/>
                </a:cxn>
                <a:cxn ang="0">
                  <a:pos x="1176" y="614"/>
                </a:cxn>
                <a:cxn ang="0">
                  <a:pos x="1086" y="708"/>
                </a:cxn>
                <a:cxn ang="0">
                  <a:pos x="1009" y="806"/>
                </a:cxn>
                <a:cxn ang="0">
                  <a:pos x="922" y="910"/>
                </a:cxn>
                <a:cxn ang="0">
                  <a:pos x="837" y="930"/>
                </a:cxn>
                <a:cxn ang="0">
                  <a:pos x="731" y="1025"/>
                </a:cxn>
                <a:cxn ang="0">
                  <a:pos x="782" y="1093"/>
                </a:cxn>
                <a:cxn ang="0">
                  <a:pos x="865" y="1230"/>
                </a:cxn>
                <a:cxn ang="0">
                  <a:pos x="827" y="1253"/>
                </a:cxn>
                <a:cxn ang="0">
                  <a:pos x="770" y="1257"/>
                </a:cxn>
                <a:cxn ang="0">
                  <a:pos x="675" y="1237"/>
                </a:cxn>
                <a:cxn ang="0">
                  <a:pos x="624" y="1274"/>
                </a:cxn>
                <a:cxn ang="0">
                  <a:pos x="597" y="1291"/>
                </a:cxn>
              </a:cxnLst>
              <a:rect l="0" t="0" r="r" b="b"/>
              <a:pathLst>
                <a:path w="1409" h="1292">
                  <a:moveTo>
                    <a:pt x="555" y="1278"/>
                  </a:moveTo>
                  <a:cubicBezTo>
                    <a:pt x="553" y="1278"/>
                    <a:pt x="552" y="1277"/>
                    <a:pt x="552" y="1276"/>
                  </a:cubicBezTo>
                  <a:lnTo>
                    <a:pt x="523" y="1205"/>
                  </a:lnTo>
                  <a:lnTo>
                    <a:pt x="495" y="1194"/>
                  </a:lnTo>
                  <a:lnTo>
                    <a:pt x="469" y="1147"/>
                  </a:lnTo>
                  <a:lnTo>
                    <a:pt x="344" y="1151"/>
                  </a:lnTo>
                  <a:lnTo>
                    <a:pt x="330" y="1148"/>
                  </a:lnTo>
                  <a:lnTo>
                    <a:pt x="319" y="1166"/>
                  </a:lnTo>
                  <a:cubicBezTo>
                    <a:pt x="318" y="1168"/>
                    <a:pt x="316" y="1168"/>
                    <a:pt x="315" y="1168"/>
                  </a:cubicBezTo>
                  <a:cubicBezTo>
                    <a:pt x="314" y="1168"/>
                    <a:pt x="313" y="1168"/>
                    <a:pt x="312" y="1168"/>
                  </a:cubicBezTo>
                  <a:lnTo>
                    <a:pt x="274" y="1147"/>
                  </a:lnTo>
                  <a:lnTo>
                    <a:pt x="107" y="1164"/>
                  </a:lnTo>
                  <a:lnTo>
                    <a:pt x="79" y="1176"/>
                  </a:lnTo>
                  <a:cubicBezTo>
                    <a:pt x="79" y="1177"/>
                    <a:pt x="78" y="1177"/>
                    <a:pt x="77" y="1177"/>
                  </a:cubicBezTo>
                  <a:cubicBezTo>
                    <a:pt x="77" y="1177"/>
                    <a:pt x="76" y="1177"/>
                    <a:pt x="75" y="1176"/>
                  </a:cubicBezTo>
                  <a:lnTo>
                    <a:pt x="62" y="1168"/>
                  </a:lnTo>
                  <a:cubicBezTo>
                    <a:pt x="60" y="1167"/>
                    <a:pt x="60" y="1165"/>
                    <a:pt x="60" y="1163"/>
                  </a:cubicBezTo>
                  <a:lnTo>
                    <a:pt x="81" y="1074"/>
                  </a:lnTo>
                  <a:lnTo>
                    <a:pt x="116" y="1038"/>
                  </a:lnTo>
                  <a:lnTo>
                    <a:pt x="180" y="1016"/>
                  </a:lnTo>
                  <a:lnTo>
                    <a:pt x="198" y="980"/>
                  </a:lnTo>
                  <a:lnTo>
                    <a:pt x="164" y="965"/>
                  </a:lnTo>
                  <a:cubicBezTo>
                    <a:pt x="163" y="964"/>
                    <a:pt x="162" y="963"/>
                    <a:pt x="162" y="961"/>
                  </a:cubicBezTo>
                  <a:lnTo>
                    <a:pt x="158" y="887"/>
                  </a:lnTo>
                  <a:lnTo>
                    <a:pt x="62" y="834"/>
                  </a:lnTo>
                  <a:lnTo>
                    <a:pt x="1" y="726"/>
                  </a:lnTo>
                  <a:cubicBezTo>
                    <a:pt x="0" y="724"/>
                    <a:pt x="1" y="722"/>
                    <a:pt x="2" y="721"/>
                  </a:cubicBezTo>
                  <a:cubicBezTo>
                    <a:pt x="3" y="720"/>
                    <a:pt x="4" y="719"/>
                    <a:pt x="5" y="719"/>
                  </a:cubicBezTo>
                  <a:cubicBezTo>
                    <a:pt x="6" y="719"/>
                    <a:pt x="6" y="719"/>
                    <a:pt x="7" y="719"/>
                  </a:cubicBezTo>
                  <a:lnTo>
                    <a:pt x="134" y="762"/>
                  </a:lnTo>
                  <a:lnTo>
                    <a:pt x="216" y="745"/>
                  </a:lnTo>
                  <a:lnTo>
                    <a:pt x="271" y="761"/>
                  </a:lnTo>
                  <a:lnTo>
                    <a:pt x="295" y="741"/>
                  </a:lnTo>
                  <a:cubicBezTo>
                    <a:pt x="296" y="741"/>
                    <a:pt x="297" y="740"/>
                    <a:pt x="298" y="740"/>
                  </a:cubicBezTo>
                  <a:lnTo>
                    <a:pt x="357" y="744"/>
                  </a:lnTo>
                  <a:lnTo>
                    <a:pt x="453" y="719"/>
                  </a:lnTo>
                  <a:lnTo>
                    <a:pt x="458" y="714"/>
                  </a:lnTo>
                  <a:lnTo>
                    <a:pt x="462" y="622"/>
                  </a:lnTo>
                  <a:cubicBezTo>
                    <a:pt x="462" y="621"/>
                    <a:pt x="463" y="620"/>
                    <a:pt x="464" y="619"/>
                  </a:cubicBezTo>
                  <a:lnTo>
                    <a:pt x="498" y="585"/>
                  </a:lnTo>
                  <a:lnTo>
                    <a:pt x="571" y="576"/>
                  </a:lnTo>
                  <a:lnTo>
                    <a:pt x="565" y="570"/>
                  </a:lnTo>
                  <a:cubicBezTo>
                    <a:pt x="565" y="570"/>
                    <a:pt x="564" y="568"/>
                    <a:pt x="564" y="567"/>
                  </a:cubicBezTo>
                  <a:cubicBezTo>
                    <a:pt x="564" y="566"/>
                    <a:pt x="565" y="564"/>
                    <a:pt x="566" y="563"/>
                  </a:cubicBezTo>
                  <a:lnTo>
                    <a:pt x="608" y="530"/>
                  </a:lnTo>
                  <a:lnTo>
                    <a:pt x="649" y="529"/>
                  </a:lnTo>
                  <a:lnTo>
                    <a:pt x="675" y="548"/>
                  </a:lnTo>
                  <a:lnTo>
                    <a:pt x="704" y="523"/>
                  </a:lnTo>
                  <a:lnTo>
                    <a:pt x="695" y="479"/>
                  </a:lnTo>
                  <a:lnTo>
                    <a:pt x="721" y="405"/>
                  </a:lnTo>
                  <a:cubicBezTo>
                    <a:pt x="722" y="404"/>
                    <a:pt x="723" y="403"/>
                    <a:pt x="724" y="402"/>
                  </a:cubicBezTo>
                  <a:lnTo>
                    <a:pt x="791" y="375"/>
                  </a:lnTo>
                  <a:lnTo>
                    <a:pt x="759" y="316"/>
                  </a:lnTo>
                  <a:cubicBezTo>
                    <a:pt x="759" y="314"/>
                    <a:pt x="759" y="312"/>
                    <a:pt x="760" y="311"/>
                  </a:cubicBezTo>
                  <a:cubicBezTo>
                    <a:pt x="761" y="310"/>
                    <a:pt x="762" y="309"/>
                    <a:pt x="764" y="309"/>
                  </a:cubicBezTo>
                  <a:lnTo>
                    <a:pt x="845" y="309"/>
                  </a:lnTo>
                  <a:lnTo>
                    <a:pt x="860" y="280"/>
                  </a:lnTo>
                  <a:lnTo>
                    <a:pt x="849" y="270"/>
                  </a:lnTo>
                  <a:cubicBezTo>
                    <a:pt x="848" y="269"/>
                    <a:pt x="847" y="266"/>
                    <a:pt x="849" y="264"/>
                  </a:cubicBezTo>
                  <a:lnTo>
                    <a:pt x="900" y="196"/>
                  </a:lnTo>
                  <a:lnTo>
                    <a:pt x="903" y="165"/>
                  </a:lnTo>
                  <a:lnTo>
                    <a:pt x="866" y="109"/>
                  </a:lnTo>
                  <a:cubicBezTo>
                    <a:pt x="864" y="107"/>
                    <a:pt x="865" y="104"/>
                    <a:pt x="866" y="103"/>
                  </a:cubicBezTo>
                  <a:lnTo>
                    <a:pt x="875" y="94"/>
                  </a:lnTo>
                  <a:lnTo>
                    <a:pt x="986" y="22"/>
                  </a:lnTo>
                  <a:lnTo>
                    <a:pt x="1077" y="17"/>
                  </a:lnTo>
                  <a:lnTo>
                    <a:pt x="1157" y="0"/>
                  </a:lnTo>
                  <a:lnTo>
                    <a:pt x="1218" y="13"/>
                  </a:lnTo>
                  <a:cubicBezTo>
                    <a:pt x="1220" y="13"/>
                    <a:pt x="1221" y="15"/>
                    <a:pt x="1221" y="16"/>
                  </a:cubicBezTo>
                  <a:lnTo>
                    <a:pt x="1225" y="38"/>
                  </a:lnTo>
                  <a:lnTo>
                    <a:pt x="1251" y="38"/>
                  </a:lnTo>
                  <a:cubicBezTo>
                    <a:pt x="1252" y="38"/>
                    <a:pt x="1253" y="39"/>
                    <a:pt x="1255" y="40"/>
                  </a:cubicBezTo>
                  <a:lnTo>
                    <a:pt x="1271" y="61"/>
                  </a:lnTo>
                  <a:cubicBezTo>
                    <a:pt x="1272" y="62"/>
                    <a:pt x="1272" y="63"/>
                    <a:pt x="1272" y="64"/>
                  </a:cubicBezTo>
                  <a:lnTo>
                    <a:pt x="1268" y="104"/>
                  </a:lnTo>
                  <a:lnTo>
                    <a:pt x="1286" y="122"/>
                  </a:lnTo>
                  <a:lnTo>
                    <a:pt x="1314" y="118"/>
                  </a:lnTo>
                  <a:cubicBezTo>
                    <a:pt x="1316" y="118"/>
                    <a:pt x="1317" y="119"/>
                    <a:pt x="1318" y="120"/>
                  </a:cubicBezTo>
                  <a:lnTo>
                    <a:pt x="1335" y="141"/>
                  </a:lnTo>
                  <a:lnTo>
                    <a:pt x="1405" y="165"/>
                  </a:lnTo>
                  <a:cubicBezTo>
                    <a:pt x="1406" y="166"/>
                    <a:pt x="1408" y="167"/>
                    <a:pt x="1408" y="169"/>
                  </a:cubicBezTo>
                  <a:cubicBezTo>
                    <a:pt x="1408" y="171"/>
                    <a:pt x="1407" y="172"/>
                    <a:pt x="1406" y="173"/>
                  </a:cubicBezTo>
                  <a:lnTo>
                    <a:pt x="1355" y="211"/>
                  </a:lnTo>
                  <a:lnTo>
                    <a:pt x="1340" y="243"/>
                  </a:lnTo>
                  <a:cubicBezTo>
                    <a:pt x="1339" y="245"/>
                    <a:pt x="1337" y="246"/>
                    <a:pt x="1336" y="246"/>
                  </a:cubicBezTo>
                  <a:lnTo>
                    <a:pt x="1301" y="242"/>
                  </a:lnTo>
                  <a:lnTo>
                    <a:pt x="1231" y="263"/>
                  </a:lnTo>
                  <a:lnTo>
                    <a:pt x="1122" y="233"/>
                  </a:lnTo>
                  <a:lnTo>
                    <a:pt x="1098" y="241"/>
                  </a:lnTo>
                  <a:lnTo>
                    <a:pt x="1087" y="273"/>
                  </a:lnTo>
                  <a:lnTo>
                    <a:pt x="1101" y="280"/>
                  </a:lnTo>
                  <a:cubicBezTo>
                    <a:pt x="1102" y="280"/>
                    <a:pt x="1102" y="281"/>
                    <a:pt x="1103" y="282"/>
                  </a:cubicBezTo>
                  <a:cubicBezTo>
                    <a:pt x="1103" y="284"/>
                    <a:pt x="1103" y="285"/>
                    <a:pt x="1103" y="286"/>
                  </a:cubicBezTo>
                  <a:lnTo>
                    <a:pt x="1096" y="299"/>
                  </a:lnTo>
                  <a:lnTo>
                    <a:pt x="1122" y="314"/>
                  </a:lnTo>
                  <a:cubicBezTo>
                    <a:pt x="1123" y="314"/>
                    <a:pt x="1124" y="316"/>
                    <a:pt x="1124" y="317"/>
                  </a:cubicBezTo>
                  <a:cubicBezTo>
                    <a:pt x="1124" y="318"/>
                    <a:pt x="1124" y="320"/>
                    <a:pt x="1123" y="321"/>
                  </a:cubicBezTo>
                  <a:lnTo>
                    <a:pt x="1105" y="339"/>
                  </a:lnTo>
                  <a:lnTo>
                    <a:pt x="1123" y="361"/>
                  </a:lnTo>
                  <a:cubicBezTo>
                    <a:pt x="1125" y="363"/>
                    <a:pt x="1125" y="366"/>
                    <a:pt x="1123" y="367"/>
                  </a:cubicBezTo>
                  <a:lnTo>
                    <a:pt x="1100" y="394"/>
                  </a:lnTo>
                  <a:lnTo>
                    <a:pt x="1127" y="425"/>
                  </a:lnTo>
                  <a:lnTo>
                    <a:pt x="1159" y="432"/>
                  </a:lnTo>
                  <a:cubicBezTo>
                    <a:pt x="1161" y="432"/>
                    <a:pt x="1162" y="434"/>
                    <a:pt x="1162" y="435"/>
                  </a:cubicBezTo>
                  <a:lnTo>
                    <a:pt x="1166" y="461"/>
                  </a:lnTo>
                  <a:lnTo>
                    <a:pt x="1205" y="465"/>
                  </a:lnTo>
                  <a:cubicBezTo>
                    <a:pt x="1206" y="465"/>
                    <a:pt x="1208" y="466"/>
                    <a:pt x="1208" y="468"/>
                  </a:cubicBezTo>
                  <a:lnTo>
                    <a:pt x="1221" y="493"/>
                  </a:lnTo>
                  <a:cubicBezTo>
                    <a:pt x="1222" y="496"/>
                    <a:pt x="1221" y="498"/>
                    <a:pt x="1219" y="500"/>
                  </a:cubicBezTo>
                  <a:lnTo>
                    <a:pt x="1160" y="529"/>
                  </a:lnTo>
                  <a:lnTo>
                    <a:pt x="1150" y="550"/>
                  </a:lnTo>
                  <a:lnTo>
                    <a:pt x="1165" y="569"/>
                  </a:lnTo>
                  <a:cubicBezTo>
                    <a:pt x="1167" y="570"/>
                    <a:pt x="1167" y="573"/>
                    <a:pt x="1165" y="574"/>
                  </a:cubicBezTo>
                  <a:lnTo>
                    <a:pt x="1152" y="591"/>
                  </a:lnTo>
                  <a:lnTo>
                    <a:pt x="1177" y="605"/>
                  </a:lnTo>
                  <a:cubicBezTo>
                    <a:pt x="1178" y="606"/>
                    <a:pt x="1179" y="608"/>
                    <a:pt x="1179" y="610"/>
                  </a:cubicBezTo>
                  <a:cubicBezTo>
                    <a:pt x="1179" y="612"/>
                    <a:pt x="1178" y="613"/>
                    <a:pt x="1176" y="614"/>
                  </a:cubicBezTo>
                  <a:lnTo>
                    <a:pt x="1125" y="635"/>
                  </a:lnTo>
                  <a:lnTo>
                    <a:pt x="1094" y="684"/>
                  </a:lnTo>
                  <a:lnTo>
                    <a:pt x="1086" y="708"/>
                  </a:lnTo>
                  <a:cubicBezTo>
                    <a:pt x="1085" y="710"/>
                    <a:pt x="1084" y="711"/>
                    <a:pt x="1083" y="711"/>
                  </a:cubicBezTo>
                  <a:lnTo>
                    <a:pt x="1054" y="724"/>
                  </a:lnTo>
                  <a:lnTo>
                    <a:pt x="1009" y="806"/>
                  </a:lnTo>
                  <a:lnTo>
                    <a:pt x="965" y="838"/>
                  </a:lnTo>
                  <a:lnTo>
                    <a:pt x="924" y="908"/>
                  </a:lnTo>
                  <a:cubicBezTo>
                    <a:pt x="924" y="909"/>
                    <a:pt x="923" y="910"/>
                    <a:pt x="922" y="910"/>
                  </a:cubicBezTo>
                  <a:lnTo>
                    <a:pt x="841" y="931"/>
                  </a:lnTo>
                  <a:lnTo>
                    <a:pt x="840" y="932"/>
                  </a:lnTo>
                  <a:cubicBezTo>
                    <a:pt x="839" y="932"/>
                    <a:pt x="837" y="931"/>
                    <a:pt x="837" y="930"/>
                  </a:cubicBezTo>
                  <a:lnTo>
                    <a:pt x="806" y="900"/>
                  </a:lnTo>
                  <a:lnTo>
                    <a:pt x="738" y="989"/>
                  </a:lnTo>
                  <a:lnTo>
                    <a:pt x="731" y="1025"/>
                  </a:lnTo>
                  <a:lnTo>
                    <a:pt x="786" y="1036"/>
                  </a:lnTo>
                  <a:cubicBezTo>
                    <a:pt x="788" y="1037"/>
                    <a:pt x="790" y="1039"/>
                    <a:pt x="789" y="1042"/>
                  </a:cubicBezTo>
                  <a:lnTo>
                    <a:pt x="782" y="1093"/>
                  </a:lnTo>
                  <a:lnTo>
                    <a:pt x="821" y="1113"/>
                  </a:lnTo>
                  <a:cubicBezTo>
                    <a:pt x="822" y="1114"/>
                    <a:pt x="823" y="1114"/>
                    <a:pt x="823" y="1116"/>
                  </a:cubicBezTo>
                  <a:lnTo>
                    <a:pt x="865" y="1230"/>
                  </a:lnTo>
                  <a:cubicBezTo>
                    <a:pt x="866" y="1232"/>
                    <a:pt x="865" y="1235"/>
                    <a:pt x="863" y="1236"/>
                  </a:cubicBezTo>
                  <a:lnTo>
                    <a:pt x="829" y="1253"/>
                  </a:lnTo>
                  <a:cubicBezTo>
                    <a:pt x="829" y="1253"/>
                    <a:pt x="828" y="1253"/>
                    <a:pt x="827" y="1253"/>
                  </a:cubicBezTo>
                  <a:cubicBezTo>
                    <a:pt x="826" y="1253"/>
                    <a:pt x="825" y="1253"/>
                    <a:pt x="824" y="1252"/>
                  </a:cubicBezTo>
                  <a:lnTo>
                    <a:pt x="805" y="1233"/>
                  </a:lnTo>
                  <a:lnTo>
                    <a:pt x="770" y="1257"/>
                  </a:lnTo>
                  <a:cubicBezTo>
                    <a:pt x="770" y="1257"/>
                    <a:pt x="769" y="1257"/>
                    <a:pt x="768" y="1257"/>
                  </a:cubicBezTo>
                  <a:lnTo>
                    <a:pt x="767" y="1257"/>
                  </a:lnTo>
                  <a:lnTo>
                    <a:pt x="675" y="1237"/>
                  </a:lnTo>
                  <a:lnTo>
                    <a:pt x="671" y="1270"/>
                  </a:lnTo>
                  <a:cubicBezTo>
                    <a:pt x="671" y="1272"/>
                    <a:pt x="669" y="1274"/>
                    <a:pt x="666" y="1274"/>
                  </a:cubicBezTo>
                  <a:lnTo>
                    <a:pt x="624" y="1274"/>
                  </a:lnTo>
                  <a:lnTo>
                    <a:pt x="601" y="1290"/>
                  </a:lnTo>
                  <a:cubicBezTo>
                    <a:pt x="600" y="1291"/>
                    <a:pt x="599" y="1291"/>
                    <a:pt x="598" y="1291"/>
                  </a:cubicBezTo>
                  <a:lnTo>
                    <a:pt x="597" y="1291"/>
                  </a:lnTo>
                  <a:lnTo>
                    <a:pt x="555" y="1278"/>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5" name="Freeform 400"/>
            <p:cNvSpPr>
              <a:spLocks noChangeArrowheads="1"/>
            </p:cNvSpPr>
            <p:nvPr/>
          </p:nvSpPr>
          <p:spPr bwMode="auto">
            <a:xfrm>
              <a:off x="6067425" y="2543175"/>
              <a:ext cx="508000" cy="465138"/>
            </a:xfrm>
            <a:custGeom>
              <a:avLst/>
              <a:gdLst/>
              <a:ahLst/>
              <a:cxnLst>
                <a:cxn ang="0">
                  <a:pos x="552" y="1276"/>
                </a:cxn>
                <a:cxn ang="0">
                  <a:pos x="469" y="1147"/>
                </a:cxn>
                <a:cxn ang="0">
                  <a:pos x="319" y="1166"/>
                </a:cxn>
                <a:cxn ang="0">
                  <a:pos x="274" y="1147"/>
                </a:cxn>
                <a:cxn ang="0">
                  <a:pos x="77" y="1177"/>
                </a:cxn>
                <a:cxn ang="0">
                  <a:pos x="60" y="1163"/>
                </a:cxn>
                <a:cxn ang="0">
                  <a:pos x="180" y="1016"/>
                </a:cxn>
                <a:cxn ang="0">
                  <a:pos x="162" y="961"/>
                </a:cxn>
                <a:cxn ang="0">
                  <a:pos x="1" y="726"/>
                </a:cxn>
                <a:cxn ang="0">
                  <a:pos x="7" y="719"/>
                </a:cxn>
                <a:cxn ang="0">
                  <a:pos x="271" y="761"/>
                </a:cxn>
                <a:cxn ang="0">
                  <a:pos x="357" y="744"/>
                </a:cxn>
                <a:cxn ang="0">
                  <a:pos x="462" y="622"/>
                </a:cxn>
                <a:cxn ang="0">
                  <a:pos x="571" y="576"/>
                </a:cxn>
                <a:cxn ang="0">
                  <a:pos x="566" y="563"/>
                </a:cxn>
                <a:cxn ang="0">
                  <a:pos x="675" y="548"/>
                </a:cxn>
                <a:cxn ang="0">
                  <a:pos x="721" y="405"/>
                </a:cxn>
                <a:cxn ang="0">
                  <a:pos x="759" y="316"/>
                </a:cxn>
                <a:cxn ang="0">
                  <a:pos x="845" y="309"/>
                </a:cxn>
                <a:cxn ang="0">
                  <a:pos x="849" y="264"/>
                </a:cxn>
                <a:cxn ang="0">
                  <a:pos x="866" y="109"/>
                </a:cxn>
                <a:cxn ang="0">
                  <a:pos x="986" y="22"/>
                </a:cxn>
                <a:cxn ang="0">
                  <a:pos x="1218" y="13"/>
                </a:cxn>
                <a:cxn ang="0">
                  <a:pos x="1251" y="38"/>
                </a:cxn>
                <a:cxn ang="0">
                  <a:pos x="1272" y="64"/>
                </a:cxn>
                <a:cxn ang="0">
                  <a:pos x="1314" y="118"/>
                </a:cxn>
                <a:cxn ang="0">
                  <a:pos x="1405" y="165"/>
                </a:cxn>
                <a:cxn ang="0">
                  <a:pos x="1355" y="211"/>
                </a:cxn>
                <a:cxn ang="0">
                  <a:pos x="1301" y="242"/>
                </a:cxn>
                <a:cxn ang="0">
                  <a:pos x="1098" y="241"/>
                </a:cxn>
                <a:cxn ang="0">
                  <a:pos x="1103" y="282"/>
                </a:cxn>
                <a:cxn ang="0">
                  <a:pos x="1122" y="314"/>
                </a:cxn>
                <a:cxn ang="0">
                  <a:pos x="1105" y="339"/>
                </a:cxn>
                <a:cxn ang="0">
                  <a:pos x="1100" y="394"/>
                </a:cxn>
                <a:cxn ang="0">
                  <a:pos x="1162" y="435"/>
                </a:cxn>
                <a:cxn ang="0">
                  <a:pos x="1208" y="468"/>
                </a:cxn>
                <a:cxn ang="0">
                  <a:pos x="1160" y="529"/>
                </a:cxn>
                <a:cxn ang="0">
                  <a:pos x="1165" y="574"/>
                </a:cxn>
                <a:cxn ang="0">
                  <a:pos x="1179" y="610"/>
                </a:cxn>
                <a:cxn ang="0">
                  <a:pos x="1094" y="684"/>
                </a:cxn>
                <a:cxn ang="0">
                  <a:pos x="1054" y="724"/>
                </a:cxn>
                <a:cxn ang="0">
                  <a:pos x="924" y="908"/>
                </a:cxn>
                <a:cxn ang="0">
                  <a:pos x="840" y="932"/>
                </a:cxn>
                <a:cxn ang="0">
                  <a:pos x="738" y="989"/>
                </a:cxn>
                <a:cxn ang="0">
                  <a:pos x="789" y="1042"/>
                </a:cxn>
                <a:cxn ang="0">
                  <a:pos x="823" y="1116"/>
                </a:cxn>
                <a:cxn ang="0">
                  <a:pos x="829" y="1253"/>
                </a:cxn>
                <a:cxn ang="0">
                  <a:pos x="805" y="1233"/>
                </a:cxn>
                <a:cxn ang="0">
                  <a:pos x="767" y="1257"/>
                </a:cxn>
                <a:cxn ang="0">
                  <a:pos x="666" y="1274"/>
                </a:cxn>
                <a:cxn ang="0">
                  <a:pos x="598" y="1291"/>
                </a:cxn>
              </a:cxnLst>
              <a:rect l="0" t="0" r="r" b="b"/>
              <a:pathLst>
                <a:path w="1409" h="1292">
                  <a:moveTo>
                    <a:pt x="597" y="1291"/>
                  </a:moveTo>
                  <a:lnTo>
                    <a:pt x="555" y="1278"/>
                  </a:lnTo>
                  <a:cubicBezTo>
                    <a:pt x="553" y="1278"/>
                    <a:pt x="552" y="1277"/>
                    <a:pt x="552" y="1276"/>
                  </a:cubicBezTo>
                  <a:lnTo>
                    <a:pt x="523" y="1205"/>
                  </a:lnTo>
                  <a:lnTo>
                    <a:pt x="495" y="1194"/>
                  </a:lnTo>
                  <a:lnTo>
                    <a:pt x="469" y="1147"/>
                  </a:lnTo>
                  <a:lnTo>
                    <a:pt x="344" y="1151"/>
                  </a:lnTo>
                  <a:lnTo>
                    <a:pt x="330" y="1148"/>
                  </a:lnTo>
                  <a:lnTo>
                    <a:pt x="319" y="1166"/>
                  </a:lnTo>
                  <a:cubicBezTo>
                    <a:pt x="318" y="1168"/>
                    <a:pt x="316" y="1168"/>
                    <a:pt x="315" y="1168"/>
                  </a:cubicBezTo>
                  <a:cubicBezTo>
                    <a:pt x="314" y="1168"/>
                    <a:pt x="313" y="1168"/>
                    <a:pt x="312" y="1168"/>
                  </a:cubicBezTo>
                  <a:lnTo>
                    <a:pt x="274" y="1147"/>
                  </a:lnTo>
                  <a:lnTo>
                    <a:pt x="107" y="1164"/>
                  </a:lnTo>
                  <a:lnTo>
                    <a:pt x="79" y="1176"/>
                  </a:lnTo>
                  <a:cubicBezTo>
                    <a:pt x="79" y="1177"/>
                    <a:pt x="78" y="1177"/>
                    <a:pt x="77" y="1177"/>
                  </a:cubicBezTo>
                  <a:cubicBezTo>
                    <a:pt x="77" y="1177"/>
                    <a:pt x="76" y="1177"/>
                    <a:pt x="75" y="1176"/>
                  </a:cubicBezTo>
                  <a:lnTo>
                    <a:pt x="62" y="1168"/>
                  </a:lnTo>
                  <a:cubicBezTo>
                    <a:pt x="60" y="1167"/>
                    <a:pt x="60" y="1165"/>
                    <a:pt x="60" y="1163"/>
                  </a:cubicBezTo>
                  <a:lnTo>
                    <a:pt x="81" y="1074"/>
                  </a:lnTo>
                  <a:lnTo>
                    <a:pt x="116" y="1038"/>
                  </a:lnTo>
                  <a:lnTo>
                    <a:pt x="180" y="1016"/>
                  </a:lnTo>
                  <a:lnTo>
                    <a:pt x="198" y="980"/>
                  </a:lnTo>
                  <a:lnTo>
                    <a:pt x="164" y="965"/>
                  </a:lnTo>
                  <a:cubicBezTo>
                    <a:pt x="163" y="964"/>
                    <a:pt x="162" y="963"/>
                    <a:pt x="162" y="961"/>
                  </a:cubicBezTo>
                  <a:lnTo>
                    <a:pt x="158" y="887"/>
                  </a:lnTo>
                  <a:lnTo>
                    <a:pt x="62" y="834"/>
                  </a:lnTo>
                  <a:lnTo>
                    <a:pt x="1" y="726"/>
                  </a:lnTo>
                  <a:cubicBezTo>
                    <a:pt x="0" y="724"/>
                    <a:pt x="1" y="722"/>
                    <a:pt x="2" y="721"/>
                  </a:cubicBezTo>
                  <a:cubicBezTo>
                    <a:pt x="3" y="720"/>
                    <a:pt x="4" y="719"/>
                    <a:pt x="5" y="719"/>
                  </a:cubicBezTo>
                  <a:cubicBezTo>
                    <a:pt x="6" y="719"/>
                    <a:pt x="6" y="719"/>
                    <a:pt x="7" y="719"/>
                  </a:cubicBezTo>
                  <a:lnTo>
                    <a:pt x="134" y="762"/>
                  </a:lnTo>
                  <a:lnTo>
                    <a:pt x="216" y="745"/>
                  </a:lnTo>
                  <a:lnTo>
                    <a:pt x="271" y="761"/>
                  </a:lnTo>
                  <a:lnTo>
                    <a:pt x="295" y="741"/>
                  </a:lnTo>
                  <a:cubicBezTo>
                    <a:pt x="296" y="741"/>
                    <a:pt x="297" y="740"/>
                    <a:pt x="298" y="740"/>
                  </a:cubicBezTo>
                  <a:lnTo>
                    <a:pt x="357" y="744"/>
                  </a:lnTo>
                  <a:lnTo>
                    <a:pt x="453" y="719"/>
                  </a:lnTo>
                  <a:lnTo>
                    <a:pt x="458" y="714"/>
                  </a:lnTo>
                  <a:lnTo>
                    <a:pt x="462" y="622"/>
                  </a:lnTo>
                  <a:cubicBezTo>
                    <a:pt x="462" y="621"/>
                    <a:pt x="463" y="620"/>
                    <a:pt x="464" y="619"/>
                  </a:cubicBezTo>
                  <a:lnTo>
                    <a:pt x="498" y="585"/>
                  </a:lnTo>
                  <a:lnTo>
                    <a:pt x="571" y="576"/>
                  </a:lnTo>
                  <a:lnTo>
                    <a:pt x="565" y="570"/>
                  </a:lnTo>
                  <a:cubicBezTo>
                    <a:pt x="565" y="570"/>
                    <a:pt x="564" y="568"/>
                    <a:pt x="564" y="567"/>
                  </a:cubicBezTo>
                  <a:cubicBezTo>
                    <a:pt x="564" y="566"/>
                    <a:pt x="565" y="564"/>
                    <a:pt x="566" y="563"/>
                  </a:cubicBezTo>
                  <a:lnTo>
                    <a:pt x="608" y="530"/>
                  </a:lnTo>
                  <a:lnTo>
                    <a:pt x="649" y="529"/>
                  </a:lnTo>
                  <a:lnTo>
                    <a:pt x="675" y="548"/>
                  </a:lnTo>
                  <a:lnTo>
                    <a:pt x="704" y="523"/>
                  </a:lnTo>
                  <a:lnTo>
                    <a:pt x="695" y="479"/>
                  </a:lnTo>
                  <a:lnTo>
                    <a:pt x="721" y="405"/>
                  </a:lnTo>
                  <a:cubicBezTo>
                    <a:pt x="722" y="404"/>
                    <a:pt x="723" y="403"/>
                    <a:pt x="724" y="402"/>
                  </a:cubicBezTo>
                  <a:lnTo>
                    <a:pt x="791" y="375"/>
                  </a:lnTo>
                  <a:lnTo>
                    <a:pt x="759" y="316"/>
                  </a:lnTo>
                  <a:cubicBezTo>
                    <a:pt x="759" y="314"/>
                    <a:pt x="759" y="312"/>
                    <a:pt x="760" y="311"/>
                  </a:cubicBezTo>
                  <a:cubicBezTo>
                    <a:pt x="761" y="310"/>
                    <a:pt x="762" y="309"/>
                    <a:pt x="764" y="309"/>
                  </a:cubicBezTo>
                  <a:lnTo>
                    <a:pt x="845" y="309"/>
                  </a:lnTo>
                  <a:lnTo>
                    <a:pt x="860" y="280"/>
                  </a:lnTo>
                  <a:lnTo>
                    <a:pt x="849" y="270"/>
                  </a:lnTo>
                  <a:cubicBezTo>
                    <a:pt x="848" y="269"/>
                    <a:pt x="847" y="266"/>
                    <a:pt x="849" y="264"/>
                  </a:cubicBezTo>
                  <a:lnTo>
                    <a:pt x="900" y="196"/>
                  </a:lnTo>
                  <a:lnTo>
                    <a:pt x="903" y="165"/>
                  </a:lnTo>
                  <a:lnTo>
                    <a:pt x="866" y="109"/>
                  </a:lnTo>
                  <a:cubicBezTo>
                    <a:pt x="864" y="107"/>
                    <a:pt x="865" y="104"/>
                    <a:pt x="866" y="103"/>
                  </a:cubicBezTo>
                  <a:lnTo>
                    <a:pt x="875" y="94"/>
                  </a:lnTo>
                  <a:lnTo>
                    <a:pt x="986" y="22"/>
                  </a:lnTo>
                  <a:lnTo>
                    <a:pt x="1077" y="17"/>
                  </a:lnTo>
                  <a:lnTo>
                    <a:pt x="1157" y="0"/>
                  </a:lnTo>
                  <a:lnTo>
                    <a:pt x="1218" y="13"/>
                  </a:lnTo>
                  <a:cubicBezTo>
                    <a:pt x="1220" y="13"/>
                    <a:pt x="1221" y="15"/>
                    <a:pt x="1221" y="16"/>
                  </a:cubicBezTo>
                  <a:lnTo>
                    <a:pt x="1225" y="38"/>
                  </a:lnTo>
                  <a:lnTo>
                    <a:pt x="1251" y="38"/>
                  </a:lnTo>
                  <a:cubicBezTo>
                    <a:pt x="1252" y="38"/>
                    <a:pt x="1253" y="39"/>
                    <a:pt x="1255" y="40"/>
                  </a:cubicBezTo>
                  <a:lnTo>
                    <a:pt x="1271" y="61"/>
                  </a:lnTo>
                  <a:cubicBezTo>
                    <a:pt x="1272" y="62"/>
                    <a:pt x="1272" y="63"/>
                    <a:pt x="1272" y="64"/>
                  </a:cubicBezTo>
                  <a:lnTo>
                    <a:pt x="1268" y="104"/>
                  </a:lnTo>
                  <a:lnTo>
                    <a:pt x="1286" y="122"/>
                  </a:lnTo>
                  <a:lnTo>
                    <a:pt x="1314" y="118"/>
                  </a:lnTo>
                  <a:cubicBezTo>
                    <a:pt x="1316" y="118"/>
                    <a:pt x="1317" y="119"/>
                    <a:pt x="1318" y="120"/>
                  </a:cubicBezTo>
                  <a:lnTo>
                    <a:pt x="1335" y="141"/>
                  </a:lnTo>
                  <a:lnTo>
                    <a:pt x="1405" y="165"/>
                  </a:lnTo>
                  <a:cubicBezTo>
                    <a:pt x="1406" y="166"/>
                    <a:pt x="1408" y="167"/>
                    <a:pt x="1408" y="169"/>
                  </a:cubicBezTo>
                  <a:cubicBezTo>
                    <a:pt x="1408" y="171"/>
                    <a:pt x="1407" y="172"/>
                    <a:pt x="1406" y="173"/>
                  </a:cubicBezTo>
                  <a:lnTo>
                    <a:pt x="1355" y="211"/>
                  </a:lnTo>
                  <a:lnTo>
                    <a:pt x="1340" y="243"/>
                  </a:lnTo>
                  <a:cubicBezTo>
                    <a:pt x="1339" y="245"/>
                    <a:pt x="1337" y="246"/>
                    <a:pt x="1336" y="246"/>
                  </a:cubicBezTo>
                  <a:lnTo>
                    <a:pt x="1301" y="242"/>
                  </a:lnTo>
                  <a:lnTo>
                    <a:pt x="1231" y="263"/>
                  </a:lnTo>
                  <a:lnTo>
                    <a:pt x="1122" y="233"/>
                  </a:lnTo>
                  <a:lnTo>
                    <a:pt x="1098" y="241"/>
                  </a:lnTo>
                  <a:lnTo>
                    <a:pt x="1087" y="273"/>
                  </a:lnTo>
                  <a:lnTo>
                    <a:pt x="1101" y="280"/>
                  </a:lnTo>
                  <a:cubicBezTo>
                    <a:pt x="1102" y="280"/>
                    <a:pt x="1102" y="281"/>
                    <a:pt x="1103" y="282"/>
                  </a:cubicBezTo>
                  <a:cubicBezTo>
                    <a:pt x="1103" y="284"/>
                    <a:pt x="1103" y="285"/>
                    <a:pt x="1103" y="286"/>
                  </a:cubicBezTo>
                  <a:lnTo>
                    <a:pt x="1096" y="299"/>
                  </a:lnTo>
                  <a:lnTo>
                    <a:pt x="1122" y="314"/>
                  </a:lnTo>
                  <a:cubicBezTo>
                    <a:pt x="1123" y="314"/>
                    <a:pt x="1124" y="316"/>
                    <a:pt x="1124" y="317"/>
                  </a:cubicBezTo>
                  <a:cubicBezTo>
                    <a:pt x="1124" y="318"/>
                    <a:pt x="1124" y="320"/>
                    <a:pt x="1123" y="321"/>
                  </a:cubicBezTo>
                  <a:lnTo>
                    <a:pt x="1105" y="339"/>
                  </a:lnTo>
                  <a:lnTo>
                    <a:pt x="1123" y="361"/>
                  </a:lnTo>
                  <a:cubicBezTo>
                    <a:pt x="1125" y="363"/>
                    <a:pt x="1125" y="366"/>
                    <a:pt x="1123" y="367"/>
                  </a:cubicBezTo>
                  <a:lnTo>
                    <a:pt x="1100" y="394"/>
                  </a:lnTo>
                  <a:lnTo>
                    <a:pt x="1127" y="425"/>
                  </a:lnTo>
                  <a:lnTo>
                    <a:pt x="1159" y="432"/>
                  </a:lnTo>
                  <a:cubicBezTo>
                    <a:pt x="1161" y="432"/>
                    <a:pt x="1162" y="434"/>
                    <a:pt x="1162" y="435"/>
                  </a:cubicBezTo>
                  <a:lnTo>
                    <a:pt x="1166" y="461"/>
                  </a:lnTo>
                  <a:lnTo>
                    <a:pt x="1205" y="465"/>
                  </a:lnTo>
                  <a:cubicBezTo>
                    <a:pt x="1206" y="465"/>
                    <a:pt x="1208" y="466"/>
                    <a:pt x="1208" y="468"/>
                  </a:cubicBezTo>
                  <a:lnTo>
                    <a:pt x="1221" y="493"/>
                  </a:lnTo>
                  <a:cubicBezTo>
                    <a:pt x="1222" y="496"/>
                    <a:pt x="1221" y="498"/>
                    <a:pt x="1219" y="500"/>
                  </a:cubicBezTo>
                  <a:lnTo>
                    <a:pt x="1160" y="529"/>
                  </a:lnTo>
                  <a:lnTo>
                    <a:pt x="1150" y="550"/>
                  </a:lnTo>
                  <a:lnTo>
                    <a:pt x="1165" y="569"/>
                  </a:lnTo>
                  <a:cubicBezTo>
                    <a:pt x="1167" y="570"/>
                    <a:pt x="1167" y="573"/>
                    <a:pt x="1165" y="574"/>
                  </a:cubicBezTo>
                  <a:lnTo>
                    <a:pt x="1152" y="591"/>
                  </a:lnTo>
                  <a:lnTo>
                    <a:pt x="1177" y="605"/>
                  </a:lnTo>
                  <a:cubicBezTo>
                    <a:pt x="1178" y="606"/>
                    <a:pt x="1179" y="608"/>
                    <a:pt x="1179" y="610"/>
                  </a:cubicBezTo>
                  <a:cubicBezTo>
                    <a:pt x="1179" y="612"/>
                    <a:pt x="1178" y="613"/>
                    <a:pt x="1176" y="614"/>
                  </a:cubicBezTo>
                  <a:lnTo>
                    <a:pt x="1125" y="635"/>
                  </a:lnTo>
                  <a:lnTo>
                    <a:pt x="1094" y="684"/>
                  </a:lnTo>
                  <a:lnTo>
                    <a:pt x="1086" y="708"/>
                  </a:lnTo>
                  <a:cubicBezTo>
                    <a:pt x="1085" y="710"/>
                    <a:pt x="1084" y="711"/>
                    <a:pt x="1083" y="711"/>
                  </a:cubicBezTo>
                  <a:lnTo>
                    <a:pt x="1054" y="724"/>
                  </a:lnTo>
                  <a:lnTo>
                    <a:pt x="1009" y="806"/>
                  </a:lnTo>
                  <a:lnTo>
                    <a:pt x="965" y="838"/>
                  </a:lnTo>
                  <a:lnTo>
                    <a:pt x="924" y="908"/>
                  </a:lnTo>
                  <a:cubicBezTo>
                    <a:pt x="924" y="909"/>
                    <a:pt x="923" y="910"/>
                    <a:pt x="922" y="910"/>
                  </a:cubicBezTo>
                  <a:lnTo>
                    <a:pt x="841" y="931"/>
                  </a:lnTo>
                  <a:lnTo>
                    <a:pt x="840" y="932"/>
                  </a:lnTo>
                  <a:cubicBezTo>
                    <a:pt x="839" y="932"/>
                    <a:pt x="837" y="931"/>
                    <a:pt x="837" y="930"/>
                  </a:cubicBezTo>
                  <a:lnTo>
                    <a:pt x="806" y="900"/>
                  </a:lnTo>
                  <a:lnTo>
                    <a:pt x="738" y="989"/>
                  </a:lnTo>
                  <a:lnTo>
                    <a:pt x="731" y="1025"/>
                  </a:lnTo>
                  <a:lnTo>
                    <a:pt x="786" y="1036"/>
                  </a:lnTo>
                  <a:cubicBezTo>
                    <a:pt x="788" y="1037"/>
                    <a:pt x="790" y="1039"/>
                    <a:pt x="789" y="1042"/>
                  </a:cubicBezTo>
                  <a:lnTo>
                    <a:pt x="782" y="1093"/>
                  </a:lnTo>
                  <a:lnTo>
                    <a:pt x="821" y="1113"/>
                  </a:lnTo>
                  <a:cubicBezTo>
                    <a:pt x="822" y="1114"/>
                    <a:pt x="823" y="1114"/>
                    <a:pt x="823" y="1116"/>
                  </a:cubicBezTo>
                  <a:lnTo>
                    <a:pt x="865" y="1230"/>
                  </a:lnTo>
                  <a:cubicBezTo>
                    <a:pt x="866" y="1232"/>
                    <a:pt x="865" y="1235"/>
                    <a:pt x="863" y="1236"/>
                  </a:cubicBezTo>
                  <a:lnTo>
                    <a:pt x="829" y="1253"/>
                  </a:lnTo>
                  <a:cubicBezTo>
                    <a:pt x="829" y="1253"/>
                    <a:pt x="828" y="1253"/>
                    <a:pt x="827" y="1253"/>
                  </a:cubicBezTo>
                  <a:cubicBezTo>
                    <a:pt x="826" y="1253"/>
                    <a:pt x="825" y="1253"/>
                    <a:pt x="824" y="1252"/>
                  </a:cubicBezTo>
                  <a:lnTo>
                    <a:pt x="805" y="1233"/>
                  </a:lnTo>
                  <a:lnTo>
                    <a:pt x="770" y="1257"/>
                  </a:lnTo>
                  <a:cubicBezTo>
                    <a:pt x="770" y="1257"/>
                    <a:pt x="769" y="1257"/>
                    <a:pt x="768" y="1257"/>
                  </a:cubicBezTo>
                  <a:lnTo>
                    <a:pt x="767" y="1257"/>
                  </a:lnTo>
                  <a:lnTo>
                    <a:pt x="675" y="1237"/>
                  </a:lnTo>
                  <a:lnTo>
                    <a:pt x="671" y="1270"/>
                  </a:lnTo>
                  <a:cubicBezTo>
                    <a:pt x="671" y="1272"/>
                    <a:pt x="669" y="1274"/>
                    <a:pt x="666" y="1274"/>
                  </a:cubicBezTo>
                  <a:lnTo>
                    <a:pt x="624" y="1274"/>
                  </a:lnTo>
                  <a:lnTo>
                    <a:pt x="601" y="1290"/>
                  </a:lnTo>
                  <a:cubicBezTo>
                    <a:pt x="600" y="1291"/>
                    <a:pt x="599" y="1291"/>
                    <a:pt x="598" y="1291"/>
                  </a:cubicBezTo>
                  <a:lnTo>
                    <a:pt x="597" y="129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6" name="Freeform 401"/>
            <p:cNvSpPr>
              <a:spLocks noChangeArrowheads="1"/>
            </p:cNvSpPr>
            <p:nvPr/>
          </p:nvSpPr>
          <p:spPr bwMode="auto">
            <a:xfrm>
              <a:off x="5762625" y="2927350"/>
              <a:ext cx="28575" cy="55563"/>
            </a:xfrm>
            <a:custGeom>
              <a:avLst/>
              <a:gdLst/>
              <a:ahLst/>
              <a:cxnLst>
                <a:cxn ang="0">
                  <a:pos x="28" y="152"/>
                </a:cxn>
                <a:cxn ang="0">
                  <a:pos x="3" y="136"/>
                </a:cxn>
                <a:cxn ang="0">
                  <a:pos x="0" y="132"/>
                </a:cxn>
                <a:cxn ang="0">
                  <a:pos x="0" y="64"/>
                </a:cxn>
                <a:cxn ang="0">
                  <a:pos x="35" y="2"/>
                </a:cxn>
                <a:cxn ang="0">
                  <a:pos x="38" y="0"/>
                </a:cxn>
                <a:cxn ang="0">
                  <a:pos x="39" y="0"/>
                </a:cxn>
                <a:cxn ang="0">
                  <a:pos x="42" y="1"/>
                </a:cxn>
                <a:cxn ang="0">
                  <a:pos x="76" y="26"/>
                </a:cxn>
                <a:cxn ang="0">
                  <a:pos x="78" y="31"/>
                </a:cxn>
                <a:cxn ang="0">
                  <a:pos x="65" y="141"/>
                </a:cxn>
                <a:cxn ang="0">
                  <a:pos x="62" y="145"/>
                </a:cxn>
                <a:cxn ang="0">
                  <a:pos x="32" y="153"/>
                </a:cxn>
                <a:cxn ang="0">
                  <a:pos x="30" y="153"/>
                </a:cxn>
                <a:cxn ang="0">
                  <a:pos x="28" y="152"/>
                </a:cxn>
              </a:cxnLst>
              <a:rect l="0" t="0" r="r" b="b"/>
              <a:pathLst>
                <a:path w="79" h="154">
                  <a:moveTo>
                    <a:pt x="28" y="152"/>
                  </a:moveTo>
                  <a:lnTo>
                    <a:pt x="3" y="136"/>
                  </a:lnTo>
                  <a:cubicBezTo>
                    <a:pt x="1" y="135"/>
                    <a:pt x="0" y="133"/>
                    <a:pt x="0" y="132"/>
                  </a:cubicBezTo>
                  <a:lnTo>
                    <a:pt x="0" y="64"/>
                  </a:lnTo>
                  <a:lnTo>
                    <a:pt x="35" y="2"/>
                  </a:lnTo>
                  <a:cubicBezTo>
                    <a:pt x="36" y="1"/>
                    <a:pt x="37" y="0"/>
                    <a:pt x="38" y="0"/>
                  </a:cubicBezTo>
                  <a:lnTo>
                    <a:pt x="39" y="0"/>
                  </a:lnTo>
                  <a:cubicBezTo>
                    <a:pt x="40" y="0"/>
                    <a:pt x="41" y="0"/>
                    <a:pt x="42" y="1"/>
                  </a:cubicBezTo>
                  <a:lnTo>
                    <a:pt x="76" y="26"/>
                  </a:lnTo>
                  <a:cubicBezTo>
                    <a:pt x="77" y="27"/>
                    <a:pt x="78" y="29"/>
                    <a:pt x="78" y="31"/>
                  </a:cubicBezTo>
                  <a:lnTo>
                    <a:pt x="65" y="141"/>
                  </a:lnTo>
                  <a:cubicBezTo>
                    <a:pt x="64" y="142"/>
                    <a:pt x="63" y="144"/>
                    <a:pt x="62" y="145"/>
                  </a:cubicBezTo>
                  <a:lnTo>
                    <a:pt x="32" y="153"/>
                  </a:lnTo>
                  <a:cubicBezTo>
                    <a:pt x="31" y="153"/>
                    <a:pt x="31" y="153"/>
                    <a:pt x="30" y="153"/>
                  </a:cubicBezTo>
                  <a:cubicBezTo>
                    <a:pt x="30" y="153"/>
                    <a:pt x="29" y="153"/>
                    <a:pt x="28" y="15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7" name="Freeform 402"/>
            <p:cNvSpPr>
              <a:spLocks noChangeArrowheads="1"/>
            </p:cNvSpPr>
            <p:nvPr/>
          </p:nvSpPr>
          <p:spPr bwMode="auto">
            <a:xfrm>
              <a:off x="5762625" y="2927350"/>
              <a:ext cx="28575" cy="55563"/>
            </a:xfrm>
            <a:custGeom>
              <a:avLst/>
              <a:gdLst/>
              <a:ahLst/>
              <a:cxnLst>
                <a:cxn ang="0">
                  <a:pos x="30" y="153"/>
                </a:cxn>
                <a:cxn ang="0">
                  <a:pos x="28" y="152"/>
                </a:cxn>
                <a:cxn ang="0">
                  <a:pos x="3" y="136"/>
                </a:cxn>
                <a:cxn ang="0">
                  <a:pos x="0" y="132"/>
                </a:cxn>
                <a:cxn ang="0">
                  <a:pos x="0" y="64"/>
                </a:cxn>
                <a:cxn ang="0">
                  <a:pos x="35" y="2"/>
                </a:cxn>
                <a:cxn ang="0">
                  <a:pos x="38" y="0"/>
                </a:cxn>
                <a:cxn ang="0">
                  <a:pos x="39" y="0"/>
                </a:cxn>
                <a:cxn ang="0">
                  <a:pos x="42" y="1"/>
                </a:cxn>
                <a:cxn ang="0">
                  <a:pos x="76" y="26"/>
                </a:cxn>
                <a:cxn ang="0">
                  <a:pos x="78" y="31"/>
                </a:cxn>
                <a:cxn ang="0">
                  <a:pos x="65" y="141"/>
                </a:cxn>
                <a:cxn ang="0">
                  <a:pos x="62" y="145"/>
                </a:cxn>
                <a:cxn ang="0">
                  <a:pos x="32" y="153"/>
                </a:cxn>
                <a:cxn ang="0">
                  <a:pos x="30" y="153"/>
                </a:cxn>
              </a:cxnLst>
              <a:rect l="0" t="0" r="r" b="b"/>
              <a:pathLst>
                <a:path w="79" h="154">
                  <a:moveTo>
                    <a:pt x="30" y="153"/>
                  </a:moveTo>
                  <a:cubicBezTo>
                    <a:pt x="30" y="153"/>
                    <a:pt x="29" y="153"/>
                    <a:pt x="28" y="152"/>
                  </a:cubicBezTo>
                  <a:lnTo>
                    <a:pt x="3" y="136"/>
                  </a:lnTo>
                  <a:cubicBezTo>
                    <a:pt x="1" y="135"/>
                    <a:pt x="0" y="133"/>
                    <a:pt x="0" y="132"/>
                  </a:cubicBezTo>
                  <a:lnTo>
                    <a:pt x="0" y="64"/>
                  </a:lnTo>
                  <a:lnTo>
                    <a:pt x="35" y="2"/>
                  </a:lnTo>
                  <a:cubicBezTo>
                    <a:pt x="36" y="1"/>
                    <a:pt x="37" y="0"/>
                    <a:pt x="38" y="0"/>
                  </a:cubicBezTo>
                  <a:lnTo>
                    <a:pt x="39" y="0"/>
                  </a:lnTo>
                  <a:cubicBezTo>
                    <a:pt x="40" y="0"/>
                    <a:pt x="41" y="0"/>
                    <a:pt x="42" y="1"/>
                  </a:cubicBezTo>
                  <a:lnTo>
                    <a:pt x="76" y="26"/>
                  </a:lnTo>
                  <a:cubicBezTo>
                    <a:pt x="77" y="27"/>
                    <a:pt x="78" y="29"/>
                    <a:pt x="78" y="31"/>
                  </a:cubicBezTo>
                  <a:lnTo>
                    <a:pt x="65" y="141"/>
                  </a:lnTo>
                  <a:cubicBezTo>
                    <a:pt x="64" y="142"/>
                    <a:pt x="63" y="144"/>
                    <a:pt x="62" y="145"/>
                  </a:cubicBezTo>
                  <a:lnTo>
                    <a:pt x="32" y="153"/>
                  </a:lnTo>
                  <a:cubicBezTo>
                    <a:pt x="31" y="153"/>
                    <a:pt x="31" y="153"/>
                    <a:pt x="30" y="15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8" name="Freeform 403"/>
            <p:cNvSpPr>
              <a:spLocks noChangeArrowheads="1"/>
            </p:cNvSpPr>
            <p:nvPr/>
          </p:nvSpPr>
          <p:spPr bwMode="auto">
            <a:xfrm>
              <a:off x="5280025" y="2719388"/>
              <a:ext cx="636588" cy="550862"/>
            </a:xfrm>
            <a:custGeom>
              <a:avLst/>
              <a:gdLst/>
              <a:ahLst/>
              <a:cxnLst>
                <a:cxn ang="0">
                  <a:pos x="970" y="1524"/>
                </a:cxn>
                <a:cxn ang="0">
                  <a:pos x="821" y="1380"/>
                </a:cxn>
                <a:cxn ang="0">
                  <a:pos x="673" y="1460"/>
                </a:cxn>
                <a:cxn ang="0">
                  <a:pos x="669" y="1461"/>
                </a:cxn>
                <a:cxn ang="0">
                  <a:pos x="632" y="1356"/>
                </a:cxn>
                <a:cxn ang="0">
                  <a:pos x="539" y="1251"/>
                </a:cxn>
                <a:cxn ang="0">
                  <a:pos x="472" y="1138"/>
                </a:cxn>
                <a:cxn ang="0">
                  <a:pos x="386" y="1081"/>
                </a:cxn>
                <a:cxn ang="0">
                  <a:pos x="365" y="927"/>
                </a:cxn>
                <a:cxn ang="0">
                  <a:pos x="261" y="762"/>
                </a:cxn>
                <a:cxn ang="0">
                  <a:pos x="230" y="755"/>
                </a:cxn>
                <a:cxn ang="0">
                  <a:pos x="45" y="411"/>
                </a:cxn>
                <a:cxn ang="0">
                  <a:pos x="2" y="406"/>
                </a:cxn>
                <a:cxn ang="0">
                  <a:pos x="22" y="275"/>
                </a:cxn>
                <a:cxn ang="0">
                  <a:pos x="27" y="271"/>
                </a:cxn>
                <a:cxn ang="0">
                  <a:pos x="31" y="288"/>
                </a:cxn>
                <a:cxn ang="0">
                  <a:pos x="167" y="231"/>
                </a:cxn>
                <a:cxn ang="0">
                  <a:pos x="231" y="217"/>
                </a:cxn>
                <a:cxn ang="0">
                  <a:pos x="273" y="165"/>
                </a:cxn>
                <a:cxn ang="0">
                  <a:pos x="187" y="67"/>
                </a:cxn>
                <a:cxn ang="0">
                  <a:pos x="346" y="35"/>
                </a:cxn>
                <a:cxn ang="0">
                  <a:pos x="374" y="0"/>
                </a:cxn>
                <a:cxn ang="0">
                  <a:pos x="502" y="39"/>
                </a:cxn>
                <a:cxn ang="0">
                  <a:pos x="685" y="140"/>
                </a:cxn>
                <a:cxn ang="0">
                  <a:pos x="748" y="182"/>
                </a:cxn>
                <a:cxn ang="0">
                  <a:pos x="759" y="251"/>
                </a:cxn>
                <a:cxn ang="0">
                  <a:pos x="916" y="334"/>
                </a:cxn>
                <a:cxn ang="0">
                  <a:pos x="1001" y="296"/>
                </a:cxn>
                <a:cxn ang="0">
                  <a:pos x="1070" y="318"/>
                </a:cxn>
                <a:cxn ang="0">
                  <a:pos x="1145" y="356"/>
                </a:cxn>
                <a:cxn ang="0">
                  <a:pos x="1183" y="422"/>
                </a:cxn>
                <a:cxn ang="0">
                  <a:pos x="1234" y="488"/>
                </a:cxn>
                <a:cxn ang="0">
                  <a:pos x="1294" y="528"/>
                </a:cxn>
                <a:cxn ang="0">
                  <a:pos x="1298" y="614"/>
                </a:cxn>
                <a:cxn ang="0">
                  <a:pos x="1376" y="725"/>
                </a:cxn>
                <a:cxn ang="0">
                  <a:pos x="1454" y="868"/>
                </a:cxn>
                <a:cxn ang="0">
                  <a:pos x="1718" y="894"/>
                </a:cxn>
                <a:cxn ang="0">
                  <a:pos x="1722" y="893"/>
                </a:cxn>
                <a:cxn ang="0">
                  <a:pos x="1767" y="963"/>
                </a:cxn>
                <a:cxn ang="0">
                  <a:pos x="1704" y="1140"/>
                </a:cxn>
                <a:cxn ang="0">
                  <a:pos x="1452" y="1232"/>
                </a:cxn>
                <a:cxn ang="0">
                  <a:pos x="979" y="1527"/>
                </a:cxn>
                <a:cxn ang="0">
                  <a:pos x="974" y="1528"/>
                </a:cxn>
              </a:cxnLst>
              <a:rect l="0" t="0" r="r" b="b"/>
              <a:pathLst>
                <a:path w="1769" h="1530">
                  <a:moveTo>
                    <a:pt x="974" y="1528"/>
                  </a:moveTo>
                  <a:cubicBezTo>
                    <a:pt x="972" y="1528"/>
                    <a:pt x="970" y="1526"/>
                    <a:pt x="970" y="1524"/>
                  </a:cubicBezTo>
                  <a:lnTo>
                    <a:pt x="970" y="1434"/>
                  </a:lnTo>
                  <a:lnTo>
                    <a:pt x="821" y="1380"/>
                  </a:lnTo>
                  <a:lnTo>
                    <a:pt x="739" y="1401"/>
                  </a:lnTo>
                  <a:lnTo>
                    <a:pt x="673" y="1460"/>
                  </a:lnTo>
                  <a:cubicBezTo>
                    <a:pt x="673" y="1461"/>
                    <a:pt x="671" y="1461"/>
                    <a:pt x="670" y="1461"/>
                  </a:cubicBezTo>
                  <a:lnTo>
                    <a:pt x="669" y="1461"/>
                  </a:lnTo>
                  <a:cubicBezTo>
                    <a:pt x="667" y="1460"/>
                    <a:pt x="666" y="1459"/>
                    <a:pt x="666" y="1458"/>
                  </a:cubicBezTo>
                  <a:lnTo>
                    <a:pt x="632" y="1356"/>
                  </a:lnTo>
                  <a:lnTo>
                    <a:pt x="583" y="1320"/>
                  </a:lnTo>
                  <a:lnTo>
                    <a:pt x="539" y="1251"/>
                  </a:lnTo>
                  <a:lnTo>
                    <a:pt x="522" y="1186"/>
                  </a:lnTo>
                  <a:lnTo>
                    <a:pt x="472" y="1138"/>
                  </a:lnTo>
                  <a:lnTo>
                    <a:pt x="388" y="1083"/>
                  </a:lnTo>
                  <a:cubicBezTo>
                    <a:pt x="387" y="1083"/>
                    <a:pt x="386" y="1082"/>
                    <a:pt x="386" y="1081"/>
                  </a:cubicBezTo>
                  <a:lnTo>
                    <a:pt x="361" y="971"/>
                  </a:lnTo>
                  <a:lnTo>
                    <a:pt x="365" y="927"/>
                  </a:lnTo>
                  <a:lnTo>
                    <a:pt x="310" y="802"/>
                  </a:lnTo>
                  <a:lnTo>
                    <a:pt x="261" y="762"/>
                  </a:lnTo>
                  <a:lnTo>
                    <a:pt x="233" y="758"/>
                  </a:lnTo>
                  <a:cubicBezTo>
                    <a:pt x="232" y="758"/>
                    <a:pt x="230" y="757"/>
                    <a:pt x="230" y="755"/>
                  </a:cubicBezTo>
                  <a:lnTo>
                    <a:pt x="196" y="654"/>
                  </a:lnTo>
                  <a:lnTo>
                    <a:pt x="45" y="411"/>
                  </a:lnTo>
                  <a:lnTo>
                    <a:pt x="5" y="407"/>
                  </a:lnTo>
                  <a:cubicBezTo>
                    <a:pt x="3" y="407"/>
                    <a:pt x="2" y="407"/>
                    <a:pt x="2" y="406"/>
                  </a:cubicBezTo>
                  <a:cubicBezTo>
                    <a:pt x="1" y="405"/>
                    <a:pt x="0" y="403"/>
                    <a:pt x="1" y="402"/>
                  </a:cubicBezTo>
                  <a:lnTo>
                    <a:pt x="22" y="275"/>
                  </a:lnTo>
                  <a:cubicBezTo>
                    <a:pt x="22" y="273"/>
                    <a:pt x="24" y="271"/>
                    <a:pt x="27" y="271"/>
                  </a:cubicBezTo>
                  <a:lnTo>
                    <a:pt x="27" y="271"/>
                  </a:lnTo>
                  <a:cubicBezTo>
                    <a:pt x="29" y="271"/>
                    <a:pt x="31" y="273"/>
                    <a:pt x="31" y="276"/>
                  </a:cubicBezTo>
                  <a:lnTo>
                    <a:pt x="31" y="288"/>
                  </a:lnTo>
                  <a:lnTo>
                    <a:pt x="118" y="296"/>
                  </a:lnTo>
                  <a:lnTo>
                    <a:pt x="167" y="231"/>
                  </a:lnTo>
                  <a:cubicBezTo>
                    <a:pt x="167" y="230"/>
                    <a:pt x="168" y="229"/>
                    <a:pt x="170" y="229"/>
                  </a:cubicBezTo>
                  <a:lnTo>
                    <a:pt x="231" y="217"/>
                  </a:lnTo>
                  <a:lnTo>
                    <a:pt x="242" y="185"/>
                  </a:lnTo>
                  <a:lnTo>
                    <a:pt x="273" y="165"/>
                  </a:lnTo>
                  <a:lnTo>
                    <a:pt x="188" y="72"/>
                  </a:lnTo>
                  <a:cubicBezTo>
                    <a:pt x="187" y="70"/>
                    <a:pt x="187" y="69"/>
                    <a:pt x="187" y="67"/>
                  </a:cubicBezTo>
                  <a:cubicBezTo>
                    <a:pt x="188" y="65"/>
                    <a:pt x="189" y="64"/>
                    <a:pt x="191" y="64"/>
                  </a:cubicBezTo>
                  <a:lnTo>
                    <a:pt x="346" y="35"/>
                  </a:lnTo>
                  <a:lnTo>
                    <a:pt x="370" y="2"/>
                  </a:lnTo>
                  <a:cubicBezTo>
                    <a:pt x="371" y="1"/>
                    <a:pt x="372" y="0"/>
                    <a:pt x="374" y="0"/>
                  </a:cubicBezTo>
                  <a:cubicBezTo>
                    <a:pt x="374" y="0"/>
                    <a:pt x="375" y="0"/>
                    <a:pt x="375" y="1"/>
                  </a:cubicBezTo>
                  <a:lnTo>
                    <a:pt x="502" y="39"/>
                  </a:lnTo>
                  <a:lnTo>
                    <a:pt x="601" y="107"/>
                  </a:lnTo>
                  <a:lnTo>
                    <a:pt x="685" y="140"/>
                  </a:lnTo>
                  <a:lnTo>
                    <a:pt x="707" y="174"/>
                  </a:lnTo>
                  <a:lnTo>
                    <a:pt x="748" y="182"/>
                  </a:lnTo>
                  <a:cubicBezTo>
                    <a:pt x="750" y="183"/>
                    <a:pt x="751" y="184"/>
                    <a:pt x="751" y="186"/>
                  </a:cubicBezTo>
                  <a:lnTo>
                    <a:pt x="759" y="251"/>
                  </a:lnTo>
                  <a:lnTo>
                    <a:pt x="854" y="293"/>
                  </a:lnTo>
                  <a:lnTo>
                    <a:pt x="916" y="334"/>
                  </a:lnTo>
                  <a:lnTo>
                    <a:pt x="999" y="297"/>
                  </a:lnTo>
                  <a:cubicBezTo>
                    <a:pt x="1000" y="297"/>
                    <a:pt x="1000" y="296"/>
                    <a:pt x="1001" y="296"/>
                  </a:cubicBezTo>
                  <a:cubicBezTo>
                    <a:pt x="1001" y="296"/>
                    <a:pt x="1002" y="296"/>
                    <a:pt x="1002" y="297"/>
                  </a:cubicBezTo>
                  <a:lnTo>
                    <a:pt x="1070" y="318"/>
                  </a:lnTo>
                  <a:lnTo>
                    <a:pt x="1096" y="356"/>
                  </a:lnTo>
                  <a:lnTo>
                    <a:pt x="1145" y="356"/>
                  </a:lnTo>
                  <a:cubicBezTo>
                    <a:pt x="1147" y="356"/>
                    <a:pt x="1148" y="357"/>
                    <a:pt x="1149" y="358"/>
                  </a:cubicBezTo>
                  <a:lnTo>
                    <a:pt x="1183" y="422"/>
                  </a:lnTo>
                  <a:lnTo>
                    <a:pt x="1224" y="458"/>
                  </a:lnTo>
                  <a:lnTo>
                    <a:pt x="1234" y="488"/>
                  </a:lnTo>
                  <a:lnTo>
                    <a:pt x="1291" y="526"/>
                  </a:lnTo>
                  <a:cubicBezTo>
                    <a:pt x="1292" y="526"/>
                    <a:pt x="1293" y="527"/>
                    <a:pt x="1294" y="528"/>
                  </a:cubicBezTo>
                  <a:lnTo>
                    <a:pt x="1306" y="575"/>
                  </a:lnTo>
                  <a:lnTo>
                    <a:pt x="1298" y="614"/>
                  </a:lnTo>
                  <a:lnTo>
                    <a:pt x="1352" y="709"/>
                  </a:lnTo>
                  <a:lnTo>
                    <a:pt x="1376" y="725"/>
                  </a:lnTo>
                  <a:lnTo>
                    <a:pt x="1428" y="798"/>
                  </a:lnTo>
                  <a:lnTo>
                    <a:pt x="1454" y="868"/>
                  </a:lnTo>
                  <a:lnTo>
                    <a:pt x="1702" y="910"/>
                  </a:lnTo>
                  <a:lnTo>
                    <a:pt x="1718" y="894"/>
                  </a:lnTo>
                  <a:cubicBezTo>
                    <a:pt x="1719" y="894"/>
                    <a:pt x="1720" y="893"/>
                    <a:pt x="1721" y="893"/>
                  </a:cubicBezTo>
                  <a:lnTo>
                    <a:pt x="1722" y="893"/>
                  </a:lnTo>
                  <a:cubicBezTo>
                    <a:pt x="1723" y="893"/>
                    <a:pt x="1724" y="894"/>
                    <a:pt x="1725" y="895"/>
                  </a:cubicBezTo>
                  <a:lnTo>
                    <a:pt x="1767" y="963"/>
                  </a:lnTo>
                  <a:cubicBezTo>
                    <a:pt x="1768" y="964"/>
                    <a:pt x="1768" y="966"/>
                    <a:pt x="1768" y="967"/>
                  </a:cubicBezTo>
                  <a:lnTo>
                    <a:pt x="1704" y="1140"/>
                  </a:lnTo>
                  <a:cubicBezTo>
                    <a:pt x="1704" y="1142"/>
                    <a:pt x="1703" y="1143"/>
                    <a:pt x="1702" y="1143"/>
                  </a:cubicBezTo>
                  <a:lnTo>
                    <a:pt x="1452" y="1232"/>
                  </a:lnTo>
                  <a:lnTo>
                    <a:pt x="1188" y="1296"/>
                  </a:lnTo>
                  <a:lnTo>
                    <a:pt x="979" y="1527"/>
                  </a:lnTo>
                  <a:cubicBezTo>
                    <a:pt x="978" y="1528"/>
                    <a:pt x="977" y="1529"/>
                    <a:pt x="975" y="1529"/>
                  </a:cubicBezTo>
                  <a:cubicBezTo>
                    <a:pt x="975" y="1529"/>
                    <a:pt x="974" y="1529"/>
                    <a:pt x="974" y="1528"/>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09" name="Freeform 404"/>
            <p:cNvSpPr>
              <a:spLocks noChangeArrowheads="1"/>
            </p:cNvSpPr>
            <p:nvPr/>
          </p:nvSpPr>
          <p:spPr bwMode="auto">
            <a:xfrm>
              <a:off x="5280025" y="2719388"/>
              <a:ext cx="636588" cy="550862"/>
            </a:xfrm>
            <a:custGeom>
              <a:avLst/>
              <a:gdLst/>
              <a:ahLst/>
              <a:cxnLst>
                <a:cxn ang="0">
                  <a:pos x="974" y="1528"/>
                </a:cxn>
                <a:cxn ang="0">
                  <a:pos x="970" y="1434"/>
                </a:cxn>
                <a:cxn ang="0">
                  <a:pos x="739" y="1401"/>
                </a:cxn>
                <a:cxn ang="0">
                  <a:pos x="670" y="1461"/>
                </a:cxn>
                <a:cxn ang="0">
                  <a:pos x="666" y="1458"/>
                </a:cxn>
                <a:cxn ang="0">
                  <a:pos x="583" y="1320"/>
                </a:cxn>
                <a:cxn ang="0">
                  <a:pos x="522" y="1186"/>
                </a:cxn>
                <a:cxn ang="0">
                  <a:pos x="388" y="1083"/>
                </a:cxn>
                <a:cxn ang="0">
                  <a:pos x="361" y="971"/>
                </a:cxn>
                <a:cxn ang="0">
                  <a:pos x="310" y="802"/>
                </a:cxn>
                <a:cxn ang="0">
                  <a:pos x="233" y="758"/>
                </a:cxn>
                <a:cxn ang="0">
                  <a:pos x="196" y="654"/>
                </a:cxn>
                <a:cxn ang="0">
                  <a:pos x="5" y="407"/>
                </a:cxn>
                <a:cxn ang="0">
                  <a:pos x="1" y="402"/>
                </a:cxn>
                <a:cxn ang="0">
                  <a:pos x="27" y="271"/>
                </a:cxn>
                <a:cxn ang="0">
                  <a:pos x="31" y="276"/>
                </a:cxn>
                <a:cxn ang="0">
                  <a:pos x="118" y="296"/>
                </a:cxn>
                <a:cxn ang="0">
                  <a:pos x="170" y="229"/>
                </a:cxn>
                <a:cxn ang="0">
                  <a:pos x="242" y="185"/>
                </a:cxn>
                <a:cxn ang="0">
                  <a:pos x="188" y="72"/>
                </a:cxn>
                <a:cxn ang="0">
                  <a:pos x="191" y="64"/>
                </a:cxn>
                <a:cxn ang="0">
                  <a:pos x="370" y="2"/>
                </a:cxn>
                <a:cxn ang="0">
                  <a:pos x="375" y="1"/>
                </a:cxn>
                <a:cxn ang="0">
                  <a:pos x="601" y="107"/>
                </a:cxn>
                <a:cxn ang="0">
                  <a:pos x="707" y="174"/>
                </a:cxn>
                <a:cxn ang="0">
                  <a:pos x="751" y="186"/>
                </a:cxn>
                <a:cxn ang="0">
                  <a:pos x="854" y="293"/>
                </a:cxn>
                <a:cxn ang="0">
                  <a:pos x="999" y="297"/>
                </a:cxn>
                <a:cxn ang="0">
                  <a:pos x="1002" y="297"/>
                </a:cxn>
                <a:cxn ang="0">
                  <a:pos x="1096" y="356"/>
                </a:cxn>
                <a:cxn ang="0">
                  <a:pos x="1149" y="358"/>
                </a:cxn>
                <a:cxn ang="0">
                  <a:pos x="1224" y="458"/>
                </a:cxn>
                <a:cxn ang="0">
                  <a:pos x="1291" y="526"/>
                </a:cxn>
                <a:cxn ang="0">
                  <a:pos x="1306" y="575"/>
                </a:cxn>
                <a:cxn ang="0">
                  <a:pos x="1352" y="709"/>
                </a:cxn>
                <a:cxn ang="0">
                  <a:pos x="1428" y="798"/>
                </a:cxn>
                <a:cxn ang="0">
                  <a:pos x="1702" y="910"/>
                </a:cxn>
                <a:cxn ang="0">
                  <a:pos x="1721" y="893"/>
                </a:cxn>
                <a:cxn ang="0">
                  <a:pos x="1725" y="895"/>
                </a:cxn>
                <a:cxn ang="0">
                  <a:pos x="1768" y="967"/>
                </a:cxn>
                <a:cxn ang="0">
                  <a:pos x="1702" y="1143"/>
                </a:cxn>
                <a:cxn ang="0">
                  <a:pos x="1188" y="1296"/>
                </a:cxn>
                <a:cxn ang="0">
                  <a:pos x="975" y="1529"/>
                </a:cxn>
              </a:cxnLst>
              <a:rect l="0" t="0" r="r" b="b"/>
              <a:pathLst>
                <a:path w="1769" h="1530">
                  <a:moveTo>
                    <a:pt x="975" y="1529"/>
                  </a:moveTo>
                  <a:cubicBezTo>
                    <a:pt x="975" y="1529"/>
                    <a:pt x="974" y="1529"/>
                    <a:pt x="974" y="1528"/>
                  </a:cubicBezTo>
                  <a:cubicBezTo>
                    <a:pt x="972" y="1528"/>
                    <a:pt x="970" y="1526"/>
                    <a:pt x="970" y="1524"/>
                  </a:cubicBezTo>
                  <a:lnTo>
                    <a:pt x="970" y="1434"/>
                  </a:lnTo>
                  <a:lnTo>
                    <a:pt x="821" y="1380"/>
                  </a:lnTo>
                  <a:lnTo>
                    <a:pt x="739" y="1401"/>
                  </a:lnTo>
                  <a:lnTo>
                    <a:pt x="673" y="1460"/>
                  </a:lnTo>
                  <a:cubicBezTo>
                    <a:pt x="673" y="1461"/>
                    <a:pt x="671" y="1461"/>
                    <a:pt x="670" y="1461"/>
                  </a:cubicBezTo>
                  <a:lnTo>
                    <a:pt x="669" y="1461"/>
                  </a:lnTo>
                  <a:cubicBezTo>
                    <a:pt x="667" y="1460"/>
                    <a:pt x="666" y="1459"/>
                    <a:pt x="666" y="1458"/>
                  </a:cubicBezTo>
                  <a:lnTo>
                    <a:pt x="632" y="1356"/>
                  </a:lnTo>
                  <a:lnTo>
                    <a:pt x="583" y="1320"/>
                  </a:lnTo>
                  <a:lnTo>
                    <a:pt x="539" y="1251"/>
                  </a:lnTo>
                  <a:lnTo>
                    <a:pt x="522" y="1186"/>
                  </a:lnTo>
                  <a:lnTo>
                    <a:pt x="472" y="1138"/>
                  </a:lnTo>
                  <a:lnTo>
                    <a:pt x="388" y="1083"/>
                  </a:lnTo>
                  <a:cubicBezTo>
                    <a:pt x="387" y="1083"/>
                    <a:pt x="386" y="1082"/>
                    <a:pt x="386" y="1081"/>
                  </a:cubicBezTo>
                  <a:lnTo>
                    <a:pt x="361" y="971"/>
                  </a:lnTo>
                  <a:lnTo>
                    <a:pt x="365" y="927"/>
                  </a:lnTo>
                  <a:lnTo>
                    <a:pt x="310" y="802"/>
                  </a:lnTo>
                  <a:lnTo>
                    <a:pt x="261" y="762"/>
                  </a:lnTo>
                  <a:lnTo>
                    <a:pt x="233" y="758"/>
                  </a:lnTo>
                  <a:cubicBezTo>
                    <a:pt x="232" y="758"/>
                    <a:pt x="230" y="757"/>
                    <a:pt x="230" y="755"/>
                  </a:cubicBezTo>
                  <a:lnTo>
                    <a:pt x="196" y="654"/>
                  </a:lnTo>
                  <a:lnTo>
                    <a:pt x="45" y="411"/>
                  </a:lnTo>
                  <a:lnTo>
                    <a:pt x="5" y="407"/>
                  </a:lnTo>
                  <a:cubicBezTo>
                    <a:pt x="3" y="407"/>
                    <a:pt x="2" y="407"/>
                    <a:pt x="2" y="406"/>
                  </a:cubicBezTo>
                  <a:cubicBezTo>
                    <a:pt x="1" y="405"/>
                    <a:pt x="0" y="403"/>
                    <a:pt x="1" y="402"/>
                  </a:cubicBezTo>
                  <a:lnTo>
                    <a:pt x="22" y="275"/>
                  </a:lnTo>
                  <a:cubicBezTo>
                    <a:pt x="22" y="273"/>
                    <a:pt x="24" y="271"/>
                    <a:pt x="27" y="271"/>
                  </a:cubicBezTo>
                  <a:lnTo>
                    <a:pt x="27" y="271"/>
                  </a:lnTo>
                  <a:cubicBezTo>
                    <a:pt x="29" y="271"/>
                    <a:pt x="31" y="273"/>
                    <a:pt x="31" y="276"/>
                  </a:cubicBezTo>
                  <a:lnTo>
                    <a:pt x="31" y="288"/>
                  </a:lnTo>
                  <a:lnTo>
                    <a:pt x="118" y="296"/>
                  </a:lnTo>
                  <a:lnTo>
                    <a:pt x="167" y="231"/>
                  </a:lnTo>
                  <a:cubicBezTo>
                    <a:pt x="167" y="230"/>
                    <a:pt x="168" y="229"/>
                    <a:pt x="170" y="229"/>
                  </a:cubicBezTo>
                  <a:lnTo>
                    <a:pt x="231" y="217"/>
                  </a:lnTo>
                  <a:lnTo>
                    <a:pt x="242" y="185"/>
                  </a:lnTo>
                  <a:lnTo>
                    <a:pt x="273" y="165"/>
                  </a:lnTo>
                  <a:lnTo>
                    <a:pt x="188" y="72"/>
                  </a:lnTo>
                  <a:cubicBezTo>
                    <a:pt x="187" y="70"/>
                    <a:pt x="187" y="69"/>
                    <a:pt x="187" y="67"/>
                  </a:cubicBezTo>
                  <a:cubicBezTo>
                    <a:pt x="188" y="65"/>
                    <a:pt x="189" y="64"/>
                    <a:pt x="191" y="64"/>
                  </a:cubicBezTo>
                  <a:lnTo>
                    <a:pt x="346" y="35"/>
                  </a:lnTo>
                  <a:lnTo>
                    <a:pt x="370" y="2"/>
                  </a:lnTo>
                  <a:cubicBezTo>
                    <a:pt x="371" y="1"/>
                    <a:pt x="372" y="0"/>
                    <a:pt x="374" y="0"/>
                  </a:cubicBezTo>
                  <a:cubicBezTo>
                    <a:pt x="374" y="0"/>
                    <a:pt x="375" y="0"/>
                    <a:pt x="375" y="1"/>
                  </a:cubicBezTo>
                  <a:lnTo>
                    <a:pt x="502" y="39"/>
                  </a:lnTo>
                  <a:lnTo>
                    <a:pt x="601" y="107"/>
                  </a:lnTo>
                  <a:lnTo>
                    <a:pt x="685" y="140"/>
                  </a:lnTo>
                  <a:lnTo>
                    <a:pt x="707" y="174"/>
                  </a:lnTo>
                  <a:lnTo>
                    <a:pt x="748" y="182"/>
                  </a:lnTo>
                  <a:cubicBezTo>
                    <a:pt x="750" y="183"/>
                    <a:pt x="751" y="184"/>
                    <a:pt x="751" y="186"/>
                  </a:cubicBezTo>
                  <a:lnTo>
                    <a:pt x="759" y="251"/>
                  </a:lnTo>
                  <a:lnTo>
                    <a:pt x="854" y="293"/>
                  </a:lnTo>
                  <a:lnTo>
                    <a:pt x="916" y="334"/>
                  </a:lnTo>
                  <a:lnTo>
                    <a:pt x="999" y="297"/>
                  </a:lnTo>
                  <a:cubicBezTo>
                    <a:pt x="1000" y="297"/>
                    <a:pt x="1000" y="296"/>
                    <a:pt x="1001" y="296"/>
                  </a:cubicBezTo>
                  <a:cubicBezTo>
                    <a:pt x="1001" y="296"/>
                    <a:pt x="1002" y="296"/>
                    <a:pt x="1002" y="297"/>
                  </a:cubicBezTo>
                  <a:lnTo>
                    <a:pt x="1070" y="318"/>
                  </a:lnTo>
                  <a:lnTo>
                    <a:pt x="1096" y="356"/>
                  </a:lnTo>
                  <a:lnTo>
                    <a:pt x="1145" y="356"/>
                  </a:lnTo>
                  <a:cubicBezTo>
                    <a:pt x="1147" y="356"/>
                    <a:pt x="1148" y="357"/>
                    <a:pt x="1149" y="358"/>
                  </a:cubicBezTo>
                  <a:lnTo>
                    <a:pt x="1183" y="422"/>
                  </a:lnTo>
                  <a:lnTo>
                    <a:pt x="1224" y="458"/>
                  </a:lnTo>
                  <a:lnTo>
                    <a:pt x="1234" y="488"/>
                  </a:lnTo>
                  <a:lnTo>
                    <a:pt x="1291" y="526"/>
                  </a:lnTo>
                  <a:cubicBezTo>
                    <a:pt x="1292" y="526"/>
                    <a:pt x="1293" y="527"/>
                    <a:pt x="1294" y="528"/>
                  </a:cubicBezTo>
                  <a:lnTo>
                    <a:pt x="1306" y="575"/>
                  </a:lnTo>
                  <a:lnTo>
                    <a:pt x="1298" y="614"/>
                  </a:lnTo>
                  <a:lnTo>
                    <a:pt x="1352" y="709"/>
                  </a:lnTo>
                  <a:lnTo>
                    <a:pt x="1376" y="725"/>
                  </a:lnTo>
                  <a:lnTo>
                    <a:pt x="1428" y="798"/>
                  </a:lnTo>
                  <a:lnTo>
                    <a:pt x="1454" y="868"/>
                  </a:lnTo>
                  <a:lnTo>
                    <a:pt x="1702" y="910"/>
                  </a:lnTo>
                  <a:lnTo>
                    <a:pt x="1718" y="894"/>
                  </a:lnTo>
                  <a:cubicBezTo>
                    <a:pt x="1719" y="894"/>
                    <a:pt x="1720" y="893"/>
                    <a:pt x="1721" y="893"/>
                  </a:cubicBezTo>
                  <a:lnTo>
                    <a:pt x="1722" y="893"/>
                  </a:lnTo>
                  <a:cubicBezTo>
                    <a:pt x="1723" y="893"/>
                    <a:pt x="1724" y="894"/>
                    <a:pt x="1725" y="895"/>
                  </a:cubicBezTo>
                  <a:lnTo>
                    <a:pt x="1767" y="963"/>
                  </a:lnTo>
                  <a:cubicBezTo>
                    <a:pt x="1768" y="964"/>
                    <a:pt x="1768" y="966"/>
                    <a:pt x="1768" y="967"/>
                  </a:cubicBezTo>
                  <a:lnTo>
                    <a:pt x="1704" y="1140"/>
                  </a:lnTo>
                  <a:cubicBezTo>
                    <a:pt x="1704" y="1142"/>
                    <a:pt x="1703" y="1143"/>
                    <a:pt x="1702" y="1143"/>
                  </a:cubicBezTo>
                  <a:lnTo>
                    <a:pt x="1452" y="1232"/>
                  </a:lnTo>
                  <a:lnTo>
                    <a:pt x="1188" y="1296"/>
                  </a:lnTo>
                  <a:lnTo>
                    <a:pt x="979" y="1527"/>
                  </a:lnTo>
                  <a:cubicBezTo>
                    <a:pt x="978" y="1528"/>
                    <a:pt x="977" y="1529"/>
                    <a:pt x="975" y="152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0" name="Freeform 405"/>
            <p:cNvSpPr>
              <a:spLocks noChangeArrowheads="1"/>
            </p:cNvSpPr>
            <p:nvPr/>
          </p:nvSpPr>
          <p:spPr bwMode="auto">
            <a:xfrm>
              <a:off x="5303838" y="2533650"/>
              <a:ext cx="215900" cy="185738"/>
            </a:xfrm>
            <a:custGeom>
              <a:avLst/>
              <a:gdLst/>
              <a:ahLst/>
              <a:cxnLst>
                <a:cxn ang="0">
                  <a:pos x="87" y="517"/>
                </a:cxn>
                <a:cxn ang="0">
                  <a:pos x="24" y="479"/>
                </a:cxn>
                <a:cxn ang="0">
                  <a:pos x="5" y="479"/>
                </a:cxn>
                <a:cxn ang="0">
                  <a:pos x="1" y="478"/>
                </a:cxn>
                <a:cxn ang="0">
                  <a:pos x="0" y="474"/>
                </a:cxn>
                <a:cxn ang="0">
                  <a:pos x="4" y="423"/>
                </a:cxn>
                <a:cxn ang="0">
                  <a:pos x="6" y="420"/>
                </a:cxn>
                <a:cxn ang="0">
                  <a:pos x="47" y="388"/>
                </a:cxn>
                <a:cxn ang="0">
                  <a:pos x="47" y="364"/>
                </a:cxn>
                <a:cxn ang="0">
                  <a:pos x="50" y="360"/>
                </a:cxn>
                <a:cxn ang="0">
                  <a:pos x="74" y="353"/>
                </a:cxn>
                <a:cxn ang="0">
                  <a:pos x="73" y="350"/>
                </a:cxn>
                <a:cxn ang="0">
                  <a:pos x="74" y="344"/>
                </a:cxn>
                <a:cxn ang="0">
                  <a:pos x="100" y="321"/>
                </a:cxn>
                <a:cxn ang="0">
                  <a:pos x="77" y="291"/>
                </a:cxn>
                <a:cxn ang="0">
                  <a:pos x="77" y="286"/>
                </a:cxn>
                <a:cxn ang="0">
                  <a:pos x="82" y="276"/>
                </a:cxn>
                <a:cxn ang="0">
                  <a:pos x="47" y="276"/>
                </a:cxn>
                <a:cxn ang="0">
                  <a:pos x="43" y="272"/>
                </a:cxn>
                <a:cxn ang="0">
                  <a:pos x="38" y="162"/>
                </a:cxn>
                <a:cxn ang="0">
                  <a:pos x="38" y="140"/>
                </a:cxn>
                <a:cxn ang="0">
                  <a:pos x="41" y="136"/>
                </a:cxn>
                <a:cxn ang="0">
                  <a:pos x="43" y="136"/>
                </a:cxn>
                <a:cxn ang="0">
                  <a:pos x="46" y="137"/>
                </a:cxn>
                <a:cxn ang="0">
                  <a:pos x="62" y="150"/>
                </a:cxn>
                <a:cxn ang="0">
                  <a:pos x="77" y="117"/>
                </a:cxn>
                <a:cxn ang="0">
                  <a:pos x="80" y="114"/>
                </a:cxn>
                <a:cxn ang="0">
                  <a:pos x="100" y="111"/>
                </a:cxn>
                <a:cxn ang="0">
                  <a:pos x="90" y="92"/>
                </a:cxn>
                <a:cxn ang="0">
                  <a:pos x="89" y="88"/>
                </a:cxn>
                <a:cxn ang="0">
                  <a:pos x="102" y="50"/>
                </a:cxn>
                <a:cxn ang="0">
                  <a:pos x="107" y="47"/>
                </a:cxn>
                <a:cxn ang="0">
                  <a:pos x="108" y="47"/>
                </a:cxn>
                <a:cxn ang="0">
                  <a:pos x="176" y="68"/>
                </a:cxn>
                <a:cxn ang="0">
                  <a:pos x="249" y="39"/>
                </a:cxn>
                <a:cxn ang="0">
                  <a:pos x="251" y="38"/>
                </a:cxn>
                <a:cxn ang="0">
                  <a:pos x="252" y="39"/>
                </a:cxn>
                <a:cxn ang="0">
                  <a:pos x="318" y="63"/>
                </a:cxn>
                <a:cxn ang="0">
                  <a:pos x="444" y="13"/>
                </a:cxn>
                <a:cxn ang="0">
                  <a:pos x="531" y="21"/>
                </a:cxn>
                <a:cxn ang="0">
                  <a:pos x="566" y="1"/>
                </a:cxn>
                <a:cxn ang="0">
                  <a:pos x="569" y="0"/>
                </a:cxn>
                <a:cxn ang="0">
                  <a:pos x="570" y="1"/>
                </a:cxn>
                <a:cxn ang="0">
                  <a:pos x="596" y="13"/>
                </a:cxn>
                <a:cxn ang="0">
                  <a:pos x="599" y="17"/>
                </a:cxn>
                <a:cxn ang="0">
                  <a:pos x="597" y="21"/>
                </a:cxn>
                <a:cxn ang="0">
                  <a:pos x="547" y="80"/>
                </a:cxn>
                <a:cxn ang="0">
                  <a:pos x="497" y="97"/>
                </a:cxn>
                <a:cxn ang="0">
                  <a:pos x="488" y="259"/>
                </a:cxn>
                <a:cxn ang="0">
                  <a:pos x="476" y="298"/>
                </a:cxn>
                <a:cxn ang="0">
                  <a:pos x="473" y="301"/>
                </a:cxn>
                <a:cxn ang="0">
                  <a:pos x="274" y="419"/>
                </a:cxn>
                <a:cxn ang="0">
                  <a:pos x="92" y="517"/>
                </a:cxn>
                <a:cxn ang="0">
                  <a:pos x="90" y="517"/>
                </a:cxn>
                <a:cxn ang="0">
                  <a:pos x="87" y="517"/>
                </a:cxn>
              </a:cxnLst>
              <a:rect l="0" t="0" r="r" b="b"/>
              <a:pathLst>
                <a:path w="600" h="518">
                  <a:moveTo>
                    <a:pt x="87" y="517"/>
                  </a:moveTo>
                  <a:lnTo>
                    <a:pt x="24" y="479"/>
                  </a:lnTo>
                  <a:lnTo>
                    <a:pt x="5" y="479"/>
                  </a:lnTo>
                  <a:cubicBezTo>
                    <a:pt x="4" y="479"/>
                    <a:pt x="2" y="479"/>
                    <a:pt x="1" y="478"/>
                  </a:cubicBezTo>
                  <a:cubicBezTo>
                    <a:pt x="1" y="477"/>
                    <a:pt x="0" y="475"/>
                    <a:pt x="0" y="474"/>
                  </a:cubicBezTo>
                  <a:lnTo>
                    <a:pt x="4" y="423"/>
                  </a:lnTo>
                  <a:cubicBezTo>
                    <a:pt x="5" y="422"/>
                    <a:pt x="5" y="421"/>
                    <a:pt x="6" y="420"/>
                  </a:cubicBezTo>
                  <a:lnTo>
                    <a:pt x="47" y="388"/>
                  </a:lnTo>
                  <a:lnTo>
                    <a:pt x="47" y="364"/>
                  </a:lnTo>
                  <a:cubicBezTo>
                    <a:pt x="47" y="362"/>
                    <a:pt x="48" y="361"/>
                    <a:pt x="50" y="360"/>
                  </a:cubicBezTo>
                  <a:lnTo>
                    <a:pt x="74" y="353"/>
                  </a:lnTo>
                  <a:lnTo>
                    <a:pt x="73" y="350"/>
                  </a:lnTo>
                  <a:cubicBezTo>
                    <a:pt x="72" y="348"/>
                    <a:pt x="72" y="345"/>
                    <a:pt x="74" y="344"/>
                  </a:cubicBezTo>
                  <a:lnTo>
                    <a:pt x="100" y="321"/>
                  </a:lnTo>
                  <a:lnTo>
                    <a:pt x="77" y="291"/>
                  </a:lnTo>
                  <a:cubicBezTo>
                    <a:pt x="76" y="290"/>
                    <a:pt x="76" y="288"/>
                    <a:pt x="77" y="286"/>
                  </a:cubicBezTo>
                  <a:lnTo>
                    <a:pt x="82" y="276"/>
                  </a:lnTo>
                  <a:lnTo>
                    <a:pt x="47" y="276"/>
                  </a:lnTo>
                  <a:cubicBezTo>
                    <a:pt x="45" y="276"/>
                    <a:pt x="43" y="274"/>
                    <a:pt x="43" y="272"/>
                  </a:cubicBezTo>
                  <a:lnTo>
                    <a:pt x="38" y="162"/>
                  </a:lnTo>
                  <a:lnTo>
                    <a:pt x="38" y="140"/>
                  </a:lnTo>
                  <a:cubicBezTo>
                    <a:pt x="38" y="139"/>
                    <a:pt x="40" y="137"/>
                    <a:pt x="41" y="136"/>
                  </a:cubicBezTo>
                  <a:cubicBezTo>
                    <a:pt x="42" y="136"/>
                    <a:pt x="42" y="136"/>
                    <a:pt x="43" y="136"/>
                  </a:cubicBezTo>
                  <a:cubicBezTo>
                    <a:pt x="44" y="136"/>
                    <a:pt x="45" y="136"/>
                    <a:pt x="46" y="137"/>
                  </a:cubicBezTo>
                  <a:lnTo>
                    <a:pt x="62" y="150"/>
                  </a:lnTo>
                  <a:lnTo>
                    <a:pt x="77" y="117"/>
                  </a:lnTo>
                  <a:cubicBezTo>
                    <a:pt x="78" y="116"/>
                    <a:pt x="79" y="115"/>
                    <a:pt x="80" y="114"/>
                  </a:cubicBezTo>
                  <a:lnTo>
                    <a:pt x="100" y="111"/>
                  </a:lnTo>
                  <a:lnTo>
                    <a:pt x="90" y="92"/>
                  </a:lnTo>
                  <a:cubicBezTo>
                    <a:pt x="89" y="91"/>
                    <a:pt x="89" y="89"/>
                    <a:pt x="89" y="88"/>
                  </a:cubicBezTo>
                  <a:lnTo>
                    <a:pt x="102" y="50"/>
                  </a:lnTo>
                  <a:cubicBezTo>
                    <a:pt x="103" y="48"/>
                    <a:pt x="105" y="47"/>
                    <a:pt x="107" y="47"/>
                  </a:cubicBezTo>
                  <a:lnTo>
                    <a:pt x="108" y="47"/>
                  </a:lnTo>
                  <a:lnTo>
                    <a:pt x="176" y="68"/>
                  </a:lnTo>
                  <a:lnTo>
                    <a:pt x="249" y="39"/>
                  </a:lnTo>
                  <a:cubicBezTo>
                    <a:pt x="250" y="38"/>
                    <a:pt x="250" y="38"/>
                    <a:pt x="251" y="38"/>
                  </a:cubicBezTo>
                  <a:cubicBezTo>
                    <a:pt x="251" y="38"/>
                    <a:pt x="252" y="38"/>
                    <a:pt x="252" y="39"/>
                  </a:cubicBezTo>
                  <a:lnTo>
                    <a:pt x="318" y="63"/>
                  </a:lnTo>
                  <a:lnTo>
                    <a:pt x="444" y="13"/>
                  </a:lnTo>
                  <a:lnTo>
                    <a:pt x="531" y="21"/>
                  </a:lnTo>
                  <a:lnTo>
                    <a:pt x="566" y="1"/>
                  </a:lnTo>
                  <a:cubicBezTo>
                    <a:pt x="567" y="0"/>
                    <a:pt x="568" y="0"/>
                    <a:pt x="569" y="0"/>
                  </a:cubicBezTo>
                  <a:cubicBezTo>
                    <a:pt x="569" y="0"/>
                    <a:pt x="570" y="0"/>
                    <a:pt x="570" y="1"/>
                  </a:cubicBezTo>
                  <a:lnTo>
                    <a:pt x="596" y="13"/>
                  </a:lnTo>
                  <a:cubicBezTo>
                    <a:pt x="597" y="14"/>
                    <a:pt x="598" y="15"/>
                    <a:pt x="599" y="17"/>
                  </a:cubicBezTo>
                  <a:cubicBezTo>
                    <a:pt x="599" y="18"/>
                    <a:pt x="598" y="20"/>
                    <a:pt x="597" y="21"/>
                  </a:cubicBezTo>
                  <a:lnTo>
                    <a:pt x="547" y="80"/>
                  </a:lnTo>
                  <a:lnTo>
                    <a:pt x="497" y="97"/>
                  </a:lnTo>
                  <a:lnTo>
                    <a:pt x="488" y="259"/>
                  </a:lnTo>
                  <a:lnTo>
                    <a:pt x="476" y="298"/>
                  </a:lnTo>
                  <a:cubicBezTo>
                    <a:pt x="475" y="299"/>
                    <a:pt x="474" y="300"/>
                    <a:pt x="473" y="301"/>
                  </a:cubicBezTo>
                  <a:lnTo>
                    <a:pt x="274" y="419"/>
                  </a:lnTo>
                  <a:lnTo>
                    <a:pt x="92" y="517"/>
                  </a:lnTo>
                  <a:cubicBezTo>
                    <a:pt x="91" y="517"/>
                    <a:pt x="90" y="517"/>
                    <a:pt x="90" y="517"/>
                  </a:cubicBezTo>
                  <a:cubicBezTo>
                    <a:pt x="89" y="517"/>
                    <a:pt x="88" y="517"/>
                    <a:pt x="87" y="51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1" name="Freeform 406"/>
            <p:cNvSpPr>
              <a:spLocks noChangeArrowheads="1"/>
            </p:cNvSpPr>
            <p:nvPr/>
          </p:nvSpPr>
          <p:spPr bwMode="auto">
            <a:xfrm>
              <a:off x="5303838" y="2533650"/>
              <a:ext cx="215900" cy="185738"/>
            </a:xfrm>
            <a:custGeom>
              <a:avLst/>
              <a:gdLst/>
              <a:ahLst/>
              <a:cxnLst>
                <a:cxn ang="0">
                  <a:pos x="90" y="517"/>
                </a:cxn>
                <a:cxn ang="0">
                  <a:pos x="87" y="517"/>
                </a:cxn>
                <a:cxn ang="0">
                  <a:pos x="24" y="479"/>
                </a:cxn>
                <a:cxn ang="0">
                  <a:pos x="5" y="479"/>
                </a:cxn>
                <a:cxn ang="0">
                  <a:pos x="1" y="478"/>
                </a:cxn>
                <a:cxn ang="0">
                  <a:pos x="0" y="474"/>
                </a:cxn>
                <a:cxn ang="0">
                  <a:pos x="4" y="423"/>
                </a:cxn>
                <a:cxn ang="0">
                  <a:pos x="6" y="420"/>
                </a:cxn>
                <a:cxn ang="0">
                  <a:pos x="47" y="388"/>
                </a:cxn>
                <a:cxn ang="0">
                  <a:pos x="47" y="364"/>
                </a:cxn>
                <a:cxn ang="0">
                  <a:pos x="50" y="360"/>
                </a:cxn>
                <a:cxn ang="0">
                  <a:pos x="74" y="353"/>
                </a:cxn>
                <a:cxn ang="0">
                  <a:pos x="73" y="350"/>
                </a:cxn>
                <a:cxn ang="0">
                  <a:pos x="74" y="344"/>
                </a:cxn>
                <a:cxn ang="0">
                  <a:pos x="100" y="321"/>
                </a:cxn>
                <a:cxn ang="0">
                  <a:pos x="77" y="291"/>
                </a:cxn>
                <a:cxn ang="0">
                  <a:pos x="77" y="286"/>
                </a:cxn>
                <a:cxn ang="0">
                  <a:pos x="82" y="276"/>
                </a:cxn>
                <a:cxn ang="0">
                  <a:pos x="47" y="276"/>
                </a:cxn>
                <a:cxn ang="0">
                  <a:pos x="43" y="272"/>
                </a:cxn>
                <a:cxn ang="0">
                  <a:pos x="38" y="162"/>
                </a:cxn>
                <a:cxn ang="0">
                  <a:pos x="38" y="140"/>
                </a:cxn>
                <a:cxn ang="0">
                  <a:pos x="41" y="136"/>
                </a:cxn>
                <a:cxn ang="0">
                  <a:pos x="43" y="136"/>
                </a:cxn>
                <a:cxn ang="0">
                  <a:pos x="46" y="137"/>
                </a:cxn>
                <a:cxn ang="0">
                  <a:pos x="62" y="150"/>
                </a:cxn>
                <a:cxn ang="0">
                  <a:pos x="77" y="117"/>
                </a:cxn>
                <a:cxn ang="0">
                  <a:pos x="80" y="114"/>
                </a:cxn>
                <a:cxn ang="0">
                  <a:pos x="100" y="111"/>
                </a:cxn>
                <a:cxn ang="0">
                  <a:pos x="90" y="92"/>
                </a:cxn>
                <a:cxn ang="0">
                  <a:pos x="89" y="88"/>
                </a:cxn>
                <a:cxn ang="0">
                  <a:pos x="102" y="50"/>
                </a:cxn>
                <a:cxn ang="0">
                  <a:pos x="107" y="47"/>
                </a:cxn>
                <a:cxn ang="0">
                  <a:pos x="108" y="47"/>
                </a:cxn>
                <a:cxn ang="0">
                  <a:pos x="176" y="68"/>
                </a:cxn>
                <a:cxn ang="0">
                  <a:pos x="249" y="39"/>
                </a:cxn>
                <a:cxn ang="0">
                  <a:pos x="251" y="38"/>
                </a:cxn>
                <a:cxn ang="0">
                  <a:pos x="252" y="39"/>
                </a:cxn>
                <a:cxn ang="0">
                  <a:pos x="318" y="63"/>
                </a:cxn>
                <a:cxn ang="0">
                  <a:pos x="444" y="13"/>
                </a:cxn>
                <a:cxn ang="0">
                  <a:pos x="531" y="21"/>
                </a:cxn>
                <a:cxn ang="0">
                  <a:pos x="566" y="1"/>
                </a:cxn>
                <a:cxn ang="0">
                  <a:pos x="569" y="0"/>
                </a:cxn>
                <a:cxn ang="0">
                  <a:pos x="570" y="1"/>
                </a:cxn>
                <a:cxn ang="0">
                  <a:pos x="596" y="13"/>
                </a:cxn>
                <a:cxn ang="0">
                  <a:pos x="599" y="17"/>
                </a:cxn>
                <a:cxn ang="0">
                  <a:pos x="597" y="21"/>
                </a:cxn>
                <a:cxn ang="0">
                  <a:pos x="547" y="80"/>
                </a:cxn>
                <a:cxn ang="0">
                  <a:pos x="497" y="97"/>
                </a:cxn>
                <a:cxn ang="0">
                  <a:pos x="488" y="259"/>
                </a:cxn>
                <a:cxn ang="0">
                  <a:pos x="476" y="298"/>
                </a:cxn>
                <a:cxn ang="0">
                  <a:pos x="473" y="301"/>
                </a:cxn>
                <a:cxn ang="0">
                  <a:pos x="274" y="419"/>
                </a:cxn>
                <a:cxn ang="0">
                  <a:pos x="92" y="517"/>
                </a:cxn>
                <a:cxn ang="0">
                  <a:pos x="90" y="517"/>
                </a:cxn>
              </a:cxnLst>
              <a:rect l="0" t="0" r="r" b="b"/>
              <a:pathLst>
                <a:path w="600" h="518">
                  <a:moveTo>
                    <a:pt x="90" y="517"/>
                  </a:moveTo>
                  <a:cubicBezTo>
                    <a:pt x="89" y="517"/>
                    <a:pt x="88" y="517"/>
                    <a:pt x="87" y="517"/>
                  </a:cubicBezTo>
                  <a:lnTo>
                    <a:pt x="24" y="479"/>
                  </a:lnTo>
                  <a:lnTo>
                    <a:pt x="5" y="479"/>
                  </a:lnTo>
                  <a:cubicBezTo>
                    <a:pt x="4" y="479"/>
                    <a:pt x="2" y="479"/>
                    <a:pt x="1" y="478"/>
                  </a:cubicBezTo>
                  <a:cubicBezTo>
                    <a:pt x="1" y="477"/>
                    <a:pt x="0" y="475"/>
                    <a:pt x="0" y="474"/>
                  </a:cubicBezTo>
                  <a:lnTo>
                    <a:pt x="4" y="423"/>
                  </a:lnTo>
                  <a:cubicBezTo>
                    <a:pt x="5" y="422"/>
                    <a:pt x="5" y="421"/>
                    <a:pt x="6" y="420"/>
                  </a:cubicBezTo>
                  <a:lnTo>
                    <a:pt x="47" y="388"/>
                  </a:lnTo>
                  <a:lnTo>
                    <a:pt x="47" y="364"/>
                  </a:lnTo>
                  <a:cubicBezTo>
                    <a:pt x="47" y="362"/>
                    <a:pt x="48" y="361"/>
                    <a:pt x="50" y="360"/>
                  </a:cubicBezTo>
                  <a:lnTo>
                    <a:pt x="74" y="353"/>
                  </a:lnTo>
                  <a:lnTo>
                    <a:pt x="73" y="350"/>
                  </a:lnTo>
                  <a:cubicBezTo>
                    <a:pt x="72" y="348"/>
                    <a:pt x="72" y="345"/>
                    <a:pt x="74" y="344"/>
                  </a:cubicBezTo>
                  <a:lnTo>
                    <a:pt x="100" y="321"/>
                  </a:lnTo>
                  <a:lnTo>
                    <a:pt x="77" y="291"/>
                  </a:lnTo>
                  <a:cubicBezTo>
                    <a:pt x="76" y="290"/>
                    <a:pt x="76" y="288"/>
                    <a:pt x="77" y="286"/>
                  </a:cubicBezTo>
                  <a:lnTo>
                    <a:pt x="82" y="276"/>
                  </a:lnTo>
                  <a:lnTo>
                    <a:pt x="47" y="276"/>
                  </a:lnTo>
                  <a:cubicBezTo>
                    <a:pt x="45" y="276"/>
                    <a:pt x="43" y="274"/>
                    <a:pt x="43" y="272"/>
                  </a:cubicBezTo>
                  <a:lnTo>
                    <a:pt x="38" y="162"/>
                  </a:lnTo>
                  <a:lnTo>
                    <a:pt x="38" y="140"/>
                  </a:lnTo>
                  <a:cubicBezTo>
                    <a:pt x="38" y="139"/>
                    <a:pt x="40" y="137"/>
                    <a:pt x="41" y="136"/>
                  </a:cubicBezTo>
                  <a:cubicBezTo>
                    <a:pt x="42" y="136"/>
                    <a:pt x="42" y="136"/>
                    <a:pt x="43" y="136"/>
                  </a:cubicBezTo>
                  <a:cubicBezTo>
                    <a:pt x="44" y="136"/>
                    <a:pt x="45" y="136"/>
                    <a:pt x="46" y="137"/>
                  </a:cubicBezTo>
                  <a:lnTo>
                    <a:pt x="62" y="150"/>
                  </a:lnTo>
                  <a:lnTo>
                    <a:pt x="77" y="117"/>
                  </a:lnTo>
                  <a:cubicBezTo>
                    <a:pt x="78" y="116"/>
                    <a:pt x="79" y="115"/>
                    <a:pt x="80" y="114"/>
                  </a:cubicBezTo>
                  <a:lnTo>
                    <a:pt x="100" y="111"/>
                  </a:lnTo>
                  <a:lnTo>
                    <a:pt x="90" y="92"/>
                  </a:lnTo>
                  <a:cubicBezTo>
                    <a:pt x="89" y="91"/>
                    <a:pt x="89" y="89"/>
                    <a:pt x="89" y="88"/>
                  </a:cubicBezTo>
                  <a:lnTo>
                    <a:pt x="102" y="50"/>
                  </a:lnTo>
                  <a:cubicBezTo>
                    <a:pt x="103" y="48"/>
                    <a:pt x="105" y="47"/>
                    <a:pt x="107" y="47"/>
                  </a:cubicBezTo>
                  <a:lnTo>
                    <a:pt x="108" y="47"/>
                  </a:lnTo>
                  <a:lnTo>
                    <a:pt x="176" y="68"/>
                  </a:lnTo>
                  <a:lnTo>
                    <a:pt x="249" y="39"/>
                  </a:lnTo>
                  <a:cubicBezTo>
                    <a:pt x="250" y="38"/>
                    <a:pt x="250" y="38"/>
                    <a:pt x="251" y="38"/>
                  </a:cubicBezTo>
                  <a:cubicBezTo>
                    <a:pt x="251" y="38"/>
                    <a:pt x="252" y="38"/>
                    <a:pt x="252" y="39"/>
                  </a:cubicBezTo>
                  <a:lnTo>
                    <a:pt x="318" y="63"/>
                  </a:lnTo>
                  <a:lnTo>
                    <a:pt x="444" y="13"/>
                  </a:lnTo>
                  <a:lnTo>
                    <a:pt x="531" y="21"/>
                  </a:lnTo>
                  <a:lnTo>
                    <a:pt x="566" y="1"/>
                  </a:lnTo>
                  <a:cubicBezTo>
                    <a:pt x="567" y="0"/>
                    <a:pt x="568" y="0"/>
                    <a:pt x="569" y="0"/>
                  </a:cubicBezTo>
                  <a:cubicBezTo>
                    <a:pt x="569" y="0"/>
                    <a:pt x="570" y="0"/>
                    <a:pt x="570" y="1"/>
                  </a:cubicBezTo>
                  <a:lnTo>
                    <a:pt x="596" y="13"/>
                  </a:lnTo>
                  <a:cubicBezTo>
                    <a:pt x="597" y="14"/>
                    <a:pt x="598" y="15"/>
                    <a:pt x="599" y="17"/>
                  </a:cubicBezTo>
                  <a:cubicBezTo>
                    <a:pt x="599" y="18"/>
                    <a:pt x="598" y="20"/>
                    <a:pt x="597" y="21"/>
                  </a:cubicBezTo>
                  <a:lnTo>
                    <a:pt x="547" y="80"/>
                  </a:lnTo>
                  <a:lnTo>
                    <a:pt x="497" y="97"/>
                  </a:lnTo>
                  <a:lnTo>
                    <a:pt x="488" y="259"/>
                  </a:lnTo>
                  <a:lnTo>
                    <a:pt x="476" y="298"/>
                  </a:lnTo>
                  <a:cubicBezTo>
                    <a:pt x="475" y="299"/>
                    <a:pt x="474" y="300"/>
                    <a:pt x="473" y="301"/>
                  </a:cubicBezTo>
                  <a:lnTo>
                    <a:pt x="274" y="419"/>
                  </a:lnTo>
                  <a:lnTo>
                    <a:pt x="92" y="517"/>
                  </a:lnTo>
                  <a:cubicBezTo>
                    <a:pt x="91" y="517"/>
                    <a:pt x="90" y="517"/>
                    <a:pt x="90" y="51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2" name="Freeform 407"/>
            <p:cNvSpPr>
              <a:spLocks noChangeArrowheads="1"/>
            </p:cNvSpPr>
            <p:nvPr/>
          </p:nvSpPr>
          <p:spPr bwMode="auto">
            <a:xfrm>
              <a:off x="5772150" y="2930525"/>
              <a:ext cx="161925" cy="119063"/>
            </a:xfrm>
            <a:custGeom>
              <a:avLst/>
              <a:gdLst/>
              <a:ahLst/>
              <a:cxnLst>
                <a:cxn ang="0">
                  <a:pos x="81" y="289"/>
                </a:cxn>
                <a:cxn ang="0">
                  <a:pos x="77" y="286"/>
                </a:cxn>
                <a:cxn ang="0">
                  <a:pos x="52" y="214"/>
                </a:cxn>
                <a:cxn ang="0">
                  <a:pos x="2" y="143"/>
                </a:cxn>
                <a:cxn ang="0">
                  <a:pos x="1" y="139"/>
                </a:cxn>
                <a:cxn ang="0">
                  <a:pos x="4" y="136"/>
                </a:cxn>
                <a:cxn ang="0">
                  <a:pos x="34" y="128"/>
                </a:cxn>
                <a:cxn ang="0">
                  <a:pos x="35" y="127"/>
                </a:cxn>
                <a:cxn ang="0">
                  <a:pos x="38" y="128"/>
                </a:cxn>
                <a:cxn ang="0">
                  <a:pos x="40" y="132"/>
                </a:cxn>
                <a:cxn ang="0">
                  <a:pos x="40" y="162"/>
                </a:cxn>
                <a:cxn ang="0">
                  <a:pos x="57" y="165"/>
                </a:cxn>
                <a:cxn ang="0">
                  <a:pos x="61" y="168"/>
                </a:cxn>
                <a:cxn ang="0">
                  <a:pos x="68" y="187"/>
                </a:cxn>
                <a:cxn ang="0">
                  <a:pos x="107" y="187"/>
                </a:cxn>
                <a:cxn ang="0">
                  <a:pos x="134" y="170"/>
                </a:cxn>
                <a:cxn ang="0">
                  <a:pos x="247" y="178"/>
                </a:cxn>
                <a:cxn ang="0">
                  <a:pos x="280" y="163"/>
                </a:cxn>
                <a:cxn ang="0">
                  <a:pos x="280" y="149"/>
                </a:cxn>
                <a:cxn ang="0">
                  <a:pos x="282" y="146"/>
                </a:cxn>
                <a:cxn ang="0">
                  <a:pos x="417" y="2"/>
                </a:cxn>
                <a:cxn ang="0">
                  <a:pos x="421" y="0"/>
                </a:cxn>
                <a:cxn ang="0">
                  <a:pos x="422" y="1"/>
                </a:cxn>
                <a:cxn ang="0">
                  <a:pos x="425" y="5"/>
                </a:cxn>
                <a:cxn ang="0">
                  <a:pos x="425" y="35"/>
                </a:cxn>
                <a:cxn ang="0">
                  <a:pos x="439" y="39"/>
                </a:cxn>
                <a:cxn ang="0">
                  <a:pos x="442" y="43"/>
                </a:cxn>
                <a:cxn ang="0">
                  <a:pos x="446" y="111"/>
                </a:cxn>
                <a:cxn ang="0">
                  <a:pos x="442" y="116"/>
                </a:cxn>
                <a:cxn ang="0">
                  <a:pos x="402" y="119"/>
                </a:cxn>
                <a:cxn ang="0">
                  <a:pos x="421" y="181"/>
                </a:cxn>
                <a:cxn ang="0">
                  <a:pos x="418" y="187"/>
                </a:cxn>
                <a:cxn ang="0">
                  <a:pos x="374" y="203"/>
                </a:cxn>
                <a:cxn ang="0">
                  <a:pos x="358" y="310"/>
                </a:cxn>
                <a:cxn ang="0">
                  <a:pos x="339" y="330"/>
                </a:cxn>
                <a:cxn ang="0">
                  <a:pos x="336" y="331"/>
                </a:cxn>
                <a:cxn ang="0">
                  <a:pos x="81" y="289"/>
                </a:cxn>
              </a:cxnLst>
              <a:rect l="0" t="0" r="r" b="b"/>
              <a:pathLst>
                <a:path w="448" h="332">
                  <a:moveTo>
                    <a:pt x="81" y="289"/>
                  </a:moveTo>
                  <a:cubicBezTo>
                    <a:pt x="79" y="289"/>
                    <a:pt x="78" y="288"/>
                    <a:pt x="77" y="286"/>
                  </a:cubicBezTo>
                  <a:lnTo>
                    <a:pt x="52" y="214"/>
                  </a:lnTo>
                  <a:lnTo>
                    <a:pt x="2" y="143"/>
                  </a:lnTo>
                  <a:cubicBezTo>
                    <a:pt x="1" y="142"/>
                    <a:pt x="0" y="140"/>
                    <a:pt x="1" y="139"/>
                  </a:cubicBezTo>
                  <a:cubicBezTo>
                    <a:pt x="2" y="138"/>
                    <a:pt x="3" y="136"/>
                    <a:pt x="4" y="136"/>
                  </a:cubicBezTo>
                  <a:lnTo>
                    <a:pt x="34" y="128"/>
                  </a:lnTo>
                  <a:cubicBezTo>
                    <a:pt x="34" y="127"/>
                    <a:pt x="35" y="127"/>
                    <a:pt x="35" y="127"/>
                  </a:cubicBezTo>
                  <a:cubicBezTo>
                    <a:pt x="36" y="127"/>
                    <a:pt x="37" y="128"/>
                    <a:pt x="38" y="128"/>
                  </a:cubicBezTo>
                  <a:cubicBezTo>
                    <a:pt x="39" y="129"/>
                    <a:pt x="40" y="130"/>
                    <a:pt x="40" y="132"/>
                  </a:cubicBezTo>
                  <a:lnTo>
                    <a:pt x="40" y="162"/>
                  </a:lnTo>
                  <a:lnTo>
                    <a:pt x="57" y="165"/>
                  </a:lnTo>
                  <a:cubicBezTo>
                    <a:pt x="59" y="166"/>
                    <a:pt x="60" y="167"/>
                    <a:pt x="61" y="168"/>
                  </a:cubicBezTo>
                  <a:lnTo>
                    <a:pt x="68" y="187"/>
                  </a:lnTo>
                  <a:lnTo>
                    <a:pt x="107" y="187"/>
                  </a:lnTo>
                  <a:lnTo>
                    <a:pt x="134" y="170"/>
                  </a:lnTo>
                  <a:lnTo>
                    <a:pt x="247" y="178"/>
                  </a:lnTo>
                  <a:lnTo>
                    <a:pt x="280" y="163"/>
                  </a:lnTo>
                  <a:lnTo>
                    <a:pt x="280" y="149"/>
                  </a:lnTo>
                  <a:cubicBezTo>
                    <a:pt x="280" y="148"/>
                    <a:pt x="281" y="147"/>
                    <a:pt x="282" y="146"/>
                  </a:cubicBezTo>
                  <a:lnTo>
                    <a:pt x="417" y="2"/>
                  </a:lnTo>
                  <a:cubicBezTo>
                    <a:pt x="418" y="1"/>
                    <a:pt x="419" y="0"/>
                    <a:pt x="421" y="0"/>
                  </a:cubicBezTo>
                  <a:lnTo>
                    <a:pt x="422" y="1"/>
                  </a:lnTo>
                  <a:cubicBezTo>
                    <a:pt x="424" y="1"/>
                    <a:pt x="425" y="3"/>
                    <a:pt x="425" y="5"/>
                  </a:cubicBezTo>
                  <a:lnTo>
                    <a:pt x="425" y="35"/>
                  </a:lnTo>
                  <a:lnTo>
                    <a:pt x="439" y="39"/>
                  </a:lnTo>
                  <a:cubicBezTo>
                    <a:pt x="441" y="39"/>
                    <a:pt x="442" y="41"/>
                    <a:pt x="442" y="43"/>
                  </a:cubicBezTo>
                  <a:lnTo>
                    <a:pt x="446" y="111"/>
                  </a:lnTo>
                  <a:cubicBezTo>
                    <a:pt x="447" y="113"/>
                    <a:pt x="445" y="115"/>
                    <a:pt x="442" y="116"/>
                  </a:cubicBezTo>
                  <a:lnTo>
                    <a:pt x="402" y="119"/>
                  </a:lnTo>
                  <a:lnTo>
                    <a:pt x="421" y="181"/>
                  </a:lnTo>
                  <a:cubicBezTo>
                    <a:pt x="422" y="184"/>
                    <a:pt x="420" y="186"/>
                    <a:pt x="418" y="187"/>
                  </a:cubicBezTo>
                  <a:lnTo>
                    <a:pt x="374" y="203"/>
                  </a:lnTo>
                  <a:lnTo>
                    <a:pt x="358" y="310"/>
                  </a:lnTo>
                  <a:lnTo>
                    <a:pt x="339" y="330"/>
                  </a:lnTo>
                  <a:cubicBezTo>
                    <a:pt x="338" y="331"/>
                    <a:pt x="337" y="331"/>
                    <a:pt x="336" y="331"/>
                  </a:cubicBezTo>
                  <a:lnTo>
                    <a:pt x="81" y="28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3" name="Freeform 408"/>
            <p:cNvSpPr>
              <a:spLocks noChangeArrowheads="1"/>
            </p:cNvSpPr>
            <p:nvPr/>
          </p:nvSpPr>
          <p:spPr bwMode="auto">
            <a:xfrm>
              <a:off x="5772150" y="2930525"/>
              <a:ext cx="161925" cy="119063"/>
            </a:xfrm>
            <a:custGeom>
              <a:avLst/>
              <a:gdLst/>
              <a:ahLst/>
              <a:cxnLst>
                <a:cxn ang="0">
                  <a:pos x="81" y="289"/>
                </a:cxn>
                <a:cxn ang="0">
                  <a:pos x="77" y="286"/>
                </a:cxn>
                <a:cxn ang="0">
                  <a:pos x="52" y="214"/>
                </a:cxn>
                <a:cxn ang="0">
                  <a:pos x="2" y="143"/>
                </a:cxn>
                <a:cxn ang="0">
                  <a:pos x="1" y="139"/>
                </a:cxn>
                <a:cxn ang="0">
                  <a:pos x="4" y="136"/>
                </a:cxn>
                <a:cxn ang="0">
                  <a:pos x="34" y="128"/>
                </a:cxn>
                <a:cxn ang="0">
                  <a:pos x="35" y="127"/>
                </a:cxn>
                <a:cxn ang="0">
                  <a:pos x="38" y="128"/>
                </a:cxn>
                <a:cxn ang="0">
                  <a:pos x="40" y="132"/>
                </a:cxn>
                <a:cxn ang="0">
                  <a:pos x="40" y="162"/>
                </a:cxn>
                <a:cxn ang="0">
                  <a:pos x="57" y="165"/>
                </a:cxn>
                <a:cxn ang="0">
                  <a:pos x="61" y="168"/>
                </a:cxn>
                <a:cxn ang="0">
                  <a:pos x="68" y="187"/>
                </a:cxn>
                <a:cxn ang="0">
                  <a:pos x="107" y="187"/>
                </a:cxn>
                <a:cxn ang="0">
                  <a:pos x="134" y="170"/>
                </a:cxn>
                <a:cxn ang="0">
                  <a:pos x="247" y="178"/>
                </a:cxn>
                <a:cxn ang="0">
                  <a:pos x="280" y="163"/>
                </a:cxn>
                <a:cxn ang="0">
                  <a:pos x="280" y="149"/>
                </a:cxn>
                <a:cxn ang="0">
                  <a:pos x="282" y="146"/>
                </a:cxn>
                <a:cxn ang="0">
                  <a:pos x="417" y="2"/>
                </a:cxn>
                <a:cxn ang="0">
                  <a:pos x="421" y="0"/>
                </a:cxn>
                <a:cxn ang="0">
                  <a:pos x="422" y="1"/>
                </a:cxn>
                <a:cxn ang="0">
                  <a:pos x="425" y="5"/>
                </a:cxn>
                <a:cxn ang="0">
                  <a:pos x="425" y="35"/>
                </a:cxn>
                <a:cxn ang="0">
                  <a:pos x="439" y="39"/>
                </a:cxn>
                <a:cxn ang="0">
                  <a:pos x="442" y="43"/>
                </a:cxn>
                <a:cxn ang="0">
                  <a:pos x="446" y="111"/>
                </a:cxn>
                <a:cxn ang="0">
                  <a:pos x="442" y="116"/>
                </a:cxn>
                <a:cxn ang="0">
                  <a:pos x="402" y="119"/>
                </a:cxn>
                <a:cxn ang="0">
                  <a:pos x="421" y="181"/>
                </a:cxn>
                <a:cxn ang="0">
                  <a:pos x="418" y="187"/>
                </a:cxn>
                <a:cxn ang="0">
                  <a:pos x="374" y="203"/>
                </a:cxn>
                <a:cxn ang="0">
                  <a:pos x="358" y="310"/>
                </a:cxn>
                <a:cxn ang="0">
                  <a:pos x="339" y="330"/>
                </a:cxn>
                <a:cxn ang="0">
                  <a:pos x="336" y="331"/>
                </a:cxn>
                <a:cxn ang="0">
                  <a:pos x="81" y="289"/>
                </a:cxn>
              </a:cxnLst>
              <a:rect l="0" t="0" r="r" b="b"/>
              <a:pathLst>
                <a:path w="448" h="332">
                  <a:moveTo>
                    <a:pt x="81" y="289"/>
                  </a:moveTo>
                  <a:cubicBezTo>
                    <a:pt x="79" y="289"/>
                    <a:pt x="78" y="288"/>
                    <a:pt x="77" y="286"/>
                  </a:cubicBezTo>
                  <a:lnTo>
                    <a:pt x="52" y="214"/>
                  </a:lnTo>
                  <a:lnTo>
                    <a:pt x="2" y="143"/>
                  </a:lnTo>
                  <a:cubicBezTo>
                    <a:pt x="1" y="142"/>
                    <a:pt x="0" y="140"/>
                    <a:pt x="1" y="139"/>
                  </a:cubicBezTo>
                  <a:cubicBezTo>
                    <a:pt x="2" y="138"/>
                    <a:pt x="3" y="136"/>
                    <a:pt x="4" y="136"/>
                  </a:cubicBezTo>
                  <a:lnTo>
                    <a:pt x="34" y="128"/>
                  </a:lnTo>
                  <a:cubicBezTo>
                    <a:pt x="34" y="127"/>
                    <a:pt x="35" y="127"/>
                    <a:pt x="35" y="127"/>
                  </a:cubicBezTo>
                  <a:cubicBezTo>
                    <a:pt x="36" y="127"/>
                    <a:pt x="37" y="128"/>
                    <a:pt x="38" y="128"/>
                  </a:cubicBezTo>
                  <a:cubicBezTo>
                    <a:pt x="39" y="129"/>
                    <a:pt x="40" y="130"/>
                    <a:pt x="40" y="132"/>
                  </a:cubicBezTo>
                  <a:lnTo>
                    <a:pt x="40" y="162"/>
                  </a:lnTo>
                  <a:lnTo>
                    <a:pt x="57" y="165"/>
                  </a:lnTo>
                  <a:cubicBezTo>
                    <a:pt x="59" y="166"/>
                    <a:pt x="60" y="167"/>
                    <a:pt x="61" y="168"/>
                  </a:cubicBezTo>
                  <a:lnTo>
                    <a:pt x="68" y="187"/>
                  </a:lnTo>
                  <a:lnTo>
                    <a:pt x="107" y="187"/>
                  </a:lnTo>
                  <a:lnTo>
                    <a:pt x="134" y="170"/>
                  </a:lnTo>
                  <a:lnTo>
                    <a:pt x="247" y="178"/>
                  </a:lnTo>
                  <a:lnTo>
                    <a:pt x="280" y="163"/>
                  </a:lnTo>
                  <a:lnTo>
                    <a:pt x="280" y="149"/>
                  </a:lnTo>
                  <a:cubicBezTo>
                    <a:pt x="280" y="148"/>
                    <a:pt x="281" y="147"/>
                    <a:pt x="282" y="146"/>
                  </a:cubicBezTo>
                  <a:lnTo>
                    <a:pt x="417" y="2"/>
                  </a:lnTo>
                  <a:cubicBezTo>
                    <a:pt x="418" y="1"/>
                    <a:pt x="419" y="0"/>
                    <a:pt x="421" y="0"/>
                  </a:cubicBezTo>
                  <a:lnTo>
                    <a:pt x="422" y="1"/>
                  </a:lnTo>
                  <a:cubicBezTo>
                    <a:pt x="424" y="1"/>
                    <a:pt x="425" y="3"/>
                    <a:pt x="425" y="5"/>
                  </a:cubicBezTo>
                  <a:lnTo>
                    <a:pt x="425" y="35"/>
                  </a:lnTo>
                  <a:lnTo>
                    <a:pt x="439" y="39"/>
                  </a:lnTo>
                  <a:cubicBezTo>
                    <a:pt x="441" y="39"/>
                    <a:pt x="442" y="41"/>
                    <a:pt x="442" y="43"/>
                  </a:cubicBezTo>
                  <a:lnTo>
                    <a:pt x="446" y="111"/>
                  </a:lnTo>
                  <a:cubicBezTo>
                    <a:pt x="447" y="113"/>
                    <a:pt x="445" y="115"/>
                    <a:pt x="442" y="116"/>
                  </a:cubicBezTo>
                  <a:lnTo>
                    <a:pt x="402" y="119"/>
                  </a:lnTo>
                  <a:lnTo>
                    <a:pt x="421" y="181"/>
                  </a:lnTo>
                  <a:cubicBezTo>
                    <a:pt x="422" y="184"/>
                    <a:pt x="420" y="186"/>
                    <a:pt x="418" y="187"/>
                  </a:cubicBezTo>
                  <a:lnTo>
                    <a:pt x="374" y="203"/>
                  </a:lnTo>
                  <a:lnTo>
                    <a:pt x="358" y="310"/>
                  </a:lnTo>
                  <a:lnTo>
                    <a:pt x="339" y="330"/>
                  </a:lnTo>
                  <a:cubicBezTo>
                    <a:pt x="338" y="331"/>
                    <a:pt x="337" y="331"/>
                    <a:pt x="336" y="331"/>
                  </a:cubicBezTo>
                  <a:lnTo>
                    <a:pt x="81" y="28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4" name="Freeform 409"/>
            <p:cNvSpPr>
              <a:spLocks noChangeArrowheads="1"/>
            </p:cNvSpPr>
            <p:nvPr/>
          </p:nvSpPr>
          <p:spPr bwMode="auto">
            <a:xfrm>
              <a:off x="5021263" y="2349500"/>
              <a:ext cx="93662" cy="79375"/>
            </a:xfrm>
            <a:custGeom>
              <a:avLst/>
              <a:gdLst/>
              <a:ahLst/>
              <a:cxnLst>
                <a:cxn ang="0">
                  <a:pos x="16" y="220"/>
                </a:cxn>
                <a:cxn ang="0">
                  <a:pos x="13" y="215"/>
                </a:cxn>
                <a:cxn ang="0">
                  <a:pos x="18" y="181"/>
                </a:cxn>
                <a:cxn ang="0">
                  <a:pos x="19" y="178"/>
                </a:cxn>
                <a:cxn ang="0">
                  <a:pos x="42" y="158"/>
                </a:cxn>
                <a:cxn ang="0">
                  <a:pos x="4" y="148"/>
                </a:cxn>
                <a:cxn ang="0">
                  <a:pos x="1" y="146"/>
                </a:cxn>
                <a:cxn ang="0">
                  <a:pos x="1" y="142"/>
                </a:cxn>
                <a:cxn ang="0">
                  <a:pos x="38" y="63"/>
                </a:cxn>
                <a:cxn ang="0">
                  <a:pos x="22" y="31"/>
                </a:cxn>
                <a:cxn ang="0">
                  <a:pos x="22" y="28"/>
                </a:cxn>
                <a:cxn ang="0">
                  <a:pos x="25" y="25"/>
                </a:cxn>
                <a:cxn ang="0">
                  <a:pos x="97" y="0"/>
                </a:cxn>
                <a:cxn ang="0">
                  <a:pos x="171" y="8"/>
                </a:cxn>
                <a:cxn ang="0">
                  <a:pos x="175" y="11"/>
                </a:cxn>
                <a:cxn ang="0">
                  <a:pos x="187" y="51"/>
                </a:cxn>
                <a:cxn ang="0">
                  <a:pos x="257" y="84"/>
                </a:cxn>
                <a:cxn ang="0">
                  <a:pos x="260" y="87"/>
                </a:cxn>
                <a:cxn ang="0">
                  <a:pos x="259" y="91"/>
                </a:cxn>
                <a:cxn ang="0">
                  <a:pos x="242" y="117"/>
                </a:cxn>
                <a:cxn ang="0">
                  <a:pos x="239" y="119"/>
                </a:cxn>
                <a:cxn ang="0">
                  <a:pos x="132" y="123"/>
                </a:cxn>
                <a:cxn ang="0">
                  <a:pos x="21" y="219"/>
                </a:cxn>
                <a:cxn ang="0">
                  <a:pos x="18" y="220"/>
                </a:cxn>
                <a:cxn ang="0">
                  <a:pos x="16" y="220"/>
                </a:cxn>
              </a:cxnLst>
              <a:rect l="0" t="0" r="r" b="b"/>
              <a:pathLst>
                <a:path w="261" h="221">
                  <a:moveTo>
                    <a:pt x="16" y="220"/>
                  </a:moveTo>
                  <a:cubicBezTo>
                    <a:pt x="14" y="219"/>
                    <a:pt x="13" y="217"/>
                    <a:pt x="13" y="215"/>
                  </a:cubicBezTo>
                  <a:lnTo>
                    <a:pt x="18" y="181"/>
                  </a:lnTo>
                  <a:cubicBezTo>
                    <a:pt x="18" y="180"/>
                    <a:pt x="18" y="179"/>
                    <a:pt x="19" y="178"/>
                  </a:cubicBezTo>
                  <a:lnTo>
                    <a:pt x="42" y="158"/>
                  </a:lnTo>
                  <a:lnTo>
                    <a:pt x="4" y="148"/>
                  </a:lnTo>
                  <a:cubicBezTo>
                    <a:pt x="3" y="148"/>
                    <a:pt x="2" y="147"/>
                    <a:pt x="1" y="146"/>
                  </a:cubicBezTo>
                  <a:cubicBezTo>
                    <a:pt x="0" y="144"/>
                    <a:pt x="0" y="143"/>
                    <a:pt x="1" y="142"/>
                  </a:cubicBezTo>
                  <a:lnTo>
                    <a:pt x="38" y="63"/>
                  </a:lnTo>
                  <a:lnTo>
                    <a:pt x="22" y="31"/>
                  </a:lnTo>
                  <a:cubicBezTo>
                    <a:pt x="22" y="30"/>
                    <a:pt x="22" y="29"/>
                    <a:pt x="22" y="28"/>
                  </a:cubicBezTo>
                  <a:cubicBezTo>
                    <a:pt x="23" y="26"/>
                    <a:pt x="24" y="25"/>
                    <a:pt x="25" y="25"/>
                  </a:cubicBezTo>
                  <a:lnTo>
                    <a:pt x="97" y="0"/>
                  </a:lnTo>
                  <a:lnTo>
                    <a:pt x="171" y="8"/>
                  </a:lnTo>
                  <a:cubicBezTo>
                    <a:pt x="173" y="8"/>
                    <a:pt x="174" y="9"/>
                    <a:pt x="175" y="11"/>
                  </a:cubicBezTo>
                  <a:lnTo>
                    <a:pt x="187" y="51"/>
                  </a:lnTo>
                  <a:lnTo>
                    <a:pt x="257" y="84"/>
                  </a:lnTo>
                  <a:cubicBezTo>
                    <a:pt x="259" y="85"/>
                    <a:pt x="259" y="86"/>
                    <a:pt x="260" y="87"/>
                  </a:cubicBezTo>
                  <a:cubicBezTo>
                    <a:pt x="260" y="89"/>
                    <a:pt x="260" y="90"/>
                    <a:pt x="259" y="91"/>
                  </a:cubicBezTo>
                  <a:lnTo>
                    <a:pt x="242" y="117"/>
                  </a:lnTo>
                  <a:cubicBezTo>
                    <a:pt x="241" y="118"/>
                    <a:pt x="240" y="119"/>
                    <a:pt x="239" y="119"/>
                  </a:cubicBezTo>
                  <a:lnTo>
                    <a:pt x="132" y="123"/>
                  </a:lnTo>
                  <a:lnTo>
                    <a:pt x="21" y="219"/>
                  </a:lnTo>
                  <a:cubicBezTo>
                    <a:pt x="20" y="220"/>
                    <a:pt x="19" y="220"/>
                    <a:pt x="18" y="220"/>
                  </a:cubicBezTo>
                  <a:cubicBezTo>
                    <a:pt x="17" y="220"/>
                    <a:pt x="16" y="220"/>
                    <a:pt x="16" y="22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5" name="Freeform 410"/>
            <p:cNvSpPr>
              <a:spLocks noChangeArrowheads="1"/>
            </p:cNvSpPr>
            <p:nvPr/>
          </p:nvSpPr>
          <p:spPr bwMode="auto">
            <a:xfrm>
              <a:off x="5021263" y="2349500"/>
              <a:ext cx="93662" cy="79375"/>
            </a:xfrm>
            <a:custGeom>
              <a:avLst/>
              <a:gdLst/>
              <a:ahLst/>
              <a:cxnLst>
                <a:cxn ang="0">
                  <a:pos x="18" y="220"/>
                </a:cxn>
                <a:cxn ang="0">
                  <a:pos x="16" y="220"/>
                </a:cxn>
                <a:cxn ang="0">
                  <a:pos x="13" y="215"/>
                </a:cxn>
                <a:cxn ang="0">
                  <a:pos x="18" y="181"/>
                </a:cxn>
                <a:cxn ang="0">
                  <a:pos x="19" y="178"/>
                </a:cxn>
                <a:cxn ang="0">
                  <a:pos x="42" y="158"/>
                </a:cxn>
                <a:cxn ang="0">
                  <a:pos x="4" y="148"/>
                </a:cxn>
                <a:cxn ang="0">
                  <a:pos x="1" y="146"/>
                </a:cxn>
                <a:cxn ang="0">
                  <a:pos x="1" y="142"/>
                </a:cxn>
                <a:cxn ang="0">
                  <a:pos x="38" y="63"/>
                </a:cxn>
                <a:cxn ang="0">
                  <a:pos x="22" y="31"/>
                </a:cxn>
                <a:cxn ang="0">
                  <a:pos x="22" y="28"/>
                </a:cxn>
                <a:cxn ang="0">
                  <a:pos x="25" y="25"/>
                </a:cxn>
                <a:cxn ang="0">
                  <a:pos x="97" y="0"/>
                </a:cxn>
                <a:cxn ang="0">
                  <a:pos x="171" y="8"/>
                </a:cxn>
                <a:cxn ang="0">
                  <a:pos x="175" y="11"/>
                </a:cxn>
                <a:cxn ang="0">
                  <a:pos x="187" y="51"/>
                </a:cxn>
                <a:cxn ang="0">
                  <a:pos x="257" y="84"/>
                </a:cxn>
                <a:cxn ang="0">
                  <a:pos x="260" y="87"/>
                </a:cxn>
                <a:cxn ang="0">
                  <a:pos x="259" y="91"/>
                </a:cxn>
                <a:cxn ang="0">
                  <a:pos x="242" y="117"/>
                </a:cxn>
                <a:cxn ang="0">
                  <a:pos x="239" y="119"/>
                </a:cxn>
                <a:cxn ang="0">
                  <a:pos x="132" y="123"/>
                </a:cxn>
                <a:cxn ang="0">
                  <a:pos x="21" y="219"/>
                </a:cxn>
                <a:cxn ang="0">
                  <a:pos x="18" y="220"/>
                </a:cxn>
              </a:cxnLst>
              <a:rect l="0" t="0" r="r" b="b"/>
              <a:pathLst>
                <a:path w="261" h="221">
                  <a:moveTo>
                    <a:pt x="18" y="220"/>
                  </a:moveTo>
                  <a:cubicBezTo>
                    <a:pt x="17" y="220"/>
                    <a:pt x="16" y="220"/>
                    <a:pt x="16" y="220"/>
                  </a:cubicBezTo>
                  <a:cubicBezTo>
                    <a:pt x="14" y="219"/>
                    <a:pt x="13" y="217"/>
                    <a:pt x="13" y="215"/>
                  </a:cubicBezTo>
                  <a:lnTo>
                    <a:pt x="18" y="181"/>
                  </a:lnTo>
                  <a:cubicBezTo>
                    <a:pt x="18" y="180"/>
                    <a:pt x="18" y="179"/>
                    <a:pt x="19" y="178"/>
                  </a:cubicBezTo>
                  <a:lnTo>
                    <a:pt x="42" y="158"/>
                  </a:lnTo>
                  <a:lnTo>
                    <a:pt x="4" y="148"/>
                  </a:lnTo>
                  <a:cubicBezTo>
                    <a:pt x="3" y="148"/>
                    <a:pt x="2" y="147"/>
                    <a:pt x="1" y="146"/>
                  </a:cubicBezTo>
                  <a:cubicBezTo>
                    <a:pt x="0" y="144"/>
                    <a:pt x="0" y="143"/>
                    <a:pt x="1" y="142"/>
                  </a:cubicBezTo>
                  <a:lnTo>
                    <a:pt x="38" y="63"/>
                  </a:lnTo>
                  <a:lnTo>
                    <a:pt x="22" y="31"/>
                  </a:lnTo>
                  <a:cubicBezTo>
                    <a:pt x="22" y="30"/>
                    <a:pt x="22" y="29"/>
                    <a:pt x="22" y="28"/>
                  </a:cubicBezTo>
                  <a:cubicBezTo>
                    <a:pt x="23" y="26"/>
                    <a:pt x="24" y="25"/>
                    <a:pt x="25" y="25"/>
                  </a:cubicBezTo>
                  <a:lnTo>
                    <a:pt x="97" y="0"/>
                  </a:lnTo>
                  <a:lnTo>
                    <a:pt x="171" y="8"/>
                  </a:lnTo>
                  <a:cubicBezTo>
                    <a:pt x="173" y="8"/>
                    <a:pt x="174" y="9"/>
                    <a:pt x="175" y="11"/>
                  </a:cubicBezTo>
                  <a:lnTo>
                    <a:pt x="187" y="51"/>
                  </a:lnTo>
                  <a:lnTo>
                    <a:pt x="257" y="84"/>
                  </a:lnTo>
                  <a:cubicBezTo>
                    <a:pt x="259" y="85"/>
                    <a:pt x="259" y="86"/>
                    <a:pt x="260" y="87"/>
                  </a:cubicBezTo>
                  <a:cubicBezTo>
                    <a:pt x="260" y="89"/>
                    <a:pt x="260" y="90"/>
                    <a:pt x="259" y="91"/>
                  </a:cubicBezTo>
                  <a:lnTo>
                    <a:pt x="242" y="117"/>
                  </a:lnTo>
                  <a:cubicBezTo>
                    <a:pt x="241" y="118"/>
                    <a:pt x="240" y="119"/>
                    <a:pt x="239" y="119"/>
                  </a:cubicBezTo>
                  <a:lnTo>
                    <a:pt x="132" y="123"/>
                  </a:lnTo>
                  <a:lnTo>
                    <a:pt x="21" y="219"/>
                  </a:lnTo>
                  <a:cubicBezTo>
                    <a:pt x="20" y="220"/>
                    <a:pt x="19" y="220"/>
                    <a:pt x="18" y="22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6" name="Freeform 411"/>
            <p:cNvSpPr>
              <a:spLocks noChangeArrowheads="1"/>
            </p:cNvSpPr>
            <p:nvPr/>
          </p:nvSpPr>
          <p:spPr bwMode="auto">
            <a:xfrm>
              <a:off x="5026025" y="2347913"/>
              <a:ext cx="563563" cy="242887"/>
            </a:xfrm>
            <a:custGeom>
              <a:avLst/>
              <a:gdLst/>
              <a:ahLst/>
              <a:cxnLst>
                <a:cxn ang="0">
                  <a:pos x="813" y="652"/>
                </a:cxn>
                <a:cxn ang="0">
                  <a:pos x="837" y="580"/>
                </a:cxn>
                <a:cxn ang="0">
                  <a:pos x="784" y="602"/>
                </a:cxn>
                <a:cxn ang="0">
                  <a:pos x="700" y="585"/>
                </a:cxn>
                <a:cxn ang="0">
                  <a:pos x="564" y="653"/>
                </a:cxn>
                <a:cxn ang="0">
                  <a:pos x="382" y="567"/>
                </a:cxn>
                <a:cxn ang="0">
                  <a:pos x="315" y="644"/>
                </a:cxn>
                <a:cxn ang="0">
                  <a:pos x="248" y="587"/>
                </a:cxn>
                <a:cxn ang="0">
                  <a:pos x="226" y="592"/>
                </a:cxn>
                <a:cxn ang="0">
                  <a:pos x="166" y="594"/>
                </a:cxn>
                <a:cxn ang="0">
                  <a:pos x="161" y="578"/>
                </a:cxn>
                <a:cxn ang="0">
                  <a:pos x="110" y="586"/>
                </a:cxn>
                <a:cxn ang="0">
                  <a:pos x="106" y="551"/>
                </a:cxn>
                <a:cxn ang="0">
                  <a:pos x="117" y="526"/>
                </a:cxn>
                <a:cxn ang="0">
                  <a:pos x="100" y="486"/>
                </a:cxn>
                <a:cxn ang="0">
                  <a:pos x="84" y="444"/>
                </a:cxn>
                <a:cxn ang="0">
                  <a:pos x="26" y="372"/>
                </a:cxn>
                <a:cxn ang="0">
                  <a:pos x="34" y="371"/>
                </a:cxn>
                <a:cxn ang="0">
                  <a:pos x="53" y="377"/>
                </a:cxn>
                <a:cxn ang="0">
                  <a:pos x="67" y="352"/>
                </a:cxn>
                <a:cxn ang="0">
                  <a:pos x="54" y="281"/>
                </a:cxn>
                <a:cxn ang="0">
                  <a:pos x="0" y="283"/>
                </a:cxn>
                <a:cxn ang="0">
                  <a:pos x="134" y="187"/>
                </a:cxn>
                <a:cxn ang="0">
                  <a:pos x="136" y="170"/>
                </a:cxn>
                <a:cxn ang="0">
                  <a:pos x="225" y="164"/>
                </a:cxn>
                <a:cxn ang="0">
                  <a:pos x="245" y="153"/>
                </a:cxn>
                <a:cxn ang="0">
                  <a:pos x="242" y="122"/>
                </a:cxn>
                <a:cxn ang="0">
                  <a:pos x="263" y="89"/>
                </a:cxn>
                <a:cxn ang="0">
                  <a:pos x="604" y="5"/>
                </a:cxn>
                <a:cxn ang="0">
                  <a:pos x="798" y="42"/>
                </a:cxn>
                <a:cxn ang="0">
                  <a:pos x="839" y="37"/>
                </a:cxn>
                <a:cxn ang="0">
                  <a:pos x="1105" y="102"/>
                </a:cxn>
                <a:cxn ang="0">
                  <a:pos x="1284" y="47"/>
                </a:cxn>
                <a:cxn ang="0">
                  <a:pos x="1389" y="51"/>
                </a:cxn>
                <a:cxn ang="0">
                  <a:pos x="1483" y="202"/>
                </a:cxn>
                <a:cxn ang="0">
                  <a:pos x="1546" y="249"/>
                </a:cxn>
                <a:cxn ang="0">
                  <a:pos x="1522" y="456"/>
                </a:cxn>
                <a:cxn ang="0">
                  <a:pos x="1564" y="521"/>
                </a:cxn>
                <a:cxn ang="0">
                  <a:pos x="1517" y="528"/>
                </a:cxn>
                <a:cxn ang="0">
                  <a:pos x="1372" y="533"/>
                </a:cxn>
                <a:cxn ang="0">
                  <a:pos x="1343" y="522"/>
                </a:cxn>
                <a:cxn ang="0">
                  <a:pos x="1095" y="585"/>
                </a:cxn>
                <a:cxn ang="0">
                  <a:pos x="1026" y="560"/>
                </a:cxn>
                <a:cxn ang="0">
                  <a:pos x="874" y="601"/>
                </a:cxn>
                <a:cxn ang="0">
                  <a:pos x="882" y="632"/>
                </a:cxn>
                <a:cxn ang="0">
                  <a:pos x="840" y="674"/>
                </a:cxn>
              </a:cxnLst>
              <a:rect l="0" t="0" r="r" b="b"/>
              <a:pathLst>
                <a:path w="1565" h="675">
                  <a:moveTo>
                    <a:pt x="836" y="673"/>
                  </a:moveTo>
                  <a:lnTo>
                    <a:pt x="815" y="656"/>
                  </a:lnTo>
                  <a:cubicBezTo>
                    <a:pt x="814" y="655"/>
                    <a:pt x="813" y="654"/>
                    <a:pt x="813" y="652"/>
                  </a:cubicBezTo>
                  <a:lnTo>
                    <a:pt x="818" y="601"/>
                  </a:lnTo>
                  <a:cubicBezTo>
                    <a:pt x="818" y="600"/>
                    <a:pt x="818" y="599"/>
                    <a:pt x="819" y="598"/>
                  </a:cubicBezTo>
                  <a:lnTo>
                    <a:pt x="837" y="580"/>
                  </a:lnTo>
                  <a:lnTo>
                    <a:pt x="826" y="570"/>
                  </a:lnTo>
                  <a:lnTo>
                    <a:pt x="787" y="601"/>
                  </a:lnTo>
                  <a:cubicBezTo>
                    <a:pt x="786" y="602"/>
                    <a:pt x="785" y="602"/>
                    <a:pt x="784" y="602"/>
                  </a:cubicBezTo>
                  <a:cubicBezTo>
                    <a:pt x="783" y="602"/>
                    <a:pt x="783" y="602"/>
                    <a:pt x="782" y="602"/>
                  </a:cubicBezTo>
                  <a:lnTo>
                    <a:pt x="733" y="577"/>
                  </a:lnTo>
                  <a:lnTo>
                    <a:pt x="700" y="585"/>
                  </a:lnTo>
                  <a:lnTo>
                    <a:pt x="673" y="617"/>
                  </a:lnTo>
                  <a:lnTo>
                    <a:pt x="565" y="653"/>
                  </a:lnTo>
                  <a:lnTo>
                    <a:pt x="564" y="653"/>
                  </a:lnTo>
                  <a:cubicBezTo>
                    <a:pt x="563" y="653"/>
                    <a:pt x="562" y="653"/>
                    <a:pt x="562" y="652"/>
                  </a:cubicBezTo>
                  <a:lnTo>
                    <a:pt x="401" y="563"/>
                  </a:lnTo>
                  <a:lnTo>
                    <a:pt x="382" y="567"/>
                  </a:lnTo>
                  <a:lnTo>
                    <a:pt x="374" y="623"/>
                  </a:lnTo>
                  <a:cubicBezTo>
                    <a:pt x="373" y="625"/>
                    <a:pt x="372" y="627"/>
                    <a:pt x="370" y="627"/>
                  </a:cubicBezTo>
                  <a:lnTo>
                    <a:pt x="315" y="644"/>
                  </a:lnTo>
                  <a:lnTo>
                    <a:pt x="266" y="627"/>
                  </a:lnTo>
                  <a:cubicBezTo>
                    <a:pt x="264" y="627"/>
                    <a:pt x="263" y="626"/>
                    <a:pt x="263" y="624"/>
                  </a:cubicBezTo>
                  <a:lnTo>
                    <a:pt x="248" y="587"/>
                  </a:lnTo>
                  <a:lnTo>
                    <a:pt x="231" y="593"/>
                  </a:lnTo>
                  <a:cubicBezTo>
                    <a:pt x="230" y="594"/>
                    <a:pt x="230" y="594"/>
                    <a:pt x="229" y="594"/>
                  </a:cubicBezTo>
                  <a:cubicBezTo>
                    <a:pt x="228" y="594"/>
                    <a:pt x="227" y="593"/>
                    <a:pt x="226" y="592"/>
                  </a:cubicBezTo>
                  <a:lnTo>
                    <a:pt x="207" y="574"/>
                  </a:lnTo>
                  <a:lnTo>
                    <a:pt x="168" y="593"/>
                  </a:lnTo>
                  <a:cubicBezTo>
                    <a:pt x="167" y="593"/>
                    <a:pt x="166" y="594"/>
                    <a:pt x="166" y="594"/>
                  </a:cubicBezTo>
                  <a:cubicBezTo>
                    <a:pt x="165" y="594"/>
                    <a:pt x="164" y="593"/>
                    <a:pt x="163" y="593"/>
                  </a:cubicBezTo>
                  <a:cubicBezTo>
                    <a:pt x="162" y="592"/>
                    <a:pt x="161" y="591"/>
                    <a:pt x="161" y="589"/>
                  </a:cubicBezTo>
                  <a:lnTo>
                    <a:pt x="161" y="578"/>
                  </a:lnTo>
                  <a:lnTo>
                    <a:pt x="116" y="589"/>
                  </a:lnTo>
                  <a:cubicBezTo>
                    <a:pt x="115" y="589"/>
                    <a:pt x="115" y="589"/>
                    <a:pt x="115" y="589"/>
                  </a:cubicBezTo>
                  <a:cubicBezTo>
                    <a:pt x="113" y="589"/>
                    <a:pt x="111" y="588"/>
                    <a:pt x="110" y="586"/>
                  </a:cubicBezTo>
                  <a:cubicBezTo>
                    <a:pt x="110" y="584"/>
                    <a:pt x="110" y="582"/>
                    <a:pt x="112" y="581"/>
                  </a:cubicBezTo>
                  <a:lnTo>
                    <a:pt x="168" y="548"/>
                  </a:lnTo>
                  <a:lnTo>
                    <a:pt x="106" y="551"/>
                  </a:lnTo>
                  <a:cubicBezTo>
                    <a:pt x="104" y="551"/>
                    <a:pt x="103" y="550"/>
                    <a:pt x="102" y="549"/>
                  </a:cubicBezTo>
                  <a:cubicBezTo>
                    <a:pt x="101" y="547"/>
                    <a:pt x="101" y="545"/>
                    <a:pt x="103" y="544"/>
                  </a:cubicBezTo>
                  <a:lnTo>
                    <a:pt x="117" y="526"/>
                  </a:lnTo>
                  <a:lnTo>
                    <a:pt x="95" y="508"/>
                  </a:lnTo>
                  <a:cubicBezTo>
                    <a:pt x="93" y="507"/>
                    <a:pt x="93" y="504"/>
                    <a:pt x="94" y="503"/>
                  </a:cubicBezTo>
                  <a:lnTo>
                    <a:pt x="100" y="486"/>
                  </a:lnTo>
                  <a:lnTo>
                    <a:pt x="79" y="479"/>
                  </a:lnTo>
                  <a:cubicBezTo>
                    <a:pt x="77" y="478"/>
                    <a:pt x="76" y="476"/>
                    <a:pt x="76" y="474"/>
                  </a:cubicBezTo>
                  <a:lnTo>
                    <a:pt x="84" y="444"/>
                  </a:lnTo>
                  <a:lnTo>
                    <a:pt x="16" y="420"/>
                  </a:lnTo>
                  <a:cubicBezTo>
                    <a:pt x="13" y="419"/>
                    <a:pt x="12" y="417"/>
                    <a:pt x="13" y="414"/>
                  </a:cubicBezTo>
                  <a:lnTo>
                    <a:pt x="26" y="372"/>
                  </a:lnTo>
                  <a:cubicBezTo>
                    <a:pt x="26" y="370"/>
                    <a:pt x="28" y="369"/>
                    <a:pt x="29" y="369"/>
                  </a:cubicBezTo>
                  <a:lnTo>
                    <a:pt x="30" y="369"/>
                  </a:lnTo>
                  <a:cubicBezTo>
                    <a:pt x="32" y="369"/>
                    <a:pt x="33" y="369"/>
                    <a:pt x="34" y="371"/>
                  </a:cubicBezTo>
                  <a:lnTo>
                    <a:pt x="49" y="394"/>
                  </a:lnTo>
                  <a:lnTo>
                    <a:pt x="75" y="394"/>
                  </a:lnTo>
                  <a:lnTo>
                    <a:pt x="53" y="377"/>
                  </a:lnTo>
                  <a:cubicBezTo>
                    <a:pt x="52" y="376"/>
                    <a:pt x="51" y="375"/>
                    <a:pt x="51" y="374"/>
                  </a:cubicBezTo>
                  <a:cubicBezTo>
                    <a:pt x="51" y="373"/>
                    <a:pt x="51" y="371"/>
                    <a:pt x="52" y="370"/>
                  </a:cubicBezTo>
                  <a:lnTo>
                    <a:pt x="67" y="352"/>
                  </a:lnTo>
                  <a:lnTo>
                    <a:pt x="47" y="316"/>
                  </a:lnTo>
                  <a:cubicBezTo>
                    <a:pt x="47" y="315"/>
                    <a:pt x="46" y="314"/>
                    <a:pt x="47" y="313"/>
                  </a:cubicBezTo>
                  <a:lnTo>
                    <a:pt x="54" y="281"/>
                  </a:lnTo>
                  <a:lnTo>
                    <a:pt x="5" y="289"/>
                  </a:lnTo>
                  <a:cubicBezTo>
                    <a:pt x="3" y="289"/>
                    <a:pt x="2" y="288"/>
                    <a:pt x="1" y="287"/>
                  </a:cubicBezTo>
                  <a:cubicBezTo>
                    <a:pt x="0" y="286"/>
                    <a:pt x="0" y="285"/>
                    <a:pt x="0" y="283"/>
                  </a:cubicBezTo>
                  <a:lnTo>
                    <a:pt x="17" y="224"/>
                  </a:lnTo>
                  <a:lnTo>
                    <a:pt x="53" y="196"/>
                  </a:lnTo>
                  <a:lnTo>
                    <a:pt x="134" y="187"/>
                  </a:lnTo>
                  <a:lnTo>
                    <a:pt x="131" y="175"/>
                  </a:lnTo>
                  <a:cubicBezTo>
                    <a:pt x="131" y="174"/>
                    <a:pt x="131" y="172"/>
                    <a:pt x="132" y="171"/>
                  </a:cubicBezTo>
                  <a:cubicBezTo>
                    <a:pt x="133" y="170"/>
                    <a:pt x="134" y="170"/>
                    <a:pt x="136" y="170"/>
                  </a:cubicBezTo>
                  <a:lnTo>
                    <a:pt x="230" y="178"/>
                  </a:lnTo>
                  <a:lnTo>
                    <a:pt x="236" y="178"/>
                  </a:lnTo>
                  <a:lnTo>
                    <a:pt x="225" y="164"/>
                  </a:lnTo>
                  <a:cubicBezTo>
                    <a:pt x="225" y="163"/>
                    <a:pt x="224" y="162"/>
                    <a:pt x="225" y="160"/>
                  </a:cubicBezTo>
                  <a:cubicBezTo>
                    <a:pt x="225" y="159"/>
                    <a:pt x="226" y="157"/>
                    <a:pt x="228" y="157"/>
                  </a:cubicBezTo>
                  <a:lnTo>
                    <a:pt x="245" y="153"/>
                  </a:lnTo>
                  <a:lnTo>
                    <a:pt x="287" y="148"/>
                  </a:lnTo>
                  <a:lnTo>
                    <a:pt x="258" y="141"/>
                  </a:lnTo>
                  <a:lnTo>
                    <a:pt x="242" y="122"/>
                  </a:lnTo>
                  <a:cubicBezTo>
                    <a:pt x="241" y="120"/>
                    <a:pt x="241" y="118"/>
                    <a:pt x="242" y="117"/>
                  </a:cubicBezTo>
                  <a:lnTo>
                    <a:pt x="259" y="91"/>
                  </a:lnTo>
                  <a:cubicBezTo>
                    <a:pt x="260" y="90"/>
                    <a:pt x="261" y="89"/>
                    <a:pt x="263" y="89"/>
                  </a:cubicBezTo>
                  <a:lnTo>
                    <a:pt x="418" y="114"/>
                  </a:lnTo>
                  <a:lnTo>
                    <a:pt x="518" y="35"/>
                  </a:lnTo>
                  <a:lnTo>
                    <a:pt x="604" y="5"/>
                  </a:lnTo>
                  <a:lnTo>
                    <a:pt x="754" y="0"/>
                  </a:lnTo>
                  <a:cubicBezTo>
                    <a:pt x="756" y="0"/>
                    <a:pt x="757" y="1"/>
                    <a:pt x="758" y="2"/>
                  </a:cubicBezTo>
                  <a:lnTo>
                    <a:pt x="798" y="42"/>
                  </a:lnTo>
                  <a:lnTo>
                    <a:pt x="834" y="34"/>
                  </a:lnTo>
                  <a:lnTo>
                    <a:pt x="835" y="34"/>
                  </a:lnTo>
                  <a:cubicBezTo>
                    <a:pt x="837" y="34"/>
                    <a:pt x="838" y="35"/>
                    <a:pt x="839" y="37"/>
                  </a:cubicBezTo>
                  <a:lnTo>
                    <a:pt x="859" y="86"/>
                  </a:lnTo>
                  <a:lnTo>
                    <a:pt x="997" y="127"/>
                  </a:lnTo>
                  <a:lnTo>
                    <a:pt x="1105" y="102"/>
                  </a:lnTo>
                  <a:lnTo>
                    <a:pt x="1189" y="114"/>
                  </a:lnTo>
                  <a:lnTo>
                    <a:pt x="1281" y="48"/>
                  </a:lnTo>
                  <a:cubicBezTo>
                    <a:pt x="1282" y="47"/>
                    <a:pt x="1283" y="47"/>
                    <a:pt x="1284" y="47"/>
                  </a:cubicBezTo>
                  <a:lnTo>
                    <a:pt x="1352" y="60"/>
                  </a:lnTo>
                  <a:lnTo>
                    <a:pt x="1389" y="51"/>
                  </a:lnTo>
                  <a:lnTo>
                    <a:pt x="1389" y="51"/>
                  </a:lnTo>
                  <a:cubicBezTo>
                    <a:pt x="1391" y="51"/>
                    <a:pt x="1392" y="52"/>
                    <a:pt x="1393" y="53"/>
                  </a:cubicBezTo>
                  <a:lnTo>
                    <a:pt x="1452" y="112"/>
                  </a:lnTo>
                  <a:lnTo>
                    <a:pt x="1483" y="202"/>
                  </a:lnTo>
                  <a:lnTo>
                    <a:pt x="1545" y="242"/>
                  </a:lnTo>
                  <a:cubicBezTo>
                    <a:pt x="1546" y="243"/>
                    <a:pt x="1547" y="244"/>
                    <a:pt x="1547" y="245"/>
                  </a:cubicBezTo>
                  <a:cubicBezTo>
                    <a:pt x="1547" y="247"/>
                    <a:pt x="1547" y="248"/>
                    <a:pt x="1546" y="249"/>
                  </a:cubicBezTo>
                  <a:lnTo>
                    <a:pt x="1509" y="294"/>
                  </a:lnTo>
                  <a:lnTo>
                    <a:pt x="1521" y="334"/>
                  </a:lnTo>
                  <a:lnTo>
                    <a:pt x="1522" y="456"/>
                  </a:lnTo>
                  <a:lnTo>
                    <a:pt x="1562" y="492"/>
                  </a:lnTo>
                  <a:cubicBezTo>
                    <a:pt x="1563" y="493"/>
                    <a:pt x="1564" y="495"/>
                    <a:pt x="1564" y="496"/>
                  </a:cubicBezTo>
                  <a:lnTo>
                    <a:pt x="1564" y="521"/>
                  </a:lnTo>
                  <a:cubicBezTo>
                    <a:pt x="1564" y="524"/>
                    <a:pt x="1562" y="526"/>
                    <a:pt x="1560" y="526"/>
                  </a:cubicBezTo>
                  <a:lnTo>
                    <a:pt x="1521" y="530"/>
                  </a:lnTo>
                  <a:cubicBezTo>
                    <a:pt x="1520" y="530"/>
                    <a:pt x="1518" y="529"/>
                    <a:pt x="1517" y="528"/>
                  </a:cubicBezTo>
                  <a:lnTo>
                    <a:pt x="1510" y="517"/>
                  </a:lnTo>
                  <a:lnTo>
                    <a:pt x="1408" y="505"/>
                  </a:lnTo>
                  <a:lnTo>
                    <a:pt x="1372" y="533"/>
                  </a:lnTo>
                  <a:cubicBezTo>
                    <a:pt x="1371" y="534"/>
                    <a:pt x="1370" y="534"/>
                    <a:pt x="1369" y="534"/>
                  </a:cubicBezTo>
                  <a:cubicBezTo>
                    <a:pt x="1368" y="534"/>
                    <a:pt x="1367" y="534"/>
                    <a:pt x="1367" y="534"/>
                  </a:cubicBezTo>
                  <a:lnTo>
                    <a:pt x="1343" y="522"/>
                  </a:lnTo>
                  <a:lnTo>
                    <a:pt x="1307" y="542"/>
                  </a:lnTo>
                  <a:lnTo>
                    <a:pt x="1220" y="534"/>
                  </a:lnTo>
                  <a:lnTo>
                    <a:pt x="1095" y="585"/>
                  </a:lnTo>
                  <a:cubicBezTo>
                    <a:pt x="1095" y="585"/>
                    <a:pt x="1094" y="585"/>
                    <a:pt x="1093" y="585"/>
                  </a:cubicBezTo>
                  <a:lnTo>
                    <a:pt x="1092" y="585"/>
                  </a:lnTo>
                  <a:lnTo>
                    <a:pt x="1026" y="560"/>
                  </a:lnTo>
                  <a:lnTo>
                    <a:pt x="951" y="589"/>
                  </a:lnTo>
                  <a:lnTo>
                    <a:pt x="884" y="569"/>
                  </a:lnTo>
                  <a:lnTo>
                    <a:pt x="874" y="601"/>
                  </a:lnTo>
                  <a:lnTo>
                    <a:pt x="885" y="625"/>
                  </a:lnTo>
                  <a:cubicBezTo>
                    <a:pt x="886" y="626"/>
                    <a:pt x="886" y="628"/>
                    <a:pt x="885" y="629"/>
                  </a:cubicBezTo>
                  <a:cubicBezTo>
                    <a:pt x="885" y="630"/>
                    <a:pt x="884" y="631"/>
                    <a:pt x="882" y="632"/>
                  </a:cubicBezTo>
                  <a:lnTo>
                    <a:pt x="859" y="635"/>
                  </a:lnTo>
                  <a:lnTo>
                    <a:pt x="843" y="671"/>
                  </a:lnTo>
                  <a:cubicBezTo>
                    <a:pt x="843" y="673"/>
                    <a:pt x="842" y="673"/>
                    <a:pt x="840" y="674"/>
                  </a:cubicBezTo>
                  <a:cubicBezTo>
                    <a:pt x="840" y="674"/>
                    <a:pt x="840" y="674"/>
                    <a:pt x="839" y="674"/>
                  </a:cubicBezTo>
                  <a:cubicBezTo>
                    <a:pt x="838" y="674"/>
                    <a:pt x="837" y="674"/>
                    <a:pt x="836" y="67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7" name="Freeform 412"/>
            <p:cNvSpPr>
              <a:spLocks noChangeArrowheads="1"/>
            </p:cNvSpPr>
            <p:nvPr/>
          </p:nvSpPr>
          <p:spPr bwMode="auto">
            <a:xfrm>
              <a:off x="5026025" y="2347913"/>
              <a:ext cx="563563" cy="242887"/>
            </a:xfrm>
            <a:custGeom>
              <a:avLst/>
              <a:gdLst/>
              <a:ahLst/>
              <a:cxnLst>
                <a:cxn ang="0">
                  <a:pos x="815" y="656"/>
                </a:cxn>
                <a:cxn ang="0">
                  <a:pos x="819" y="598"/>
                </a:cxn>
                <a:cxn ang="0">
                  <a:pos x="787" y="601"/>
                </a:cxn>
                <a:cxn ang="0">
                  <a:pos x="733" y="577"/>
                </a:cxn>
                <a:cxn ang="0">
                  <a:pos x="565" y="653"/>
                </a:cxn>
                <a:cxn ang="0">
                  <a:pos x="401" y="563"/>
                </a:cxn>
                <a:cxn ang="0">
                  <a:pos x="370" y="627"/>
                </a:cxn>
                <a:cxn ang="0">
                  <a:pos x="263" y="624"/>
                </a:cxn>
                <a:cxn ang="0">
                  <a:pos x="229" y="594"/>
                </a:cxn>
                <a:cxn ang="0">
                  <a:pos x="168" y="593"/>
                </a:cxn>
                <a:cxn ang="0">
                  <a:pos x="161" y="589"/>
                </a:cxn>
                <a:cxn ang="0">
                  <a:pos x="115" y="589"/>
                </a:cxn>
                <a:cxn ang="0">
                  <a:pos x="168" y="548"/>
                </a:cxn>
                <a:cxn ang="0">
                  <a:pos x="103" y="544"/>
                </a:cxn>
                <a:cxn ang="0">
                  <a:pos x="94" y="503"/>
                </a:cxn>
                <a:cxn ang="0">
                  <a:pos x="76" y="474"/>
                </a:cxn>
                <a:cxn ang="0">
                  <a:pos x="13" y="414"/>
                </a:cxn>
                <a:cxn ang="0">
                  <a:pos x="30" y="369"/>
                </a:cxn>
                <a:cxn ang="0">
                  <a:pos x="75" y="394"/>
                </a:cxn>
                <a:cxn ang="0">
                  <a:pos x="52" y="370"/>
                </a:cxn>
                <a:cxn ang="0">
                  <a:pos x="47" y="313"/>
                </a:cxn>
                <a:cxn ang="0">
                  <a:pos x="1" y="287"/>
                </a:cxn>
                <a:cxn ang="0">
                  <a:pos x="53" y="196"/>
                </a:cxn>
                <a:cxn ang="0">
                  <a:pos x="132" y="171"/>
                </a:cxn>
                <a:cxn ang="0">
                  <a:pos x="236" y="178"/>
                </a:cxn>
                <a:cxn ang="0">
                  <a:pos x="228" y="157"/>
                </a:cxn>
                <a:cxn ang="0">
                  <a:pos x="258" y="141"/>
                </a:cxn>
                <a:cxn ang="0">
                  <a:pos x="259" y="91"/>
                </a:cxn>
                <a:cxn ang="0">
                  <a:pos x="518" y="35"/>
                </a:cxn>
                <a:cxn ang="0">
                  <a:pos x="758" y="2"/>
                </a:cxn>
                <a:cxn ang="0">
                  <a:pos x="835" y="34"/>
                </a:cxn>
                <a:cxn ang="0">
                  <a:pos x="997" y="127"/>
                </a:cxn>
                <a:cxn ang="0">
                  <a:pos x="1281" y="48"/>
                </a:cxn>
                <a:cxn ang="0">
                  <a:pos x="1389" y="51"/>
                </a:cxn>
                <a:cxn ang="0">
                  <a:pos x="1452" y="112"/>
                </a:cxn>
                <a:cxn ang="0">
                  <a:pos x="1547" y="245"/>
                </a:cxn>
                <a:cxn ang="0">
                  <a:pos x="1521" y="334"/>
                </a:cxn>
                <a:cxn ang="0">
                  <a:pos x="1564" y="496"/>
                </a:cxn>
                <a:cxn ang="0">
                  <a:pos x="1521" y="530"/>
                </a:cxn>
                <a:cxn ang="0">
                  <a:pos x="1408" y="505"/>
                </a:cxn>
                <a:cxn ang="0">
                  <a:pos x="1367" y="534"/>
                </a:cxn>
                <a:cxn ang="0">
                  <a:pos x="1220" y="534"/>
                </a:cxn>
                <a:cxn ang="0">
                  <a:pos x="1092" y="585"/>
                </a:cxn>
                <a:cxn ang="0">
                  <a:pos x="884" y="569"/>
                </a:cxn>
                <a:cxn ang="0">
                  <a:pos x="885" y="629"/>
                </a:cxn>
                <a:cxn ang="0">
                  <a:pos x="843" y="671"/>
                </a:cxn>
              </a:cxnLst>
              <a:rect l="0" t="0" r="r" b="b"/>
              <a:pathLst>
                <a:path w="1565" h="675">
                  <a:moveTo>
                    <a:pt x="839" y="674"/>
                  </a:moveTo>
                  <a:cubicBezTo>
                    <a:pt x="838" y="674"/>
                    <a:pt x="837" y="674"/>
                    <a:pt x="836" y="673"/>
                  </a:cubicBezTo>
                  <a:lnTo>
                    <a:pt x="815" y="656"/>
                  </a:lnTo>
                  <a:cubicBezTo>
                    <a:pt x="814" y="655"/>
                    <a:pt x="813" y="654"/>
                    <a:pt x="813" y="652"/>
                  </a:cubicBezTo>
                  <a:lnTo>
                    <a:pt x="818" y="601"/>
                  </a:lnTo>
                  <a:cubicBezTo>
                    <a:pt x="818" y="600"/>
                    <a:pt x="818" y="599"/>
                    <a:pt x="819" y="598"/>
                  </a:cubicBezTo>
                  <a:lnTo>
                    <a:pt x="837" y="580"/>
                  </a:lnTo>
                  <a:lnTo>
                    <a:pt x="826" y="570"/>
                  </a:lnTo>
                  <a:lnTo>
                    <a:pt x="787" y="601"/>
                  </a:lnTo>
                  <a:cubicBezTo>
                    <a:pt x="786" y="602"/>
                    <a:pt x="785" y="602"/>
                    <a:pt x="784" y="602"/>
                  </a:cubicBezTo>
                  <a:cubicBezTo>
                    <a:pt x="783" y="602"/>
                    <a:pt x="783" y="602"/>
                    <a:pt x="782" y="602"/>
                  </a:cubicBezTo>
                  <a:lnTo>
                    <a:pt x="733" y="577"/>
                  </a:lnTo>
                  <a:lnTo>
                    <a:pt x="700" y="585"/>
                  </a:lnTo>
                  <a:lnTo>
                    <a:pt x="673" y="617"/>
                  </a:lnTo>
                  <a:lnTo>
                    <a:pt x="565" y="653"/>
                  </a:lnTo>
                  <a:lnTo>
                    <a:pt x="564" y="653"/>
                  </a:lnTo>
                  <a:cubicBezTo>
                    <a:pt x="563" y="653"/>
                    <a:pt x="562" y="653"/>
                    <a:pt x="562" y="652"/>
                  </a:cubicBezTo>
                  <a:lnTo>
                    <a:pt x="401" y="563"/>
                  </a:lnTo>
                  <a:lnTo>
                    <a:pt x="382" y="567"/>
                  </a:lnTo>
                  <a:lnTo>
                    <a:pt x="374" y="623"/>
                  </a:lnTo>
                  <a:cubicBezTo>
                    <a:pt x="373" y="625"/>
                    <a:pt x="372" y="627"/>
                    <a:pt x="370" y="627"/>
                  </a:cubicBezTo>
                  <a:lnTo>
                    <a:pt x="315" y="644"/>
                  </a:lnTo>
                  <a:lnTo>
                    <a:pt x="266" y="627"/>
                  </a:lnTo>
                  <a:cubicBezTo>
                    <a:pt x="264" y="627"/>
                    <a:pt x="263" y="626"/>
                    <a:pt x="263" y="624"/>
                  </a:cubicBezTo>
                  <a:lnTo>
                    <a:pt x="248" y="587"/>
                  </a:lnTo>
                  <a:lnTo>
                    <a:pt x="231" y="593"/>
                  </a:lnTo>
                  <a:cubicBezTo>
                    <a:pt x="230" y="594"/>
                    <a:pt x="230" y="594"/>
                    <a:pt x="229" y="594"/>
                  </a:cubicBezTo>
                  <a:cubicBezTo>
                    <a:pt x="228" y="594"/>
                    <a:pt x="227" y="593"/>
                    <a:pt x="226" y="592"/>
                  </a:cubicBezTo>
                  <a:lnTo>
                    <a:pt x="207" y="574"/>
                  </a:lnTo>
                  <a:lnTo>
                    <a:pt x="168" y="593"/>
                  </a:lnTo>
                  <a:cubicBezTo>
                    <a:pt x="167" y="593"/>
                    <a:pt x="166" y="594"/>
                    <a:pt x="166" y="594"/>
                  </a:cubicBezTo>
                  <a:cubicBezTo>
                    <a:pt x="165" y="594"/>
                    <a:pt x="164" y="593"/>
                    <a:pt x="163" y="593"/>
                  </a:cubicBezTo>
                  <a:cubicBezTo>
                    <a:pt x="162" y="592"/>
                    <a:pt x="161" y="591"/>
                    <a:pt x="161" y="589"/>
                  </a:cubicBezTo>
                  <a:lnTo>
                    <a:pt x="161" y="578"/>
                  </a:lnTo>
                  <a:lnTo>
                    <a:pt x="116" y="589"/>
                  </a:lnTo>
                  <a:cubicBezTo>
                    <a:pt x="115" y="589"/>
                    <a:pt x="115" y="589"/>
                    <a:pt x="115" y="589"/>
                  </a:cubicBezTo>
                  <a:cubicBezTo>
                    <a:pt x="113" y="589"/>
                    <a:pt x="111" y="588"/>
                    <a:pt x="110" y="586"/>
                  </a:cubicBezTo>
                  <a:cubicBezTo>
                    <a:pt x="110" y="584"/>
                    <a:pt x="110" y="582"/>
                    <a:pt x="112" y="581"/>
                  </a:cubicBezTo>
                  <a:lnTo>
                    <a:pt x="168" y="548"/>
                  </a:lnTo>
                  <a:lnTo>
                    <a:pt x="106" y="551"/>
                  </a:lnTo>
                  <a:cubicBezTo>
                    <a:pt x="104" y="551"/>
                    <a:pt x="103" y="550"/>
                    <a:pt x="102" y="549"/>
                  </a:cubicBezTo>
                  <a:cubicBezTo>
                    <a:pt x="101" y="547"/>
                    <a:pt x="101" y="545"/>
                    <a:pt x="103" y="544"/>
                  </a:cubicBezTo>
                  <a:lnTo>
                    <a:pt x="117" y="526"/>
                  </a:lnTo>
                  <a:lnTo>
                    <a:pt x="95" y="508"/>
                  </a:lnTo>
                  <a:cubicBezTo>
                    <a:pt x="93" y="507"/>
                    <a:pt x="93" y="504"/>
                    <a:pt x="94" y="503"/>
                  </a:cubicBezTo>
                  <a:lnTo>
                    <a:pt x="100" y="486"/>
                  </a:lnTo>
                  <a:lnTo>
                    <a:pt x="79" y="479"/>
                  </a:lnTo>
                  <a:cubicBezTo>
                    <a:pt x="77" y="478"/>
                    <a:pt x="76" y="476"/>
                    <a:pt x="76" y="474"/>
                  </a:cubicBezTo>
                  <a:lnTo>
                    <a:pt x="84" y="444"/>
                  </a:lnTo>
                  <a:lnTo>
                    <a:pt x="16" y="420"/>
                  </a:lnTo>
                  <a:cubicBezTo>
                    <a:pt x="13" y="419"/>
                    <a:pt x="12" y="417"/>
                    <a:pt x="13" y="414"/>
                  </a:cubicBezTo>
                  <a:lnTo>
                    <a:pt x="26" y="372"/>
                  </a:lnTo>
                  <a:cubicBezTo>
                    <a:pt x="26" y="370"/>
                    <a:pt x="28" y="369"/>
                    <a:pt x="29" y="369"/>
                  </a:cubicBezTo>
                  <a:lnTo>
                    <a:pt x="30" y="369"/>
                  </a:lnTo>
                  <a:cubicBezTo>
                    <a:pt x="32" y="369"/>
                    <a:pt x="33" y="369"/>
                    <a:pt x="34" y="371"/>
                  </a:cubicBezTo>
                  <a:lnTo>
                    <a:pt x="49" y="394"/>
                  </a:lnTo>
                  <a:lnTo>
                    <a:pt x="75" y="394"/>
                  </a:lnTo>
                  <a:lnTo>
                    <a:pt x="53" y="377"/>
                  </a:lnTo>
                  <a:cubicBezTo>
                    <a:pt x="52" y="376"/>
                    <a:pt x="51" y="375"/>
                    <a:pt x="51" y="374"/>
                  </a:cubicBezTo>
                  <a:cubicBezTo>
                    <a:pt x="51" y="373"/>
                    <a:pt x="51" y="371"/>
                    <a:pt x="52" y="370"/>
                  </a:cubicBezTo>
                  <a:lnTo>
                    <a:pt x="67" y="352"/>
                  </a:lnTo>
                  <a:lnTo>
                    <a:pt x="47" y="316"/>
                  </a:lnTo>
                  <a:cubicBezTo>
                    <a:pt x="47" y="315"/>
                    <a:pt x="46" y="314"/>
                    <a:pt x="47" y="313"/>
                  </a:cubicBezTo>
                  <a:lnTo>
                    <a:pt x="54" y="281"/>
                  </a:lnTo>
                  <a:lnTo>
                    <a:pt x="5" y="289"/>
                  </a:lnTo>
                  <a:cubicBezTo>
                    <a:pt x="3" y="289"/>
                    <a:pt x="2" y="288"/>
                    <a:pt x="1" y="287"/>
                  </a:cubicBezTo>
                  <a:cubicBezTo>
                    <a:pt x="0" y="286"/>
                    <a:pt x="0" y="285"/>
                    <a:pt x="0" y="283"/>
                  </a:cubicBezTo>
                  <a:lnTo>
                    <a:pt x="17" y="224"/>
                  </a:lnTo>
                  <a:lnTo>
                    <a:pt x="53" y="196"/>
                  </a:lnTo>
                  <a:lnTo>
                    <a:pt x="134" y="187"/>
                  </a:lnTo>
                  <a:lnTo>
                    <a:pt x="131" y="175"/>
                  </a:lnTo>
                  <a:cubicBezTo>
                    <a:pt x="131" y="174"/>
                    <a:pt x="131" y="172"/>
                    <a:pt x="132" y="171"/>
                  </a:cubicBezTo>
                  <a:cubicBezTo>
                    <a:pt x="133" y="170"/>
                    <a:pt x="134" y="170"/>
                    <a:pt x="136" y="170"/>
                  </a:cubicBezTo>
                  <a:lnTo>
                    <a:pt x="230" y="178"/>
                  </a:lnTo>
                  <a:lnTo>
                    <a:pt x="236" y="178"/>
                  </a:lnTo>
                  <a:lnTo>
                    <a:pt x="225" y="164"/>
                  </a:lnTo>
                  <a:cubicBezTo>
                    <a:pt x="225" y="163"/>
                    <a:pt x="224" y="162"/>
                    <a:pt x="225" y="160"/>
                  </a:cubicBezTo>
                  <a:cubicBezTo>
                    <a:pt x="225" y="159"/>
                    <a:pt x="226" y="157"/>
                    <a:pt x="228" y="157"/>
                  </a:cubicBezTo>
                  <a:lnTo>
                    <a:pt x="245" y="153"/>
                  </a:lnTo>
                  <a:lnTo>
                    <a:pt x="287" y="148"/>
                  </a:lnTo>
                  <a:lnTo>
                    <a:pt x="258" y="141"/>
                  </a:lnTo>
                  <a:lnTo>
                    <a:pt x="242" y="122"/>
                  </a:lnTo>
                  <a:cubicBezTo>
                    <a:pt x="241" y="120"/>
                    <a:pt x="241" y="118"/>
                    <a:pt x="242" y="117"/>
                  </a:cubicBezTo>
                  <a:lnTo>
                    <a:pt x="259" y="91"/>
                  </a:lnTo>
                  <a:cubicBezTo>
                    <a:pt x="260" y="90"/>
                    <a:pt x="261" y="89"/>
                    <a:pt x="263" y="89"/>
                  </a:cubicBezTo>
                  <a:lnTo>
                    <a:pt x="418" y="114"/>
                  </a:lnTo>
                  <a:lnTo>
                    <a:pt x="518" y="35"/>
                  </a:lnTo>
                  <a:lnTo>
                    <a:pt x="604" y="5"/>
                  </a:lnTo>
                  <a:lnTo>
                    <a:pt x="754" y="0"/>
                  </a:lnTo>
                  <a:cubicBezTo>
                    <a:pt x="756" y="0"/>
                    <a:pt x="757" y="1"/>
                    <a:pt x="758" y="2"/>
                  </a:cubicBezTo>
                  <a:lnTo>
                    <a:pt x="798" y="42"/>
                  </a:lnTo>
                  <a:lnTo>
                    <a:pt x="834" y="34"/>
                  </a:lnTo>
                  <a:lnTo>
                    <a:pt x="835" y="34"/>
                  </a:lnTo>
                  <a:cubicBezTo>
                    <a:pt x="837" y="34"/>
                    <a:pt x="838" y="35"/>
                    <a:pt x="839" y="37"/>
                  </a:cubicBezTo>
                  <a:lnTo>
                    <a:pt x="859" y="86"/>
                  </a:lnTo>
                  <a:lnTo>
                    <a:pt x="997" y="127"/>
                  </a:lnTo>
                  <a:lnTo>
                    <a:pt x="1105" y="102"/>
                  </a:lnTo>
                  <a:lnTo>
                    <a:pt x="1189" y="114"/>
                  </a:lnTo>
                  <a:lnTo>
                    <a:pt x="1281" y="48"/>
                  </a:lnTo>
                  <a:cubicBezTo>
                    <a:pt x="1282" y="47"/>
                    <a:pt x="1283" y="47"/>
                    <a:pt x="1284" y="47"/>
                  </a:cubicBezTo>
                  <a:lnTo>
                    <a:pt x="1352" y="60"/>
                  </a:lnTo>
                  <a:lnTo>
                    <a:pt x="1389" y="51"/>
                  </a:lnTo>
                  <a:lnTo>
                    <a:pt x="1389" y="51"/>
                  </a:lnTo>
                  <a:cubicBezTo>
                    <a:pt x="1391" y="51"/>
                    <a:pt x="1392" y="52"/>
                    <a:pt x="1393" y="53"/>
                  </a:cubicBezTo>
                  <a:lnTo>
                    <a:pt x="1452" y="112"/>
                  </a:lnTo>
                  <a:lnTo>
                    <a:pt x="1483" y="202"/>
                  </a:lnTo>
                  <a:lnTo>
                    <a:pt x="1545" y="242"/>
                  </a:lnTo>
                  <a:cubicBezTo>
                    <a:pt x="1546" y="243"/>
                    <a:pt x="1547" y="244"/>
                    <a:pt x="1547" y="245"/>
                  </a:cubicBezTo>
                  <a:cubicBezTo>
                    <a:pt x="1547" y="247"/>
                    <a:pt x="1547" y="248"/>
                    <a:pt x="1546" y="249"/>
                  </a:cubicBezTo>
                  <a:lnTo>
                    <a:pt x="1509" y="294"/>
                  </a:lnTo>
                  <a:lnTo>
                    <a:pt x="1521" y="334"/>
                  </a:lnTo>
                  <a:lnTo>
                    <a:pt x="1522" y="456"/>
                  </a:lnTo>
                  <a:lnTo>
                    <a:pt x="1562" y="492"/>
                  </a:lnTo>
                  <a:cubicBezTo>
                    <a:pt x="1563" y="493"/>
                    <a:pt x="1564" y="495"/>
                    <a:pt x="1564" y="496"/>
                  </a:cubicBezTo>
                  <a:lnTo>
                    <a:pt x="1564" y="521"/>
                  </a:lnTo>
                  <a:cubicBezTo>
                    <a:pt x="1564" y="524"/>
                    <a:pt x="1562" y="526"/>
                    <a:pt x="1560" y="526"/>
                  </a:cubicBezTo>
                  <a:lnTo>
                    <a:pt x="1521" y="530"/>
                  </a:lnTo>
                  <a:cubicBezTo>
                    <a:pt x="1520" y="530"/>
                    <a:pt x="1518" y="529"/>
                    <a:pt x="1517" y="528"/>
                  </a:cubicBezTo>
                  <a:lnTo>
                    <a:pt x="1510" y="517"/>
                  </a:lnTo>
                  <a:lnTo>
                    <a:pt x="1408" y="505"/>
                  </a:lnTo>
                  <a:lnTo>
                    <a:pt x="1372" y="533"/>
                  </a:lnTo>
                  <a:cubicBezTo>
                    <a:pt x="1371" y="534"/>
                    <a:pt x="1370" y="534"/>
                    <a:pt x="1369" y="534"/>
                  </a:cubicBezTo>
                  <a:cubicBezTo>
                    <a:pt x="1368" y="534"/>
                    <a:pt x="1367" y="534"/>
                    <a:pt x="1367" y="534"/>
                  </a:cubicBezTo>
                  <a:lnTo>
                    <a:pt x="1343" y="522"/>
                  </a:lnTo>
                  <a:lnTo>
                    <a:pt x="1307" y="542"/>
                  </a:lnTo>
                  <a:lnTo>
                    <a:pt x="1220" y="534"/>
                  </a:lnTo>
                  <a:lnTo>
                    <a:pt x="1095" y="585"/>
                  </a:lnTo>
                  <a:cubicBezTo>
                    <a:pt x="1095" y="585"/>
                    <a:pt x="1094" y="585"/>
                    <a:pt x="1093" y="585"/>
                  </a:cubicBezTo>
                  <a:lnTo>
                    <a:pt x="1092" y="585"/>
                  </a:lnTo>
                  <a:lnTo>
                    <a:pt x="1026" y="560"/>
                  </a:lnTo>
                  <a:lnTo>
                    <a:pt x="951" y="589"/>
                  </a:lnTo>
                  <a:lnTo>
                    <a:pt x="884" y="569"/>
                  </a:lnTo>
                  <a:lnTo>
                    <a:pt x="874" y="601"/>
                  </a:lnTo>
                  <a:lnTo>
                    <a:pt x="885" y="625"/>
                  </a:lnTo>
                  <a:cubicBezTo>
                    <a:pt x="886" y="626"/>
                    <a:pt x="886" y="628"/>
                    <a:pt x="885" y="629"/>
                  </a:cubicBezTo>
                  <a:cubicBezTo>
                    <a:pt x="885" y="630"/>
                    <a:pt x="884" y="631"/>
                    <a:pt x="882" y="632"/>
                  </a:cubicBezTo>
                  <a:lnTo>
                    <a:pt x="859" y="635"/>
                  </a:lnTo>
                  <a:lnTo>
                    <a:pt x="843" y="671"/>
                  </a:lnTo>
                  <a:cubicBezTo>
                    <a:pt x="843" y="673"/>
                    <a:pt x="842" y="673"/>
                    <a:pt x="840" y="674"/>
                  </a:cubicBezTo>
                  <a:cubicBezTo>
                    <a:pt x="840" y="674"/>
                    <a:pt x="840" y="674"/>
                    <a:pt x="839" y="67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8" name="Freeform 413"/>
            <p:cNvSpPr>
              <a:spLocks noChangeArrowheads="1"/>
            </p:cNvSpPr>
            <p:nvPr/>
          </p:nvSpPr>
          <p:spPr bwMode="auto">
            <a:xfrm>
              <a:off x="5518150" y="3159125"/>
              <a:ext cx="317500" cy="200025"/>
            </a:xfrm>
            <a:custGeom>
              <a:avLst/>
              <a:gdLst/>
              <a:ahLst/>
              <a:cxnLst>
                <a:cxn ang="0">
                  <a:pos x="77" y="553"/>
                </a:cxn>
                <a:cxn ang="0">
                  <a:pos x="56" y="510"/>
                </a:cxn>
                <a:cxn ang="0">
                  <a:pos x="21" y="348"/>
                </a:cxn>
                <a:cxn ang="0">
                  <a:pos x="2" y="330"/>
                </a:cxn>
                <a:cxn ang="0">
                  <a:pos x="1" y="325"/>
                </a:cxn>
                <a:cxn ang="0">
                  <a:pos x="17" y="274"/>
                </a:cxn>
                <a:cxn ang="0">
                  <a:pos x="5" y="235"/>
                </a:cxn>
                <a:cxn ang="0">
                  <a:pos x="6" y="230"/>
                </a:cxn>
                <a:cxn ang="0">
                  <a:pos x="74" y="170"/>
                </a:cxn>
                <a:cxn ang="0">
                  <a:pos x="161" y="148"/>
                </a:cxn>
                <a:cxn ang="0">
                  <a:pos x="316" y="203"/>
                </a:cxn>
                <a:cxn ang="0">
                  <a:pos x="319" y="208"/>
                </a:cxn>
                <a:cxn ang="0">
                  <a:pos x="319" y="289"/>
                </a:cxn>
                <a:cxn ang="0">
                  <a:pos x="522" y="65"/>
                </a:cxn>
                <a:cxn ang="0">
                  <a:pos x="788" y="0"/>
                </a:cxn>
                <a:cxn ang="0">
                  <a:pos x="789" y="0"/>
                </a:cxn>
                <a:cxn ang="0">
                  <a:pos x="793" y="3"/>
                </a:cxn>
                <a:cxn ang="0">
                  <a:pos x="878" y="210"/>
                </a:cxn>
                <a:cxn ang="0">
                  <a:pos x="876" y="216"/>
                </a:cxn>
                <a:cxn ang="0">
                  <a:pos x="825" y="254"/>
                </a:cxn>
                <a:cxn ang="0">
                  <a:pos x="814" y="302"/>
                </a:cxn>
                <a:cxn ang="0">
                  <a:pos x="811" y="305"/>
                </a:cxn>
                <a:cxn ang="0">
                  <a:pos x="591" y="381"/>
                </a:cxn>
                <a:cxn ang="0">
                  <a:pos x="549" y="402"/>
                </a:cxn>
                <a:cxn ang="0">
                  <a:pos x="521" y="435"/>
                </a:cxn>
                <a:cxn ang="0">
                  <a:pos x="442" y="449"/>
                </a:cxn>
                <a:cxn ang="0">
                  <a:pos x="359" y="495"/>
                </a:cxn>
                <a:cxn ang="0">
                  <a:pos x="272" y="496"/>
                </a:cxn>
                <a:cxn ang="0">
                  <a:pos x="198" y="550"/>
                </a:cxn>
                <a:cxn ang="0">
                  <a:pos x="81" y="555"/>
                </a:cxn>
                <a:cxn ang="0">
                  <a:pos x="77" y="553"/>
                </a:cxn>
              </a:cxnLst>
              <a:rect l="0" t="0" r="r" b="b"/>
              <a:pathLst>
                <a:path w="880" h="556">
                  <a:moveTo>
                    <a:pt x="77" y="553"/>
                  </a:moveTo>
                  <a:lnTo>
                    <a:pt x="56" y="510"/>
                  </a:lnTo>
                  <a:lnTo>
                    <a:pt x="21" y="348"/>
                  </a:lnTo>
                  <a:lnTo>
                    <a:pt x="2" y="330"/>
                  </a:lnTo>
                  <a:cubicBezTo>
                    <a:pt x="0" y="328"/>
                    <a:pt x="0" y="327"/>
                    <a:pt x="1" y="325"/>
                  </a:cubicBezTo>
                  <a:lnTo>
                    <a:pt x="17" y="274"/>
                  </a:lnTo>
                  <a:lnTo>
                    <a:pt x="5" y="235"/>
                  </a:lnTo>
                  <a:cubicBezTo>
                    <a:pt x="4" y="233"/>
                    <a:pt x="5" y="231"/>
                    <a:pt x="6" y="230"/>
                  </a:cubicBezTo>
                  <a:lnTo>
                    <a:pt x="74" y="170"/>
                  </a:lnTo>
                  <a:lnTo>
                    <a:pt x="161" y="148"/>
                  </a:lnTo>
                  <a:lnTo>
                    <a:pt x="316" y="203"/>
                  </a:lnTo>
                  <a:cubicBezTo>
                    <a:pt x="318" y="204"/>
                    <a:pt x="319" y="206"/>
                    <a:pt x="319" y="208"/>
                  </a:cubicBezTo>
                  <a:lnTo>
                    <a:pt x="319" y="289"/>
                  </a:lnTo>
                  <a:lnTo>
                    <a:pt x="522" y="65"/>
                  </a:lnTo>
                  <a:lnTo>
                    <a:pt x="788" y="0"/>
                  </a:lnTo>
                  <a:cubicBezTo>
                    <a:pt x="788" y="0"/>
                    <a:pt x="788" y="0"/>
                    <a:pt x="789" y="0"/>
                  </a:cubicBezTo>
                  <a:cubicBezTo>
                    <a:pt x="790" y="0"/>
                    <a:pt x="792" y="1"/>
                    <a:pt x="793" y="3"/>
                  </a:cubicBezTo>
                  <a:lnTo>
                    <a:pt x="878" y="210"/>
                  </a:lnTo>
                  <a:cubicBezTo>
                    <a:pt x="879" y="212"/>
                    <a:pt x="878" y="215"/>
                    <a:pt x="876" y="216"/>
                  </a:cubicBezTo>
                  <a:lnTo>
                    <a:pt x="825" y="254"/>
                  </a:lnTo>
                  <a:lnTo>
                    <a:pt x="814" y="302"/>
                  </a:lnTo>
                  <a:cubicBezTo>
                    <a:pt x="814" y="304"/>
                    <a:pt x="813" y="305"/>
                    <a:pt x="811" y="305"/>
                  </a:cubicBezTo>
                  <a:lnTo>
                    <a:pt x="591" y="381"/>
                  </a:lnTo>
                  <a:lnTo>
                    <a:pt x="549" y="402"/>
                  </a:lnTo>
                  <a:lnTo>
                    <a:pt x="521" y="435"/>
                  </a:lnTo>
                  <a:lnTo>
                    <a:pt x="442" y="449"/>
                  </a:lnTo>
                  <a:lnTo>
                    <a:pt x="359" y="495"/>
                  </a:lnTo>
                  <a:lnTo>
                    <a:pt x="272" y="496"/>
                  </a:lnTo>
                  <a:lnTo>
                    <a:pt x="198" y="550"/>
                  </a:lnTo>
                  <a:lnTo>
                    <a:pt x="81" y="555"/>
                  </a:lnTo>
                  <a:cubicBezTo>
                    <a:pt x="80" y="555"/>
                    <a:pt x="78" y="554"/>
                    <a:pt x="77" y="55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19" name="Freeform 414"/>
            <p:cNvSpPr>
              <a:spLocks noChangeArrowheads="1"/>
            </p:cNvSpPr>
            <p:nvPr/>
          </p:nvSpPr>
          <p:spPr bwMode="auto">
            <a:xfrm>
              <a:off x="5518150" y="3159125"/>
              <a:ext cx="317500" cy="200025"/>
            </a:xfrm>
            <a:custGeom>
              <a:avLst/>
              <a:gdLst/>
              <a:ahLst/>
              <a:cxnLst>
                <a:cxn ang="0">
                  <a:pos x="81" y="555"/>
                </a:cxn>
                <a:cxn ang="0">
                  <a:pos x="77" y="553"/>
                </a:cxn>
                <a:cxn ang="0">
                  <a:pos x="56" y="510"/>
                </a:cxn>
                <a:cxn ang="0">
                  <a:pos x="21" y="348"/>
                </a:cxn>
                <a:cxn ang="0">
                  <a:pos x="2" y="330"/>
                </a:cxn>
                <a:cxn ang="0">
                  <a:pos x="1" y="325"/>
                </a:cxn>
                <a:cxn ang="0">
                  <a:pos x="17" y="274"/>
                </a:cxn>
                <a:cxn ang="0">
                  <a:pos x="5" y="235"/>
                </a:cxn>
                <a:cxn ang="0">
                  <a:pos x="6" y="230"/>
                </a:cxn>
                <a:cxn ang="0">
                  <a:pos x="74" y="170"/>
                </a:cxn>
                <a:cxn ang="0">
                  <a:pos x="161" y="148"/>
                </a:cxn>
                <a:cxn ang="0">
                  <a:pos x="316" y="203"/>
                </a:cxn>
                <a:cxn ang="0">
                  <a:pos x="319" y="208"/>
                </a:cxn>
                <a:cxn ang="0">
                  <a:pos x="319" y="289"/>
                </a:cxn>
                <a:cxn ang="0">
                  <a:pos x="522" y="65"/>
                </a:cxn>
                <a:cxn ang="0">
                  <a:pos x="788" y="0"/>
                </a:cxn>
                <a:cxn ang="0">
                  <a:pos x="789" y="0"/>
                </a:cxn>
                <a:cxn ang="0">
                  <a:pos x="793" y="3"/>
                </a:cxn>
                <a:cxn ang="0">
                  <a:pos x="878" y="210"/>
                </a:cxn>
                <a:cxn ang="0">
                  <a:pos x="876" y="216"/>
                </a:cxn>
                <a:cxn ang="0">
                  <a:pos x="825" y="254"/>
                </a:cxn>
                <a:cxn ang="0">
                  <a:pos x="814" y="302"/>
                </a:cxn>
                <a:cxn ang="0">
                  <a:pos x="811" y="305"/>
                </a:cxn>
                <a:cxn ang="0">
                  <a:pos x="591" y="381"/>
                </a:cxn>
                <a:cxn ang="0">
                  <a:pos x="549" y="402"/>
                </a:cxn>
                <a:cxn ang="0">
                  <a:pos x="521" y="435"/>
                </a:cxn>
                <a:cxn ang="0">
                  <a:pos x="442" y="449"/>
                </a:cxn>
                <a:cxn ang="0">
                  <a:pos x="359" y="495"/>
                </a:cxn>
                <a:cxn ang="0">
                  <a:pos x="272" y="496"/>
                </a:cxn>
                <a:cxn ang="0">
                  <a:pos x="198" y="550"/>
                </a:cxn>
                <a:cxn ang="0">
                  <a:pos x="81" y="555"/>
                </a:cxn>
              </a:cxnLst>
              <a:rect l="0" t="0" r="r" b="b"/>
              <a:pathLst>
                <a:path w="880" h="556">
                  <a:moveTo>
                    <a:pt x="81" y="555"/>
                  </a:moveTo>
                  <a:cubicBezTo>
                    <a:pt x="80" y="555"/>
                    <a:pt x="78" y="554"/>
                    <a:pt x="77" y="553"/>
                  </a:cubicBezTo>
                  <a:lnTo>
                    <a:pt x="56" y="510"/>
                  </a:lnTo>
                  <a:lnTo>
                    <a:pt x="21" y="348"/>
                  </a:lnTo>
                  <a:lnTo>
                    <a:pt x="2" y="330"/>
                  </a:lnTo>
                  <a:cubicBezTo>
                    <a:pt x="0" y="328"/>
                    <a:pt x="0" y="327"/>
                    <a:pt x="1" y="325"/>
                  </a:cubicBezTo>
                  <a:lnTo>
                    <a:pt x="17" y="274"/>
                  </a:lnTo>
                  <a:lnTo>
                    <a:pt x="5" y="235"/>
                  </a:lnTo>
                  <a:cubicBezTo>
                    <a:pt x="4" y="233"/>
                    <a:pt x="5" y="231"/>
                    <a:pt x="6" y="230"/>
                  </a:cubicBezTo>
                  <a:lnTo>
                    <a:pt x="74" y="170"/>
                  </a:lnTo>
                  <a:lnTo>
                    <a:pt x="161" y="148"/>
                  </a:lnTo>
                  <a:lnTo>
                    <a:pt x="316" y="203"/>
                  </a:lnTo>
                  <a:cubicBezTo>
                    <a:pt x="318" y="204"/>
                    <a:pt x="319" y="206"/>
                    <a:pt x="319" y="208"/>
                  </a:cubicBezTo>
                  <a:lnTo>
                    <a:pt x="319" y="289"/>
                  </a:lnTo>
                  <a:lnTo>
                    <a:pt x="522" y="65"/>
                  </a:lnTo>
                  <a:lnTo>
                    <a:pt x="788" y="0"/>
                  </a:lnTo>
                  <a:cubicBezTo>
                    <a:pt x="788" y="0"/>
                    <a:pt x="788" y="0"/>
                    <a:pt x="789" y="0"/>
                  </a:cubicBezTo>
                  <a:cubicBezTo>
                    <a:pt x="790" y="0"/>
                    <a:pt x="792" y="1"/>
                    <a:pt x="793" y="3"/>
                  </a:cubicBezTo>
                  <a:lnTo>
                    <a:pt x="878" y="210"/>
                  </a:lnTo>
                  <a:cubicBezTo>
                    <a:pt x="879" y="212"/>
                    <a:pt x="878" y="215"/>
                    <a:pt x="876" y="216"/>
                  </a:cubicBezTo>
                  <a:lnTo>
                    <a:pt x="825" y="254"/>
                  </a:lnTo>
                  <a:lnTo>
                    <a:pt x="814" y="302"/>
                  </a:lnTo>
                  <a:cubicBezTo>
                    <a:pt x="814" y="304"/>
                    <a:pt x="813" y="305"/>
                    <a:pt x="811" y="305"/>
                  </a:cubicBezTo>
                  <a:lnTo>
                    <a:pt x="591" y="381"/>
                  </a:lnTo>
                  <a:lnTo>
                    <a:pt x="549" y="402"/>
                  </a:lnTo>
                  <a:lnTo>
                    <a:pt x="521" y="435"/>
                  </a:lnTo>
                  <a:lnTo>
                    <a:pt x="442" y="449"/>
                  </a:lnTo>
                  <a:lnTo>
                    <a:pt x="359" y="495"/>
                  </a:lnTo>
                  <a:lnTo>
                    <a:pt x="272" y="496"/>
                  </a:lnTo>
                  <a:lnTo>
                    <a:pt x="198" y="550"/>
                  </a:lnTo>
                  <a:lnTo>
                    <a:pt x="81" y="55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0" name="Freeform 415"/>
            <p:cNvSpPr>
              <a:spLocks noChangeArrowheads="1"/>
            </p:cNvSpPr>
            <p:nvPr/>
          </p:nvSpPr>
          <p:spPr bwMode="auto">
            <a:xfrm>
              <a:off x="5900738" y="2903538"/>
              <a:ext cx="31750" cy="17462"/>
            </a:xfrm>
            <a:custGeom>
              <a:avLst/>
              <a:gdLst/>
              <a:ahLst/>
              <a:cxnLst>
                <a:cxn ang="0">
                  <a:pos x="2" y="46"/>
                </a:cxn>
                <a:cxn ang="0">
                  <a:pos x="2" y="40"/>
                </a:cxn>
                <a:cxn ang="0">
                  <a:pos x="45" y="1"/>
                </a:cxn>
                <a:cxn ang="0">
                  <a:pos x="48" y="0"/>
                </a:cxn>
                <a:cxn ang="0">
                  <a:pos x="82" y="0"/>
                </a:cxn>
                <a:cxn ang="0">
                  <a:pos x="86" y="4"/>
                </a:cxn>
                <a:cxn ang="0">
                  <a:pos x="84" y="9"/>
                </a:cxn>
                <a:cxn ang="0">
                  <a:pos x="8" y="47"/>
                </a:cxn>
                <a:cxn ang="0">
                  <a:pos x="5" y="48"/>
                </a:cxn>
                <a:cxn ang="0">
                  <a:pos x="2" y="46"/>
                </a:cxn>
              </a:cxnLst>
              <a:rect l="0" t="0" r="r" b="b"/>
              <a:pathLst>
                <a:path w="88" h="49">
                  <a:moveTo>
                    <a:pt x="2" y="46"/>
                  </a:moveTo>
                  <a:cubicBezTo>
                    <a:pt x="0" y="44"/>
                    <a:pt x="1" y="41"/>
                    <a:pt x="2" y="40"/>
                  </a:cubicBezTo>
                  <a:lnTo>
                    <a:pt x="45" y="1"/>
                  </a:lnTo>
                  <a:cubicBezTo>
                    <a:pt x="46" y="1"/>
                    <a:pt x="46" y="0"/>
                    <a:pt x="48" y="0"/>
                  </a:cubicBezTo>
                  <a:lnTo>
                    <a:pt x="82" y="0"/>
                  </a:lnTo>
                  <a:cubicBezTo>
                    <a:pt x="84" y="0"/>
                    <a:pt x="86" y="2"/>
                    <a:pt x="86" y="4"/>
                  </a:cubicBezTo>
                  <a:cubicBezTo>
                    <a:pt x="87" y="6"/>
                    <a:pt x="86" y="8"/>
                    <a:pt x="84" y="9"/>
                  </a:cubicBezTo>
                  <a:lnTo>
                    <a:pt x="8" y="47"/>
                  </a:lnTo>
                  <a:cubicBezTo>
                    <a:pt x="7" y="48"/>
                    <a:pt x="6" y="48"/>
                    <a:pt x="5" y="48"/>
                  </a:cubicBezTo>
                  <a:cubicBezTo>
                    <a:pt x="4" y="48"/>
                    <a:pt x="2" y="47"/>
                    <a:pt x="2" y="4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1" name="Freeform 416"/>
            <p:cNvSpPr>
              <a:spLocks noChangeArrowheads="1"/>
            </p:cNvSpPr>
            <p:nvPr/>
          </p:nvSpPr>
          <p:spPr bwMode="auto">
            <a:xfrm>
              <a:off x="5900738" y="2903538"/>
              <a:ext cx="31750" cy="17462"/>
            </a:xfrm>
            <a:custGeom>
              <a:avLst/>
              <a:gdLst/>
              <a:ahLst/>
              <a:cxnLst>
                <a:cxn ang="0">
                  <a:pos x="5" y="48"/>
                </a:cxn>
                <a:cxn ang="0">
                  <a:pos x="2" y="46"/>
                </a:cxn>
                <a:cxn ang="0">
                  <a:pos x="2" y="40"/>
                </a:cxn>
                <a:cxn ang="0">
                  <a:pos x="45" y="1"/>
                </a:cxn>
                <a:cxn ang="0">
                  <a:pos x="48" y="0"/>
                </a:cxn>
                <a:cxn ang="0">
                  <a:pos x="82" y="0"/>
                </a:cxn>
                <a:cxn ang="0">
                  <a:pos x="86" y="4"/>
                </a:cxn>
                <a:cxn ang="0">
                  <a:pos x="84" y="9"/>
                </a:cxn>
                <a:cxn ang="0">
                  <a:pos x="8" y="47"/>
                </a:cxn>
                <a:cxn ang="0">
                  <a:pos x="5" y="48"/>
                </a:cxn>
              </a:cxnLst>
              <a:rect l="0" t="0" r="r" b="b"/>
              <a:pathLst>
                <a:path w="88" h="49">
                  <a:moveTo>
                    <a:pt x="5" y="48"/>
                  </a:moveTo>
                  <a:cubicBezTo>
                    <a:pt x="4" y="48"/>
                    <a:pt x="2" y="47"/>
                    <a:pt x="2" y="46"/>
                  </a:cubicBezTo>
                  <a:cubicBezTo>
                    <a:pt x="0" y="44"/>
                    <a:pt x="1" y="41"/>
                    <a:pt x="2" y="40"/>
                  </a:cubicBezTo>
                  <a:lnTo>
                    <a:pt x="45" y="1"/>
                  </a:lnTo>
                  <a:cubicBezTo>
                    <a:pt x="46" y="1"/>
                    <a:pt x="46" y="0"/>
                    <a:pt x="48" y="0"/>
                  </a:cubicBezTo>
                  <a:lnTo>
                    <a:pt x="82" y="0"/>
                  </a:lnTo>
                  <a:cubicBezTo>
                    <a:pt x="84" y="0"/>
                    <a:pt x="86" y="2"/>
                    <a:pt x="86" y="4"/>
                  </a:cubicBezTo>
                  <a:cubicBezTo>
                    <a:pt x="87" y="6"/>
                    <a:pt x="86" y="8"/>
                    <a:pt x="84" y="9"/>
                  </a:cubicBezTo>
                  <a:lnTo>
                    <a:pt x="8" y="47"/>
                  </a:lnTo>
                  <a:cubicBezTo>
                    <a:pt x="7" y="48"/>
                    <a:pt x="6" y="48"/>
                    <a:pt x="5" y="4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2" name="Freeform 417"/>
            <p:cNvSpPr>
              <a:spLocks noChangeArrowheads="1"/>
            </p:cNvSpPr>
            <p:nvPr/>
          </p:nvSpPr>
          <p:spPr bwMode="auto">
            <a:xfrm>
              <a:off x="5564188" y="2435225"/>
              <a:ext cx="579437" cy="530225"/>
            </a:xfrm>
            <a:custGeom>
              <a:avLst/>
              <a:gdLst/>
              <a:ahLst/>
              <a:cxnLst>
                <a:cxn ang="0">
                  <a:pos x="1111" y="1416"/>
                </a:cxn>
                <a:cxn ang="0">
                  <a:pos x="1030" y="1284"/>
                </a:cxn>
                <a:cxn ang="0">
                  <a:pos x="792" y="1326"/>
                </a:cxn>
                <a:cxn ang="0">
                  <a:pos x="777" y="1302"/>
                </a:cxn>
                <a:cxn ang="0">
                  <a:pos x="692" y="1248"/>
                </a:cxn>
                <a:cxn ang="0">
                  <a:pos x="611" y="1213"/>
                </a:cxn>
                <a:cxn ang="0">
                  <a:pos x="540" y="1091"/>
                </a:cxn>
                <a:cxn ang="0">
                  <a:pos x="456" y="1021"/>
                </a:cxn>
                <a:cxn ang="0">
                  <a:pos x="451" y="1019"/>
                </a:cxn>
                <a:cxn ang="0">
                  <a:pos x="382" y="1006"/>
                </a:cxn>
                <a:cxn ang="0">
                  <a:pos x="378" y="1008"/>
                </a:cxn>
                <a:cxn ang="0">
                  <a:pos x="324" y="965"/>
                </a:cxn>
                <a:cxn ang="0">
                  <a:pos x="292" y="915"/>
                </a:cxn>
                <a:cxn ang="0">
                  <a:pos x="293" y="834"/>
                </a:cxn>
                <a:cxn ang="0">
                  <a:pos x="159" y="707"/>
                </a:cxn>
                <a:cxn ang="0">
                  <a:pos x="103" y="613"/>
                </a:cxn>
                <a:cxn ang="0">
                  <a:pos x="166" y="486"/>
                </a:cxn>
                <a:cxn ang="0">
                  <a:pos x="177" y="431"/>
                </a:cxn>
                <a:cxn ang="0">
                  <a:pos x="61" y="329"/>
                </a:cxn>
                <a:cxn ang="0">
                  <a:pos x="56" y="257"/>
                </a:cxn>
                <a:cxn ang="0">
                  <a:pos x="13" y="217"/>
                </a:cxn>
                <a:cxn ang="0">
                  <a:pos x="1" y="53"/>
                </a:cxn>
                <a:cxn ang="0">
                  <a:pos x="40" y="2"/>
                </a:cxn>
                <a:cxn ang="0">
                  <a:pos x="43" y="0"/>
                </a:cxn>
                <a:cxn ang="0">
                  <a:pos x="60" y="19"/>
                </a:cxn>
                <a:cxn ang="0">
                  <a:pos x="167" y="102"/>
                </a:cxn>
                <a:cxn ang="0">
                  <a:pos x="251" y="45"/>
                </a:cxn>
                <a:cxn ang="0">
                  <a:pos x="341" y="30"/>
                </a:cxn>
                <a:cxn ang="0">
                  <a:pos x="357" y="89"/>
                </a:cxn>
                <a:cxn ang="0">
                  <a:pos x="336" y="110"/>
                </a:cxn>
                <a:cxn ang="0">
                  <a:pos x="404" y="148"/>
                </a:cxn>
                <a:cxn ang="0">
                  <a:pos x="506" y="259"/>
                </a:cxn>
                <a:cxn ang="0">
                  <a:pos x="634" y="344"/>
                </a:cxn>
                <a:cxn ang="0">
                  <a:pos x="830" y="314"/>
                </a:cxn>
                <a:cxn ang="0">
                  <a:pos x="822" y="254"/>
                </a:cxn>
                <a:cxn ang="0">
                  <a:pos x="943" y="188"/>
                </a:cxn>
                <a:cxn ang="0">
                  <a:pos x="1093" y="159"/>
                </a:cxn>
                <a:cxn ang="0">
                  <a:pos x="1269" y="238"/>
                </a:cxn>
                <a:cxn ang="0">
                  <a:pos x="1293" y="282"/>
                </a:cxn>
                <a:cxn ang="0">
                  <a:pos x="1429" y="343"/>
                </a:cxn>
                <a:cxn ang="0">
                  <a:pos x="1442" y="428"/>
                </a:cxn>
                <a:cxn ang="0">
                  <a:pos x="1408" y="582"/>
                </a:cxn>
                <a:cxn ang="0">
                  <a:pos x="1374" y="601"/>
                </a:cxn>
                <a:cxn ang="0">
                  <a:pos x="1398" y="657"/>
                </a:cxn>
                <a:cxn ang="0">
                  <a:pos x="1378" y="722"/>
                </a:cxn>
                <a:cxn ang="0">
                  <a:pos x="1443" y="851"/>
                </a:cxn>
                <a:cxn ang="0">
                  <a:pos x="1476" y="899"/>
                </a:cxn>
                <a:cxn ang="0">
                  <a:pos x="1409" y="1025"/>
                </a:cxn>
                <a:cxn ang="0">
                  <a:pos x="1562" y="1181"/>
                </a:cxn>
                <a:cxn ang="0">
                  <a:pos x="1569" y="1259"/>
                </a:cxn>
                <a:cxn ang="0">
                  <a:pos x="1607" y="1277"/>
                </a:cxn>
                <a:cxn ang="0">
                  <a:pos x="1585" y="1323"/>
                </a:cxn>
                <a:cxn ang="0">
                  <a:pos x="1519" y="1346"/>
                </a:cxn>
                <a:cxn ang="0">
                  <a:pos x="1467" y="1466"/>
                </a:cxn>
                <a:cxn ang="0">
                  <a:pos x="1115" y="1419"/>
                </a:cxn>
              </a:cxnLst>
              <a:rect l="0" t="0" r="r" b="b"/>
              <a:pathLst>
                <a:path w="1608" h="1471">
                  <a:moveTo>
                    <a:pt x="1115" y="1419"/>
                  </a:moveTo>
                  <a:cubicBezTo>
                    <a:pt x="1113" y="1418"/>
                    <a:pt x="1111" y="1417"/>
                    <a:pt x="1111" y="1416"/>
                  </a:cubicBezTo>
                  <a:lnTo>
                    <a:pt x="1069" y="1303"/>
                  </a:lnTo>
                  <a:lnTo>
                    <a:pt x="1030" y="1284"/>
                  </a:lnTo>
                  <a:lnTo>
                    <a:pt x="884" y="1342"/>
                  </a:lnTo>
                  <a:lnTo>
                    <a:pt x="792" y="1326"/>
                  </a:lnTo>
                  <a:cubicBezTo>
                    <a:pt x="791" y="1325"/>
                    <a:pt x="790" y="1324"/>
                    <a:pt x="789" y="1323"/>
                  </a:cubicBezTo>
                  <a:lnTo>
                    <a:pt x="777" y="1302"/>
                  </a:lnTo>
                  <a:lnTo>
                    <a:pt x="720" y="1283"/>
                  </a:lnTo>
                  <a:lnTo>
                    <a:pt x="692" y="1248"/>
                  </a:lnTo>
                  <a:lnTo>
                    <a:pt x="613" y="1215"/>
                  </a:lnTo>
                  <a:cubicBezTo>
                    <a:pt x="612" y="1215"/>
                    <a:pt x="612" y="1214"/>
                    <a:pt x="611" y="1213"/>
                  </a:cubicBezTo>
                  <a:lnTo>
                    <a:pt x="569" y="1120"/>
                  </a:lnTo>
                  <a:lnTo>
                    <a:pt x="540" y="1091"/>
                  </a:lnTo>
                  <a:lnTo>
                    <a:pt x="495" y="1005"/>
                  </a:lnTo>
                  <a:lnTo>
                    <a:pt x="456" y="1021"/>
                  </a:lnTo>
                  <a:cubicBezTo>
                    <a:pt x="455" y="1021"/>
                    <a:pt x="455" y="1021"/>
                    <a:pt x="454" y="1021"/>
                  </a:cubicBezTo>
                  <a:cubicBezTo>
                    <a:pt x="453" y="1021"/>
                    <a:pt x="452" y="1020"/>
                    <a:pt x="451" y="1019"/>
                  </a:cubicBezTo>
                  <a:lnTo>
                    <a:pt x="401" y="965"/>
                  </a:lnTo>
                  <a:lnTo>
                    <a:pt x="382" y="1006"/>
                  </a:lnTo>
                  <a:cubicBezTo>
                    <a:pt x="382" y="1007"/>
                    <a:pt x="381" y="1008"/>
                    <a:pt x="379" y="1008"/>
                  </a:cubicBezTo>
                  <a:lnTo>
                    <a:pt x="378" y="1008"/>
                  </a:lnTo>
                  <a:cubicBezTo>
                    <a:pt x="377" y="1008"/>
                    <a:pt x="376" y="1008"/>
                    <a:pt x="375" y="1007"/>
                  </a:cubicBezTo>
                  <a:lnTo>
                    <a:pt x="324" y="965"/>
                  </a:lnTo>
                  <a:lnTo>
                    <a:pt x="311" y="922"/>
                  </a:lnTo>
                  <a:lnTo>
                    <a:pt x="292" y="915"/>
                  </a:lnTo>
                  <a:cubicBezTo>
                    <a:pt x="290" y="914"/>
                    <a:pt x="289" y="912"/>
                    <a:pt x="289" y="910"/>
                  </a:cubicBezTo>
                  <a:lnTo>
                    <a:pt x="293" y="834"/>
                  </a:lnTo>
                  <a:lnTo>
                    <a:pt x="264" y="773"/>
                  </a:lnTo>
                  <a:lnTo>
                    <a:pt x="159" y="707"/>
                  </a:lnTo>
                  <a:lnTo>
                    <a:pt x="103" y="617"/>
                  </a:lnTo>
                  <a:cubicBezTo>
                    <a:pt x="102" y="616"/>
                    <a:pt x="102" y="614"/>
                    <a:pt x="103" y="613"/>
                  </a:cubicBezTo>
                  <a:lnTo>
                    <a:pt x="119" y="558"/>
                  </a:lnTo>
                  <a:lnTo>
                    <a:pt x="166" y="486"/>
                  </a:lnTo>
                  <a:lnTo>
                    <a:pt x="162" y="459"/>
                  </a:lnTo>
                  <a:lnTo>
                    <a:pt x="177" y="431"/>
                  </a:lnTo>
                  <a:lnTo>
                    <a:pt x="114" y="407"/>
                  </a:lnTo>
                  <a:lnTo>
                    <a:pt x="61" y="329"/>
                  </a:lnTo>
                  <a:lnTo>
                    <a:pt x="56" y="281"/>
                  </a:lnTo>
                  <a:lnTo>
                    <a:pt x="56" y="257"/>
                  </a:lnTo>
                  <a:lnTo>
                    <a:pt x="15" y="220"/>
                  </a:lnTo>
                  <a:cubicBezTo>
                    <a:pt x="14" y="219"/>
                    <a:pt x="13" y="218"/>
                    <a:pt x="13" y="217"/>
                  </a:cubicBezTo>
                  <a:lnTo>
                    <a:pt x="13" y="94"/>
                  </a:lnTo>
                  <a:lnTo>
                    <a:pt x="1" y="53"/>
                  </a:lnTo>
                  <a:cubicBezTo>
                    <a:pt x="0" y="52"/>
                    <a:pt x="1" y="50"/>
                    <a:pt x="2" y="49"/>
                  </a:cubicBezTo>
                  <a:lnTo>
                    <a:pt x="40" y="2"/>
                  </a:lnTo>
                  <a:cubicBezTo>
                    <a:pt x="41" y="1"/>
                    <a:pt x="42" y="0"/>
                    <a:pt x="43" y="0"/>
                  </a:cubicBezTo>
                  <a:lnTo>
                    <a:pt x="43" y="0"/>
                  </a:lnTo>
                  <a:cubicBezTo>
                    <a:pt x="45" y="0"/>
                    <a:pt x="46" y="1"/>
                    <a:pt x="47" y="2"/>
                  </a:cubicBezTo>
                  <a:lnTo>
                    <a:pt x="60" y="19"/>
                  </a:lnTo>
                  <a:lnTo>
                    <a:pt x="118" y="98"/>
                  </a:lnTo>
                  <a:lnTo>
                    <a:pt x="167" y="102"/>
                  </a:lnTo>
                  <a:lnTo>
                    <a:pt x="215" y="102"/>
                  </a:lnTo>
                  <a:lnTo>
                    <a:pt x="251" y="45"/>
                  </a:lnTo>
                  <a:lnTo>
                    <a:pt x="313" y="22"/>
                  </a:lnTo>
                  <a:lnTo>
                    <a:pt x="341" y="30"/>
                  </a:lnTo>
                  <a:cubicBezTo>
                    <a:pt x="343" y="31"/>
                    <a:pt x="344" y="32"/>
                    <a:pt x="345" y="34"/>
                  </a:cubicBezTo>
                  <a:lnTo>
                    <a:pt x="357" y="89"/>
                  </a:lnTo>
                  <a:cubicBezTo>
                    <a:pt x="358" y="91"/>
                    <a:pt x="357" y="92"/>
                    <a:pt x="356" y="93"/>
                  </a:cubicBezTo>
                  <a:lnTo>
                    <a:pt x="336" y="110"/>
                  </a:lnTo>
                  <a:lnTo>
                    <a:pt x="401" y="145"/>
                  </a:lnTo>
                  <a:cubicBezTo>
                    <a:pt x="403" y="145"/>
                    <a:pt x="404" y="147"/>
                    <a:pt x="404" y="148"/>
                  </a:cubicBezTo>
                  <a:lnTo>
                    <a:pt x="424" y="238"/>
                  </a:lnTo>
                  <a:lnTo>
                    <a:pt x="506" y="259"/>
                  </a:lnTo>
                  <a:lnTo>
                    <a:pt x="555" y="311"/>
                  </a:lnTo>
                  <a:lnTo>
                    <a:pt x="634" y="344"/>
                  </a:lnTo>
                  <a:lnTo>
                    <a:pt x="767" y="318"/>
                  </a:lnTo>
                  <a:lnTo>
                    <a:pt x="830" y="314"/>
                  </a:lnTo>
                  <a:lnTo>
                    <a:pt x="818" y="260"/>
                  </a:lnTo>
                  <a:cubicBezTo>
                    <a:pt x="818" y="258"/>
                    <a:pt x="819" y="255"/>
                    <a:pt x="822" y="254"/>
                  </a:cubicBezTo>
                  <a:lnTo>
                    <a:pt x="868" y="242"/>
                  </a:lnTo>
                  <a:lnTo>
                    <a:pt x="943" y="188"/>
                  </a:lnTo>
                  <a:lnTo>
                    <a:pt x="1090" y="157"/>
                  </a:lnTo>
                  <a:cubicBezTo>
                    <a:pt x="1091" y="157"/>
                    <a:pt x="1092" y="158"/>
                    <a:pt x="1093" y="159"/>
                  </a:cubicBezTo>
                  <a:lnTo>
                    <a:pt x="1123" y="197"/>
                  </a:lnTo>
                  <a:lnTo>
                    <a:pt x="1269" y="238"/>
                  </a:lnTo>
                  <a:cubicBezTo>
                    <a:pt x="1270" y="238"/>
                    <a:pt x="1271" y="239"/>
                    <a:pt x="1272" y="240"/>
                  </a:cubicBezTo>
                  <a:lnTo>
                    <a:pt x="1293" y="282"/>
                  </a:lnTo>
                  <a:lnTo>
                    <a:pt x="1389" y="344"/>
                  </a:lnTo>
                  <a:lnTo>
                    <a:pt x="1429" y="343"/>
                  </a:lnTo>
                  <a:cubicBezTo>
                    <a:pt x="1431" y="343"/>
                    <a:pt x="1433" y="345"/>
                    <a:pt x="1433" y="347"/>
                  </a:cubicBezTo>
                  <a:lnTo>
                    <a:pt x="1442" y="428"/>
                  </a:lnTo>
                  <a:lnTo>
                    <a:pt x="1425" y="531"/>
                  </a:lnTo>
                  <a:lnTo>
                    <a:pt x="1408" y="582"/>
                  </a:lnTo>
                  <a:cubicBezTo>
                    <a:pt x="1407" y="583"/>
                    <a:pt x="1406" y="584"/>
                    <a:pt x="1405" y="585"/>
                  </a:cubicBezTo>
                  <a:lnTo>
                    <a:pt x="1374" y="601"/>
                  </a:lnTo>
                  <a:lnTo>
                    <a:pt x="1374" y="638"/>
                  </a:lnTo>
                  <a:lnTo>
                    <a:pt x="1398" y="657"/>
                  </a:lnTo>
                  <a:cubicBezTo>
                    <a:pt x="1399" y="659"/>
                    <a:pt x="1400" y="661"/>
                    <a:pt x="1399" y="662"/>
                  </a:cubicBezTo>
                  <a:lnTo>
                    <a:pt x="1378" y="722"/>
                  </a:lnTo>
                  <a:lnTo>
                    <a:pt x="1395" y="831"/>
                  </a:lnTo>
                  <a:lnTo>
                    <a:pt x="1443" y="851"/>
                  </a:lnTo>
                  <a:lnTo>
                    <a:pt x="1475" y="895"/>
                  </a:lnTo>
                  <a:cubicBezTo>
                    <a:pt x="1476" y="896"/>
                    <a:pt x="1476" y="898"/>
                    <a:pt x="1476" y="899"/>
                  </a:cubicBezTo>
                  <a:lnTo>
                    <a:pt x="1463" y="950"/>
                  </a:lnTo>
                  <a:lnTo>
                    <a:pt x="1409" y="1025"/>
                  </a:lnTo>
                  <a:lnTo>
                    <a:pt x="1467" y="1128"/>
                  </a:lnTo>
                  <a:lnTo>
                    <a:pt x="1562" y="1181"/>
                  </a:lnTo>
                  <a:cubicBezTo>
                    <a:pt x="1564" y="1182"/>
                    <a:pt x="1565" y="1184"/>
                    <a:pt x="1565" y="1185"/>
                  </a:cubicBezTo>
                  <a:lnTo>
                    <a:pt x="1569" y="1259"/>
                  </a:lnTo>
                  <a:lnTo>
                    <a:pt x="1604" y="1274"/>
                  </a:lnTo>
                  <a:cubicBezTo>
                    <a:pt x="1606" y="1275"/>
                    <a:pt x="1606" y="1276"/>
                    <a:pt x="1607" y="1277"/>
                  </a:cubicBezTo>
                  <a:cubicBezTo>
                    <a:pt x="1607" y="1278"/>
                    <a:pt x="1607" y="1280"/>
                    <a:pt x="1607" y="1281"/>
                  </a:cubicBezTo>
                  <a:lnTo>
                    <a:pt x="1585" y="1323"/>
                  </a:lnTo>
                  <a:cubicBezTo>
                    <a:pt x="1585" y="1324"/>
                    <a:pt x="1584" y="1325"/>
                    <a:pt x="1583" y="1325"/>
                  </a:cubicBezTo>
                  <a:lnTo>
                    <a:pt x="1519" y="1346"/>
                  </a:lnTo>
                  <a:lnTo>
                    <a:pt x="1487" y="1379"/>
                  </a:lnTo>
                  <a:lnTo>
                    <a:pt x="1467" y="1466"/>
                  </a:lnTo>
                  <a:cubicBezTo>
                    <a:pt x="1467" y="1468"/>
                    <a:pt x="1465" y="1470"/>
                    <a:pt x="1463" y="1470"/>
                  </a:cubicBezTo>
                  <a:lnTo>
                    <a:pt x="1115" y="141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3" name="Freeform 418"/>
            <p:cNvSpPr>
              <a:spLocks noChangeArrowheads="1"/>
            </p:cNvSpPr>
            <p:nvPr/>
          </p:nvSpPr>
          <p:spPr bwMode="auto">
            <a:xfrm>
              <a:off x="5564188" y="2435225"/>
              <a:ext cx="579437" cy="530225"/>
            </a:xfrm>
            <a:custGeom>
              <a:avLst/>
              <a:gdLst/>
              <a:ahLst/>
              <a:cxnLst>
                <a:cxn ang="0">
                  <a:pos x="1111" y="1416"/>
                </a:cxn>
                <a:cxn ang="0">
                  <a:pos x="1030" y="1284"/>
                </a:cxn>
                <a:cxn ang="0">
                  <a:pos x="792" y="1326"/>
                </a:cxn>
                <a:cxn ang="0">
                  <a:pos x="777" y="1302"/>
                </a:cxn>
                <a:cxn ang="0">
                  <a:pos x="692" y="1248"/>
                </a:cxn>
                <a:cxn ang="0">
                  <a:pos x="611" y="1213"/>
                </a:cxn>
                <a:cxn ang="0">
                  <a:pos x="540" y="1091"/>
                </a:cxn>
                <a:cxn ang="0">
                  <a:pos x="456" y="1021"/>
                </a:cxn>
                <a:cxn ang="0">
                  <a:pos x="451" y="1019"/>
                </a:cxn>
                <a:cxn ang="0">
                  <a:pos x="382" y="1006"/>
                </a:cxn>
                <a:cxn ang="0">
                  <a:pos x="378" y="1008"/>
                </a:cxn>
                <a:cxn ang="0">
                  <a:pos x="324" y="965"/>
                </a:cxn>
                <a:cxn ang="0">
                  <a:pos x="292" y="915"/>
                </a:cxn>
                <a:cxn ang="0">
                  <a:pos x="293" y="834"/>
                </a:cxn>
                <a:cxn ang="0">
                  <a:pos x="159" y="707"/>
                </a:cxn>
                <a:cxn ang="0">
                  <a:pos x="103" y="613"/>
                </a:cxn>
                <a:cxn ang="0">
                  <a:pos x="166" y="486"/>
                </a:cxn>
                <a:cxn ang="0">
                  <a:pos x="177" y="431"/>
                </a:cxn>
                <a:cxn ang="0">
                  <a:pos x="61" y="329"/>
                </a:cxn>
                <a:cxn ang="0">
                  <a:pos x="56" y="257"/>
                </a:cxn>
                <a:cxn ang="0">
                  <a:pos x="13" y="217"/>
                </a:cxn>
                <a:cxn ang="0">
                  <a:pos x="1" y="53"/>
                </a:cxn>
                <a:cxn ang="0">
                  <a:pos x="40" y="2"/>
                </a:cxn>
                <a:cxn ang="0">
                  <a:pos x="43" y="0"/>
                </a:cxn>
                <a:cxn ang="0">
                  <a:pos x="60" y="19"/>
                </a:cxn>
                <a:cxn ang="0">
                  <a:pos x="167" y="102"/>
                </a:cxn>
                <a:cxn ang="0">
                  <a:pos x="251" y="45"/>
                </a:cxn>
                <a:cxn ang="0">
                  <a:pos x="341" y="30"/>
                </a:cxn>
                <a:cxn ang="0">
                  <a:pos x="357" y="89"/>
                </a:cxn>
                <a:cxn ang="0">
                  <a:pos x="336" y="110"/>
                </a:cxn>
                <a:cxn ang="0">
                  <a:pos x="404" y="148"/>
                </a:cxn>
                <a:cxn ang="0">
                  <a:pos x="506" y="259"/>
                </a:cxn>
                <a:cxn ang="0">
                  <a:pos x="634" y="344"/>
                </a:cxn>
                <a:cxn ang="0">
                  <a:pos x="830" y="314"/>
                </a:cxn>
                <a:cxn ang="0">
                  <a:pos x="822" y="254"/>
                </a:cxn>
                <a:cxn ang="0">
                  <a:pos x="943" y="188"/>
                </a:cxn>
                <a:cxn ang="0">
                  <a:pos x="1093" y="159"/>
                </a:cxn>
                <a:cxn ang="0">
                  <a:pos x="1269" y="238"/>
                </a:cxn>
                <a:cxn ang="0">
                  <a:pos x="1293" y="282"/>
                </a:cxn>
                <a:cxn ang="0">
                  <a:pos x="1429" y="343"/>
                </a:cxn>
                <a:cxn ang="0">
                  <a:pos x="1442" y="428"/>
                </a:cxn>
                <a:cxn ang="0">
                  <a:pos x="1408" y="582"/>
                </a:cxn>
                <a:cxn ang="0">
                  <a:pos x="1374" y="601"/>
                </a:cxn>
                <a:cxn ang="0">
                  <a:pos x="1398" y="657"/>
                </a:cxn>
                <a:cxn ang="0">
                  <a:pos x="1378" y="722"/>
                </a:cxn>
                <a:cxn ang="0">
                  <a:pos x="1443" y="851"/>
                </a:cxn>
                <a:cxn ang="0">
                  <a:pos x="1476" y="899"/>
                </a:cxn>
                <a:cxn ang="0">
                  <a:pos x="1409" y="1025"/>
                </a:cxn>
                <a:cxn ang="0">
                  <a:pos x="1562" y="1181"/>
                </a:cxn>
                <a:cxn ang="0">
                  <a:pos x="1569" y="1259"/>
                </a:cxn>
                <a:cxn ang="0">
                  <a:pos x="1607" y="1277"/>
                </a:cxn>
                <a:cxn ang="0">
                  <a:pos x="1585" y="1323"/>
                </a:cxn>
                <a:cxn ang="0">
                  <a:pos x="1519" y="1346"/>
                </a:cxn>
                <a:cxn ang="0">
                  <a:pos x="1467" y="1466"/>
                </a:cxn>
                <a:cxn ang="0">
                  <a:pos x="1115" y="1419"/>
                </a:cxn>
              </a:cxnLst>
              <a:rect l="0" t="0" r="r" b="b"/>
              <a:pathLst>
                <a:path w="1608" h="1471">
                  <a:moveTo>
                    <a:pt x="1115" y="1419"/>
                  </a:moveTo>
                  <a:cubicBezTo>
                    <a:pt x="1113" y="1418"/>
                    <a:pt x="1111" y="1417"/>
                    <a:pt x="1111" y="1416"/>
                  </a:cubicBezTo>
                  <a:lnTo>
                    <a:pt x="1069" y="1303"/>
                  </a:lnTo>
                  <a:lnTo>
                    <a:pt x="1030" y="1284"/>
                  </a:lnTo>
                  <a:lnTo>
                    <a:pt x="884" y="1342"/>
                  </a:lnTo>
                  <a:lnTo>
                    <a:pt x="792" y="1326"/>
                  </a:lnTo>
                  <a:cubicBezTo>
                    <a:pt x="791" y="1325"/>
                    <a:pt x="790" y="1324"/>
                    <a:pt x="789" y="1323"/>
                  </a:cubicBezTo>
                  <a:lnTo>
                    <a:pt x="777" y="1302"/>
                  </a:lnTo>
                  <a:lnTo>
                    <a:pt x="720" y="1283"/>
                  </a:lnTo>
                  <a:lnTo>
                    <a:pt x="692" y="1248"/>
                  </a:lnTo>
                  <a:lnTo>
                    <a:pt x="613" y="1215"/>
                  </a:lnTo>
                  <a:cubicBezTo>
                    <a:pt x="612" y="1215"/>
                    <a:pt x="612" y="1214"/>
                    <a:pt x="611" y="1213"/>
                  </a:cubicBezTo>
                  <a:lnTo>
                    <a:pt x="569" y="1120"/>
                  </a:lnTo>
                  <a:lnTo>
                    <a:pt x="540" y="1091"/>
                  </a:lnTo>
                  <a:lnTo>
                    <a:pt x="495" y="1005"/>
                  </a:lnTo>
                  <a:lnTo>
                    <a:pt x="456" y="1021"/>
                  </a:lnTo>
                  <a:cubicBezTo>
                    <a:pt x="455" y="1021"/>
                    <a:pt x="455" y="1021"/>
                    <a:pt x="454" y="1021"/>
                  </a:cubicBezTo>
                  <a:cubicBezTo>
                    <a:pt x="453" y="1021"/>
                    <a:pt x="452" y="1020"/>
                    <a:pt x="451" y="1019"/>
                  </a:cubicBezTo>
                  <a:lnTo>
                    <a:pt x="401" y="965"/>
                  </a:lnTo>
                  <a:lnTo>
                    <a:pt x="382" y="1006"/>
                  </a:lnTo>
                  <a:cubicBezTo>
                    <a:pt x="382" y="1007"/>
                    <a:pt x="381" y="1008"/>
                    <a:pt x="379" y="1008"/>
                  </a:cubicBezTo>
                  <a:lnTo>
                    <a:pt x="378" y="1008"/>
                  </a:lnTo>
                  <a:cubicBezTo>
                    <a:pt x="377" y="1008"/>
                    <a:pt x="376" y="1008"/>
                    <a:pt x="375" y="1007"/>
                  </a:cubicBezTo>
                  <a:lnTo>
                    <a:pt x="324" y="965"/>
                  </a:lnTo>
                  <a:lnTo>
                    <a:pt x="311" y="922"/>
                  </a:lnTo>
                  <a:lnTo>
                    <a:pt x="292" y="915"/>
                  </a:lnTo>
                  <a:cubicBezTo>
                    <a:pt x="290" y="914"/>
                    <a:pt x="289" y="912"/>
                    <a:pt x="289" y="910"/>
                  </a:cubicBezTo>
                  <a:lnTo>
                    <a:pt x="293" y="834"/>
                  </a:lnTo>
                  <a:lnTo>
                    <a:pt x="264" y="773"/>
                  </a:lnTo>
                  <a:lnTo>
                    <a:pt x="159" y="707"/>
                  </a:lnTo>
                  <a:lnTo>
                    <a:pt x="103" y="617"/>
                  </a:lnTo>
                  <a:cubicBezTo>
                    <a:pt x="102" y="616"/>
                    <a:pt x="102" y="614"/>
                    <a:pt x="103" y="613"/>
                  </a:cubicBezTo>
                  <a:lnTo>
                    <a:pt x="119" y="558"/>
                  </a:lnTo>
                  <a:lnTo>
                    <a:pt x="166" y="486"/>
                  </a:lnTo>
                  <a:lnTo>
                    <a:pt x="162" y="459"/>
                  </a:lnTo>
                  <a:lnTo>
                    <a:pt x="177" y="431"/>
                  </a:lnTo>
                  <a:lnTo>
                    <a:pt x="114" y="407"/>
                  </a:lnTo>
                  <a:lnTo>
                    <a:pt x="61" y="329"/>
                  </a:lnTo>
                  <a:lnTo>
                    <a:pt x="56" y="281"/>
                  </a:lnTo>
                  <a:lnTo>
                    <a:pt x="56" y="257"/>
                  </a:lnTo>
                  <a:lnTo>
                    <a:pt x="15" y="220"/>
                  </a:lnTo>
                  <a:cubicBezTo>
                    <a:pt x="14" y="219"/>
                    <a:pt x="13" y="218"/>
                    <a:pt x="13" y="217"/>
                  </a:cubicBezTo>
                  <a:lnTo>
                    <a:pt x="13" y="94"/>
                  </a:lnTo>
                  <a:lnTo>
                    <a:pt x="1" y="53"/>
                  </a:lnTo>
                  <a:cubicBezTo>
                    <a:pt x="0" y="52"/>
                    <a:pt x="1" y="50"/>
                    <a:pt x="2" y="49"/>
                  </a:cubicBezTo>
                  <a:lnTo>
                    <a:pt x="40" y="2"/>
                  </a:lnTo>
                  <a:cubicBezTo>
                    <a:pt x="41" y="1"/>
                    <a:pt x="42" y="0"/>
                    <a:pt x="43" y="0"/>
                  </a:cubicBezTo>
                  <a:lnTo>
                    <a:pt x="43" y="0"/>
                  </a:lnTo>
                  <a:cubicBezTo>
                    <a:pt x="45" y="0"/>
                    <a:pt x="46" y="1"/>
                    <a:pt x="47" y="2"/>
                  </a:cubicBezTo>
                  <a:lnTo>
                    <a:pt x="60" y="19"/>
                  </a:lnTo>
                  <a:lnTo>
                    <a:pt x="118" y="98"/>
                  </a:lnTo>
                  <a:lnTo>
                    <a:pt x="167" y="102"/>
                  </a:lnTo>
                  <a:lnTo>
                    <a:pt x="215" y="102"/>
                  </a:lnTo>
                  <a:lnTo>
                    <a:pt x="251" y="45"/>
                  </a:lnTo>
                  <a:lnTo>
                    <a:pt x="313" y="22"/>
                  </a:lnTo>
                  <a:lnTo>
                    <a:pt x="341" y="30"/>
                  </a:lnTo>
                  <a:cubicBezTo>
                    <a:pt x="343" y="31"/>
                    <a:pt x="344" y="32"/>
                    <a:pt x="345" y="34"/>
                  </a:cubicBezTo>
                  <a:lnTo>
                    <a:pt x="357" y="89"/>
                  </a:lnTo>
                  <a:cubicBezTo>
                    <a:pt x="358" y="91"/>
                    <a:pt x="357" y="92"/>
                    <a:pt x="356" y="93"/>
                  </a:cubicBezTo>
                  <a:lnTo>
                    <a:pt x="336" y="110"/>
                  </a:lnTo>
                  <a:lnTo>
                    <a:pt x="401" y="145"/>
                  </a:lnTo>
                  <a:cubicBezTo>
                    <a:pt x="403" y="145"/>
                    <a:pt x="404" y="147"/>
                    <a:pt x="404" y="148"/>
                  </a:cubicBezTo>
                  <a:lnTo>
                    <a:pt x="424" y="238"/>
                  </a:lnTo>
                  <a:lnTo>
                    <a:pt x="506" y="259"/>
                  </a:lnTo>
                  <a:lnTo>
                    <a:pt x="555" y="311"/>
                  </a:lnTo>
                  <a:lnTo>
                    <a:pt x="634" y="344"/>
                  </a:lnTo>
                  <a:lnTo>
                    <a:pt x="767" y="318"/>
                  </a:lnTo>
                  <a:lnTo>
                    <a:pt x="830" y="314"/>
                  </a:lnTo>
                  <a:lnTo>
                    <a:pt x="818" y="260"/>
                  </a:lnTo>
                  <a:cubicBezTo>
                    <a:pt x="818" y="258"/>
                    <a:pt x="819" y="255"/>
                    <a:pt x="822" y="254"/>
                  </a:cubicBezTo>
                  <a:lnTo>
                    <a:pt x="868" y="242"/>
                  </a:lnTo>
                  <a:lnTo>
                    <a:pt x="943" y="188"/>
                  </a:lnTo>
                  <a:lnTo>
                    <a:pt x="1090" y="157"/>
                  </a:lnTo>
                  <a:cubicBezTo>
                    <a:pt x="1091" y="157"/>
                    <a:pt x="1092" y="158"/>
                    <a:pt x="1093" y="159"/>
                  </a:cubicBezTo>
                  <a:lnTo>
                    <a:pt x="1123" y="197"/>
                  </a:lnTo>
                  <a:lnTo>
                    <a:pt x="1269" y="238"/>
                  </a:lnTo>
                  <a:cubicBezTo>
                    <a:pt x="1270" y="238"/>
                    <a:pt x="1271" y="239"/>
                    <a:pt x="1272" y="240"/>
                  </a:cubicBezTo>
                  <a:lnTo>
                    <a:pt x="1293" y="282"/>
                  </a:lnTo>
                  <a:lnTo>
                    <a:pt x="1389" y="344"/>
                  </a:lnTo>
                  <a:lnTo>
                    <a:pt x="1429" y="343"/>
                  </a:lnTo>
                  <a:cubicBezTo>
                    <a:pt x="1431" y="343"/>
                    <a:pt x="1433" y="345"/>
                    <a:pt x="1433" y="347"/>
                  </a:cubicBezTo>
                  <a:lnTo>
                    <a:pt x="1442" y="428"/>
                  </a:lnTo>
                  <a:lnTo>
                    <a:pt x="1425" y="531"/>
                  </a:lnTo>
                  <a:lnTo>
                    <a:pt x="1408" y="582"/>
                  </a:lnTo>
                  <a:cubicBezTo>
                    <a:pt x="1407" y="583"/>
                    <a:pt x="1406" y="584"/>
                    <a:pt x="1405" y="585"/>
                  </a:cubicBezTo>
                  <a:lnTo>
                    <a:pt x="1374" y="601"/>
                  </a:lnTo>
                  <a:lnTo>
                    <a:pt x="1374" y="638"/>
                  </a:lnTo>
                  <a:lnTo>
                    <a:pt x="1398" y="657"/>
                  </a:lnTo>
                  <a:cubicBezTo>
                    <a:pt x="1399" y="659"/>
                    <a:pt x="1400" y="661"/>
                    <a:pt x="1399" y="662"/>
                  </a:cubicBezTo>
                  <a:lnTo>
                    <a:pt x="1378" y="722"/>
                  </a:lnTo>
                  <a:lnTo>
                    <a:pt x="1395" y="831"/>
                  </a:lnTo>
                  <a:lnTo>
                    <a:pt x="1443" y="851"/>
                  </a:lnTo>
                  <a:lnTo>
                    <a:pt x="1475" y="895"/>
                  </a:lnTo>
                  <a:cubicBezTo>
                    <a:pt x="1476" y="896"/>
                    <a:pt x="1476" y="898"/>
                    <a:pt x="1476" y="899"/>
                  </a:cubicBezTo>
                  <a:lnTo>
                    <a:pt x="1463" y="950"/>
                  </a:lnTo>
                  <a:lnTo>
                    <a:pt x="1409" y="1025"/>
                  </a:lnTo>
                  <a:lnTo>
                    <a:pt x="1467" y="1128"/>
                  </a:lnTo>
                  <a:lnTo>
                    <a:pt x="1562" y="1181"/>
                  </a:lnTo>
                  <a:cubicBezTo>
                    <a:pt x="1564" y="1182"/>
                    <a:pt x="1565" y="1184"/>
                    <a:pt x="1565" y="1185"/>
                  </a:cubicBezTo>
                  <a:lnTo>
                    <a:pt x="1569" y="1259"/>
                  </a:lnTo>
                  <a:lnTo>
                    <a:pt x="1604" y="1274"/>
                  </a:lnTo>
                  <a:cubicBezTo>
                    <a:pt x="1606" y="1275"/>
                    <a:pt x="1606" y="1276"/>
                    <a:pt x="1607" y="1277"/>
                  </a:cubicBezTo>
                  <a:cubicBezTo>
                    <a:pt x="1607" y="1278"/>
                    <a:pt x="1607" y="1280"/>
                    <a:pt x="1607" y="1281"/>
                  </a:cubicBezTo>
                  <a:lnTo>
                    <a:pt x="1585" y="1323"/>
                  </a:lnTo>
                  <a:cubicBezTo>
                    <a:pt x="1585" y="1324"/>
                    <a:pt x="1584" y="1325"/>
                    <a:pt x="1583" y="1325"/>
                  </a:cubicBezTo>
                  <a:lnTo>
                    <a:pt x="1519" y="1346"/>
                  </a:lnTo>
                  <a:lnTo>
                    <a:pt x="1487" y="1379"/>
                  </a:lnTo>
                  <a:lnTo>
                    <a:pt x="1467" y="1466"/>
                  </a:lnTo>
                  <a:cubicBezTo>
                    <a:pt x="1467" y="1468"/>
                    <a:pt x="1465" y="1470"/>
                    <a:pt x="1463" y="1470"/>
                  </a:cubicBezTo>
                  <a:lnTo>
                    <a:pt x="1115" y="141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4" name="Freeform 419"/>
            <p:cNvSpPr>
              <a:spLocks noChangeArrowheads="1"/>
            </p:cNvSpPr>
            <p:nvPr/>
          </p:nvSpPr>
          <p:spPr bwMode="auto">
            <a:xfrm>
              <a:off x="4908550" y="1458913"/>
              <a:ext cx="17463" cy="19050"/>
            </a:xfrm>
            <a:custGeom>
              <a:avLst/>
              <a:gdLst/>
              <a:ahLst/>
              <a:cxnLst>
                <a:cxn ang="0">
                  <a:pos x="5" y="51"/>
                </a:cxn>
                <a:cxn ang="0">
                  <a:pos x="0" y="49"/>
                </a:cxn>
                <a:cxn ang="0">
                  <a:pos x="1" y="43"/>
                </a:cxn>
                <a:cxn ang="0">
                  <a:pos x="39" y="1"/>
                </a:cxn>
                <a:cxn ang="0">
                  <a:pos x="43" y="0"/>
                </a:cxn>
                <a:cxn ang="0">
                  <a:pos x="45" y="0"/>
                </a:cxn>
                <a:cxn ang="0">
                  <a:pos x="47" y="6"/>
                </a:cxn>
                <a:cxn ang="0">
                  <a:pos x="30" y="48"/>
                </a:cxn>
                <a:cxn ang="0">
                  <a:pos x="26" y="51"/>
                </a:cxn>
                <a:cxn ang="0">
                  <a:pos x="5" y="51"/>
                </a:cxn>
              </a:cxnLst>
              <a:rect l="0" t="0" r="r" b="b"/>
              <a:pathLst>
                <a:path w="49" h="52">
                  <a:moveTo>
                    <a:pt x="5" y="51"/>
                  </a:moveTo>
                  <a:cubicBezTo>
                    <a:pt x="3" y="51"/>
                    <a:pt x="1" y="50"/>
                    <a:pt x="0" y="49"/>
                  </a:cubicBezTo>
                  <a:cubicBezTo>
                    <a:pt x="0" y="47"/>
                    <a:pt x="0" y="45"/>
                    <a:pt x="1" y="43"/>
                  </a:cubicBezTo>
                  <a:lnTo>
                    <a:pt x="39" y="1"/>
                  </a:lnTo>
                  <a:cubicBezTo>
                    <a:pt x="40" y="0"/>
                    <a:pt x="41" y="0"/>
                    <a:pt x="43" y="0"/>
                  </a:cubicBezTo>
                  <a:cubicBezTo>
                    <a:pt x="43" y="0"/>
                    <a:pt x="44" y="0"/>
                    <a:pt x="45" y="0"/>
                  </a:cubicBezTo>
                  <a:cubicBezTo>
                    <a:pt x="47" y="1"/>
                    <a:pt x="48" y="4"/>
                    <a:pt x="47" y="6"/>
                  </a:cubicBezTo>
                  <a:lnTo>
                    <a:pt x="30" y="48"/>
                  </a:lnTo>
                  <a:cubicBezTo>
                    <a:pt x="29" y="50"/>
                    <a:pt x="28" y="51"/>
                    <a:pt x="26" y="51"/>
                  </a:cubicBezTo>
                  <a:lnTo>
                    <a:pt x="5" y="5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5" name="Freeform 420"/>
            <p:cNvSpPr>
              <a:spLocks noChangeArrowheads="1"/>
            </p:cNvSpPr>
            <p:nvPr/>
          </p:nvSpPr>
          <p:spPr bwMode="auto">
            <a:xfrm>
              <a:off x="4908550" y="1458913"/>
              <a:ext cx="17463" cy="19050"/>
            </a:xfrm>
            <a:custGeom>
              <a:avLst/>
              <a:gdLst/>
              <a:ahLst/>
              <a:cxnLst>
                <a:cxn ang="0">
                  <a:pos x="5" y="51"/>
                </a:cxn>
                <a:cxn ang="0">
                  <a:pos x="0" y="49"/>
                </a:cxn>
                <a:cxn ang="0">
                  <a:pos x="1" y="43"/>
                </a:cxn>
                <a:cxn ang="0">
                  <a:pos x="39" y="1"/>
                </a:cxn>
                <a:cxn ang="0">
                  <a:pos x="43" y="0"/>
                </a:cxn>
                <a:cxn ang="0">
                  <a:pos x="45" y="0"/>
                </a:cxn>
                <a:cxn ang="0">
                  <a:pos x="47" y="6"/>
                </a:cxn>
                <a:cxn ang="0">
                  <a:pos x="30" y="48"/>
                </a:cxn>
                <a:cxn ang="0">
                  <a:pos x="26" y="51"/>
                </a:cxn>
                <a:cxn ang="0">
                  <a:pos x="5" y="51"/>
                </a:cxn>
              </a:cxnLst>
              <a:rect l="0" t="0" r="r" b="b"/>
              <a:pathLst>
                <a:path w="49" h="52">
                  <a:moveTo>
                    <a:pt x="5" y="51"/>
                  </a:moveTo>
                  <a:cubicBezTo>
                    <a:pt x="3" y="51"/>
                    <a:pt x="1" y="50"/>
                    <a:pt x="0" y="49"/>
                  </a:cubicBezTo>
                  <a:cubicBezTo>
                    <a:pt x="0" y="47"/>
                    <a:pt x="0" y="45"/>
                    <a:pt x="1" y="43"/>
                  </a:cubicBezTo>
                  <a:lnTo>
                    <a:pt x="39" y="1"/>
                  </a:lnTo>
                  <a:cubicBezTo>
                    <a:pt x="40" y="0"/>
                    <a:pt x="41" y="0"/>
                    <a:pt x="43" y="0"/>
                  </a:cubicBezTo>
                  <a:cubicBezTo>
                    <a:pt x="43" y="0"/>
                    <a:pt x="44" y="0"/>
                    <a:pt x="45" y="0"/>
                  </a:cubicBezTo>
                  <a:cubicBezTo>
                    <a:pt x="47" y="1"/>
                    <a:pt x="48" y="4"/>
                    <a:pt x="47" y="6"/>
                  </a:cubicBezTo>
                  <a:lnTo>
                    <a:pt x="30" y="48"/>
                  </a:lnTo>
                  <a:cubicBezTo>
                    <a:pt x="29" y="50"/>
                    <a:pt x="28" y="51"/>
                    <a:pt x="26" y="51"/>
                  </a:cubicBezTo>
                  <a:lnTo>
                    <a:pt x="5" y="5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6" name="Freeform 421"/>
            <p:cNvSpPr>
              <a:spLocks noChangeArrowheads="1"/>
            </p:cNvSpPr>
            <p:nvPr/>
          </p:nvSpPr>
          <p:spPr bwMode="auto">
            <a:xfrm>
              <a:off x="4829175" y="1454150"/>
              <a:ext cx="14288" cy="25400"/>
            </a:xfrm>
            <a:custGeom>
              <a:avLst/>
              <a:gdLst/>
              <a:ahLst/>
              <a:cxnLst>
                <a:cxn ang="0">
                  <a:pos x="33" y="68"/>
                </a:cxn>
                <a:cxn ang="0">
                  <a:pos x="3" y="51"/>
                </a:cxn>
                <a:cxn ang="0">
                  <a:pos x="1" y="46"/>
                </a:cxn>
                <a:cxn ang="0">
                  <a:pos x="5" y="4"/>
                </a:cxn>
                <a:cxn ang="0">
                  <a:pos x="9" y="0"/>
                </a:cxn>
                <a:cxn ang="0">
                  <a:pos x="31" y="0"/>
                </a:cxn>
                <a:cxn ang="0">
                  <a:pos x="35" y="4"/>
                </a:cxn>
                <a:cxn ang="0">
                  <a:pos x="40" y="63"/>
                </a:cxn>
                <a:cxn ang="0">
                  <a:pos x="37" y="68"/>
                </a:cxn>
                <a:cxn ang="0">
                  <a:pos x="35" y="69"/>
                </a:cxn>
                <a:cxn ang="0">
                  <a:pos x="33" y="68"/>
                </a:cxn>
              </a:cxnLst>
              <a:rect l="0" t="0" r="r" b="b"/>
              <a:pathLst>
                <a:path w="41" h="70">
                  <a:moveTo>
                    <a:pt x="33" y="68"/>
                  </a:moveTo>
                  <a:lnTo>
                    <a:pt x="3" y="51"/>
                  </a:lnTo>
                  <a:cubicBezTo>
                    <a:pt x="1" y="50"/>
                    <a:pt x="0" y="48"/>
                    <a:pt x="1" y="46"/>
                  </a:cubicBezTo>
                  <a:lnTo>
                    <a:pt x="5" y="4"/>
                  </a:lnTo>
                  <a:cubicBezTo>
                    <a:pt x="5" y="2"/>
                    <a:pt x="7" y="0"/>
                    <a:pt x="9" y="0"/>
                  </a:cubicBezTo>
                  <a:lnTo>
                    <a:pt x="31" y="0"/>
                  </a:lnTo>
                  <a:cubicBezTo>
                    <a:pt x="33" y="0"/>
                    <a:pt x="35" y="2"/>
                    <a:pt x="35" y="4"/>
                  </a:cubicBezTo>
                  <a:lnTo>
                    <a:pt x="40" y="63"/>
                  </a:lnTo>
                  <a:cubicBezTo>
                    <a:pt x="40" y="65"/>
                    <a:pt x="39" y="67"/>
                    <a:pt x="37" y="68"/>
                  </a:cubicBezTo>
                  <a:cubicBezTo>
                    <a:pt x="37" y="68"/>
                    <a:pt x="36" y="69"/>
                    <a:pt x="35" y="69"/>
                  </a:cubicBezTo>
                  <a:cubicBezTo>
                    <a:pt x="34" y="69"/>
                    <a:pt x="33" y="68"/>
                    <a:pt x="33" y="6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7" name="Freeform 422"/>
            <p:cNvSpPr>
              <a:spLocks noChangeArrowheads="1"/>
            </p:cNvSpPr>
            <p:nvPr/>
          </p:nvSpPr>
          <p:spPr bwMode="auto">
            <a:xfrm>
              <a:off x="4829175" y="1454150"/>
              <a:ext cx="14288" cy="25400"/>
            </a:xfrm>
            <a:custGeom>
              <a:avLst/>
              <a:gdLst/>
              <a:ahLst/>
              <a:cxnLst>
                <a:cxn ang="0">
                  <a:pos x="35" y="69"/>
                </a:cxn>
                <a:cxn ang="0">
                  <a:pos x="33" y="68"/>
                </a:cxn>
                <a:cxn ang="0">
                  <a:pos x="3" y="51"/>
                </a:cxn>
                <a:cxn ang="0">
                  <a:pos x="1" y="46"/>
                </a:cxn>
                <a:cxn ang="0">
                  <a:pos x="5" y="4"/>
                </a:cxn>
                <a:cxn ang="0">
                  <a:pos x="9" y="0"/>
                </a:cxn>
                <a:cxn ang="0">
                  <a:pos x="31" y="0"/>
                </a:cxn>
                <a:cxn ang="0">
                  <a:pos x="35" y="4"/>
                </a:cxn>
                <a:cxn ang="0">
                  <a:pos x="40" y="63"/>
                </a:cxn>
                <a:cxn ang="0">
                  <a:pos x="37" y="68"/>
                </a:cxn>
                <a:cxn ang="0">
                  <a:pos x="35" y="69"/>
                </a:cxn>
              </a:cxnLst>
              <a:rect l="0" t="0" r="r" b="b"/>
              <a:pathLst>
                <a:path w="41" h="70">
                  <a:moveTo>
                    <a:pt x="35" y="69"/>
                  </a:moveTo>
                  <a:cubicBezTo>
                    <a:pt x="34" y="69"/>
                    <a:pt x="33" y="68"/>
                    <a:pt x="33" y="68"/>
                  </a:cubicBezTo>
                  <a:lnTo>
                    <a:pt x="3" y="51"/>
                  </a:lnTo>
                  <a:cubicBezTo>
                    <a:pt x="1" y="50"/>
                    <a:pt x="0" y="48"/>
                    <a:pt x="1" y="46"/>
                  </a:cubicBezTo>
                  <a:lnTo>
                    <a:pt x="5" y="4"/>
                  </a:lnTo>
                  <a:cubicBezTo>
                    <a:pt x="5" y="2"/>
                    <a:pt x="7" y="0"/>
                    <a:pt x="9" y="0"/>
                  </a:cubicBezTo>
                  <a:lnTo>
                    <a:pt x="31" y="0"/>
                  </a:lnTo>
                  <a:cubicBezTo>
                    <a:pt x="33" y="0"/>
                    <a:pt x="35" y="2"/>
                    <a:pt x="35" y="4"/>
                  </a:cubicBezTo>
                  <a:lnTo>
                    <a:pt x="40" y="63"/>
                  </a:lnTo>
                  <a:cubicBezTo>
                    <a:pt x="40" y="65"/>
                    <a:pt x="39" y="67"/>
                    <a:pt x="37" y="68"/>
                  </a:cubicBezTo>
                  <a:cubicBezTo>
                    <a:pt x="37" y="68"/>
                    <a:pt x="36" y="69"/>
                    <a:pt x="35" y="6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8" name="Freeform 423"/>
            <p:cNvSpPr>
              <a:spLocks noChangeArrowheads="1"/>
            </p:cNvSpPr>
            <p:nvPr/>
          </p:nvSpPr>
          <p:spPr bwMode="auto">
            <a:xfrm>
              <a:off x="4876800" y="1433513"/>
              <a:ext cx="204788" cy="50800"/>
            </a:xfrm>
            <a:custGeom>
              <a:avLst/>
              <a:gdLst/>
              <a:ahLst/>
              <a:cxnLst>
                <a:cxn ang="0">
                  <a:pos x="570" y="0"/>
                </a:cxn>
                <a:cxn ang="0">
                  <a:pos x="538" y="29"/>
                </a:cxn>
                <a:cxn ang="0">
                  <a:pos x="387" y="55"/>
                </a:cxn>
                <a:cxn ang="0">
                  <a:pos x="261" y="123"/>
                </a:cxn>
                <a:cxn ang="0">
                  <a:pos x="188" y="140"/>
                </a:cxn>
                <a:cxn ang="0">
                  <a:pos x="187" y="140"/>
                </a:cxn>
                <a:cxn ang="0">
                  <a:pos x="183" y="138"/>
                </a:cxn>
                <a:cxn ang="0">
                  <a:pos x="173" y="117"/>
                </a:cxn>
                <a:cxn ang="0">
                  <a:pos x="156" y="131"/>
                </a:cxn>
                <a:cxn ang="0">
                  <a:pos x="153" y="132"/>
                </a:cxn>
                <a:cxn ang="0">
                  <a:pos x="152" y="132"/>
                </a:cxn>
                <a:cxn ang="0">
                  <a:pos x="149" y="128"/>
                </a:cxn>
                <a:cxn ang="0">
                  <a:pos x="129" y="71"/>
                </a:cxn>
                <a:cxn ang="0">
                  <a:pos x="109" y="84"/>
                </a:cxn>
                <a:cxn ang="0">
                  <a:pos x="106" y="85"/>
                </a:cxn>
                <a:cxn ang="0">
                  <a:pos x="104" y="84"/>
                </a:cxn>
                <a:cxn ang="0">
                  <a:pos x="2" y="21"/>
                </a:cxn>
                <a:cxn ang="0">
                  <a:pos x="1" y="15"/>
                </a:cxn>
                <a:cxn ang="0">
                  <a:pos x="10" y="0"/>
                </a:cxn>
                <a:cxn ang="0">
                  <a:pos x="570" y="0"/>
                </a:cxn>
              </a:cxnLst>
              <a:rect l="0" t="0" r="r" b="b"/>
              <a:pathLst>
                <a:path w="571" h="141">
                  <a:moveTo>
                    <a:pt x="570" y="0"/>
                  </a:moveTo>
                  <a:lnTo>
                    <a:pt x="538" y="29"/>
                  </a:lnTo>
                  <a:lnTo>
                    <a:pt x="387" y="55"/>
                  </a:lnTo>
                  <a:lnTo>
                    <a:pt x="261" y="123"/>
                  </a:lnTo>
                  <a:lnTo>
                    <a:pt x="188" y="140"/>
                  </a:lnTo>
                  <a:lnTo>
                    <a:pt x="187" y="140"/>
                  </a:lnTo>
                  <a:cubicBezTo>
                    <a:pt x="185" y="140"/>
                    <a:pt x="184" y="139"/>
                    <a:pt x="183" y="138"/>
                  </a:cubicBezTo>
                  <a:lnTo>
                    <a:pt x="173" y="117"/>
                  </a:lnTo>
                  <a:lnTo>
                    <a:pt x="156" y="131"/>
                  </a:lnTo>
                  <a:cubicBezTo>
                    <a:pt x="155" y="131"/>
                    <a:pt x="154" y="132"/>
                    <a:pt x="153" y="132"/>
                  </a:cubicBezTo>
                  <a:lnTo>
                    <a:pt x="152" y="132"/>
                  </a:lnTo>
                  <a:cubicBezTo>
                    <a:pt x="150" y="131"/>
                    <a:pt x="149" y="130"/>
                    <a:pt x="149" y="128"/>
                  </a:cubicBezTo>
                  <a:lnTo>
                    <a:pt x="129" y="71"/>
                  </a:lnTo>
                  <a:lnTo>
                    <a:pt x="109" y="84"/>
                  </a:lnTo>
                  <a:cubicBezTo>
                    <a:pt x="108" y="85"/>
                    <a:pt x="107" y="85"/>
                    <a:pt x="106" y="85"/>
                  </a:cubicBezTo>
                  <a:cubicBezTo>
                    <a:pt x="106" y="85"/>
                    <a:pt x="105" y="85"/>
                    <a:pt x="104" y="84"/>
                  </a:cubicBezTo>
                  <a:lnTo>
                    <a:pt x="2" y="21"/>
                  </a:lnTo>
                  <a:cubicBezTo>
                    <a:pt x="0" y="20"/>
                    <a:pt x="0" y="17"/>
                    <a:pt x="1" y="15"/>
                  </a:cubicBezTo>
                  <a:lnTo>
                    <a:pt x="10" y="0"/>
                  </a:lnTo>
                  <a:lnTo>
                    <a:pt x="570"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29" name="Freeform 424"/>
            <p:cNvSpPr>
              <a:spLocks noChangeArrowheads="1"/>
            </p:cNvSpPr>
            <p:nvPr/>
          </p:nvSpPr>
          <p:spPr bwMode="auto">
            <a:xfrm>
              <a:off x="4876800" y="1433513"/>
              <a:ext cx="204788" cy="50800"/>
            </a:xfrm>
            <a:custGeom>
              <a:avLst/>
              <a:gdLst/>
              <a:ahLst/>
              <a:cxnLst>
                <a:cxn ang="0">
                  <a:pos x="570" y="0"/>
                </a:cxn>
                <a:cxn ang="0">
                  <a:pos x="538" y="29"/>
                </a:cxn>
                <a:cxn ang="0">
                  <a:pos x="387" y="55"/>
                </a:cxn>
                <a:cxn ang="0">
                  <a:pos x="261" y="123"/>
                </a:cxn>
                <a:cxn ang="0">
                  <a:pos x="188" y="140"/>
                </a:cxn>
                <a:cxn ang="0">
                  <a:pos x="187" y="140"/>
                </a:cxn>
                <a:cxn ang="0">
                  <a:pos x="183" y="138"/>
                </a:cxn>
                <a:cxn ang="0">
                  <a:pos x="173" y="117"/>
                </a:cxn>
                <a:cxn ang="0">
                  <a:pos x="156" y="131"/>
                </a:cxn>
                <a:cxn ang="0">
                  <a:pos x="153" y="132"/>
                </a:cxn>
                <a:cxn ang="0">
                  <a:pos x="152" y="132"/>
                </a:cxn>
                <a:cxn ang="0">
                  <a:pos x="149" y="128"/>
                </a:cxn>
                <a:cxn ang="0">
                  <a:pos x="129" y="71"/>
                </a:cxn>
                <a:cxn ang="0">
                  <a:pos x="109" y="84"/>
                </a:cxn>
                <a:cxn ang="0">
                  <a:pos x="106" y="85"/>
                </a:cxn>
                <a:cxn ang="0">
                  <a:pos x="104" y="84"/>
                </a:cxn>
                <a:cxn ang="0">
                  <a:pos x="2" y="21"/>
                </a:cxn>
                <a:cxn ang="0">
                  <a:pos x="1" y="15"/>
                </a:cxn>
                <a:cxn ang="0">
                  <a:pos x="10" y="0"/>
                </a:cxn>
                <a:cxn ang="0">
                  <a:pos x="570" y="0"/>
                </a:cxn>
              </a:cxnLst>
              <a:rect l="0" t="0" r="r" b="b"/>
              <a:pathLst>
                <a:path w="571" h="141">
                  <a:moveTo>
                    <a:pt x="570" y="0"/>
                  </a:moveTo>
                  <a:lnTo>
                    <a:pt x="538" y="29"/>
                  </a:lnTo>
                  <a:lnTo>
                    <a:pt x="387" y="55"/>
                  </a:lnTo>
                  <a:lnTo>
                    <a:pt x="261" y="123"/>
                  </a:lnTo>
                  <a:lnTo>
                    <a:pt x="188" y="140"/>
                  </a:lnTo>
                  <a:lnTo>
                    <a:pt x="187" y="140"/>
                  </a:lnTo>
                  <a:cubicBezTo>
                    <a:pt x="185" y="140"/>
                    <a:pt x="184" y="139"/>
                    <a:pt x="183" y="138"/>
                  </a:cubicBezTo>
                  <a:lnTo>
                    <a:pt x="173" y="117"/>
                  </a:lnTo>
                  <a:lnTo>
                    <a:pt x="156" y="131"/>
                  </a:lnTo>
                  <a:cubicBezTo>
                    <a:pt x="155" y="131"/>
                    <a:pt x="154" y="132"/>
                    <a:pt x="153" y="132"/>
                  </a:cubicBezTo>
                  <a:lnTo>
                    <a:pt x="152" y="132"/>
                  </a:lnTo>
                  <a:cubicBezTo>
                    <a:pt x="150" y="131"/>
                    <a:pt x="149" y="130"/>
                    <a:pt x="149" y="128"/>
                  </a:cubicBezTo>
                  <a:lnTo>
                    <a:pt x="129" y="71"/>
                  </a:lnTo>
                  <a:lnTo>
                    <a:pt x="109" y="84"/>
                  </a:lnTo>
                  <a:cubicBezTo>
                    <a:pt x="108" y="85"/>
                    <a:pt x="107" y="85"/>
                    <a:pt x="106" y="85"/>
                  </a:cubicBezTo>
                  <a:cubicBezTo>
                    <a:pt x="106" y="85"/>
                    <a:pt x="105" y="85"/>
                    <a:pt x="104" y="84"/>
                  </a:cubicBezTo>
                  <a:lnTo>
                    <a:pt x="2" y="21"/>
                  </a:lnTo>
                  <a:cubicBezTo>
                    <a:pt x="0" y="20"/>
                    <a:pt x="0" y="17"/>
                    <a:pt x="1" y="15"/>
                  </a:cubicBezTo>
                  <a:lnTo>
                    <a:pt x="10" y="0"/>
                  </a:lnTo>
                  <a:lnTo>
                    <a:pt x="57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0" name="Freeform 425"/>
            <p:cNvSpPr>
              <a:spLocks noChangeArrowheads="1"/>
            </p:cNvSpPr>
            <p:nvPr/>
          </p:nvSpPr>
          <p:spPr bwMode="auto">
            <a:xfrm>
              <a:off x="4281488" y="2324100"/>
              <a:ext cx="12700" cy="12700"/>
            </a:xfrm>
            <a:custGeom>
              <a:avLst/>
              <a:gdLst/>
              <a:ahLst/>
              <a:cxnLst>
                <a:cxn ang="0">
                  <a:pos x="18" y="32"/>
                </a:cxn>
                <a:cxn ang="0">
                  <a:pos x="2" y="7"/>
                </a:cxn>
                <a:cxn ang="0">
                  <a:pos x="2" y="1"/>
                </a:cxn>
                <a:cxn ang="0">
                  <a:pos x="5" y="0"/>
                </a:cxn>
                <a:cxn ang="0">
                  <a:pos x="8" y="0"/>
                </a:cxn>
                <a:cxn ang="0">
                  <a:pos x="33" y="13"/>
                </a:cxn>
                <a:cxn ang="0">
                  <a:pos x="35" y="16"/>
                </a:cxn>
                <a:cxn ang="0">
                  <a:pos x="35" y="20"/>
                </a:cxn>
                <a:cxn ang="0">
                  <a:pos x="26" y="32"/>
                </a:cxn>
                <a:cxn ang="0">
                  <a:pos x="22" y="34"/>
                </a:cxn>
                <a:cxn ang="0">
                  <a:pos x="18" y="32"/>
                </a:cxn>
              </a:cxnLst>
              <a:rect l="0" t="0" r="r" b="b"/>
              <a:pathLst>
                <a:path w="37" h="35">
                  <a:moveTo>
                    <a:pt x="18" y="32"/>
                  </a:moveTo>
                  <a:lnTo>
                    <a:pt x="2" y="7"/>
                  </a:lnTo>
                  <a:cubicBezTo>
                    <a:pt x="0" y="5"/>
                    <a:pt x="0" y="3"/>
                    <a:pt x="2" y="1"/>
                  </a:cubicBezTo>
                  <a:cubicBezTo>
                    <a:pt x="3" y="0"/>
                    <a:pt x="4" y="0"/>
                    <a:pt x="5" y="0"/>
                  </a:cubicBezTo>
                  <a:cubicBezTo>
                    <a:pt x="6" y="0"/>
                    <a:pt x="7" y="0"/>
                    <a:pt x="8" y="0"/>
                  </a:cubicBezTo>
                  <a:lnTo>
                    <a:pt x="33" y="13"/>
                  </a:lnTo>
                  <a:cubicBezTo>
                    <a:pt x="34" y="13"/>
                    <a:pt x="35" y="14"/>
                    <a:pt x="35" y="16"/>
                  </a:cubicBezTo>
                  <a:cubicBezTo>
                    <a:pt x="36" y="17"/>
                    <a:pt x="36" y="18"/>
                    <a:pt x="35" y="20"/>
                  </a:cubicBezTo>
                  <a:lnTo>
                    <a:pt x="26" y="32"/>
                  </a:lnTo>
                  <a:cubicBezTo>
                    <a:pt x="25" y="34"/>
                    <a:pt x="24" y="34"/>
                    <a:pt x="22" y="34"/>
                  </a:cubicBezTo>
                  <a:cubicBezTo>
                    <a:pt x="21" y="34"/>
                    <a:pt x="19" y="34"/>
                    <a:pt x="18" y="3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1" name="Freeform 426"/>
            <p:cNvSpPr>
              <a:spLocks noChangeArrowheads="1"/>
            </p:cNvSpPr>
            <p:nvPr/>
          </p:nvSpPr>
          <p:spPr bwMode="auto">
            <a:xfrm>
              <a:off x="4281488" y="2324100"/>
              <a:ext cx="12700" cy="12700"/>
            </a:xfrm>
            <a:custGeom>
              <a:avLst/>
              <a:gdLst/>
              <a:ahLst/>
              <a:cxnLst>
                <a:cxn ang="0">
                  <a:pos x="22" y="34"/>
                </a:cxn>
                <a:cxn ang="0">
                  <a:pos x="18" y="32"/>
                </a:cxn>
                <a:cxn ang="0">
                  <a:pos x="2" y="7"/>
                </a:cxn>
                <a:cxn ang="0">
                  <a:pos x="2" y="1"/>
                </a:cxn>
                <a:cxn ang="0">
                  <a:pos x="5" y="0"/>
                </a:cxn>
                <a:cxn ang="0">
                  <a:pos x="8" y="0"/>
                </a:cxn>
                <a:cxn ang="0">
                  <a:pos x="33" y="13"/>
                </a:cxn>
                <a:cxn ang="0">
                  <a:pos x="35" y="16"/>
                </a:cxn>
                <a:cxn ang="0">
                  <a:pos x="35" y="20"/>
                </a:cxn>
                <a:cxn ang="0">
                  <a:pos x="26" y="32"/>
                </a:cxn>
                <a:cxn ang="0">
                  <a:pos x="22" y="34"/>
                </a:cxn>
              </a:cxnLst>
              <a:rect l="0" t="0" r="r" b="b"/>
              <a:pathLst>
                <a:path w="37" h="35">
                  <a:moveTo>
                    <a:pt x="22" y="34"/>
                  </a:moveTo>
                  <a:cubicBezTo>
                    <a:pt x="21" y="34"/>
                    <a:pt x="19" y="34"/>
                    <a:pt x="18" y="32"/>
                  </a:cubicBezTo>
                  <a:lnTo>
                    <a:pt x="2" y="7"/>
                  </a:lnTo>
                  <a:cubicBezTo>
                    <a:pt x="0" y="5"/>
                    <a:pt x="0" y="3"/>
                    <a:pt x="2" y="1"/>
                  </a:cubicBezTo>
                  <a:cubicBezTo>
                    <a:pt x="3" y="0"/>
                    <a:pt x="4" y="0"/>
                    <a:pt x="5" y="0"/>
                  </a:cubicBezTo>
                  <a:cubicBezTo>
                    <a:pt x="6" y="0"/>
                    <a:pt x="7" y="0"/>
                    <a:pt x="8" y="0"/>
                  </a:cubicBezTo>
                  <a:lnTo>
                    <a:pt x="33" y="13"/>
                  </a:lnTo>
                  <a:cubicBezTo>
                    <a:pt x="34" y="13"/>
                    <a:pt x="35" y="14"/>
                    <a:pt x="35" y="16"/>
                  </a:cubicBezTo>
                  <a:cubicBezTo>
                    <a:pt x="36" y="17"/>
                    <a:pt x="36" y="18"/>
                    <a:pt x="35" y="20"/>
                  </a:cubicBezTo>
                  <a:lnTo>
                    <a:pt x="26" y="32"/>
                  </a:lnTo>
                  <a:cubicBezTo>
                    <a:pt x="25" y="34"/>
                    <a:pt x="24" y="34"/>
                    <a:pt x="22" y="3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2" name="Freeform 427"/>
            <p:cNvSpPr>
              <a:spLocks noChangeArrowheads="1"/>
            </p:cNvSpPr>
            <p:nvPr/>
          </p:nvSpPr>
          <p:spPr bwMode="auto">
            <a:xfrm>
              <a:off x="3930650" y="1746250"/>
              <a:ext cx="131763" cy="192088"/>
            </a:xfrm>
            <a:custGeom>
              <a:avLst/>
              <a:gdLst/>
              <a:ahLst/>
              <a:cxnLst>
                <a:cxn ang="0">
                  <a:pos x="52" y="527"/>
                </a:cxn>
                <a:cxn ang="0">
                  <a:pos x="27" y="517"/>
                </a:cxn>
                <a:cxn ang="0">
                  <a:pos x="22" y="514"/>
                </a:cxn>
                <a:cxn ang="0">
                  <a:pos x="51" y="487"/>
                </a:cxn>
                <a:cxn ang="0">
                  <a:pos x="5" y="484"/>
                </a:cxn>
                <a:cxn ang="0">
                  <a:pos x="35" y="454"/>
                </a:cxn>
                <a:cxn ang="0">
                  <a:pos x="0" y="436"/>
                </a:cxn>
                <a:cxn ang="0">
                  <a:pos x="40" y="424"/>
                </a:cxn>
                <a:cxn ang="0">
                  <a:pos x="68" y="381"/>
                </a:cxn>
                <a:cxn ang="0">
                  <a:pos x="126" y="357"/>
                </a:cxn>
                <a:cxn ang="0">
                  <a:pos x="52" y="386"/>
                </a:cxn>
                <a:cxn ang="0">
                  <a:pos x="48" y="378"/>
                </a:cxn>
                <a:cxn ang="0">
                  <a:pos x="46" y="280"/>
                </a:cxn>
                <a:cxn ang="0">
                  <a:pos x="26" y="248"/>
                </a:cxn>
                <a:cxn ang="0">
                  <a:pos x="61" y="213"/>
                </a:cxn>
                <a:cxn ang="0">
                  <a:pos x="22" y="185"/>
                </a:cxn>
                <a:cxn ang="0">
                  <a:pos x="42" y="182"/>
                </a:cxn>
                <a:cxn ang="0">
                  <a:pos x="52" y="138"/>
                </a:cxn>
                <a:cxn ang="0">
                  <a:pos x="151" y="144"/>
                </a:cxn>
                <a:cxn ang="0">
                  <a:pos x="135" y="90"/>
                </a:cxn>
                <a:cxn ang="0">
                  <a:pos x="133" y="82"/>
                </a:cxn>
                <a:cxn ang="0">
                  <a:pos x="232" y="0"/>
                </a:cxn>
                <a:cxn ang="0">
                  <a:pos x="236" y="1"/>
                </a:cxn>
                <a:cxn ang="0">
                  <a:pos x="242" y="42"/>
                </a:cxn>
                <a:cxn ang="0">
                  <a:pos x="227" y="151"/>
                </a:cxn>
                <a:cxn ang="0">
                  <a:pos x="323" y="114"/>
                </a:cxn>
                <a:cxn ang="0">
                  <a:pos x="357" y="180"/>
                </a:cxn>
                <a:cxn ang="0">
                  <a:pos x="345" y="200"/>
                </a:cxn>
                <a:cxn ang="0">
                  <a:pos x="365" y="335"/>
                </a:cxn>
                <a:cxn ang="0">
                  <a:pos x="336" y="445"/>
                </a:cxn>
                <a:cxn ang="0">
                  <a:pos x="96" y="529"/>
                </a:cxn>
                <a:cxn ang="0">
                  <a:pos x="52" y="532"/>
                </a:cxn>
              </a:cxnLst>
              <a:rect l="0" t="0" r="r" b="b"/>
              <a:pathLst>
                <a:path w="366" h="535">
                  <a:moveTo>
                    <a:pt x="52" y="532"/>
                  </a:moveTo>
                  <a:cubicBezTo>
                    <a:pt x="51" y="530"/>
                    <a:pt x="51" y="528"/>
                    <a:pt x="52" y="527"/>
                  </a:cubicBezTo>
                  <a:lnTo>
                    <a:pt x="63" y="507"/>
                  </a:lnTo>
                  <a:lnTo>
                    <a:pt x="27" y="517"/>
                  </a:lnTo>
                  <a:cubicBezTo>
                    <a:pt x="27" y="517"/>
                    <a:pt x="27" y="517"/>
                    <a:pt x="26" y="517"/>
                  </a:cubicBezTo>
                  <a:cubicBezTo>
                    <a:pt x="24" y="517"/>
                    <a:pt x="23" y="516"/>
                    <a:pt x="22" y="514"/>
                  </a:cubicBezTo>
                  <a:cubicBezTo>
                    <a:pt x="21" y="512"/>
                    <a:pt x="21" y="510"/>
                    <a:pt x="23" y="509"/>
                  </a:cubicBezTo>
                  <a:lnTo>
                    <a:pt x="51" y="487"/>
                  </a:lnTo>
                  <a:lnTo>
                    <a:pt x="9" y="487"/>
                  </a:lnTo>
                  <a:cubicBezTo>
                    <a:pt x="7" y="487"/>
                    <a:pt x="5" y="486"/>
                    <a:pt x="5" y="484"/>
                  </a:cubicBezTo>
                  <a:cubicBezTo>
                    <a:pt x="4" y="482"/>
                    <a:pt x="5" y="480"/>
                    <a:pt x="6" y="479"/>
                  </a:cubicBezTo>
                  <a:lnTo>
                    <a:pt x="35" y="454"/>
                  </a:lnTo>
                  <a:lnTo>
                    <a:pt x="3" y="440"/>
                  </a:lnTo>
                  <a:cubicBezTo>
                    <a:pt x="1" y="440"/>
                    <a:pt x="0" y="438"/>
                    <a:pt x="0" y="436"/>
                  </a:cubicBezTo>
                  <a:cubicBezTo>
                    <a:pt x="0" y="434"/>
                    <a:pt x="2" y="432"/>
                    <a:pt x="4" y="432"/>
                  </a:cubicBezTo>
                  <a:lnTo>
                    <a:pt x="40" y="424"/>
                  </a:lnTo>
                  <a:lnTo>
                    <a:pt x="65" y="383"/>
                  </a:lnTo>
                  <a:cubicBezTo>
                    <a:pt x="65" y="382"/>
                    <a:pt x="66" y="381"/>
                    <a:pt x="68" y="381"/>
                  </a:cubicBezTo>
                  <a:lnTo>
                    <a:pt x="133" y="369"/>
                  </a:lnTo>
                  <a:lnTo>
                    <a:pt x="126" y="357"/>
                  </a:lnTo>
                  <a:lnTo>
                    <a:pt x="53" y="386"/>
                  </a:lnTo>
                  <a:lnTo>
                    <a:pt x="52" y="386"/>
                  </a:lnTo>
                  <a:cubicBezTo>
                    <a:pt x="50" y="386"/>
                    <a:pt x="49" y="385"/>
                    <a:pt x="48" y="384"/>
                  </a:cubicBezTo>
                  <a:cubicBezTo>
                    <a:pt x="47" y="382"/>
                    <a:pt x="47" y="380"/>
                    <a:pt x="48" y="378"/>
                  </a:cubicBezTo>
                  <a:lnTo>
                    <a:pt x="115" y="299"/>
                  </a:lnTo>
                  <a:lnTo>
                    <a:pt x="46" y="280"/>
                  </a:lnTo>
                  <a:cubicBezTo>
                    <a:pt x="45" y="280"/>
                    <a:pt x="44" y="279"/>
                    <a:pt x="43" y="278"/>
                  </a:cubicBezTo>
                  <a:lnTo>
                    <a:pt x="26" y="248"/>
                  </a:lnTo>
                  <a:cubicBezTo>
                    <a:pt x="25" y="246"/>
                    <a:pt x="26" y="244"/>
                    <a:pt x="27" y="242"/>
                  </a:cubicBezTo>
                  <a:lnTo>
                    <a:pt x="61" y="213"/>
                  </a:lnTo>
                  <a:lnTo>
                    <a:pt x="24" y="191"/>
                  </a:lnTo>
                  <a:cubicBezTo>
                    <a:pt x="22" y="189"/>
                    <a:pt x="21" y="187"/>
                    <a:pt x="22" y="185"/>
                  </a:cubicBezTo>
                  <a:cubicBezTo>
                    <a:pt x="22" y="183"/>
                    <a:pt x="24" y="182"/>
                    <a:pt x="26" y="182"/>
                  </a:cubicBezTo>
                  <a:lnTo>
                    <a:pt x="42" y="182"/>
                  </a:lnTo>
                  <a:lnTo>
                    <a:pt x="39" y="166"/>
                  </a:lnTo>
                  <a:lnTo>
                    <a:pt x="52" y="138"/>
                  </a:lnTo>
                  <a:cubicBezTo>
                    <a:pt x="52" y="136"/>
                    <a:pt x="54" y="135"/>
                    <a:pt x="56" y="135"/>
                  </a:cubicBezTo>
                  <a:lnTo>
                    <a:pt x="151" y="144"/>
                  </a:lnTo>
                  <a:lnTo>
                    <a:pt x="176" y="101"/>
                  </a:lnTo>
                  <a:lnTo>
                    <a:pt x="135" y="90"/>
                  </a:lnTo>
                  <a:cubicBezTo>
                    <a:pt x="133" y="89"/>
                    <a:pt x="132" y="88"/>
                    <a:pt x="132" y="86"/>
                  </a:cubicBezTo>
                  <a:cubicBezTo>
                    <a:pt x="131" y="85"/>
                    <a:pt x="132" y="83"/>
                    <a:pt x="133" y="82"/>
                  </a:cubicBezTo>
                  <a:lnTo>
                    <a:pt x="188" y="18"/>
                  </a:lnTo>
                  <a:lnTo>
                    <a:pt x="232" y="0"/>
                  </a:lnTo>
                  <a:cubicBezTo>
                    <a:pt x="233" y="0"/>
                    <a:pt x="233" y="0"/>
                    <a:pt x="234" y="0"/>
                  </a:cubicBezTo>
                  <a:cubicBezTo>
                    <a:pt x="235" y="0"/>
                    <a:pt x="235" y="0"/>
                    <a:pt x="236" y="1"/>
                  </a:cubicBezTo>
                  <a:cubicBezTo>
                    <a:pt x="237" y="1"/>
                    <a:pt x="238" y="3"/>
                    <a:pt x="238" y="4"/>
                  </a:cubicBezTo>
                  <a:lnTo>
                    <a:pt x="242" y="42"/>
                  </a:lnTo>
                  <a:lnTo>
                    <a:pt x="201" y="114"/>
                  </a:lnTo>
                  <a:lnTo>
                    <a:pt x="227" y="151"/>
                  </a:lnTo>
                  <a:lnTo>
                    <a:pt x="321" y="114"/>
                  </a:lnTo>
                  <a:cubicBezTo>
                    <a:pt x="322" y="114"/>
                    <a:pt x="322" y="114"/>
                    <a:pt x="323" y="114"/>
                  </a:cubicBezTo>
                  <a:cubicBezTo>
                    <a:pt x="324" y="114"/>
                    <a:pt x="326" y="115"/>
                    <a:pt x="327" y="117"/>
                  </a:cubicBezTo>
                  <a:lnTo>
                    <a:pt x="357" y="180"/>
                  </a:lnTo>
                  <a:cubicBezTo>
                    <a:pt x="357" y="182"/>
                    <a:pt x="357" y="184"/>
                    <a:pt x="356" y="185"/>
                  </a:cubicBezTo>
                  <a:lnTo>
                    <a:pt x="345" y="200"/>
                  </a:lnTo>
                  <a:lnTo>
                    <a:pt x="365" y="248"/>
                  </a:lnTo>
                  <a:lnTo>
                    <a:pt x="365" y="335"/>
                  </a:lnTo>
                  <a:lnTo>
                    <a:pt x="340" y="441"/>
                  </a:lnTo>
                  <a:cubicBezTo>
                    <a:pt x="339" y="443"/>
                    <a:pt x="338" y="445"/>
                    <a:pt x="336" y="445"/>
                  </a:cubicBezTo>
                  <a:lnTo>
                    <a:pt x="238" y="449"/>
                  </a:lnTo>
                  <a:lnTo>
                    <a:pt x="96" y="529"/>
                  </a:lnTo>
                  <a:lnTo>
                    <a:pt x="56" y="534"/>
                  </a:lnTo>
                  <a:cubicBezTo>
                    <a:pt x="54" y="534"/>
                    <a:pt x="53" y="533"/>
                    <a:pt x="52" y="53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3" name="Freeform 428"/>
            <p:cNvSpPr>
              <a:spLocks noChangeArrowheads="1"/>
            </p:cNvSpPr>
            <p:nvPr/>
          </p:nvSpPr>
          <p:spPr bwMode="auto">
            <a:xfrm>
              <a:off x="3930650" y="1746250"/>
              <a:ext cx="131763" cy="192088"/>
            </a:xfrm>
            <a:custGeom>
              <a:avLst/>
              <a:gdLst/>
              <a:ahLst/>
              <a:cxnLst>
                <a:cxn ang="0">
                  <a:pos x="52" y="532"/>
                </a:cxn>
                <a:cxn ang="0">
                  <a:pos x="63" y="507"/>
                </a:cxn>
                <a:cxn ang="0">
                  <a:pos x="26" y="517"/>
                </a:cxn>
                <a:cxn ang="0">
                  <a:pos x="23" y="509"/>
                </a:cxn>
                <a:cxn ang="0">
                  <a:pos x="9" y="487"/>
                </a:cxn>
                <a:cxn ang="0">
                  <a:pos x="6" y="479"/>
                </a:cxn>
                <a:cxn ang="0">
                  <a:pos x="3" y="440"/>
                </a:cxn>
                <a:cxn ang="0">
                  <a:pos x="4" y="432"/>
                </a:cxn>
                <a:cxn ang="0">
                  <a:pos x="65" y="383"/>
                </a:cxn>
                <a:cxn ang="0">
                  <a:pos x="133" y="369"/>
                </a:cxn>
                <a:cxn ang="0">
                  <a:pos x="53" y="386"/>
                </a:cxn>
                <a:cxn ang="0">
                  <a:pos x="48" y="384"/>
                </a:cxn>
                <a:cxn ang="0">
                  <a:pos x="115" y="299"/>
                </a:cxn>
                <a:cxn ang="0">
                  <a:pos x="43" y="278"/>
                </a:cxn>
                <a:cxn ang="0">
                  <a:pos x="27" y="242"/>
                </a:cxn>
                <a:cxn ang="0">
                  <a:pos x="24" y="191"/>
                </a:cxn>
                <a:cxn ang="0">
                  <a:pos x="26" y="182"/>
                </a:cxn>
                <a:cxn ang="0">
                  <a:pos x="39" y="166"/>
                </a:cxn>
                <a:cxn ang="0">
                  <a:pos x="56" y="135"/>
                </a:cxn>
                <a:cxn ang="0">
                  <a:pos x="176" y="101"/>
                </a:cxn>
                <a:cxn ang="0">
                  <a:pos x="132" y="86"/>
                </a:cxn>
                <a:cxn ang="0">
                  <a:pos x="188" y="18"/>
                </a:cxn>
                <a:cxn ang="0">
                  <a:pos x="234" y="0"/>
                </a:cxn>
                <a:cxn ang="0">
                  <a:pos x="238" y="4"/>
                </a:cxn>
                <a:cxn ang="0">
                  <a:pos x="201" y="114"/>
                </a:cxn>
                <a:cxn ang="0">
                  <a:pos x="321" y="114"/>
                </a:cxn>
                <a:cxn ang="0">
                  <a:pos x="327" y="117"/>
                </a:cxn>
                <a:cxn ang="0">
                  <a:pos x="356" y="185"/>
                </a:cxn>
                <a:cxn ang="0">
                  <a:pos x="365" y="248"/>
                </a:cxn>
                <a:cxn ang="0">
                  <a:pos x="340" y="441"/>
                </a:cxn>
                <a:cxn ang="0">
                  <a:pos x="238" y="449"/>
                </a:cxn>
                <a:cxn ang="0">
                  <a:pos x="56" y="534"/>
                </a:cxn>
              </a:cxnLst>
              <a:rect l="0" t="0" r="r" b="b"/>
              <a:pathLst>
                <a:path w="366" h="535">
                  <a:moveTo>
                    <a:pt x="56" y="534"/>
                  </a:moveTo>
                  <a:cubicBezTo>
                    <a:pt x="54" y="534"/>
                    <a:pt x="53" y="533"/>
                    <a:pt x="52" y="532"/>
                  </a:cubicBezTo>
                  <a:cubicBezTo>
                    <a:pt x="51" y="530"/>
                    <a:pt x="51" y="528"/>
                    <a:pt x="52" y="527"/>
                  </a:cubicBezTo>
                  <a:lnTo>
                    <a:pt x="63" y="507"/>
                  </a:lnTo>
                  <a:lnTo>
                    <a:pt x="27" y="517"/>
                  </a:lnTo>
                  <a:cubicBezTo>
                    <a:pt x="27" y="517"/>
                    <a:pt x="27" y="517"/>
                    <a:pt x="26" y="517"/>
                  </a:cubicBezTo>
                  <a:cubicBezTo>
                    <a:pt x="24" y="517"/>
                    <a:pt x="23" y="516"/>
                    <a:pt x="22" y="514"/>
                  </a:cubicBezTo>
                  <a:cubicBezTo>
                    <a:pt x="21" y="512"/>
                    <a:pt x="21" y="510"/>
                    <a:pt x="23" y="509"/>
                  </a:cubicBezTo>
                  <a:lnTo>
                    <a:pt x="51" y="487"/>
                  </a:lnTo>
                  <a:lnTo>
                    <a:pt x="9" y="487"/>
                  </a:lnTo>
                  <a:cubicBezTo>
                    <a:pt x="7" y="487"/>
                    <a:pt x="5" y="486"/>
                    <a:pt x="5" y="484"/>
                  </a:cubicBezTo>
                  <a:cubicBezTo>
                    <a:pt x="4" y="482"/>
                    <a:pt x="5" y="480"/>
                    <a:pt x="6" y="479"/>
                  </a:cubicBezTo>
                  <a:lnTo>
                    <a:pt x="35" y="454"/>
                  </a:lnTo>
                  <a:lnTo>
                    <a:pt x="3" y="440"/>
                  </a:lnTo>
                  <a:cubicBezTo>
                    <a:pt x="1" y="440"/>
                    <a:pt x="0" y="438"/>
                    <a:pt x="0" y="436"/>
                  </a:cubicBezTo>
                  <a:cubicBezTo>
                    <a:pt x="0" y="434"/>
                    <a:pt x="2" y="432"/>
                    <a:pt x="4" y="432"/>
                  </a:cubicBezTo>
                  <a:lnTo>
                    <a:pt x="40" y="424"/>
                  </a:lnTo>
                  <a:lnTo>
                    <a:pt x="65" y="383"/>
                  </a:lnTo>
                  <a:cubicBezTo>
                    <a:pt x="65" y="382"/>
                    <a:pt x="66" y="381"/>
                    <a:pt x="68" y="381"/>
                  </a:cubicBezTo>
                  <a:lnTo>
                    <a:pt x="133" y="369"/>
                  </a:lnTo>
                  <a:lnTo>
                    <a:pt x="126" y="357"/>
                  </a:lnTo>
                  <a:lnTo>
                    <a:pt x="53" y="386"/>
                  </a:lnTo>
                  <a:lnTo>
                    <a:pt x="52" y="386"/>
                  </a:lnTo>
                  <a:cubicBezTo>
                    <a:pt x="50" y="386"/>
                    <a:pt x="49" y="385"/>
                    <a:pt x="48" y="384"/>
                  </a:cubicBezTo>
                  <a:cubicBezTo>
                    <a:pt x="47" y="382"/>
                    <a:pt x="47" y="380"/>
                    <a:pt x="48" y="378"/>
                  </a:cubicBezTo>
                  <a:lnTo>
                    <a:pt x="115" y="299"/>
                  </a:lnTo>
                  <a:lnTo>
                    <a:pt x="46" y="280"/>
                  </a:lnTo>
                  <a:cubicBezTo>
                    <a:pt x="45" y="280"/>
                    <a:pt x="44" y="279"/>
                    <a:pt x="43" y="278"/>
                  </a:cubicBezTo>
                  <a:lnTo>
                    <a:pt x="26" y="248"/>
                  </a:lnTo>
                  <a:cubicBezTo>
                    <a:pt x="25" y="246"/>
                    <a:pt x="26" y="244"/>
                    <a:pt x="27" y="242"/>
                  </a:cubicBezTo>
                  <a:lnTo>
                    <a:pt x="61" y="213"/>
                  </a:lnTo>
                  <a:lnTo>
                    <a:pt x="24" y="191"/>
                  </a:lnTo>
                  <a:cubicBezTo>
                    <a:pt x="22" y="189"/>
                    <a:pt x="21" y="187"/>
                    <a:pt x="22" y="185"/>
                  </a:cubicBezTo>
                  <a:cubicBezTo>
                    <a:pt x="22" y="183"/>
                    <a:pt x="24" y="182"/>
                    <a:pt x="26" y="182"/>
                  </a:cubicBezTo>
                  <a:lnTo>
                    <a:pt x="42" y="182"/>
                  </a:lnTo>
                  <a:lnTo>
                    <a:pt x="39" y="166"/>
                  </a:lnTo>
                  <a:lnTo>
                    <a:pt x="52" y="138"/>
                  </a:lnTo>
                  <a:cubicBezTo>
                    <a:pt x="52" y="136"/>
                    <a:pt x="54" y="135"/>
                    <a:pt x="56" y="135"/>
                  </a:cubicBezTo>
                  <a:lnTo>
                    <a:pt x="151" y="144"/>
                  </a:lnTo>
                  <a:lnTo>
                    <a:pt x="176" y="101"/>
                  </a:lnTo>
                  <a:lnTo>
                    <a:pt x="135" y="90"/>
                  </a:lnTo>
                  <a:cubicBezTo>
                    <a:pt x="133" y="89"/>
                    <a:pt x="132" y="88"/>
                    <a:pt x="132" y="86"/>
                  </a:cubicBezTo>
                  <a:cubicBezTo>
                    <a:pt x="131" y="85"/>
                    <a:pt x="132" y="83"/>
                    <a:pt x="133" y="82"/>
                  </a:cubicBezTo>
                  <a:lnTo>
                    <a:pt x="188" y="18"/>
                  </a:lnTo>
                  <a:lnTo>
                    <a:pt x="232" y="0"/>
                  </a:lnTo>
                  <a:cubicBezTo>
                    <a:pt x="233" y="0"/>
                    <a:pt x="233" y="0"/>
                    <a:pt x="234" y="0"/>
                  </a:cubicBezTo>
                  <a:cubicBezTo>
                    <a:pt x="235" y="0"/>
                    <a:pt x="235" y="0"/>
                    <a:pt x="236" y="1"/>
                  </a:cubicBezTo>
                  <a:cubicBezTo>
                    <a:pt x="237" y="1"/>
                    <a:pt x="238" y="3"/>
                    <a:pt x="238" y="4"/>
                  </a:cubicBezTo>
                  <a:lnTo>
                    <a:pt x="242" y="42"/>
                  </a:lnTo>
                  <a:lnTo>
                    <a:pt x="201" y="114"/>
                  </a:lnTo>
                  <a:lnTo>
                    <a:pt x="227" y="151"/>
                  </a:lnTo>
                  <a:lnTo>
                    <a:pt x="321" y="114"/>
                  </a:lnTo>
                  <a:cubicBezTo>
                    <a:pt x="322" y="114"/>
                    <a:pt x="322" y="114"/>
                    <a:pt x="323" y="114"/>
                  </a:cubicBezTo>
                  <a:cubicBezTo>
                    <a:pt x="324" y="114"/>
                    <a:pt x="326" y="115"/>
                    <a:pt x="327" y="117"/>
                  </a:cubicBezTo>
                  <a:lnTo>
                    <a:pt x="357" y="180"/>
                  </a:lnTo>
                  <a:cubicBezTo>
                    <a:pt x="357" y="182"/>
                    <a:pt x="357" y="184"/>
                    <a:pt x="356" y="185"/>
                  </a:cubicBezTo>
                  <a:lnTo>
                    <a:pt x="345" y="200"/>
                  </a:lnTo>
                  <a:lnTo>
                    <a:pt x="365" y="248"/>
                  </a:lnTo>
                  <a:lnTo>
                    <a:pt x="365" y="335"/>
                  </a:lnTo>
                  <a:lnTo>
                    <a:pt x="340" y="441"/>
                  </a:lnTo>
                  <a:cubicBezTo>
                    <a:pt x="339" y="443"/>
                    <a:pt x="338" y="445"/>
                    <a:pt x="336" y="445"/>
                  </a:cubicBezTo>
                  <a:lnTo>
                    <a:pt x="238" y="449"/>
                  </a:lnTo>
                  <a:lnTo>
                    <a:pt x="96" y="529"/>
                  </a:lnTo>
                  <a:lnTo>
                    <a:pt x="56" y="53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4" name="Freeform 429"/>
            <p:cNvSpPr>
              <a:spLocks noChangeArrowheads="1"/>
            </p:cNvSpPr>
            <p:nvPr/>
          </p:nvSpPr>
          <p:spPr bwMode="auto">
            <a:xfrm>
              <a:off x="4081463" y="1720850"/>
              <a:ext cx="7937" cy="17463"/>
            </a:xfrm>
            <a:custGeom>
              <a:avLst/>
              <a:gdLst/>
              <a:ahLst/>
              <a:cxnLst>
                <a:cxn ang="0">
                  <a:pos x="13" y="48"/>
                </a:cxn>
                <a:cxn ang="0">
                  <a:pos x="8" y="44"/>
                </a:cxn>
                <a:cxn ang="0">
                  <a:pos x="0" y="6"/>
                </a:cxn>
                <a:cxn ang="0">
                  <a:pos x="1" y="2"/>
                </a:cxn>
                <a:cxn ang="0">
                  <a:pos x="4" y="0"/>
                </a:cxn>
                <a:cxn ang="0">
                  <a:pos x="17" y="0"/>
                </a:cxn>
                <a:cxn ang="0">
                  <a:pos x="21" y="2"/>
                </a:cxn>
                <a:cxn ang="0">
                  <a:pos x="22" y="5"/>
                </a:cxn>
                <a:cxn ang="0">
                  <a:pos x="18" y="44"/>
                </a:cxn>
                <a:cxn ang="0">
                  <a:pos x="13" y="48"/>
                </a:cxn>
              </a:cxnLst>
              <a:rect l="0" t="0" r="r" b="b"/>
              <a:pathLst>
                <a:path w="23" h="49">
                  <a:moveTo>
                    <a:pt x="13" y="48"/>
                  </a:moveTo>
                  <a:cubicBezTo>
                    <a:pt x="11" y="48"/>
                    <a:pt x="9" y="46"/>
                    <a:pt x="8" y="44"/>
                  </a:cubicBezTo>
                  <a:lnTo>
                    <a:pt x="0" y="6"/>
                  </a:lnTo>
                  <a:cubicBezTo>
                    <a:pt x="0" y="5"/>
                    <a:pt x="0" y="3"/>
                    <a:pt x="1" y="2"/>
                  </a:cubicBezTo>
                  <a:cubicBezTo>
                    <a:pt x="2" y="1"/>
                    <a:pt x="3" y="0"/>
                    <a:pt x="4" y="0"/>
                  </a:cubicBezTo>
                  <a:lnTo>
                    <a:pt x="17" y="0"/>
                  </a:lnTo>
                  <a:cubicBezTo>
                    <a:pt x="19" y="0"/>
                    <a:pt x="20" y="1"/>
                    <a:pt x="21" y="2"/>
                  </a:cubicBezTo>
                  <a:cubicBezTo>
                    <a:pt x="22" y="3"/>
                    <a:pt x="22" y="4"/>
                    <a:pt x="22" y="5"/>
                  </a:cubicBezTo>
                  <a:lnTo>
                    <a:pt x="18" y="44"/>
                  </a:lnTo>
                  <a:cubicBezTo>
                    <a:pt x="17" y="46"/>
                    <a:pt x="15" y="48"/>
                    <a:pt x="13" y="48"/>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5" name="Freeform 430"/>
            <p:cNvSpPr>
              <a:spLocks noChangeArrowheads="1"/>
            </p:cNvSpPr>
            <p:nvPr/>
          </p:nvSpPr>
          <p:spPr bwMode="auto">
            <a:xfrm>
              <a:off x="4081463" y="1720850"/>
              <a:ext cx="7937" cy="17463"/>
            </a:xfrm>
            <a:custGeom>
              <a:avLst/>
              <a:gdLst/>
              <a:ahLst/>
              <a:cxnLst>
                <a:cxn ang="0">
                  <a:pos x="13" y="48"/>
                </a:cxn>
                <a:cxn ang="0">
                  <a:pos x="8" y="44"/>
                </a:cxn>
                <a:cxn ang="0">
                  <a:pos x="0" y="6"/>
                </a:cxn>
                <a:cxn ang="0">
                  <a:pos x="1" y="2"/>
                </a:cxn>
                <a:cxn ang="0">
                  <a:pos x="4" y="0"/>
                </a:cxn>
                <a:cxn ang="0">
                  <a:pos x="17" y="0"/>
                </a:cxn>
                <a:cxn ang="0">
                  <a:pos x="21" y="2"/>
                </a:cxn>
                <a:cxn ang="0">
                  <a:pos x="22" y="5"/>
                </a:cxn>
                <a:cxn ang="0">
                  <a:pos x="18" y="44"/>
                </a:cxn>
                <a:cxn ang="0">
                  <a:pos x="13" y="48"/>
                </a:cxn>
              </a:cxnLst>
              <a:rect l="0" t="0" r="r" b="b"/>
              <a:pathLst>
                <a:path w="23" h="49">
                  <a:moveTo>
                    <a:pt x="13" y="48"/>
                  </a:moveTo>
                  <a:cubicBezTo>
                    <a:pt x="11" y="48"/>
                    <a:pt x="9" y="46"/>
                    <a:pt x="8" y="44"/>
                  </a:cubicBezTo>
                  <a:lnTo>
                    <a:pt x="0" y="6"/>
                  </a:lnTo>
                  <a:cubicBezTo>
                    <a:pt x="0" y="5"/>
                    <a:pt x="0" y="3"/>
                    <a:pt x="1" y="2"/>
                  </a:cubicBezTo>
                  <a:cubicBezTo>
                    <a:pt x="2" y="1"/>
                    <a:pt x="3" y="0"/>
                    <a:pt x="4" y="0"/>
                  </a:cubicBezTo>
                  <a:lnTo>
                    <a:pt x="17" y="0"/>
                  </a:lnTo>
                  <a:cubicBezTo>
                    <a:pt x="19" y="0"/>
                    <a:pt x="20" y="1"/>
                    <a:pt x="21" y="2"/>
                  </a:cubicBezTo>
                  <a:cubicBezTo>
                    <a:pt x="22" y="3"/>
                    <a:pt x="22" y="4"/>
                    <a:pt x="22" y="5"/>
                  </a:cubicBezTo>
                  <a:lnTo>
                    <a:pt x="18" y="44"/>
                  </a:lnTo>
                  <a:cubicBezTo>
                    <a:pt x="17" y="46"/>
                    <a:pt x="15" y="48"/>
                    <a:pt x="13" y="4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6" name="Freeform 431"/>
            <p:cNvSpPr>
              <a:spLocks noChangeArrowheads="1"/>
            </p:cNvSpPr>
            <p:nvPr/>
          </p:nvSpPr>
          <p:spPr bwMode="auto">
            <a:xfrm>
              <a:off x="3998913" y="1741488"/>
              <a:ext cx="80962" cy="73025"/>
            </a:xfrm>
            <a:custGeom>
              <a:avLst/>
              <a:gdLst/>
              <a:ahLst/>
              <a:cxnLst>
                <a:cxn ang="0">
                  <a:pos x="157" y="197"/>
                </a:cxn>
                <a:cxn ang="0">
                  <a:pos x="129" y="138"/>
                </a:cxn>
                <a:cxn ang="0">
                  <a:pos x="36" y="174"/>
                </a:cxn>
                <a:cxn ang="0">
                  <a:pos x="34" y="175"/>
                </a:cxn>
                <a:cxn ang="0">
                  <a:pos x="31" y="173"/>
                </a:cxn>
                <a:cxn ang="0">
                  <a:pos x="1" y="130"/>
                </a:cxn>
                <a:cxn ang="0">
                  <a:pos x="1" y="125"/>
                </a:cxn>
                <a:cxn ang="0">
                  <a:pos x="43" y="53"/>
                </a:cxn>
                <a:cxn ang="0">
                  <a:pos x="60" y="3"/>
                </a:cxn>
                <a:cxn ang="0">
                  <a:pos x="62" y="1"/>
                </a:cxn>
                <a:cxn ang="0">
                  <a:pos x="64" y="0"/>
                </a:cxn>
                <a:cxn ang="0">
                  <a:pos x="66" y="1"/>
                </a:cxn>
                <a:cxn ang="0">
                  <a:pos x="96" y="13"/>
                </a:cxn>
                <a:cxn ang="0">
                  <a:pos x="98" y="16"/>
                </a:cxn>
                <a:cxn ang="0">
                  <a:pos x="98" y="20"/>
                </a:cxn>
                <a:cxn ang="0">
                  <a:pos x="86" y="40"/>
                </a:cxn>
                <a:cxn ang="0">
                  <a:pos x="160" y="21"/>
                </a:cxn>
                <a:cxn ang="0">
                  <a:pos x="161" y="21"/>
                </a:cxn>
                <a:cxn ang="0">
                  <a:pos x="165" y="23"/>
                </a:cxn>
                <a:cxn ang="0">
                  <a:pos x="191" y="57"/>
                </a:cxn>
                <a:cxn ang="0">
                  <a:pos x="192" y="61"/>
                </a:cxn>
                <a:cxn ang="0">
                  <a:pos x="184" y="100"/>
                </a:cxn>
                <a:cxn ang="0">
                  <a:pos x="219" y="124"/>
                </a:cxn>
                <a:cxn ang="0">
                  <a:pos x="221" y="129"/>
                </a:cxn>
                <a:cxn ang="0">
                  <a:pos x="217" y="142"/>
                </a:cxn>
                <a:cxn ang="0">
                  <a:pos x="214" y="145"/>
                </a:cxn>
                <a:cxn ang="0">
                  <a:pos x="217" y="151"/>
                </a:cxn>
                <a:cxn ang="0">
                  <a:pos x="215" y="156"/>
                </a:cxn>
                <a:cxn ang="0">
                  <a:pos x="165" y="199"/>
                </a:cxn>
                <a:cxn ang="0">
                  <a:pos x="161" y="200"/>
                </a:cxn>
                <a:cxn ang="0">
                  <a:pos x="160" y="200"/>
                </a:cxn>
                <a:cxn ang="0">
                  <a:pos x="157" y="197"/>
                </a:cxn>
              </a:cxnLst>
              <a:rect l="0" t="0" r="r" b="b"/>
              <a:pathLst>
                <a:path w="223" h="201">
                  <a:moveTo>
                    <a:pt x="157" y="197"/>
                  </a:moveTo>
                  <a:lnTo>
                    <a:pt x="129" y="138"/>
                  </a:lnTo>
                  <a:lnTo>
                    <a:pt x="36" y="174"/>
                  </a:lnTo>
                  <a:cubicBezTo>
                    <a:pt x="36" y="175"/>
                    <a:pt x="35" y="175"/>
                    <a:pt x="34" y="175"/>
                  </a:cubicBezTo>
                  <a:cubicBezTo>
                    <a:pt x="33" y="175"/>
                    <a:pt x="31" y="174"/>
                    <a:pt x="31" y="173"/>
                  </a:cubicBezTo>
                  <a:lnTo>
                    <a:pt x="1" y="130"/>
                  </a:lnTo>
                  <a:cubicBezTo>
                    <a:pt x="0" y="129"/>
                    <a:pt x="0" y="127"/>
                    <a:pt x="1" y="125"/>
                  </a:cubicBezTo>
                  <a:lnTo>
                    <a:pt x="43" y="53"/>
                  </a:lnTo>
                  <a:lnTo>
                    <a:pt x="60" y="3"/>
                  </a:lnTo>
                  <a:cubicBezTo>
                    <a:pt x="60" y="2"/>
                    <a:pt x="61" y="1"/>
                    <a:pt x="62" y="1"/>
                  </a:cubicBezTo>
                  <a:cubicBezTo>
                    <a:pt x="63" y="0"/>
                    <a:pt x="63" y="0"/>
                    <a:pt x="64" y="0"/>
                  </a:cubicBezTo>
                  <a:cubicBezTo>
                    <a:pt x="65" y="0"/>
                    <a:pt x="65" y="0"/>
                    <a:pt x="66" y="1"/>
                  </a:cubicBezTo>
                  <a:lnTo>
                    <a:pt x="96" y="13"/>
                  </a:lnTo>
                  <a:cubicBezTo>
                    <a:pt x="97" y="14"/>
                    <a:pt x="98" y="15"/>
                    <a:pt x="98" y="16"/>
                  </a:cubicBezTo>
                  <a:cubicBezTo>
                    <a:pt x="98" y="17"/>
                    <a:pt x="98" y="19"/>
                    <a:pt x="98" y="20"/>
                  </a:cubicBezTo>
                  <a:lnTo>
                    <a:pt x="86" y="40"/>
                  </a:lnTo>
                  <a:lnTo>
                    <a:pt x="160" y="21"/>
                  </a:lnTo>
                  <a:cubicBezTo>
                    <a:pt x="161" y="21"/>
                    <a:pt x="161" y="21"/>
                    <a:pt x="161" y="21"/>
                  </a:cubicBezTo>
                  <a:cubicBezTo>
                    <a:pt x="163" y="21"/>
                    <a:pt x="164" y="22"/>
                    <a:pt x="165" y="23"/>
                  </a:cubicBezTo>
                  <a:lnTo>
                    <a:pt x="191" y="57"/>
                  </a:lnTo>
                  <a:cubicBezTo>
                    <a:pt x="191" y="58"/>
                    <a:pt x="192" y="60"/>
                    <a:pt x="192" y="61"/>
                  </a:cubicBezTo>
                  <a:lnTo>
                    <a:pt x="184" y="100"/>
                  </a:lnTo>
                  <a:lnTo>
                    <a:pt x="219" y="124"/>
                  </a:lnTo>
                  <a:cubicBezTo>
                    <a:pt x="221" y="125"/>
                    <a:pt x="222" y="127"/>
                    <a:pt x="221" y="129"/>
                  </a:cubicBezTo>
                  <a:lnTo>
                    <a:pt x="217" y="142"/>
                  </a:lnTo>
                  <a:cubicBezTo>
                    <a:pt x="216" y="143"/>
                    <a:pt x="215" y="144"/>
                    <a:pt x="214" y="145"/>
                  </a:cubicBezTo>
                  <a:lnTo>
                    <a:pt x="217" y="151"/>
                  </a:lnTo>
                  <a:cubicBezTo>
                    <a:pt x="217" y="153"/>
                    <a:pt x="217" y="155"/>
                    <a:pt x="215" y="156"/>
                  </a:cubicBezTo>
                  <a:lnTo>
                    <a:pt x="165" y="199"/>
                  </a:lnTo>
                  <a:cubicBezTo>
                    <a:pt x="164" y="200"/>
                    <a:pt x="162" y="200"/>
                    <a:pt x="161" y="200"/>
                  </a:cubicBezTo>
                  <a:cubicBezTo>
                    <a:pt x="161" y="200"/>
                    <a:pt x="161" y="200"/>
                    <a:pt x="160" y="200"/>
                  </a:cubicBezTo>
                  <a:cubicBezTo>
                    <a:pt x="159" y="200"/>
                    <a:pt x="158" y="199"/>
                    <a:pt x="157" y="19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7" name="Freeform 432"/>
            <p:cNvSpPr>
              <a:spLocks noChangeArrowheads="1"/>
            </p:cNvSpPr>
            <p:nvPr/>
          </p:nvSpPr>
          <p:spPr bwMode="auto">
            <a:xfrm>
              <a:off x="3998913" y="1741488"/>
              <a:ext cx="80962" cy="73025"/>
            </a:xfrm>
            <a:custGeom>
              <a:avLst/>
              <a:gdLst/>
              <a:ahLst/>
              <a:cxnLst>
                <a:cxn ang="0">
                  <a:pos x="160" y="200"/>
                </a:cxn>
                <a:cxn ang="0">
                  <a:pos x="157" y="197"/>
                </a:cxn>
                <a:cxn ang="0">
                  <a:pos x="129" y="138"/>
                </a:cxn>
                <a:cxn ang="0">
                  <a:pos x="36" y="174"/>
                </a:cxn>
                <a:cxn ang="0">
                  <a:pos x="34" y="175"/>
                </a:cxn>
                <a:cxn ang="0">
                  <a:pos x="31" y="173"/>
                </a:cxn>
                <a:cxn ang="0">
                  <a:pos x="1" y="130"/>
                </a:cxn>
                <a:cxn ang="0">
                  <a:pos x="1" y="125"/>
                </a:cxn>
                <a:cxn ang="0">
                  <a:pos x="43" y="53"/>
                </a:cxn>
                <a:cxn ang="0">
                  <a:pos x="60" y="3"/>
                </a:cxn>
                <a:cxn ang="0">
                  <a:pos x="62" y="1"/>
                </a:cxn>
                <a:cxn ang="0">
                  <a:pos x="64" y="0"/>
                </a:cxn>
                <a:cxn ang="0">
                  <a:pos x="66" y="1"/>
                </a:cxn>
                <a:cxn ang="0">
                  <a:pos x="96" y="13"/>
                </a:cxn>
                <a:cxn ang="0">
                  <a:pos x="98" y="16"/>
                </a:cxn>
                <a:cxn ang="0">
                  <a:pos x="98" y="20"/>
                </a:cxn>
                <a:cxn ang="0">
                  <a:pos x="86" y="40"/>
                </a:cxn>
                <a:cxn ang="0">
                  <a:pos x="160" y="21"/>
                </a:cxn>
                <a:cxn ang="0">
                  <a:pos x="161" y="21"/>
                </a:cxn>
                <a:cxn ang="0">
                  <a:pos x="165" y="23"/>
                </a:cxn>
                <a:cxn ang="0">
                  <a:pos x="191" y="57"/>
                </a:cxn>
                <a:cxn ang="0">
                  <a:pos x="192" y="61"/>
                </a:cxn>
                <a:cxn ang="0">
                  <a:pos x="184" y="100"/>
                </a:cxn>
                <a:cxn ang="0">
                  <a:pos x="219" y="124"/>
                </a:cxn>
                <a:cxn ang="0">
                  <a:pos x="221" y="129"/>
                </a:cxn>
                <a:cxn ang="0">
                  <a:pos x="217" y="142"/>
                </a:cxn>
                <a:cxn ang="0">
                  <a:pos x="214" y="145"/>
                </a:cxn>
                <a:cxn ang="0">
                  <a:pos x="217" y="151"/>
                </a:cxn>
                <a:cxn ang="0">
                  <a:pos x="215" y="156"/>
                </a:cxn>
                <a:cxn ang="0">
                  <a:pos x="165" y="199"/>
                </a:cxn>
                <a:cxn ang="0">
                  <a:pos x="161" y="200"/>
                </a:cxn>
                <a:cxn ang="0">
                  <a:pos x="160" y="200"/>
                </a:cxn>
              </a:cxnLst>
              <a:rect l="0" t="0" r="r" b="b"/>
              <a:pathLst>
                <a:path w="223" h="201">
                  <a:moveTo>
                    <a:pt x="160" y="200"/>
                  </a:moveTo>
                  <a:cubicBezTo>
                    <a:pt x="159" y="200"/>
                    <a:pt x="158" y="199"/>
                    <a:pt x="157" y="197"/>
                  </a:cubicBezTo>
                  <a:lnTo>
                    <a:pt x="129" y="138"/>
                  </a:lnTo>
                  <a:lnTo>
                    <a:pt x="36" y="174"/>
                  </a:lnTo>
                  <a:cubicBezTo>
                    <a:pt x="36" y="175"/>
                    <a:pt x="35" y="175"/>
                    <a:pt x="34" y="175"/>
                  </a:cubicBezTo>
                  <a:cubicBezTo>
                    <a:pt x="33" y="175"/>
                    <a:pt x="31" y="174"/>
                    <a:pt x="31" y="173"/>
                  </a:cubicBezTo>
                  <a:lnTo>
                    <a:pt x="1" y="130"/>
                  </a:lnTo>
                  <a:cubicBezTo>
                    <a:pt x="0" y="129"/>
                    <a:pt x="0" y="127"/>
                    <a:pt x="1" y="125"/>
                  </a:cubicBezTo>
                  <a:lnTo>
                    <a:pt x="43" y="53"/>
                  </a:lnTo>
                  <a:lnTo>
                    <a:pt x="60" y="3"/>
                  </a:lnTo>
                  <a:cubicBezTo>
                    <a:pt x="60" y="2"/>
                    <a:pt x="61" y="1"/>
                    <a:pt x="62" y="1"/>
                  </a:cubicBezTo>
                  <a:cubicBezTo>
                    <a:pt x="63" y="0"/>
                    <a:pt x="63" y="0"/>
                    <a:pt x="64" y="0"/>
                  </a:cubicBezTo>
                  <a:cubicBezTo>
                    <a:pt x="65" y="0"/>
                    <a:pt x="65" y="0"/>
                    <a:pt x="66" y="1"/>
                  </a:cubicBezTo>
                  <a:lnTo>
                    <a:pt x="96" y="13"/>
                  </a:lnTo>
                  <a:cubicBezTo>
                    <a:pt x="97" y="14"/>
                    <a:pt x="98" y="15"/>
                    <a:pt x="98" y="16"/>
                  </a:cubicBezTo>
                  <a:cubicBezTo>
                    <a:pt x="98" y="17"/>
                    <a:pt x="98" y="19"/>
                    <a:pt x="98" y="20"/>
                  </a:cubicBezTo>
                  <a:lnTo>
                    <a:pt x="86" y="40"/>
                  </a:lnTo>
                  <a:lnTo>
                    <a:pt x="160" y="21"/>
                  </a:lnTo>
                  <a:cubicBezTo>
                    <a:pt x="161" y="21"/>
                    <a:pt x="161" y="21"/>
                    <a:pt x="161" y="21"/>
                  </a:cubicBezTo>
                  <a:cubicBezTo>
                    <a:pt x="163" y="21"/>
                    <a:pt x="164" y="22"/>
                    <a:pt x="165" y="23"/>
                  </a:cubicBezTo>
                  <a:lnTo>
                    <a:pt x="191" y="57"/>
                  </a:lnTo>
                  <a:cubicBezTo>
                    <a:pt x="191" y="58"/>
                    <a:pt x="192" y="60"/>
                    <a:pt x="192" y="61"/>
                  </a:cubicBezTo>
                  <a:lnTo>
                    <a:pt x="184" y="100"/>
                  </a:lnTo>
                  <a:lnTo>
                    <a:pt x="219" y="124"/>
                  </a:lnTo>
                  <a:cubicBezTo>
                    <a:pt x="221" y="125"/>
                    <a:pt x="222" y="127"/>
                    <a:pt x="221" y="129"/>
                  </a:cubicBezTo>
                  <a:lnTo>
                    <a:pt x="217" y="142"/>
                  </a:lnTo>
                  <a:cubicBezTo>
                    <a:pt x="216" y="143"/>
                    <a:pt x="215" y="144"/>
                    <a:pt x="214" y="145"/>
                  </a:cubicBezTo>
                  <a:lnTo>
                    <a:pt x="217" y="151"/>
                  </a:lnTo>
                  <a:cubicBezTo>
                    <a:pt x="217" y="153"/>
                    <a:pt x="217" y="155"/>
                    <a:pt x="215" y="156"/>
                  </a:cubicBezTo>
                  <a:lnTo>
                    <a:pt x="165" y="199"/>
                  </a:lnTo>
                  <a:cubicBezTo>
                    <a:pt x="164" y="200"/>
                    <a:pt x="162" y="200"/>
                    <a:pt x="161" y="200"/>
                  </a:cubicBezTo>
                  <a:cubicBezTo>
                    <a:pt x="161" y="200"/>
                    <a:pt x="161" y="200"/>
                    <a:pt x="160" y="20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8" name="Freeform 433"/>
            <p:cNvSpPr>
              <a:spLocks noChangeArrowheads="1"/>
            </p:cNvSpPr>
            <p:nvPr/>
          </p:nvSpPr>
          <p:spPr bwMode="auto">
            <a:xfrm>
              <a:off x="4038600" y="1612900"/>
              <a:ext cx="33338" cy="34925"/>
            </a:xfrm>
            <a:custGeom>
              <a:avLst/>
              <a:gdLst/>
              <a:ahLst/>
              <a:cxnLst>
                <a:cxn ang="0">
                  <a:pos x="74" y="97"/>
                </a:cxn>
                <a:cxn ang="0">
                  <a:pos x="2" y="51"/>
                </a:cxn>
                <a:cxn ang="0">
                  <a:pos x="0" y="48"/>
                </a:cxn>
                <a:cxn ang="0">
                  <a:pos x="1" y="44"/>
                </a:cxn>
                <a:cxn ang="0">
                  <a:pos x="35" y="2"/>
                </a:cxn>
                <a:cxn ang="0">
                  <a:pos x="39" y="0"/>
                </a:cxn>
                <a:cxn ang="0">
                  <a:pos x="39" y="0"/>
                </a:cxn>
                <a:cxn ang="0">
                  <a:pos x="43" y="3"/>
                </a:cxn>
                <a:cxn ang="0">
                  <a:pos x="63" y="64"/>
                </a:cxn>
                <a:cxn ang="0">
                  <a:pos x="86" y="68"/>
                </a:cxn>
                <a:cxn ang="0">
                  <a:pos x="89" y="70"/>
                </a:cxn>
                <a:cxn ang="0">
                  <a:pos x="90" y="74"/>
                </a:cxn>
                <a:cxn ang="0">
                  <a:pos x="81" y="95"/>
                </a:cxn>
                <a:cxn ang="0">
                  <a:pos x="78" y="98"/>
                </a:cxn>
                <a:cxn ang="0">
                  <a:pos x="77" y="98"/>
                </a:cxn>
                <a:cxn ang="0">
                  <a:pos x="74" y="97"/>
                </a:cxn>
              </a:cxnLst>
              <a:rect l="0" t="0" r="r" b="b"/>
              <a:pathLst>
                <a:path w="91" h="99">
                  <a:moveTo>
                    <a:pt x="74" y="97"/>
                  </a:moveTo>
                  <a:lnTo>
                    <a:pt x="2" y="51"/>
                  </a:lnTo>
                  <a:cubicBezTo>
                    <a:pt x="1" y="50"/>
                    <a:pt x="1" y="49"/>
                    <a:pt x="0" y="48"/>
                  </a:cubicBezTo>
                  <a:cubicBezTo>
                    <a:pt x="0" y="46"/>
                    <a:pt x="0" y="45"/>
                    <a:pt x="1" y="44"/>
                  </a:cubicBezTo>
                  <a:lnTo>
                    <a:pt x="35" y="2"/>
                  </a:lnTo>
                  <a:cubicBezTo>
                    <a:pt x="36" y="0"/>
                    <a:pt x="37" y="0"/>
                    <a:pt x="39" y="0"/>
                  </a:cubicBezTo>
                  <a:lnTo>
                    <a:pt x="39" y="0"/>
                  </a:lnTo>
                  <a:cubicBezTo>
                    <a:pt x="41" y="0"/>
                    <a:pt x="43" y="1"/>
                    <a:pt x="43" y="3"/>
                  </a:cubicBezTo>
                  <a:lnTo>
                    <a:pt x="63" y="64"/>
                  </a:lnTo>
                  <a:lnTo>
                    <a:pt x="86" y="68"/>
                  </a:lnTo>
                  <a:cubicBezTo>
                    <a:pt x="87" y="68"/>
                    <a:pt x="89" y="69"/>
                    <a:pt x="89" y="70"/>
                  </a:cubicBezTo>
                  <a:cubicBezTo>
                    <a:pt x="90" y="71"/>
                    <a:pt x="90" y="73"/>
                    <a:pt x="90" y="74"/>
                  </a:cubicBezTo>
                  <a:lnTo>
                    <a:pt x="81" y="95"/>
                  </a:lnTo>
                  <a:cubicBezTo>
                    <a:pt x="81" y="96"/>
                    <a:pt x="80" y="97"/>
                    <a:pt x="78" y="98"/>
                  </a:cubicBezTo>
                  <a:lnTo>
                    <a:pt x="77" y="98"/>
                  </a:lnTo>
                  <a:cubicBezTo>
                    <a:pt x="76" y="98"/>
                    <a:pt x="75" y="98"/>
                    <a:pt x="74" y="9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39" name="Freeform 434"/>
            <p:cNvSpPr>
              <a:spLocks noChangeArrowheads="1"/>
            </p:cNvSpPr>
            <p:nvPr/>
          </p:nvSpPr>
          <p:spPr bwMode="auto">
            <a:xfrm>
              <a:off x="4038600" y="1612900"/>
              <a:ext cx="33338" cy="34925"/>
            </a:xfrm>
            <a:custGeom>
              <a:avLst/>
              <a:gdLst/>
              <a:ahLst/>
              <a:cxnLst>
                <a:cxn ang="0">
                  <a:pos x="77" y="98"/>
                </a:cxn>
                <a:cxn ang="0">
                  <a:pos x="74" y="97"/>
                </a:cxn>
                <a:cxn ang="0">
                  <a:pos x="2" y="51"/>
                </a:cxn>
                <a:cxn ang="0">
                  <a:pos x="0" y="48"/>
                </a:cxn>
                <a:cxn ang="0">
                  <a:pos x="1" y="44"/>
                </a:cxn>
                <a:cxn ang="0">
                  <a:pos x="35" y="2"/>
                </a:cxn>
                <a:cxn ang="0">
                  <a:pos x="39" y="0"/>
                </a:cxn>
                <a:cxn ang="0">
                  <a:pos x="39" y="0"/>
                </a:cxn>
                <a:cxn ang="0">
                  <a:pos x="43" y="3"/>
                </a:cxn>
                <a:cxn ang="0">
                  <a:pos x="63" y="64"/>
                </a:cxn>
                <a:cxn ang="0">
                  <a:pos x="86" y="68"/>
                </a:cxn>
                <a:cxn ang="0">
                  <a:pos x="89" y="70"/>
                </a:cxn>
                <a:cxn ang="0">
                  <a:pos x="90" y="74"/>
                </a:cxn>
                <a:cxn ang="0">
                  <a:pos x="81" y="95"/>
                </a:cxn>
                <a:cxn ang="0">
                  <a:pos x="78" y="98"/>
                </a:cxn>
                <a:cxn ang="0">
                  <a:pos x="77" y="98"/>
                </a:cxn>
              </a:cxnLst>
              <a:rect l="0" t="0" r="r" b="b"/>
              <a:pathLst>
                <a:path w="91" h="99">
                  <a:moveTo>
                    <a:pt x="77" y="98"/>
                  </a:moveTo>
                  <a:cubicBezTo>
                    <a:pt x="76" y="98"/>
                    <a:pt x="75" y="98"/>
                    <a:pt x="74" y="97"/>
                  </a:cubicBezTo>
                  <a:lnTo>
                    <a:pt x="2" y="51"/>
                  </a:lnTo>
                  <a:cubicBezTo>
                    <a:pt x="1" y="50"/>
                    <a:pt x="1" y="49"/>
                    <a:pt x="0" y="48"/>
                  </a:cubicBezTo>
                  <a:cubicBezTo>
                    <a:pt x="0" y="46"/>
                    <a:pt x="0" y="45"/>
                    <a:pt x="1" y="44"/>
                  </a:cubicBezTo>
                  <a:lnTo>
                    <a:pt x="35" y="2"/>
                  </a:lnTo>
                  <a:cubicBezTo>
                    <a:pt x="36" y="0"/>
                    <a:pt x="37" y="0"/>
                    <a:pt x="39" y="0"/>
                  </a:cubicBezTo>
                  <a:lnTo>
                    <a:pt x="39" y="0"/>
                  </a:lnTo>
                  <a:cubicBezTo>
                    <a:pt x="41" y="0"/>
                    <a:pt x="43" y="1"/>
                    <a:pt x="43" y="3"/>
                  </a:cubicBezTo>
                  <a:lnTo>
                    <a:pt x="63" y="64"/>
                  </a:lnTo>
                  <a:lnTo>
                    <a:pt x="86" y="68"/>
                  </a:lnTo>
                  <a:cubicBezTo>
                    <a:pt x="87" y="68"/>
                    <a:pt x="89" y="69"/>
                    <a:pt x="89" y="70"/>
                  </a:cubicBezTo>
                  <a:cubicBezTo>
                    <a:pt x="90" y="71"/>
                    <a:pt x="90" y="73"/>
                    <a:pt x="90" y="74"/>
                  </a:cubicBezTo>
                  <a:lnTo>
                    <a:pt x="81" y="95"/>
                  </a:lnTo>
                  <a:cubicBezTo>
                    <a:pt x="81" y="96"/>
                    <a:pt x="80" y="97"/>
                    <a:pt x="78" y="98"/>
                  </a:cubicBezTo>
                  <a:lnTo>
                    <a:pt x="77" y="9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0" name="Freeform 435"/>
            <p:cNvSpPr>
              <a:spLocks noChangeArrowheads="1"/>
            </p:cNvSpPr>
            <p:nvPr/>
          </p:nvSpPr>
          <p:spPr bwMode="auto">
            <a:xfrm>
              <a:off x="4052888" y="1673225"/>
              <a:ext cx="19050" cy="15875"/>
            </a:xfrm>
            <a:custGeom>
              <a:avLst/>
              <a:gdLst/>
              <a:ahLst/>
              <a:cxnLst>
                <a:cxn ang="0">
                  <a:pos x="22" y="43"/>
                </a:cxn>
                <a:cxn ang="0">
                  <a:pos x="18" y="41"/>
                </a:cxn>
                <a:cxn ang="0">
                  <a:pos x="1" y="11"/>
                </a:cxn>
                <a:cxn ang="0">
                  <a:pos x="1" y="7"/>
                </a:cxn>
                <a:cxn ang="0">
                  <a:pos x="4" y="4"/>
                </a:cxn>
                <a:cxn ang="0">
                  <a:pos x="21" y="0"/>
                </a:cxn>
                <a:cxn ang="0">
                  <a:pos x="22" y="0"/>
                </a:cxn>
                <a:cxn ang="0">
                  <a:pos x="26" y="2"/>
                </a:cxn>
                <a:cxn ang="0">
                  <a:pos x="51" y="36"/>
                </a:cxn>
                <a:cxn ang="0">
                  <a:pos x="51" y="41"/>
                </a:cxn>
                <a:cxn ang="0">
                  <a:pos x="47" y="43"/>
                </a:cxn>
                <a:cxn ang="0">
                  <a:pos x="22" y="43"/>
                </a:cxn>
              </a:cxnLst>
              <a:rect l="0" t="0" r="r" b="b"/>
              <a:pathLst>
                <a:path w="53" h="44">
                  <a:moveTo>
                    <a:pt x="22" y="43"/>
                  </a:moveTo>
                  <a:cubicBezTo>
                    <a:pt x="20" y="43"/>
                    <a:pt x="19" y="42"/>
                    <a:pt x="18" y="41"/>
                  </a:cubicBezTo>
                  <a:lnTo>
                    <a:pt x="1" y="11"/>
                  </a:lnTo>
                  <a:cubicBezTo>
                    <a:pt x="0" y="10"/>
                    <a:pt x="0" y="8"/>
                    <a:pt x="1" y="7"/>
                  </a:cubicBezTo>
                  <a:cubicBezTo>
                    <a:pt x="1" y="6"/>
                    <a:pt x="2" y="5"/>
                    <a:pt x="4" y="4"/>
                  </a:cubicBezTo>
                  <a:lnTo>
                    <a:pt x="21" y="0"/>
                  </a:lnTo>
                  <a:cubicBezTo>
                    <a:pt x="21" y="0"/>
                    <a:pt x="21" y="0"/>
                    <a:pt x="22" y="0"/>
                  </a:cubicBezTo>
                  <a:cubicBezTo>
                    <a:pt x="23" y="0"/>
                    <a:pt x="25" y="1"/>
                    <a:pt x="26" y="2"/>
                  </a:cubicBezTo>
                  <a:lnTo>
                    <a:pt x="51" y="36"/>
                  </a:lnTo>
                  <a:cubicBezTo>
                    <a:pt x="52" y="37"/>
                    <a:pt x="52" y="39"/>
                    <a:pt x="51" y="41"/>
                  </a:cubicBezTo>
                  <a:cubicBezTo>
                    <a:pt x="51" y="42"/>
                    <a:pt x="49" y="43"/>
                    <a:pt x="47" y="43"/>
                  </a:cubicBezTo>
                  <a:lnTo>
                    <a:pt x="22" y="43"/>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1" name="Freeform 436"/>
            <p:cNvSpPr>
              <a:spLocks noChangeArrowheads="1"/>
            </p:cNvSpPr>
            <p:nvPr/>
          </p:nvSpPr>
          <p:spPr bwMode="auto">
            <a:xfrm>
              <a:off x="4052888" y="1673225"/>
              <a:ext cx="19050" cy="15875"/>
            </a:xfrm>
            <a:custGeom>
              <a:avLst/>
              <a:gdLst/>
              <a:ahLst/>
              <a:cxnLst>
                <a:cxn ang="0">
                  <a:pos x="22" y="43"/>
                </a:cxn>
                <a:cxn ang="0">
                  <a:pos x="18" y="41"/>
                </a:cxn>
                <a:cxn ang="0">
                  <a:pos x="1" y="11"/>
                </a:cxn>
                <a:cxn ang="0">
                  <a:pos x="1" y="7"/>
                </a:cxn>
                <a:cxn ang="0">
                  <a:pos x="4" y="4"/>
                </a:cxn>
                <a:cxn ang="0">
                  <a:pos x="21" y="0"/>
                </a:cxn>
                <a:cxn ang="0">
                  <a:pos x="22" y="0"/>
                </a:cxn>
                <a:cxn ang="0">
                  <a:pos x="26" y="2"/>
                </a:cxn>
                <a:cxn ang="0">
                  <a:pos x="51" y="36"/>
                </a:cxn>
                <a:cxn ang="0">
                  <a:pos x="51" y="41"/>
                </a:cxn>
                <a:cxn ang="0">
                  <a:pos x="47" y="43"/>
                </a:cxn>
                <a:cxn ang="0">
                  <a:pos x="22" y="43"/>
                </a:cxn>
              </a:cxnLst>
              <a:rect l="0" t="0" r="r" b="b"/>
              <a:pathLst>
                <a:path w="53" h="44">
                  <a:moveTo>
                    <a:pt x="22" y="43"/>
                  </a:moveTo>
                  <a:cubicBezTo>
                    <a:pt x="20" y="43"/>
                    <a:pt x="19" y="42"/>
                    <a:pt x="18" y="41"/>
                  </a:cubicBezTo>
                  <a:lnTo>
                    <a:pt x="1" y="11"/>
                  </a:lnTo>
                  <a:cubicBezTo>
                    <a:pt x="0" y="10"/>
                    <a:pt x="0" y="8"/>
                    <a:pt x="1" y="7"/>
                  </a:cubicBezTo>
                  <a:cubicBezTo>
                    <a:pt x="1" y="6"/>
                    <a:pt x="2" y="5"/>
                    <a:pt x="4" y="4"/>
                  </a:cubicBezTo>
                  <a:lnTo>
                    <a:pt x="21" y="0"/>
                  </a:lnTo>
                  <a:cubicBezTo>
                    <a:pt x="21" y="0"/>
                    <a:pt x="21" y="0"/>
                    <a:pt x="22" y="0"/>
                  </a:cubicBezTo>
                  <a:cubicBezTo>
                    <a:pt x="23" y="0"/>
                    <a:pt x="25" y="1"/>
                    <a:pt x="26" y="2"/>
                  </a:cubicBezTo>
                  <a:lnTo>
                    <a:pt x="51" y="36"/>
                  </a:lnTo>
                  <a:cubicBezTo>
                    <a:pt x="52" y="37"/>
                    <a:pt x="52" y="39"/>
                    <a:pt x="51" y="41"/>
                  </a:cubicBezTo>
                  <a:cubicBezTo>
                    <a:pt x="51" y="42"/>
                    <a:pt x="49" y="43"/>
                    <a:pt x="47" y="43"/>
                  </a:cubicBezTo>
                  <a:lnTo>
                    <a:pt x="22" y="4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2" name="Freeform 437"/>
            <p:cNvSpPr>
              <a:spLocks noChangeArrowheads="1"/>
            </p:cNvSpPr>
            <p:nvPr/>
          </p:nvSpPr>
          <p:spPr bwMode="auto">
            <a:xfrm>
              <a:off x="4060825" y="1700213"/>
              <a:ext cx="19050" cy="19050"/>
            </a:xfrm>
            <a:custGeom>
              <a:avLst/>
              <a:gdLst/>
              <a:ahLst/>
              <a:cxnLst>
                <a:cxn ang="0">
                  <a:pos x="2" y="51"/>
                </a:cxn>
                <a:cxn ang="0">
                  <a:pos x="1" y="45"/>
                </a:cxn>
                <a:cxn ang="0">
                  <a:pos x="22" y="3"/>
                </a:cxn>
                <a:cxn ang="0">
                  <a:pos x="26" y="0"/>
                </a:cxn>
                <a:cxn ang="0">
                  <a:pos x="48" y="0"/>
                </a:cxn>
                <a:cxn ang="0">
                  <a:pos x="52" y="3"/>
                </a:cxn>
                <a:cxn ang="0">
                  <a:pos x="51" y="8"/>
                </a:cxn>
                <a:cxn ang="0">
                  <a:pos x="9" y="50"/>
                </a:cxn>
                <a:cxn ang="0">
                  <a:pos x="5" y="52"/>
                </a:cxn>
                <a:cxn ang="0">
                  <a:pos x="2" y="51"/>
                </a:cxn>
              </a:cxnLst>
              <a:rect l="0" t="0" r="r" b="b"/>
              <a:pathLst>
                <a:path w="54" h="53">
                  <a:moveTo>
                    <a:pt x="2" y="51"/>
                  </a:moveTo>
                  <a:cubicBezTo>
                    <a:pt x="0" y="49"/>
                    <a:pt x="0" y="47"/>
                    <a:pt x="1" y="45"/>
                  </a:cubicBezTo>
                  <a:lnTo>
                    <a:pt x="22" y="3"/>
                  </a:lnTo>
                  <a:cubicBezTo>
                    <a:pt x="23" y="1"/>
                    <a:pt x="25" y="0"/>
                    <a:pt x="26" y="0"/>
                  </a:cubicBezTo>
                  <a:lnTo>
                    <a:pt x="48" y="0"/>
                  </a:lnTo>
                  <a:cubicBezTo>
                    <a:pt x="49" y="0"/>
                    <a:pt x="51" y="1"/>
                    <a:pt x="52" y="3"/>
                  </a:cubicBezTo>
                  <a:cubicBezTo>
                    <a:pt x="53" y="5"/>
                    <a:pt x="52" y="7"/>
                    <a:pt x="51" y="8"/>
                  </a:cubicBezTo>
                  <a:lnTo>
                    <a:pt x="9" y="50"/>
                  </a:lnTo>
                  <a:cubicBezTo>
                    <a:pt x="8" y="51"/>
                    <a:pt x="6" y="52"/>
                    <a:pt x="5" y="52"/>
                  </a:cubicBezTo>
                  <a:cubicBezTo>
                    <a:pt x="4" y="52"/>
                    <a:pt x="3" y="51"/>
                    <a:pt x="2" y="51"/>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3" name="Freeform 438"/>
            <p:cNvSpPr>
              <a:spLocks noChangeArrowheads="1"/>
            </p:cNvSpPr>
            <p:nvPr/>
          </p:nvSpPr>
          <p:spPr bwMode="auto">
            <a:xfrm>
              <a:off x="4060825" y="1700213"/>
              <a:ext cx="19050" cy="19050"/>
            </a:xfrm>
            <a:custGeom>
              <a:avLst/>
              <a:gdLst/>
              <a:ahLst/>
              <a:cxnLst>
                <a:cxn ang="0">
                  <a:pos x="5" y="52"/>
                </a:cxn>
                <a:cxn ang="0">
                  <a:pos x="2" y="51"/>
                </a:cxn>
                <a:cxn ang="0">
                  <a:pos x="1" y="45"/>
                </a:cxn>
                <a:cxn ang="0">
                  <a:pos x="22" y="3"/>
                </a:cxn>
                <a:cxn ang="0">
                  <a:pos x="26" y="0"/>
                </a:cxn>
                <a:cxn ang="0">
                  <a:pos x="48" y="0"/>
                </a:cxn>
                <a:cxn ang="0">
                  <a:pos x="52" y="3"/>
                </a:cxn>
                <a:cxn ang="0">
                  <a:pos x="51" y="8"/>
                </a:cxn>
                <a:cxn ang="0">
                  <a:pos x="9" y="50"/>
                </a:cxn>
                <a:cxn ang="0">
                  <a:pos x="5" y="52"/>
                </a:cxn>
              </a:cxnLst>
              <a:rect l="0" t="0" r="r" b="b"/>
              <a:pathLst>
                <a:path w="54" h="53">
                  <a:moveTo>
                    <a:pt x="5" y="52"/>
                  </a:moveTo>
                  <a:cubicBezTo>
                    <a:pt x="4" y="52"/>
                    <a:pt x="3" y="51"/>
                    <a:pt x="2" y="51"/>
                  </a:cubicBezTo>
                  <a:cubicBezTo>
                    <a:pt x="0" y="49"/>
                    <a:pt x="0" y="47"/>
                    <a:pt x="1" y="45"/>
                  </a:cubicBezTo>
                  <a:lnTo>
                    <a:pt x="22" y="3"/>
                  </a:lnTo>
                  <a:cubicBezTo>
                    <a:pt x="23" y="1"/>
                    <a:pt x="25" y="0"/>
                    <a:pt x="26" y="0"/>
                  </a:cubicBezTo>
                  <a:lnTo>
                    <a:pt x="48" y="0"/>
                  </a:lnTo>
                  <a:cubicBezTo>
                    <a:pt x="49" y="0"/>
                    <a:pt x="51" y="1"/>
                    <a:pt x="52" y="3"/>
                  </a:cubicBezTo>
                  <a:cubicBezTo>
                    <a:pt x="53" y="5"/>
                    <a:pt x="52" y="7"/>
                    <a:pt x="51" y="8"/>
                  </a:cubicBezTo>
                  <a:lnTo>
                    <a:pt x="9" y="50"/>
                  </a:lnTo>
                  <a:cubicBezTo>
                    <a:pt x="8" y="51"/>
                    <a:pt x="6" y="52"/>
                    <a:pt x="5" y="5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4" name="Freeform 439"/>
            <p:cNvSpPr>
              <a:spLocks noChangeArrowheads="1"/>
            </p:cNvSpPr>
            <p:nvPr/>
          </p:nvSpPr>
          <p:spPr bwMode="auto">
            <a:xfrm>
              <a:off x="4046538" y="1712913"/>
              <a:ext cx="15875" cy="15875"/>
            </a:xfrm>
            <a:custGeom>
              <a:avLst/>
              <a:gdLst/>
              <a:ahLst/>
              <a:cxnLst>
                <a:cxn ang="0">
                  <a:pos x="4" y="34"/>
                </a:cxn>
                <a:cxn ang="0">
                  <a:pos x="0" y="31"/>
                </a:cxn>
                <a:cxn ang="0">
                  <a:pos x="1" y="27"/>
                </a:cxn>
                <a:cxn ang="0">
                  <a:pos x="23" y="1"/>
                </a:cxn>
                <a:cxn ang="0">
                  <a:pos x="26" y="0"/>
                </a:cxn>
                <a:cxn ang="0">
                  <a:pos x="27" y="0"/>
                </a:cxn>
                <a:cxn ang="0">
                  <a:pos x="31" y="3"/>
                </a:cxn>
                <a:cxn ang="0">
                  <a:pos x="43" y="37"/>
                </a:cxn>
                <a:cxn ang="0">
                  <a:pos x="42" y="42"/>
                </a:cxn>
                <a:cxn ang="0">
                  <a:pos x="39" y="43"/>
                </a:cxn>
                <a:cxn ang="0">
                  <a:pos x="38" y="43"/>
                </a:cxn>
                <a:cxn ang="0">
                  <a:pos x="4" y="34"/>
                </a:cxn>
              </a:cxnLst>
              <a:rect l="0" t="0" r="r" b="b"/>
              <a:pathLst>
                <a:path w="45" h="44">
                  <a:moveTo>
                    <a:pt x="4" y="34"/>
                  </a:moveTo>
                  <a:cubicBezTo>
                    <a:pt x="2" y="34"/>
                    <a:pt x="1" y="33"/>
                    <a:pt x="0" y="31"/>
                  </a:cubicBezTo>
                  <a:cubicBezTo>
                    <a:pt x="0" y="30"/>
                    <a:pt x="0" y="28"/>
                    <a:pt x="1" y="27"/>
                  </a:cubicBezTo>
                  <a:lnTo>
                    <a:pt x="23" y="1"/>
                  </a:lnTo>
                  <a:cubicBezTo>
                    <a:pt x="23" y="0"/>
                    <a:pt x="25" y="0"/>
                    <a:pt x="26" y="0"/>
                  </a:cubicBezTo>
                  <a:lnTo>
                    <a:pt x="27" y="0"/>
                  </a:lnTo>
                  <a:cubicBezTo>
                    <a:pt x="29" y="0"/>
                    <a:pt x="30" y="1"/>
                    <a:pt x="31" y="3"/>
                  </a:cubicBezTo>
                  <a:lnTo>
                    <a:pt x="43" y="37"/>
                  </a:lnTo>
                  <a:cubicBezTo>
                    <a:pt x="44" y="38"/>
                    <a:pt x="44" y="40"/>
                    <a:pt x="42" y="42"/>
                  </a:cubicBezTo>
                  <a:cubicBezTo>
                    <a:pt x="42" y="42"/>
                    <a:pt x="40" y="43"/>
                    <a:pt x="39" y="43"/>
                  </a:cubicBezTo>
                  <a:lnTo>
                    <a:pt x="38" y="43"/>
                  </a:lnTo>
                  <a:lnTo>
                    <a:pt x="4" y="34"/>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5" name="Freeform 440"/>
            <p:cNvSpPr>
              <a:spLocks noChangeArrowheads="1"/>
            </p:cNvSpPr>
            <p:nvPr/>
          </p:nvSpPr>
          <p:spPr bwMode="auto">
            <a:xfrm>
              <a:off x="4046538" y="1712913"/>
              <a:ext cx="15875" cy="15875"/>
            </a:xfrm>
            <a:custGeom>
              <a:avLst/>
              <a:gdLst/>
              <a:ahLst/>
              <a:cxnLst>
                <a:cxn ang="0">
                  <a:pos x="38" y="43"/>
                </a:cxn>
                <a:cxn ang="0">
                  <a:pos x="4" y="34"/>
                </a:cxn>
                <a:cxn ang="0">
                  <a:pos x="0" y="31"/>
                </a:cxn>
                <a:cxn ang="0">
                  <a:pos x="1" y="27"/>
                </a:cxn>
                <a:cxn ang="0">
                  <a:pos x="23" y="1"/>
                </a:cxn>
                <a:cxn ang="0">
                  <a:pos x="26" y="0"/>
                </a:cxn>
                <a:cxn ang="0">
                  <a:pos x="27" y="0"/>
                </a:cxn>
                <a:cxn ang="0">
                  <a:pos x="31" y="3"/>
                </a:cxn>
                <a:cxn ang="0">
                  <a:pos x="43" y="37"/>
                </a:cxn>
                <a:cxn ang="0">
                  <a:pos x="42" y="42"/>
                </a:cxn>
                <a:cxn ang="0">
                  <a:pos x="39" y="43"/>
                </a:cxn>
                <a:cxn ang="0">
                  <a:pos x="38" y="43"/>
                </a:cxn>
              </a:cxnLst>
              <a:rect l="0" t="0" r="r" b="b"/>
              <a:pathLst>
                <a:path w="45" h="44">
                  <a:moveTo>
                    <a:pt x="38" y="43"/>
                  </a:moveTo>
                  <a:lnTo>
                    <a:pt x="4" y="34"/>
                  </a:lnTo>
                  <a:cubicBezTo>
                    <a:pt x="2" y="34"/>
                    <a:pt x="1" y="33"/>
                    <a:pt x="0" y="31"/>
                  </a:cubicBezTo>
                  <a:cubicBezTo>
                    <a:pt x="0" y="30"/>
                    <a:pt x="0" y="28"/>
                    <a:pt x="1" y="27"/>
                  </a:cubicBezTo>
                  <a:lnTo>
                    <a:pt x="23" y="1"/>
                  </a:lnTo>
                  <a:cubicBezTo>
                    <a:pt x="23" y="0"/>
                    <a:pt x="25" y="0"/>
                    <a:pt x="26" y="0"/>
                  </a:cubicBezTo>
                  <a:lnTo>
                    <a:pt x="27" y="0"/>
                  </a:lnTo>
                  <a:cubicBezTo>
                    <a:pt x="29" y="0"/>
                    <a:pt x="30" y="1"/>
                    <a:pt x="31" y="3"/>
                  </a:cubicBezTo>
                  <a:lnTo>
                    <a:pt x="43" y="37"/>
                  </a:lnTo>
                  <a:cubicBezTo>
                    <a:pt x="44" y="38"/>
                    <a:pt x="44" y="40"/>
                    <a:pt x="42" y="42"/>
                  </a:cubicBezTo>
                  <a:cubicBezTo>
                    <a:pt x="42" y="42"/>
                    <a:pt x="40" y="43"/>
                    <a:pt x="39" y="43"/>
                  </a:cubicBezTo>
                  <a:lnTo>
                    <a:pt x="38" y="4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6" name="Freeform 441"/>
            <p:cNvSpPr>
              <a:spLocks noChangeArrowheads="1"/>
            </p:cNvSpPr>
            <p:nvPr/>
          </p:nvSpPr>
          <p:spPr bwMode="auto">
            <a:xfrm>
              <a:off x="4098925" y="1790700"/>
              <a:ext cx="12700" cy="20638"/>
            </a:xfrm>
            <a:custGeom>
              <a:avLst/>
              <a:gdLst/>
              <a:ahLst/>
              <a:cxnLst>
                <a:cxn ang="0">
                  <a:pos x="2" y="54"/>
                </a:cxn>
                <a:cxn ang="0">
                  <a:pos x="1" y="49"/>
                </a:cxn>
                <a:cxn ang="0">
                  <a:pos x="26" y="2"/>
                </a:cxn>
                <a:cxn ang="0">
                  <a:pos x="31" y="0"/>
                </a:cxn>
                <a:cxn ang="0">
                  <a:pos x="32" y="0"/>
                </a:cxn>
                <a:cxn ang="0">
                  <a:pos x="35" y="4"/>
                </a:cxn>
                <a:cxn ang="0">
                  <a:pos x="35" y="38"/>
                </a:cxn>
                <a:cxn ang="0">
                  <a:pos x="33" y="42"/>
                </a:cxn>
                <a:cxn ang="0">
                  <a:pos x="7" y="55"/>
                </a:cxn>
                <a:cxn ang="0">
                  <a:pos x="5" y="56"/>
                </a:cxn>
                <a:cxn ang="0">
                  <a:pos x="2" y="54"/>
                </a:cxn>
              </a:cxnLst>
              <a:rect l="0" t="0" r="r" b="b"/>
              <a:pathLst>
                <a:path w="36" h="57">
                  <a:moveTo>
                    <a:pt x="2" y="54"/>
                  </a:moveTo>
                  <a:cubicBezTo>
                    <a:pt x="0" y="53"/>
                    <a:pt x="0" y="50"/>
                    <a:pt x="1" y="49"/>
                  </a:cubicBezTo>
                  <a:lnTo>
                    <a:pt x="26" y="2"/>
                  </a:lnTo>
                  <a:cubicBezTo>
                    <a:pt x="27" y="1"/>
                    <a:pt x="29" y="0"/>
                    <a:pt x="31" y="0"/>
                  </a:cubicBezTo>
                  <a:cubicBezTo>
                    <a:pt x="31" y="0"/>
                    <a:pt x="31" y="0"/>
                    <a:pt x="32" y="0"/>
                  </a:cubicBezTo>
                  <a:cubicBezTo>
                    <a:pt x="34" y="0"/>
                    <a:pt x="35" y="2"/>
                    <a:pt x="35" y="4"/>
                  </a:cubicBezTo>
                  <a:lnTo>
                    <a:pt x="35" y="38"/>
                  </a:lnTo>
                  <a:cubicBezTo>
                    <a:pt x="35" y="40"/>
                    <a:pt x="34" y="42"/>
                    <a:pt x="33" y="42"/>
                  </a:cubicBezTo>
                  <a:lnTo>
                    <a:pt x="7" y="55"/>
                  </a:lnTo>
                  <a:cubicBezTo>
                    <a:pt x="7" y="55"/>
                    <a:pt x="6" y="56"/>
                    <a:pt x="5" y="56"/>
                  </a:cubicBezTo>
                  <a:cubicBezTo>
                    <a:pt x="4" y="56"/>
                    <a:pt x="3" y="55"/>
                    <a:pt x="2" y="5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7" name="Freeform 442"/>
            <p:cNvSpPr>
              <a:spLocks noChangeArrowheads="1"/>
            </p:cNvSpPr>
            <p:nvPr/>
          </p:nvSpPr>
          <p:spPr bwMode="auto">
            <a:xfrm>
              <a:off x="4098925" y="1790700"/>
              <a:ext cx="12700" cy="20638"/>
            </a:xfrm>
            <a:custGeom>
              <a:avLst/>
              <a:gdLst/>
              <a:ahLst/>
              <a:cxnLst>
                <a:cxn ang="0">
                  <a:pos x="5" y="56"/>
                </a:cxn>
                <a:cxn ang="0">
                  <a:pos x="2" y="54"/>
                </a:cxn>
                <a:cxn ang="0">
                  <a:pos x="1" y="49"/>
                </a:cxn>
                <a:cxn ang="0">
                  <a:pos x="26" y="2"/>
                </a:cxn>
                <a:cxn ang="0">
                  <a:pos x="31" y="0"/>
                </a:cxn>
                <a:cxn ang="0">
                  <a:pos x="32" y="0"/>
                </a:cxn>
                <a:cxn ang="0">
                  <a:pos x="35" y="4"/>
                </a:cxn>
                <a:cxn ang="0">
                  <a:pos x="35" y="38"/>
                </a:cxn>
                <a:cxn ang="0">
                  <a:pos x="33" y="42"/>
                </a:cxn>
                <a:cxn ang="0">
                  <a:pos x="7" y="55"/>
                </a:cxn>
                <a:cxn ang="0">
                  <a:pos x="5" y="56"/>
                </a:cxn>
              </a:cxnLst>
              <a:rect l="0" t="0" r="r" b="b"/>
              <a:pathLst>
                <a:path w="36" h="57">
                  <a:moveTo>
                    <a:pt x="5" y="56"/>
                  </a:moveTo>
                  <a:cubicBezTo>
                    <a:pt x="4" y="56"/>
                    <a:pt x="3" y="55"/>
                    <a:pt x="2" y="54"/>
                  </a:cubicBezTo>
                  <a:cubicBezTo>
                    <a:pt x="0" y="53"/>
                    <a:pt x="0" y="50"/>
                    <a:pt x="1" y="49"/>
                  </a:cubicBezTo>
                  <a:lnTo>
                    <a:pt x="26" y="2"/>
                  </a:lnTo>
                  <a:cubicBezTo>
                    <a:pt x="27" y="1"/>
                    <a:pt x="29" y="0"/>
                    <a:pt x="31" y="0"/>
                  </a:cubicBezTo>
                  <a:cubicBezTo>
                    <a:pt x="31" y="0"/>
                    <a:pt x="31" y="0"/>
                    <a:pt x="32" y="0"/>
                  </a:cubicBezTo>
                  <a:cubicBezTo>
                    <a:pt x="34" y="0"/>
                    <a:pt x="35" y="2"/>
                    <a:pt x="35" y="4"/>
                  </a:cubicBezTo>
                  <a:lnTo>
                    <a:pt x="35" y="38"/>
                  </a:lnTo>
                  <a:cubicBezTo>
                    <a:pt x="35" y="40"/>
                    <a:pt x="34" y="42"/>
                    <a:pt x="33" y="42"/>
                  </a:cubicBezTo>
                  <a:lnTo>
                    <a:pt x="7" y="55"/>
                  </a:lnTo>
                  <a:cubicBezTo>
                    <a:pt x="7" y="55"/>
                    <a:pt x="6" y="56"/>
                    <a:pt x="5" y="5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8" name="Freeform 443"/>
            <p:cNvSpPr>
              <a:spLocks noChangeArrowheads="1"/>
            </p:cNvSpPr>
            <p:nvPr/>
          </p:nvSpPr>
          <p:spPr bwMode="auto">
            <a:xfrm>
              <a:off x="4105275" y="1836738"/>
              <a:ext cx="17463" cy="14287"/>
            </a:xfrm>
            <a:custGeom>
              <a:avLst/>
              <a:gdLst/>
              <a:ahLst/>
              <a:cxnLst>
                <a:cxn ang="0">
                  <a:pos x="26" y="39"/>
                </a:cxn>
                <a:cxn ang="0">
                  <a:pos x="23" y="37"/>
                </a:cxn>
                <a:cxn ang="0">
                  <a:pos x="1" y="7"/>
                </a:cxn>
                <a:cxn ang="0">
                  <a:pos x="2" y="1"/>
                </a:cxn>
                <a:cxn ang="0">
                  <a:pos x="5" y="0"/>
                </a:cxn>
                <a:cxn ang="0">
                  <a:pos x="8" y="1"/>
                </a:cxn>
                <a:cxn ang="0">
                  <a:pos x="46" y="30"/>
                </a:cxn>
                <a:cxn ang="0">
                  <a:pos x="48" y="36"/>
                </a:cxn>
                <a:cxn ang="0">
                  <a:pos x="43" y="39"/>
                </a:cxn>
                <a:cxn ang="0">
                  <a:pos x="26" y="39"/>
                </a:cxn>
              </a:cxnLst>
              <a:rect l="0" t="0" r="r" b="b"/>
              <a:pathLst>
                <a:path w="50" h="40">
                  <a:moveTo>
                    <a:pt x="26" y="39"/>
                  </a:moveTo>
                  <a:cubicBezTo>
                    <a:pt x="25" y="39"/>
                    <a:pt x="24" y="38"/>
                    <a:pt x="23" y="37"/>
                  </a:cubicBezTo>
                  <a:lnTo>
                    <a:pt x="1" y="7"/>
                  </a:lnTo>
                  <a:cubicBezTo>
                    <a:pt x="0" y="5"/>
                    <a:pt x="0" y="3"/>
                    <a:pt x="2" y="1"/>
                  </a:cubicBezTo>
                  <a:cubicBezTo>
                    <a:pt x="3" y="0"/>
                    <a:pt x="4" y="0"/>
                    <a:pt x="5" y="0"/>
                  </a:cubicBezTo>
                  <a:cubicBezTo>
                    <a:pt x="6" y="0"/>
                    <a:pt x="7" y="0"/>
                    <a:pt x="8" y="1"/>
                  </a:cubicBezTo>
                  <a:lnTo>
                    <a:pt x="46" y="30"/>
                  </a:lnTo>
                  <a:cubicBezTo>
                    <a:pt x="48" y="32"/>
                    <a:pt x="49" y="34"/>
                    <a:pt x="48" y="36"/>
                  </a:cubicBezTo>
                  <a:cubicBezTo>
                    <a:pt x="47" y="37"/>
                    <a:pt x="45" y="39"/>
                    <a:pt x="43" y="39"/>
                  </a:cubicBezTo>
                  <a:lnTo>
                    <a:pt x="26" y="3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49" name="Freeform 444"/>
            <p:cNvSpPr>
              <a:spLocks noChangeArrowheads="1"/>
            </p:cNvSpPr>
            <p:nvPr/>
          </p:nvSpPr>
          <p:spPr bwMode="auto">
            <a:xfrm>
              <a:off x="4105275" y="1836738"/>
              <a:ext cx="17463" cy="14287"/>
            </a:xfrm>
            <a:custGeom>
              <a:avLst/>
              <a:gdLst/>
              <a:ahLst/>
              <a:cxnLst>
                <a:cxn ang="0">
                  <a:pos x="26" y="39"/>
                </a:cxn>
                <a:cxn ang="0">
                  <a:pos x="23" y="37"/>
                </a:cxn>
                <a:cxn ang="0">
                  <a:pos x="1" y="7"/>
                </a:cxn>
                <a:cxn ang="0">
                  <a:pos x="2" y="1"/>
                </a:cxn>
                <a:cxn ang="0">
                  <a:pos x="5" y="0"/>
                </a:cxn>
                <a:cxn ang="0">
                  <a:pos x="8" y="1"/>
                </a:cxn>
                <a:cxn ang="0">
                  <a:pos x="46" y="30"/>
                </a:cxn>
                <a:cxn ang="0">
                  <a:pos x="48" y="36"/>
                </a:cxn>
                <a:cxn ang="0">
                  <a:pos x="43" y="39"/>
                </a:cxn>
                <a:cxn ang="0">
                  <a:pos x="26" y="39"/>
                </a:cxn>
              </a:cxnLst>
              <a:rect l="0" t="0" r="r" b="b"/>
              <a:pathLst>
                <a:path w="50" h="40">
                  <a:moveTo>
                    <a:pt x="26" y="39"/>
                  </a:moveTo>
                  <a:cubicBezTo>
                    <a:pt x="25" y="39"/>
                    <a:pt x="24" y="38"/>
                    <a:pt x="23" y="37"/>
                  </a:cubicBezTo>
                  <a:lnTo>
                    <a:pt x="1" y="7"/>
                  </a:lnTo>
                  <a:cubicBezTo>
                    <a:pt x="0" y="5"/>
                    <a:pt x="0" y="3"/>
                    <a:pt x="2" y="1"/>
                  </a:cubicBezTo>
                  <a:cubicBezTo>
                    <a:pt x="3" y="0"/>
                    <a:pt x="4" y="0"/>
                    <a:pt x="5" y="0"/>
                  </a:cubicBezTo>
                  <a:cubicBezTo>
                    <a:pt x="6" y="0"/>
                    <a:pt x="7" y="0"/>
                    <a:pt x="8" y="1"/>
                  </a:cubicBezTo>
                  <a:lnTo>
                    <a:pt x="46" y="30"/>
                  </a:lnTo>
                  <a:cubicBezTo>
                    <a:pt x="48" y="32"/>
                    <a:pt x="49" y="34"/>
                    <a:pt x="48" y="36"/>
                  </a:cubicBezTo>
                  <a:cubicBezTo>
                    <a:pt x="47" y="37"/>
                    <a:pt x="45" y="39"/>
                    <a:pt x="43" y="39"/>
                  </a:cubicBezTo>
                  <a:lnTo>
                    <a:pt x="26" y="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0" name="Freeform 445"/>
            <p:cNvSpPr>
              <a:spLocks noChangeArrowheads="1"/>
            </p:cNvSpPr>
            <p:nvPr/>
          </p:nvSpPr>
          <p:spPr bwMode="auto">
            <a:xfrm>
              <a:off x="4056063" y="1558925"/>
              <a:ext cx="238125" cy="447675"/>
            </a:xfrm>
            <a:custGeom>
              <a:avLst/>
              <a:gdLst/>
              <a:ahLst/>
              <a:cxnLst>
                <a:cxn ang="0">
                  <a:pos x="53" y="1237"/>
                </a:cxn>
                <a:cxn ang="0">
                  <a:pos x="266" y="1079"/>
                </a:cxn>
                <a:cxn ang="0">
                  <a:pos x="234" y="1067"/>
                </a:cxn>
                <a:cxn ang="0">
                  <a:pos x="163" y="1037"/>
                </a:cxn>
                <a:cxn ang="0">
                  <a:pos x="147" y="1013"/>
                </a:cxn>
                <a:cxn ang="0">
                  <a:pos x="99" y="1031"/>
                </a:cxn>
                <a:cxn ang="0">
                  <a:pos x="79" y="995"/>
                </a:cxn>
                <a:cxn ang="0">
                  <a:pos x="172" y="856"/>
                </a:cxn>
                <a:cxn ang="0">
                  <a:pos x="124" y="865"/>
                </a:cxn>
                <a:cxn ang="0">
                  <a:pos x="268" y="783"/>
                </a:cxn>
                <a:cxn ang="0">
                  <a:pos x="278" y="739"/>
                </a:cxn>
                <a:cxn ang="0">
                  <a:pos x="264" y="730"/>
                </a:cxn>
                <a:cxn ang="0">
                  <a:pos x="251" y="694"/>
                </a:cxn>
                <a:cxn ang="0">
                  <a:pos x="209" y="632"/>
                </a:cxn>
                <a:cxn ang="0">
                  <a:pos x="154" y="607"/>
                </a:cxn>
                <a:cxn ang="0">
                  <a:pos x="147" y="609"/>
                </a:cxn>
                <a:cxn ang="0">
                  <a:pos x="103" y="610"/>
                </a:cxn>
                <a:cxn ang="0">
                  <a:pos x="82" y="569"/>
                </a:cxn>
                <a:cxn ang="0">
                  <a:pos x="99" y="562"/>
                </a:cxn>
                <a:cxn ang="0">
                  <a:pos x="111" y="455"/>
                </a:cxn>
                <a:cxn ang="0">
                  <a:pos x="85" y="435"/>
                </a:cxn>
                <a:cxn ang="0">
                  <a:pos x="77" y="434"/>
                </a:cxn>
                <a:cxn ang="0">
                  <a:pos x="43" y="514"/>
                </a:cxn>
                <a:cxn ang="0">
                  <a:pos x="35" y="511"/>
                </a:cxn>
                <a:cxn ang="0">
                  <a:pos x="43" y="347"/>
                </a:cxn>
                <a:cxn ang="0">
                  <a:pos x="1" y="304"/>
                </a:cxn>
                <a:cxn ang="0">
                  <a:pos x="55" y="218"/>
                </a:cxn>
                <a:cxn ang="0">
                  <a:pos x="30" y="178"/>
                </a:cxn>
                <a:cxn ang="0">
                  <a:pos x="35" y="136"/>
                </a:cxn>
                <a:cxn ang="0">
                  <a:pos x="61" y="96"/>
                </a:cxn>
                <a:cxn ang="0">
                  <a:pos x="72" y="67"/>
                </a:cxn>
                <a:cxn ang="0">
                  <a:pos x="106" y="12"/>
                </a:cxn>
                <a:cxn ang="0">
                  <a:pos x="260" y="9"/>
                </a:cxn>
                <a:cxn ang="0">
                  <a:pos x="183" y="118"/>
                </a:cxn>
                <a:cxn ang="0">
                  <a:pos x="202" y="140"/>
                </a:cxn>
                <a:cxn ang="0">
                  <a:pos x="361" y="152"/>
                </a:cxn>
                <a:cxn ang="0">
                  <a:pos x="336" y="285"/>
                </a:cxn>
                <a:cxn ang="0">
                  <a:pos x="280" y="346"/>
                </a:cxn>
                <a:cxn ang="0">
                  <a:pos x="300" y="385"/>
                </a:cxn>
                <a:cxn ang="0">
                  <a:pos x="389" y="474"/>
                </a:cxn>
                <a:cxn ang="0">
                  <a:pos x="534" y="730"/>
                </a:cxn>
                <a:cxn ang="0">
                  <a:pos x="530" y="766"/>
                </a:cxn>
                <a:cxn ang="0">
                  <a:pos x="551" y="801"/>
                </a:cxn>
                <a:cxn ang="0">
                  <a:pos x="624" y="846"/>
                </a:cxn>
                <a:cxn ang="0">
                  <a:pos x="662" y="880"/>
                </a:cxn>
                <a:cxn ang="0">
                  <a:pos x="575" y="1046"/>
                </a:cxn>
                <a:cxn ang="0">
                  <a:pos x="641" y="1069"/>
                </a:cxn>
                <a:cxn ang="0">
                  <a:pos x="455" y="1151"/>
                </a:cxn>
                <a:cxn ang="0">
                  <a:pos x="316" y="1176"/>
                </a:cxn>
                <a:cxn ang="0">
                  <a:pos x="288" y="1152"/>
                </a:cxn>
                <a:cxn ang="0">
                  <a:pos x="213" y="1215"/>
                </a:cxn>
                <a:cxn ang="0">
                  <a:pos x="90" y="1244"/>
                </a:cxn>
                <a:cxn ang="0">
                  <a:pos x="77" y="431"/>
                </a:cxn>
                <a:cxn ang="0">
                  <a:pos x="77" y="432"/>
                </a:cxn>
              </a:cxnLst>
              <a:rect l="0" t="0" r="r" b="b"/>
              <a:pathLst>
                <a:path w="663" h="1245">
                  <a:moveTo>
                    <a:pt x="56" y="1244"/>
                  </a:moveTo>
                  <a:cubicBezTo>
                    <a:pt x="55" y="1244"/>
                    <a:pt x="53" y="1243"/>
                    <a:pt x="52" y="1242"/>
                  </a:cubicBezTo>
                  <a:cubicBezTo>
                    <a:pt x="51" y="1240"/>
                    <a:pt x="51" y="1238"/>
                    <a:pt x="53" y="1237"/>
                  </a:cubicBezTo>
                  <a:lnTo>
                    <a:pt x="171" y="1089"/>
                  </a:lnTo>
                  <a:cubicBezTo>
                    <a:pt x="172" y="1088"/>
                    <a:pt x="173" y="1087"/>
                    <a:pt x="175" y="1087"/>
                  </a:cubicBezTo>
                  <a:lnTo>
                    <a:pt x="266" y="1079"/>
                  </a:lnTo>
                  <a:lnTo>
                    <a:pt x="296" y="1037"/>
                  </a:lnTo>
                  <a:lnTo>
                    <a:pt x="236" y="1066"/>
                  </a:lnTo>
                  <a:cubicBezTo>
                    <a:pt x="236" y="1067"/>
                    <a:pt x="235" y="1067"/>
                    <a:pt x="234" y="1067"/>
                  </a:cubicBezTo>
                  <a:cubicBezTo>
                    <a:pt x="233" y="1067"/>
                    <a:pt x="232" y="1066"/>
                    <a:pt x="231" y="1065"/>
                  </a:cubicBezTo>
                  <a:lnTo>
                    <a:pt x="199" y="1029"/>
                  </a:lnTo>
                  <a:lnTo>
                    <a:pt x="163" y="1037"/>
                  </a:lnTo>
                  <a:cubicBezTo>
                    <a:pt x="163" y="1037"/>
                    <a:pt x="163" y="1037"/>
                    <a:pt x="162" y="1037"/>
                  </a:cubicBezTo>
                  <a:cubicBezTo>
                    <a:pt x="160" y="1037"/>
                    <a:pt x="159" y="1036"/>
                    <a:pt x="158" y="1034"/>
                  </a:cubicBezTo>
                  <a:lnTo>
                    <a:pt x="147" y="1013"/>
                  </a:lnTo>
                  <a:lnTo>
                    <a:pt x="105" y="1032"/>
                  </a:lnTo>
                  <a:cubicBezTo>
                    <a:pt x="104" y="1033"/>
                    <a:pt x="103" y="1033"/>
                    <a:pt x="103" y="1033"/>
                  </a:cubicBezTo>
                  <a:cubicBezTo>
                    <a:pt x="101" y="1033"/>
                    <a:pt x="100" y="1032"/>
                    <a:pt x="99" y="1031"/>
                  </a:cubicBezTo>
                  <a:lnTo>
                    <a:pt x="78" y="1001"/>
                  </a:lnTo>
                  <a:cubicBezTo>
                    <a:pt x="77" y="1000"/>
                    <a:pt x="77" y="999"/>
                    <a:pt x="77" y="998"/>
                  </a:cubicBezTo>
                  <a:cubicBezTo>
                    <a:pt x="77" y="996"/>
                    <a:pt x="78" y="995"/>
                    <a:pt x="79" y="995"/>
                  </a:cubicBezTo>
                  <a:lnTo>
                    <a:pt x="172" y="935"/>
                  </a:lnTo>
                  <a:lnTo>
                    <a:pt x="187" y="905"/>
                  </a:lnTo>
                  <a:lnTo>
                    <a:pt x="172" y="856"/>
                  </a:lnTo>
                  <a:lnTo>
                    <a:pt x="129" y="868"/>
                  </a:lnTo>
                  <a:lnTo>
                    <a:pt x="129" y="868"/>
                  </a:lnTo>
                  <a:cubicBezTo>
                    <a:pt x="127" y="868"/>
                    <a:pt x="125" y="867"/>
                    <a:pt x="124" y="865"/>
                  </a:cubicBezTo>
                  <a:cubicBezTo>
                    <a:pt x="123" y="863"/>
                    <a:pt x="123" y="861"/>
                    <a:pt x="125" y="860"/>
                  </a:cubicBezTo>
                  <a:lnTo>
                    <a:pt x="201" y="792"/>
                  </a:lnTo>
                  <a:lnTo>
                    <a:pt x="268" y="783"/>
                  </a:lnTo>
                  <a:lnTo>
                    <a:pt x="264" y="777"/>
                  </a:lnTo>
                  <a:cubicBezTo>
                    <a:pt x="263" y="775"/>
                    <a:pt x="263" y="774"/>
                    <a:pt x="264" y="772"/>
                  </a:cubicBezTo>
                  <a:lnTo>
                    <a:pt x="278" y="739"/>
                  </a:lnTo>
                  <a:lnTo>
                    <a:pt x="267" y="736"/>
                  </a:lnTo>
                  <a:cubicBezTo>
                    <a:pt x="266" y="736"/>
                    <a:pt x="264" y="735"/>
                    <a:pt x="264" y="734"/>
                  </a:cubicBezTo>
                  <a:cubicBezTo>
                    <a:pt x="263" y="733"/>
                    <a:pt x="263" y="731"/>
                    <a:pt x="264" y="730"/>
                  </a:cubicBezTo>
                  <a:lnTo>
                    <a:pt x="284" y="678"/>
                  </a:lnTo>
                  <a:lnTo>
                    <a:pt x="253" y="694"/>
                  </a:lnTo>
                  <a:cubicBezTo>
                    <a:pt x="252" y="694"/>
                    <a:pt x="252" y="694"/>
                    <a:pt x="251" y="694"/>
                  </a:cubicBezTo>
                  <a:cubicBezTo>
                    <a:pt x="249" y="694"/>
                    <a:pt x="248" y="694"/>
                    <a:pt x="247" y="692"/>
                  </a:cubicBezTo>
                  <a:lnTo>
                    <a:pt x="209" y="637"/>
                  </a:lnTo>
                  <a:cubicBezTo>
                    <a:pt x="208" y="636"/>
                    <a:pt x="208" y="634"/>
                    <a:pt x="209" y="632"/>
                  </a:cubicBezTo>
                  <a:lnTo>
                    <a:pt x="249" y="573"/>
                  </a:lnTo>
                  <a:lnTo>
                    <a:pt x="161" y="588"/>
                  </a:lnTo>
                  <a:lnTo>
                    <a:pt x="154" y="607"/>
                  </a:lnTo>
                  <a:cubicBezTo>
                    <a:pt x="153" y="608"/>
                    <a:pt x="152" y="609"/>
                    <a:pt x="151" y="610"/>
                  </a:cubicBezTo>
                  <a:cubicBezTo>
                    <a:pt x="150" y="610"/>
                    <a:pt x="150" y="610"/>
                    <a:pt x="150" y="610"/>
                  </a:cubicBezTo>
                  <a:cubicBezTo>
                    <a:pt x="148" y="610"/>
                    <a:pt x="147" y="609"/>
                    <a:pt x="147" y="609"/>
                  </a:cubicBezTo>
                  <a:lnTo>
                    <a:pt x="117" y="587"/>
                  </a:lnTo>
                  <a:lnTo>
                    <a:pt x="107" y="607"/>
                  </a:lnTo>
                  <a:cubicBezTo>
                    <a:pt x="106" y="609"/>
                    <a:pt x="105" y="610"/>
                    <a:pt x="103" y="610"/>
                  </a:cubicBezTo>
                  <a:lnTo>
                    <a:pt x="103" y="610"/>
                  </a:lnTo>
                  <a:cubicBezTo>
                    <a:pt x="101" y="610"/>
                    <a:pt x="99" y="609"/>
                    <a:pt x="98" y="607"/>
                  </a:cubicBezTo>
                  <a:lnTo>
                    <a:pt x="82" y="569"/>
                  </a:lnTo>
                  <a:cubicBezTo>
                    <a:pt x="81" y="567"/>
                    <a:pt x="81" y="566"/>
                    <a:pt x="82" y="564"/>
                  </a:cubicBezTo>
                  <a:cubicBezTo>
                    <a:pt x="83" y="563"/>
                    <a:pt x="84" y="562"/>
                    <a:pt x="86" y="562"/>
                  </a:cubicBezTo>
                  <a:lnTo>
                    <a:pt x="99" y="562"/>
                  </a:lnTo>
                  <a:lnTo>
                    <a:pt x="124" y="489"/>
                  </a:lnTo>
                  <a:lnTo>
                    <a:pt x="111" y="459"/>
                  </a:lnTo>
                  <a:cubicBezTo>
                    <a:pt x="111" y="458"/>
                    <a:pt x="111" y="456"/>
                    <a:pt x="111" y="455"/>
                  </a:cubicBezTo>
                  <a:lnTo>
                    <a:pt x="123" y="425"/>
                  </a:lnTo>
                  <a:lnTo>
                    <a:pt x="107" y="412"/>
                  </a:lnTo>
                  <a:lnTo>
                    <a:pt x="85" y="435"/>
                  </a:lnTo>
                  <a:cubicBezTo>
                    <a:pt x="84" y="436"/>
                    <a:pt x="83" y="436"/>
                    <a:pt x="82" y="436"/>
                  </a:cubicBezTo>
                  <a:cubicBezTo>
                    <a:pt x="81" y="436"/>
                    <a:pt x="80" y="436"/>
                    <a:pt x="79" y="436"/>
                  </a:cubicBezTo>
                  <a:cubicBezTo>
                    <a:pt x="79" y="435"/>
                    <a:pt x="78" y="435"/>
                    <a:pt x="77" y="434"/>
                  </a:cubicBezTo>
                  <a:lnTo>
                    <a:pt x="82" y="447"/>
                  </a:lnTo>
                  <a:cubicBezTo>
                    <a:pt x="82" y="448"/>
                    <a:pt x="82" y="450"/>
                    <a:pt x="81" y="451"/>
                  </a:cubicBezTo>
                  <a:lnTo>
                    <a:pt x="43" y="514"/>
                  </a:lnTo>
                  <a:cubicBezTo>
                    <a:pt x="42" y="516"/>
                    <a:pt x="41" y="517"/>
                    <a:pt x="39" y="517"/>
                  </a:cubicBezTo>
                  <a:cubicBezTo>
                    <a:pt x="39" y="517"/>
                    <a:pt x="38" y="517"/>
                    <a:pt x="37" y="516"/>
                  </a:cubicBezTo>
                  <a:cubicBezTo>
                    <a:pt x="35" y="516"/>
                    <a:pt x="34" y="513"/>
                    <a:pt x="35" y="511"/>
                  </a:cubicBezTo>
                  <a:lnTo>
                    <a:pt x="75" y="331"/>
                  </a:lnTo>
                  <a:lnTo>
                    <a:pt x="46" y="347"/>
                  </a:lnTo>
                  <a:cubicBezTo>
                    <a:pt x="45" y="347"/>
                    <a:pt x="44" y="347"/>
                    <a:pt x="43" y="347"/>
                  </a:cubicBezTo>
                  <a:cubicBezTo>
                    <a:pt x="42" y="347"/>
                    <a:pt x="41" y="347"/>
                    <a:pt x="40" y="346"/>
                  </a:cubicBezTo>
                  <a:lnTo>
                    <a:pt x="2" y="308"/>
                  </a:lnTo>
                  <a:cubicBezTo>
                    <a:pt x="1" y="307"/>
                    <a:pt x="0" y="305"/>
                    <a:pt x="1" y="304"/>
                  </a:cubicBezTo>
                  <a:cubicBezTo>
                    <a:pt x="1" y="302"/>
                    <a:pt x="2" y="301"/>
                    <a:pt x="4" y="300"/>
                  </a:cubicBezTo>
                  <a:lnTo>
                    <a:pt x="31" y="292"/>
                  </a:lnTo>
                  <a:lnTo>
                    <a:pt x="55" y="218"/>
                  </a:lnTo>
                  <a:lnTo>
                    <a:pt x="33" y="207"/>
                  </a:lnTo>
                  <a:cubicBezTo>
                    <a:pt x="31" y="207"/>
                    <a:pt x="30" y="205"/>
                    <a:pt x="30" y="203"/>
                  </a:cubicBezTo>
                  <a:lnTo>
                    <a:pt x="30" y="178"/>
                  </a:lnTo>
                  <a:cubicBezTo>
                    <a:pt x="30" y="175"/>
                    <a:pt x="32" y="173"/>
                    <a:pt x="35" y="173"/>
                  </a:cubicBezTo>
                  <a:lnTo>
                    <a:pt x="42" y="173"/>
                  </a:lnTo>
                  <a:lnTo>
                    <a:pt x="35" y="136"/>
                  </a:lnTo>
                  <a:cubicBezTo>
                    <a:pt x="34" y="134"/>
                    <a:pt x="35" y="132"/>
                    <a:pt x="37" y="131"/>
                  </a:cubicBezTo>
                  <a:lnTo>
                    <a:pt x="74" y="113"/>
                  </a:lnTo>
                  <a:lnTo>
                    <a:pt x="61" y="96"/>
                  </a:lnTo>
                  <a:cubicBezTo>
                    <a:pt x="60" y="95"/>
                    <a:pt x="60" y="93"/>
                    <a:pt x="60" y="91"/>
                  </a:cubicBezTo>
                  <a:lnTo>
                    <a:pt x="69" y="70"/>
                  </a:lnTo>
                  <a:cubicBezTo>
                    <a:pt x="69" y="69"/>
                    <a:pt x="71" y="68"/>
                    <a:pt x="72" y="67"/>
                  </a:cubicBezTo>
                  <a:lnTo>
                    <a:pt x="86" y="64"/>
                  </a:lnTo>
                  <a:lnTo>
                    <a:pt x="103" y="16"/>
                  </a:lnTo>
                  <a:cubicBezTo>
                    <a:pt x="103" y="14"/>
                    <a:pt x="105" y="13"/>
                    <a:pt x="106" y="12"/>
                  </a:cubicBezTo>
                  <a:lnTo>
                    <a:pt x="242" y="0"/>
                  </a:lnTo>
                  <a:lnTo>
                    <a:pt x="257" y="4"/>
                  </a:lnTo>
                  <a:cubicBezTo>
                    <a:pt x="259" y="5"/>
                    <a:pt x="260" y="7"/>
                    <a:pt x="260" y="9"/>
                  </a:cubicBezTo>
                  <a:lnTo>
                    <a:pt x="260" y="51"/>
                  </a:lnTo>
                  <a:cubicBezTo>
                    <a:pt x="260" y="52"/>
                    <a:pt x="259" y="54"/>
                    <a:pt x="258" y="54"/>
                  </a:cubicBezTo>
                  <a:lnTo>
                    <a:pt x="183" y="118"/>
                  </a:lnTo>
                  <a:lnTo>
                    <a:pt x="203" y="132"/>
                  </a:lnTo>
                  <a:cubicBezTo>
                    <a:pt x="204" y="132"/>
                    <a:pt x="205" y="134"/>
                    <a:pt x="205" y="136"/>
                  </a:cubicBezTo>
                  <a:cubicBezTo>
                    <a:pt x="205" y="137"/>
                    <a:pt x="204" y="139"/>
                    <a:pt x="202" y="140"/>
                  </a:cubicBezTo>
                  <a:lnTo>
                    <a:pt x="168" y="159"/>
                  </a:lnTo>
                  <a:lnTo>
                    <a:pt x="174" y="173"/>
                  </a:lnTo>
                  <a:lnTo>
                    <a:pt x="361" y="152"/>
                  </a:lnTo>
                  <a:cubicBezTo>
                    <a:pt x="363" y="152"/>
                    <a:pt x="365" y="153"/>
                    <a:pt x="366" y="156"/>
                  </a:cubicBezTo>
                  <a:lnTo>
                    <a:pt x="374" y="198"/>
                  </a:lnTo>
                  <a:lnTo>
                    <a:pt x="336" y="285"/>
                  </a:lnTo>
                  <a:lnTo>
                    <a:pt x="302" y="341"/>
                  </a:lnTo>
                  <a:cubicBezTo>
                    <a:pt x="301" y="342"/>
                    <a:pt x="300" y="343"/>
                    <a:pt x="298" y="343"/>
                  </a:cubicBezTo>
                  <a:lnTo>
                    <a:pt x="280" y="346"/>
                  </a:lnTo>
                  <a:lnTo>
                    <a:pt x="301" y="378"/>
                  </a:lnTo>
                  <a:cubicBezTo>
                    <a:pt x="302" y="379"/>
                    <a:pt x="302" y="381"/>
                    <a:pt x="302" y="382"/>
                  </a:cubicBezTo>
                  <a:cubicBezTo>
                    <a:pt x="302" y="383"/>
                    <a:pt x="301" y="384"/>
                    <a:pt x="300" y="385"/>
                  </a:cubicBezTo>
                  <a:lnTo>
                    <a:pt x="264" y="406"/>
                  </a:lnTo>
                  <a:lnTo>
                    <a:pt x="302" y="406"/>
                  </a:lnTo>
                  <a:lnTo>
                    <a:pt x="389" y="474"/>
                  </a:lnTo>
                  <a:lnTo>
                    <a:pt x="428" y="606"/>
                  </a:lnTo>
                  <a:lnTo>
                    <a:pt x="469" y="622"/>
                  </a:lnTo>
                  <a:lnTo>
                    <a:pt x="534" y="730"/>
                  </a:lnTo>
                  <a:lnTo>
                    <a:pt x="535" y="762"/>
                  </a:lnTo>
                  <a:cubicBezTo>
                    <a:pt x="535" y="763"/>
                    <a:pt x="534" y="765"/>
                    <a:pt x="533" y="765"/>
                  </a:cubicBezTo>
                  <a:cubicBezTo>
                    <a:pt x="532" y="766"/>
                    <a:pt x="531" y="766"/>
                    <a:pt x="530" y="766"/>
                  </a:cubicBezTo>
                  <a:lnTo>
                    <a:pt x="529" y="766"/>
                  </a:lnTo>
                  <a:lnTo>
                    <a:pt x="508" y="758"/>
                  </a:lnTo>
                  <a:lnTo>
                    <a:pt x="551" y="801"/>
                  </a:lnTo>
                  <a:cubicBezTo>
                    <a:pt x="552" y="802"/>
                    <a:pt x="552" y="804"/>
                    <a:pt x="552" y="806"/>
                  </a:cubicBezTo>
                  <a:lnTo>
                    <a:pt x="530" y="858"/>
                  </a:lnTo>
                  <a:lnTo>
                    <a:pt x="624" y="846"/>
                  </a:lnTo>
                  <a:cubicBezTo>
                    <a:pt x="625" y="846"/>
                    <a:pt x="626" y="846"/>
                    <a:pt x="627" y="847"/>
                  </a:cubicBezTo>
                  <a:lnTo>
                    <a:pt x="661" y="877"/>
                  </a:lnTo>
                  <a:cubicBezTo>
                    <a:pt x="662" y="877"/>
                    <a:pt x="662" y="879"/>
                    <a:pt x="662" y="880"/>
                  </a:cubicBezTo>
                  <a:lnTo>
                    <a:pt x="658" y="961"/>
                  </a:lnTo>
                  <a:cubicBezTo>
                    <a:pt x="658" y="962"/>
                    <a:pt x="657" y="963"/>
                    <a:pt x="657" y="964"/>
                  </a:cubicBezTo>
                  <a:lnTo>
                    <a:pt x="575" y="1046"/>
                  </a:lnTo>
                  <a:lnTo>
                    <a:pt x="584" y="1062"/>
                  </a:lnTo>
                  <a:lnTo>
                    <a:pt x="637" y="1066"/>
                  </a:lnTo>
                  <a:cubicBezTo>
                    <a:pt x="638" y="1066"/>
                    <a:pt x="640" y="1067"/>
                    <a:pt x="641" y="1069"/>
                  </a:cubicBezTo>
                  <a:cubicBezTo>
                    <a:pt x="642" y="1070"/>
                    <a:pt x="641" y="1072"/>
                    <a:pt x="640" y="1073"/>
                  </a:cubicBezTo>
                  <a:lnTo>
                    <a:pt x="602" y="1120"/>
                  </a:lnTo>
                  <a:lnTo>
                    <a:pt x="455" y="1151"/>
                  </a:lnTo>
                  <a:lnTo>
                    <a:pt x="405" y="1131"/>
                  </a:lnTo>
                  <a:lnTo>
                    <a:pt x="390" y="1153"/>
                  </a:lnTo>
                  <a:lnTo>
                    <a:pt x="316" y="1176"/>
                  </a:lnTo>
                  <a:cubicBezTo>
                    <a:pt x="315" y="1177"/>
                    <a:pt x="315" y="1177"/>
                    <a:pt x="315" y="1177"/>
                  </a:cubicBezTo>
                  <a:cubicBezTo>
                    <a:pt x="313" y="1177"/>
                    <a:pt x="312" y="1176"/>
                    <a:pt x="311" y="1175"/>
                  </a:cubicBezTo>
                  <a:lnTo>
                    <a:pt x="288" y="1152"/>
                  </a:lnTo>
                  <a:lnTo>
                    <a:pt x="237" y="1163"/>
                  </a:lnTo>
                  <a:lnTo>
                    <a:pt x="217" y="1212"/>
                  </a:lnTo>
                  <a:cubicBezTo>
                    <a:pt x="217" y="1214"/>
                    <a:pt x="215" y="1215"/>
                    <a:pt x="213" y="1215"/>
                  </a:cubicBezTo>
                  <a:lnTo>
                    <a:pt x="130" y="1202"/>
                  </a:lnTo>
                  <a:lnTo>
                    <a:pt x="93" y="1243"/>
                  </a:lnTo>
                  <a:cubicBezTo>
                    <a:pt x="93" y="1244"/>
                    <a:pt x="91" y="1244"/>
                    <a:pt x="90" y="1244"/>
                  </a:cubicBezTo>
                  <a:lnTo>
                    <a:pt x="56" y="1244"/>
                  </a:lnTo>
                  <a:close/>
                  <a:moveTo>
                    <a:pt x="77" y="432"/>
                  </a:moveTo>
                  <a:lnTo>
                    <a:pt x="77" y="431"/>
                  </a:lnTo>
                  <a:lnTo>
                    <a:pt x="83" y="397"/>
                  </a:lnTo>
                  <a:lnTo>
                    <a:pt x="70" y="411"/>
                  </a:lnTo>
                  <a:lnTo>
                    <a:pt x="77" y="432"/>
                  </a:lnTo>
                  <a:close/>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1" name="Freeform 446"/>
            <p:cNvSpPr>
              <a:spLocks noChangeArrowheads="1"/>
            </p:cNvSpPr>
            <p:nvPr/>
          </p:nvSpPr>
          <p:spPr bwMode="auto">
            <a:xfrm>
              <a:off x="4056063" y="1558925"/>
              <a:ext cx="238125" cy="447675"/>
            </a:xfrm>
            <a:custGeom>
              <a:avLst/>
              <a:gdLst/>
              <a:ahLst/>
              <a:cxnLst>
                <a:cxn ang="0">
                  <a:pos x="53" y="1237"/>
                </a:cxn>
                <a:cxn ang="0">
                  <a:pos x="266" y="1079"/>
                </a:cxn>
                <a:cxn ang="0">
                  <a:pos x="234" y="1067"/>
                </a:cxn>
                <a:cxn ang="0">
                  <a:pos x="163" y="1037"/>
                </a:cxn>
                <a:cxn ang="0">
                  <a:pos x="147" y="1013"/>
                </a:cxn>
                <a:cxn ang="0">
                  <a:pos x="99" y="1031"/>
                </a:cxn>
                <a:cxn ang="0">
                  <a:pos x="79" y="995"/>
                </a:cxn>
                <a:cxn ang="0">
                  <a:pos x="172" y="856"/>
                </a:cxn>
                <a:cxn ang="0">
                  <a:pos x="124" y="865"/>
                </a:cxn>
                <a:cxn ang="0">
                  <a:pos x="268" y="783"/>
                </a:cxn>
                <a:cxn ang="0">
                  <a:pos x="278" y="739"/>
                </a:cxn>
                <a:cxn ang="0">
                  <a:pos x="264" y="730"/>
                </a:cxn>
                <a:cxn ang="0">
                  <a:pos x="251" y="694"/>
                </a:cxn>
                <a:cxn ang="0">
                  <a:pos x="209" y="632"/>
                </a:cxn>
                <a:cxn ang="0">
                  <a:pos x="154" y="607"/>
                </a:cxn>
                <a:cxn ang="0">
                  <a:pos x="147" y="609"/>
                </a:cxn>
                <a:cxn ang="0">
                  <a:pos x="103" y="610"/>
                </a:cxn>
                <a:cxn ang="0">
                  <a:pos x="82" y="569"/>
                </a:cxn>
                <a:cxn ang="0">
                  <a:pos x="99" y="562"/>
                </a:cxn>
                <a:cxn ang="0">
                  <a:pos x="111" y="455"/>
                </a:cxn>
                <a:cxn ang="0">
                  <a:pos x="85" y="435"/>
                </a:cxn>
                <a:cxn ang="0">
                  <a:pos x="77" y="434"/>
                </a:cxn>
                <a:cxn ang="0">
                  <a:pos x="43" y="514"/>
                </a:cxn>
                <a:cxn ang="0">
                  <a:pos x="35" y="511"/>
                </a:cxn>
                <a:cxn ang="0">
                  <a:pos x="43" y="347"/>
                </a:cxn>
                <a:cxn ang="0">
                  <a:pos x="1" y="304"/>
                </a:cxn>
                <a:cxn ang="0">
                  <a:pos x="55" y="218"/>
                </a:cxn>
                <a:cxn ang="0">
                  <a:pos x="30" y="178"/>
                </a:cxn>
                <a:cxn ang="0">
                  <a:pos x="35" y="136"/>
                </a:cxn>
                <a:cxn ang="0">
                  <a:pos x="61" y="96"/>
                </a:cxn>
                <a:cxn ang="0">
                  <a:pos x="72" y="67"/>
                </a:cxn>
                <a:cxn ang="0">
                  <a:pos x="106" y="12"/>
                </a:cxn>
                <a:cxn ang="0">
                  <a:pos x="260" y="9"/>
                </a:cxn>
                <a:cxn ang="0">
                  <a:pos x="183" y="118"/>
                </a:cxn>
                <a:cxn ang="0">
                  <a:pos x="202" y="140"/>
                </a:cxn>
                <a:cxn ang="0">
                  <a:pos x="361" y="152"/>
                </a:cxn>
                <a:cxn ang="0">
                  <a:pos x="336" y="285"/>
                </a:cxn>
                <a:cxn ang="0">
                  <a:pos x="280" y="346"/>
                </a:cxn>
                <a:cxn ang="0">
                  <a:pos x="300" y="385"/>
                </a:cxn>
                <a:cxn ang="0">
                  <a:pos x="389" y="474"/>
                </a:cxn>
                <a:cxn ang="0">
                  <a:pos x="534" y="730"/>
                </a:cxn>
                <a:cxn ang="0">
                  <a:pos x="530" y="766"/>
                </a:cxn>
                <a:cxn ang="0">
                  <a:pos x="551" y="801"/>
                </a:cxn>
                <a:cxn ang="0">
                  <a:pos x="624" y="846"/>
                </a:cxn>
                <a:cxn ang="0">
                  <a:pos x="662" y="880"/>
                </a:cxn>
                <a:cxn ang="0">
                  <a:pos x="575" y="1046"/>
                </a:cxn>
                <a:cxn ang="0">
                  <a:pos x="641" y="1069"/>
                </a:cxn>
                <a:cxn ang="0">
                  <a:pos x="455" y="1151"/>
                </a:cxn>
                <a:cxn ang="0">
                  <a:pos x="316" y="1176"/>
                </a:cxn>
                <a:cxn ang="0">
                  <a:pos x="288" y="1152"/>
                </a:cxn>
                <a:cxn ang="0">
                  <a:pos x="213" y="1215"/>
                </a:cxn>
                <a:cxn ang="0">
                  <a:pos x="90" y="1244"/>
                </a:cxn>
              </a:cxnLst>
              <a:rect l="0" t="0" r="r" b="b"/>
              <a:pathLst>
                <a:path w="663" h="1245">
                  <a:moveTo>
                    <a:pt x="56" y="1244"/>
                  </a:moveTo>
                  <a:cubicBezTo>
                    <a:pt x="55" y="1244"/>
                    <a:pt x="53" y="1243"/>
                    <a:pt x="52" y="1242"/>
                  </a:cubicBezTo>
                  <a:cubicBezTo>
                    <a:pt x="51" y="1240"/>
                    <a:pt x="51" y="1238"/>
                    <a:pt x="53" y="1237"/>
                  </a:cubicBezTo>
                  <a:lnTo>
                    <a:pt x="171" y="1089"/>
                  </a:lnTo>
                  <a:cubicBezTo>
                    <a:pt x="172" y="1088"/>
                    <a:pt x="173" y="1087"/>
                    <a:pt x="175" y="1087"/>
                  </a:cubicBezTo>
                  <a:lnTo>
                    <a:pt x="266" y="1079"/>
                  </a:lnTo>
                  <a:lnTo>
                    <a:pt x="296" y="1037"/>
                  </a:lnTo>
                  <a:lnTo>
                    <a:pt x="236" y="1066"/>
                  </a:lnTo>
                  <a:cubicBezTo>
                    <a:pt x="236" y="1067"/>
                    <a:pt x="235" y="1067"/>
                    <a:pt x="234" y="1067"/>
                  </a:cubicBezTo>
                  <a:cubicBezTo>
                    <a:pt x="233" y="1067"/>
                    <a:pt x="232" y="1066"/>
                    <a:pt x="231" y="1065"/>
                  </a:cubicBezTo>
                  <a:lnTo>
                    <a:pt x="199" y="1029"/>
                  </a:lnTo>
                  <a:lnTo>
                    <a:pt x="163" y="1037"/>
                  </a:lnTo>
                  <a:cubicBezTo>
                    <a:pt x="163" y="1037"/>
                    <a:pt x="163" y="1037"/>
                    <a:pt x="162" y="1037"/>
                  </a:cubicBezTo>
                  <a:cubicBezTo>
                    <a:pt x="160" y="1037"/>
                    <a:pt x="159" y="1036"/>
                    <a:pt x="158" y="1034"/>
                  </a:cubicBezTo>
                  <a:lnTo>
                    <a:pt x="147" y="1013"/>
                  </a:lnTo>
                  <a:lnTo>
                    <a:pt x="105" y="1032"/>
                  </a:lnTo>
                  <a:cubicBezTo>
                    <a:pt x="104" y="1033"/>
                    <a:pt x="103" y="1033"/>
                    <a:pt x="103" y="1033"/>
                  </a:cubicBezTo>
                  <a:cubicBezTo>
                    <a:pt x="101" y="1033"/>
                    <a:pt x="100" y="1032"/>
                    <a:pt x="99" y="1031"/>
                  </a:cubicBezTo>
                  <a:lnTo>
                    <a:pt x="78" y="1001"/>
                  </a:lnTo>
                  <a:cubicBezTo>
                    <a:pt x="77" y="1000"/>
                    <a:pt x="77" y="999"/>
                    <a:pt x="77" y="998"/>
                  </a:cubicBezTo>
                  <a:cubicBezTo>
                    <a:pt x="77" y="996"/>
                    <a:pt x="78" y="995"/>
                    <a:pt x="79" y="995"/>
                  </a:cubicBezTo>
                  <a:lnTo>
                    <a:pt x="172" y="935"/>
                  </a:lnTo>
                  <a:lnTo>
                    <a:pt x="187" y="905"/>
                  </a:lnTo>
                  <a:lnTo>
                    <a:pt x="172" y="856"/>
                  </a:lnTo>
                  <a:lnTo>
                    <a:pt x="129" y="868"/>
                  </a:lnTo>
                  <a:lnTo>
                    <a:pt x="129" y="868"/>
                  </a:lnTo>
                  <a:cubicBezTo>
                    <a:pt x="127" y="868"/>
                    <a:pt x="125" y="867"/>
                    <a:pt x="124" y="865"/>
                  </a:cubicBezTo>
                  <a:cubicBezTo>
                    <a:pt x="123" y="863"/>
                    <a:pt x="123" y="861"/>
                    <a:pt x="125" y="860"/>
                  </a:cubicBezTo>
                  <a:lnTo>
                    <a:pt x="201" y="792"/>
                  </a:lnTo>
                  <a:lnTo>
                    <a:pt x="268" y="783"/>
                  </a:lnTo>
                  <a:lnTo>
                    <a:pt x="264" y="777"/>
                  </a:lnTo>
                  <a:cubicBezTo>
                    <a:pt x="263" y="775"/>
                    <a:pt x="263" y="774"/>
                    <a:pt x="264" y="772"/>
                  </a:cubicBezTo>
                  <a:lnTo>
                    <a:pt x="278" y="739"/>
                  </a:lnTo>
                  <a:lnTo>
                    <a:pt x="267" y="736"/>
                  </a:lnTo>
                  <a:cubicBezTo>
                    <a:pt x="266" y="736"/>
                    <a:pt x="264" y="735"/>
                    <a:pt x="264" y="734"/>
                  </a:cubicBezTo>
                  <a:cubicBezTo>
                    <a:pt x="263" y="733"/>
                    <a:pt x="263" y="731"/>
                    <a:pt x="264" y="730"/>
                  </a:cubicBezTo>
                  <a:lnTo>
                    <a:pt x="284" y="678"/>
                  </a:lnTo>
                  <a:lnTo>
                    <a:pt x="253" y="694"/>
                  </a:lnTo>
                  <a:cubicBezTo>
                    <a:pt x="252" y="694"/>
                    <a:pt x="252" y="694"/>
                    <a:pt x="251" y="694"/>
                  </a:cubicBezTo>
                  <a:cubicBezTo>
                    <a:pt x="249" y="694"/>
                    <a:pt x="248" y="694"/>
                    <a:pt x="247" y="692"/>
                  </a:cubicBezTo>
                  <a:lnTo>
                    <a:pt x="209" y="637"/>
                  </a:lnTo>
                  <a:cubicBezTo>
                    <a:pt x="208" y="636"/>
                    <a:pt x="208" y="634"/>
                    <a:pt x="209" y="632"/>
                  </a:cubicBezTo>
                  <a:lnTo>
                    <a:pt x="249" y="573"/>
                  </a:lnTo>
                  <a:lnTo>
                    <a:pt x="161" y="588"/>
                  </a:lnTo>
                  <a:lnTo>
                    <a:pt x="154" y="607"/>
                  </a:lnTo>
                  <a:cubicBezTo>
                    <a:pt x="153" y="608"/>
                    <a:pt x="152" y="609"/>
                    <a:pt x="151" y="610"/>
                  </a:cubicBezTo>
                  <a:cubicBezTo>
                    <a:pt x="150" y="610"/>
                    <a:pt x="150" y="610"/>
                    <a:pt x="150" y="610"/>
                  </a:cubicBezTo>
                  <a:cubicBezTo>
                    <a:pt x="148" y="610"/>
                    <a:pt x="147" y="609"/>
                    <a:pt x="147" y="609"/>
                  </a:cubicBezTo>
                  <a:lnTo>
                    <a:pt x="117" y="587"/>
                  </a:lnTo>
                  <a:lnTo>
                    <a:pt x="107" y="607"/>
                  </a:lnTo>
                  <a:cubicBezTo>
                    <a:pt x="106" y="609"/>
                    <a:pt x="105" y="610"/>
                    <a:pt x="103" y="610"/>
                  </a:cubicBezTo>
                  <a:lnTo>
                    <a:pt x="103" y="610"/>
                  </a:lnTo>
                  <a:cubicBezTo>
                    <a:pt x="101" y="610"/>
                    <a:pt x="99" y="609"/>
                    <a:pt x="98" y="607"/>
                  </a:cubicBezTo>
                  <a:lnTo>
                    <a:pt x="82" y="569"/>
                  </a:lnTo>
                  <a:cubicBezTo>
                    <a:pt x="81" y="567"/>
                    <a:pt x="81" y="566"/>
                    <a:pt x="82" y="564"/>
                  </a:cubicBezTo>
                  <a:cubicBezTo>
                    <a:pt x="83" y="563"/>
                    <a:pt x="84" y="562"/>
                    <a:pt x="86" y="562"/>
                  </a:cubicBezTo>
                  <a:lnTo>
                    <a:pt x="99" y="562"/>
                  </a:lnTo>
                  <a:lnTo>
                    <a:pt x="124" y="489"/>
                  </a:lnTo>
                  <a:lnTo>
                    <a:pt x="111" y="459"/>
                  </a:lnTo>
                  <a:cubicBezTo>
                    <a:pt x="111" y="458"/>
                    <a:pt x="111" y="456"/>
                    <a:pt x="111" y="455"/>
                  </a:cubicBezTo>
                  <a:lnTo>
                    <a:pt x="123" y="425"/>
                  </a:lnTo>
                  <a:lnTo>
                    <a:pt x="107" y="412"/>
                  </a:lnTo>
                  <a:lnTo>
                    <a:pt x="85" y="435"/>
                  </a:lnTo>
                  <a:cubicBezTo>
                    <a:pt x="84" y="436"/>
                    <a:pt x="83" y="436"/>
                    <a:pt x="82" y="436"/>
                  </a:cubicBezTo>
                  <a:cubicBezTo>
                    <a:pt x="81" y="436"/>
                    <a:pt x="80" y="436"/>
                    <a:pt x="79" y="436"/>
                  </a:cubicBezTo>
                  <a:cubicBezTo>
                    <a:pt x="79" y="435"/>
                    <a:pt x="78" y="435"/>
                    <a:pt x="77" y="434"/>
                  </a:cubicBezTo>
                  <a:lnTo>
                    <a:pt x="82" y="447"/>
                  </a:lnTo>
                  <a:cubicBezTo>
                    <a:pt x="82" y="448"/>
                    <a:pt x="82" y="450"/>
                    <a:pt x="81" y="451"/>
                  </a:cubicBezTo>
                  <a:lnTo>
                    <a:pt x="43" y="514"/>
                  </a:lnTo>
                  <a:cubicBezTo>
                    <a:pt x="42" y="516"/>
                    <a:pt x="41" y="517"/>
                    <a:pt x="39" y="517"/>
                  </a:cubicBezTo>
                  <a:cubicBezTo>
                    <a:pt x="39" y="517"/>
                    <a:pt x="38" y="517"/>
                    <a:pt x="37" y="516"/>
                  </a:cubicBezTo>
                  <a:cubicBezTo>
                    <a:pt x="35" y="516"/>
                    <a:pt x="34" y="513"/>
                    <a:pt x="35" y="511"/>
                  </a:cubicBezTo>
                  <a:lnTo>
                    <a:pt x="75" y="331"/>
                  </a:lnTo>
                  <a:lnTo>
                    <a:pt x="46" y="347"/>
                  </a:lnTo>
                  <a:cubicBezTo>
                    <a:pt x="45" y="347"/>
                    <a:pt x="44" y="347"/>
                    <a:pt x="43" y="347"/>
                  </a:cubicBezTo>
                  <a:cubicBezTo>
                    <a:pt x="42" y="347"/>
                    <a:pt x="41" y="347"/>
                    <a:pt x="40" y="346"/>
                  </a:cubicBezTo>
                  <a:lnTo>
                    <a:pt x="2" y="308"/>
                  </a:lnTo>
                  <a:cubicBezTo>
                    <a:pt x="1" y="307"/>
                    <a:pt x="0" y="305"/>
                    <a:pt x="1" y="304"/>
                  </a:cubicBezTo>
                  <a:cubicBezTo>
                    <a:pt x="1" y="302"/>
                    <a:pt x="2" y="301"/>
                    <a:pt x="4" y="300"/>
                  </a:cubicBezTo>
                  <a:lnTo>
                    <a:pt x="31" y="292"/>
                  </a:lnTo>
                  <a:lnTo>
                    <a:pt x="55" y="218"/>
                  </a:lnTo>
                  <a:lnTo>
                    <a:pt x="33" y="207"/>
                  </a:lnTo>
                  <a:cubicBezTo>
                    <a:pt x="31" y="207"/>
                    <a:pt x="30" y="205"/>
                    <a:pt x="30" y="203"/>
                  </a:cubicBezTo>
                  <a:lnTo>
                    <a:pt x="30" y="178"/>
                  </a:lnTo>
                  <a:cubicBezTo>
                    <a:pt x="30" y="175"/>
                    <a:pt x="32" y="173"/>
                    <a:pt x="35" y="173"/>
                  </a:cubicBezTo>
                  <a:lnTo>
                    <a:pt x="42" y="173"/>
                  </a:lnTo>
                  <a:lnTo>
                    <a:pt x="35" y="136"/>
                  </a:lnTo>
                  <a:cubicBezTo>
                    <a:pt x="34" y="134"/>
                    <a:pt x="35" y="132"/>
                    <a:pt x="37" y="131"/>
                  </a:cubicBezTo>
                  <a:lnTo>
                    <a:pt x="74" y="113"/>
                  </a:lnTo>
                  <a:lnTo>
                    <a:pt x="61" y="96"/>
                  </a:lnTo>
                  <a:cubicBezTo>
                    <a:pt x="60" y="95"/>
                    <a:pt x="60" y="93"/>
                    <a:pt x="60" y="91"/>
                  </a:cubicBezTo>
                  <a:lnTo>
                    <a:pt x="69" y="70"/>
                  </a:lnTo>
                  <a:cubicBezTo>
                    <a:pt x="69" y="69"/>
                    <a:pt x="71" y="68"/>
                    <a:pt x="72" y="67"/>
                  </a:cubicBezTo>
                  <a:lnTo>
                    <a:pt x="86" y="64"/>
                  </a:lnTo>
                  <a:lnTo>
                    <a:pt x="103" y="16"/>
                  </a:lnTo>
                  <a:cubicBezTo>
                    <a:pt x="103" y="14"/>
                    <a:pt x="105" y="13"/>
                    <a:pt x="106" y="12"/>
                  </a:cubicBezTo>
                  <a:lnTo>
                    <a:pt x="242" y="0"/>
                  </a:lnTo>
                  <a:lnTo>
                    <a:pt x="257" y="4"/>
                  </a:lnTo>
                  <a:cubicBezTo>
                    <a:pt x="259" y="5"/>
                    <a:pt x="260" y="7"/>
                    <a:pt x="260" y="9"/>
                  </a:cubicBezTo>
                  <a:lnTo>
                    <a:pt x="260" y="51"/>
                  </a:lnTo>
                  <a:cubicBezTo>
                    <a:pt x="260" y="52"/>
                    <a:pt x="259" y="54"/>
                    <a:pt x="258" y="54"/>
                  </a:cubicBezTo>
                  <a:lnTo>
                    <a:pt x="183" y="118"/>
                  </a:lnTo>
                  <a:lnTo>
                    <a:pt x="203" y="132"/>
                  </a:lnTo>
                  <a:cubicBezTo>
                    <a:pt x="204" y="132"/>
                    <a:pt x="205" y="134"/>
                    <a:pt x="205" y="136"/>
                  </a:cubicBezTo>
                  <a:cubicBezTo>
                    <a:pt x="205" y="137"/>
                    <a:pt x="204" y="139"/>
                    <a:pt x="202" y="140"/>
                  </a:cubicBezTo>
                  <a:lnTo>
                    <a:pt x="168" y="159"/>
                  </a:lnTo>
                  <a:lnTo>
                    <a:pt x="174" y="173"/>
                  </a:lnTo>
                  <a:lnTo>
                    <a:pt x="361" y="152"/>
                  </a:lnTo>
                  <a:cubicBezTo>
                    <a:pt x="363" y="152"/>
                    <a:pt x="365" y="153"/>
                    <a:pt x="366" y="156"/>
                  </a:cubicBezTo>
                  <a:lnTo>
                    <a:pt x="374" y="198"/>
                  </a:lnTo>
                  <a:lnTo>
                    <a:pt x="336" y="285"/>
                  </a:lnTo>
                  <a:lnTo>
                    <a:pt x="302" y="341"/>
                  </a:lnTo>
                  <a:cubicBezTo>
                    <a:pt x="301" y="342"/>
                    <a:pt x="300" y="343"/>
                    <a:pt x="298" y="343"/>
                  </a:cubicBezTo>
                  <a:lnTo>
                    <a:pt x="280" y="346"/>
                  </a:lnTo>
                  <a:lnTo>
                    <a:pt x="301" y="378"/>
                  </a:lnTo>
                  <a:cubicBezTo>
                    <a:pt x="302" y="379"/>
                    <a:pt x="302" y="381"/>
                    <a:pt x="302" y="382"/>
                  </a:cubicBezTo>
                  <a:cubicBezTo>
                    <a:pt x="302" y="383"/>
                    <a:pt x="301" y="384"/>
                    <a:pt x="300" y="385"/>
                  </a:cubicBezTo>
                  <a:lnTo>
                    <a:pt x="264" y="406"/>
                  </a:lnTo>
                  <a:lnTo>
                    <a:pt x="302" y="406"/>
                  </a:lnTo>
                  <a:lnTo>
                    <a:pt x="389" y="474"/>
                  </a:lnTo>
                  <a:lnTo>
                    <a:pt x="428" y="606"/>
                  </a:lnTo>
                  <a:lnTo>
                    <a:pt x="469" y="622"/>
                  </a:lnTo>
                  <a:lnTo>
                    <a:pt x="534" y="730"/>
                  </a:lnTo>
                  <a:lnTo>
                    <a:pt x="535" y="762"/>
                  </a:lnTo>
                  <a:cubicBezTo>
                    <a:pt x="535" y="763"/>
                    <a:pt x="534" y="765"/>
                    <a:pt x="533" y="765"/>
                  </a:cubicBezTo>
                  <a:cubicBezTo>
                    <a:pt x="532" y="766"/>
                    <a:pt x="531" y="766"/>
                    <a:pt x="530" y="766"/>
                  </a:cubicBezTo>
                  <a:lnTo>
                    <a:pt x="529" y="766"/>
                  </a:lnTo>
                  <a:lnTo>
                    <a:pt x="508" y="758"/>
                  </a:lnTo>
                  <a:lnTo>
                    <a:pt x="551" y="801"/>
                  </a:lnTo>
                  <a:cubicBezTo>
                    <a:pt x="552" y="802"/>
                    <a:pt x="552" y="804"/>
                    <a:pt x="552" y="806"/>
                  </a:cubicBezTo>
                  <a:lnTo>
                    <a:pt x="530" y="858"/>
                  </a:lnTo>
                  <a:lnTo>
                    <a:pt x="624" y="846"/>
                  </a:lnTo>
                  <a:cubicBezTo>
                    <a:pt x="625" y="846"/>
                    <a:pt x="626" y="846"/>
                    <a:pt x="627" y="847"/>
                  </a:cubicBezTo>
                  <a:lnTo>
                    <a:pt x="661" y="877"/>
                  </a:lnTo>
                  <a:cubicBezTo>
                    <a:pt x="662" y="877"/>
                    <a:pt x="662" y="879"/>
                    <a:pt x="662" y="880"/>
                  </a:cubicBezTo>
                  <a:lnTo>
                    <a:pt x="658" y="961"/>
                  </a:lnTo>
                  <a:cubicBezTo>
                    <a:pt x="658" y="962"/>
                    <a:pt x="657" y="963"/>
                    <a:pt x="657" y="964"/>
                  </a:cubicBezTo>
                  <a:lnTo>
                    <a:pt x="575" y="1046"/>
                  </a:lnTo>
                  <a:lnTo>
                    <a:pt x="584" y="1062"/>
                  </a:lnTo>
                  <a:lnTo>
                    <a:pt x="637" y="1066"/>
                  </a:lnTo>
                  <a:cubicBezTo>
                    <a:pt x="638" y="1066"/>
                    <a:pt x="640" y="1067"/>
                    <a:pt x="641" y="1069"/>
                  </a:cubicBezTo>
                  <a:cubicBezTo>
                    <a:pt x="642" y="1070"/>
                    <a:pt x="641" y="1072"/>
                    <a:pt x="640" y="1073"/>
                  </a:cubicBezTo>
                  <a:lnTo>
                    <a:pt x="602" y="1120"/>
                  </a:lnTo>
                  <a:lnTo>
                    <a:pt x="455" y="1151"/>
                  </a:lnTo>
                  <a:lnTo>
                    <a:pt x="405" y="1131"/>
                  </a:lnTo>
                  <a:lnTo>
                    <a:pt x="390" y="1153"/>
                  </a:lnTo>
                  <a:lnTo>
                    <a:pt x="316" y="1176"/>
                  </a:lnTo>
                  <a:cubicBezTo>
                    <a:pt x="315" y="1177"/>
                    <a:pt x="315" y="1177"/>
                    <a:pt x="315" y="1177"/>
                  </a:cubicBezTo>
                  <a:cubicBezTo>
                    <a:pt x="313" y="1177"/>
                    <a:pt x="312" y="1176"/>
                    <a:pt x="311" y="1175"/>
                  </a:cubicBezTo>
                  <a:lnTo>
                    <a:pt x="288" y="1152"/>
                  </a:lnTo>
                  <a:lnTo>
                    <a:pt x="237" y="1163"/>
                  </a:lnTo>
                  <a:lnTo>
                    <a:pt x="217" y="1212"/>
                  </a:lnTo>
                  <a:cubicBezTo>
                    <a:pt x="217" y="1214"/>
                    <a:pt x="215" y="1215"/>
                    <a:pt x="213" y="1215"/>
                  </a:cubicBezTo>
                  <a:lnTo>
                    <a:pt x="130" y="1202"/>
                  </a:lnTo>
                  <a:lnTo>
                    <a:pt x="93" y="1243"/>
                  </a:lnTo>
                  <a:cubicBezTo>
                    <a:pt x="93" y="1244"/>
                    <a:pt x="91" y="1244"/>
                    <a:pt x="90" y="1244"/>
                  </a:cubicBezTo>
                  <a:lnTo>
                    <a:pt x="56" y="124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2" name="Freeform 447"/>
            <p:cNvSpPr>
              <a:spLocks noChangeArrowheads="1"/>
            </p:cNvSpPr>
            <p:nvPr/>
          </p:nvSpPr>
          <p:spPr bwMode="auto">
            <a:xfrm>
              <a:off x="4079875" y="1701800"/>
              <a:ext cx="4763" cy="12700"/>
            </a:xfrm>
            <a:custGeom>
              <a:avLst/>
              <a:gdLst/>
              <a:ahLst/>
              <a:cxnLst>
                <a:cxn ang="0">
                  <a:pos x="7" y="35"/>
                </a:cxn>
                <a:cxn ang="0">
                  <a:pos x="0" y="14"/>
                </a:cxn>
                <a:cxn ang="0">
                  <a:pos x="13" y="0"/>
                </a:cxn>
                <a:cxn ang="0">
                  <a:pos x="7" y="34"/>
                </a:cxn>
                <a:cxn ang="0">
                  <a:pos x="7" y="35"/>
                </a:cxn>
              </a:cxnLst>
              <a:rect l="0" t="0" r="r" b="b"/>
              <a:pathLst>
                <a:path w="14" h="36">
                  <a:moveTo>
                    <a:pt x="7" y="35"/>
                  </a:moveTo>
                  <a:lnTo>
                    <a:pt x="0" y="14"/>
                  </a:lnTo>
                  <a:lnTo>
                    <a:pt x="13" y="0"/>
                  </a:lnTo>
                  <a:lnTo>
                    <a:pt x="7" y="34"/>
                  </a:lnTo>
                  <a:lnTo>
                    <a:pt x="7" y="3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3" name="Freeform 448"/>
            <p:cNvSpPr>
              <a:spLocks noChangeArrowheads="1"/>
            </p:cNvSpPr>
            <p:nvPr/>
          </p:nvSpPr>
          <p:spPr bwMode="auto">
            <a:xfrm>
              <a:off x="4029075" y="1568450"/>
              <a:ext cx="28575" cy="41275"/>
            </a:xfrm>
            <a:custGeom>
              <a:avLst/>
              <a:gdLst/>
              <a:ahLst/>
              <a:cxnLst>
                <a:cxn ang="0">
                  <a:pos x="2" y="115"/>
                </a:cxn>
                <a:cxn ang="0">
                  <a:pos x="0" y="111"/>
                </a:cxn>
                <a:cxn ang="0">
                  <a:pos x="0" y="43"/>
                </a:cxn>
                <a:cxn ang="0">
                  <a:pos x="2" y="39"/>
                </a:cxn>
                <a:cxn ang="0">
                  <a:pos x="66" y="1"/>
                </a:cxn>
                <a:cxn ang="0">
                  <a:pos x="68" y="0"/>
                </a:cxn>
                <a:cxn ang="0">
                  <a:pos x="70" y="1"/>
                </a:cxn>
                <a:cxn ang="0">
                  <a:pos x="73" y="4"/>
                </a:cxn>
                <a:cxn ang="0">
                  <a:pos x="77" y="38"/>
                </a:cxn>
                <a:cxn ang="0">
                  <a:pos x="75" y="42"/>
                </a:cxn>
                <a:cxn ang="0">
                  <a:pos x="57" y="57"/>
                </a:cxn>
                <a:cxn ang="0">
                  <a:pos x="64" y="70"/>
                </a:cxn>
                <a:cxn ang="0">
                  <a:pos x="62" y="76"/>
                </a:cxn>
                <a:cxn ang="0">
                  <a:pos x="7" y="115"/>
                </a:cxn>
                <a:cxn ang="0">
                  <a:pos x="4" y="115"/>
                </a:cxn>
                <a:cxn ang="0">
                  <a:pos x="2" y="115"/>
                </a:cxn>
              </a:cxnLst>
              <a:rect l="0" t="0" r="r" b="b"/>
              <a:pathLst>
                <a:path w="78" h="116">
                  <a:moveTo>
                    <a:pt x="2" y="115"/>
                  </a:moveTo>
                  <a:cubicBezTo>
                    <a:pt x="1" y="114"/>
                    <a:pt x="0" y="112"/>
                    <a:pt x="0" y="111"/>
                  </a:cubicBezTo>
                  <a:lnTo>
                    <a:pt x="0" y="43"/>
                  </a:lnTo>
                  <a:cubicBezTo>
                    <a:pt x="0" y="41"/>
                    <a:pt x="0" y="40"/>
                    <a:pt x="2" y="39"/>
                  </a:cubicBezTo>
                  <a:lnTo>
                    <a:pt x="66" y="1"/>
                  </a:lnTo>
                  <a:cubicBezTo>
                    <a:pt x="66" y="0"/>
                    <a:pt x="67" y="0"/>
                    <a:pt x="68" y="0"/>
                  </a:cubicBezTo>
                  <a:cubicBezTo>
                    <a:pt x="69" y="0"/>
                    <a:pt x="69" y="0"/>
                    <a:pt x="70" y="1"/>
                  </a:cubicBezTo>
                  <a:cubicBezTo>
                    <a:pt x="71" y="1"/>
                    <a:pt x="73" y="3"/>
                    <a:pt x="73" y="4"/>
                  </a:cubicBezTo>
                  <a:lnTo>
                    <a:pt x="77" y="38"/>
                  </a:lnTo>
                  <a:cubicBezTo>
                    <a:pt x="77" y="40"/>
                    <a:pt x="77" y="41"/>
                    <a:pt x="75" y="42"/>
                  </a:cubicBezTo>
                  <a:lnTo>
                    <a:pt x="57" y="57"/>
                  </a:lnTo>
                  <a:lnTo>
                    <a:pt x="64" y="70"/>
                  </a:lnTo>
                  <a:cubicBezTo>
                    <a:pt x="65" y="73"/>
                    <a:pt x="64" y="75"/>
                    <a:pt x="62" y="76"/>
                  </a:cubicBezTo>
                  <a:lnTo>
                    <a:pt x="7" y="115"/>
                  </a:lnTo>
                  <a:cubicBezTo>
                    <a:pt x="6" y="115"/>
                    <a:pt x="5" y="115"/>
                    <a:pt x="4" y="115"/>
                  </a:cubicBezTo>
                  <a:cubicBezTo>
                    <a:pt x="4" y="115"/>
                    <a:pt x="3" y="115"/>
                    <a:pt x="2" y="115"/>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4" name="Freeform 449"/>
            <p:cNvSpPr>
              <a:spLocks noChangeArrowheads="1"/>
            </p:cNvSpPr>
            <p:nvPr/>
          </p:nvSpPr>
          <p:spPr bwMode="auto">
            <a:xfrm>
              <a:off x="4029075" y="1568450"/>
              <a:ext cx="28575" cy="41275"/>
            </a:xfrm>
            <a:custGeom>
              <a:avLst/>
              <a:gdLst/>
              <a:ahLst/>
              <a:cxnLst>
                <a:cxn ang="0">
                  <a:pos x="4" y="115"/>
                </a:cxn>
                <a:cxn ang="0">
                  <a:pos x="2" y="115"/>
                </a:cxn>
                <a:cxn ang="0">
                  <a:pos x="0" y="111"/>
                </a:cxn>
                <a:cxn ang="0">
                  <a:pos x="0" y="43"/>
                </a:cxn>
                <a:cxn ang="0">
                  <a:pos x="2" y="39"/>
                </a:cxn>
                <a:cxn ang="0">
                  <a:pos x="66" y="1"/>
                </a:cxn>
                <a:cxn ang="0">
                  <a:pos x="68" y="0"/>
                </a:cxn>
                <a:cxn ang="0">
                  <a:pos x="70" y="1"/>
                </a:cxn>
                <a:cxn ang="0">
                  <a:pos x="73" y="4"/>
                </a:cxn>
                <a:cxn ang="0">
                  <a:pos x="77" y="38"/>
                </a:cxn>
                <a:cxn ang="0">
                  <a:pos x="75" y="42"/>
                </a:cxn>
                <a:cxn ang="0">
                  <a:pos x="57" y="57"/>
                </a:cxn>
                <a:cxn ang="0">
                  <a:pos x="64" y="70"/>
                </a:cxn>
                <a:cxn ang="0">
                  <a:pos x="62" y="76"/>
                </a:cxn>
                <a:cxn ang="0">
                  <a:pos x="7" y="115"/>
                </a:cxn>
                <a:cxn ang="0">
                  <a:pos x="4" y="115"/>
                </a:cxn>
              </a:cxnLst>
              <a:rect l="0" t="0" r="r" b="b"/>
              <a:pathLst>
                <a:path w="78" h="116">
                  <a:moveTo>
                    <a:pt x="4" y="115"/>
                  </a:moveTo>
                  <a:cubicBezTo>
                    <a:pt x="4" y="115"/>
                    <a:pt x="3" y="115"/>
                    <a:pt x="2" y="115"/>
                  </a:cubicBezTo>
                  <a:cubicBezTo>
                    <a:pt x="1" y="114"/>
                    <a:pt x="0" y="112"/>
                    <a:pt x="0" y="111"/>
                  </a:cubicBezTo>
                  <a:lnTo>
                    <a:pt x="0" y="43"/>
                  </a:lnTo>
                  <a:cubicBezTo>
                    <a:pt x="0" y="41"/>
                    <a:pt x="0" y="40"/>
                    <a:pt x="2" y="39"/>
                  </a:cubicBezTo>
                  <a:lnTo>
                    <a:pt x="66" y="1"/>
                  </a:lnTo>
                  <a:cubicBezTo>
                    <a:pt x="66" y="0"/>
                    <a:pt x="67" y="0"/>
                    <a:pt x="68" y="0"/>
                  </a:cubicBezTo>
                  <a:cubicBezTo>
                    <a:pt x="69" y="0"/>
                    <a:pt x="69" y="0"/>
                    <a:pt x="70" y="1"/>
                  </a:cubicBezTo>
                  <a:cubicBezTo>
                    <a:pt x="71" y="1"/>
                    <a:pt x="73" y="3"/>
                    <a:pt x="73" y="4"/>
                  </a:cubicBezTo>
                  <a:lnTo>
                    <a:pt x="77" y="38"/>
                  </a:lnTo>
                  <a:cubicBezTo>
                    <a:pt x="77" y="40"/>
                    <a:pt x="77" y="41"/>
                    <a:pt x="75" y="42"/>
                  </a:cubicBezTo>
                  <a:lnTo>
                    <a:pt x="57" y="57"/>
                  </a:lnTo>
                  <a:lnTo>
                    <a:pt x="64" y="70"/>
                  </a:lnTo>
                  <a:cubicBezTo>
                    <a:pt x="65" y="73"/>
                    <a:pt x="64" y="75"/>
                    <a:pt x="62" y="76"/>
                  </a:cubicBezTo>
                  <a:lnTo>
                    <a:pt x="7" y="115"/>
                  </a:lnTo>
                  <a:cubicBezTo>
                    <a:pt x="6" y="115"/>
                    <a:pt x="5" y="115"/>
                    <a:pt x="4" y="11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5" name="Freeform 450"/>
            <p:cNvSpPr>
              <a:spLocks noChangeArrowheads="1"/>
            </p:cNvSpPr>
            <p:nvPr/>
          </p:nvSpPr>
          <p:spPr bwMode="auto">
            <a:xfrm>
              <a:off x="8661400" y="2206625"/>
              <a:ext cx="58738" cy="46038"/>
            </a:xfrm>
            <a:custGeom>
              <a:avLst/>
              <a:gdLst/>
              <a:ahLst/>
              <a:cxnLst>
                <a:cxn ang="0">
                  <a:pos x="161" y="17"/>
                </a:cxn>
                <a:cxn ang="0">
                  <a:pos x="0" y="127"/>
                </a:cxn>
                <a:cxn ang="0">
                  <a:pos x="76" y="26"/>
                </a:cxn>
                <a:cxn ang="0">
                  <a:pos x="106" y="30"/>
                </a:cxn>
                <a:cxn ang="0">
                  <a:pos x="152" y="0"/>
                </a:cxn>
                <a:cxn ang="0">
                  <a:pos x="161" y="17"/>
                </a:cxn>
              </a:cxnLst>
              <a:rect l="0" t="0" r="r" b="b"/>
              <a:pathLst>
                <a:path w="162" h="128">
                  <a:moveTo>
                    <a:pt x="161" y="17"/>
                  </a:moveTo>
                  <a:lnTo>
                    <a:pt x="0" y="127"/>
                  </a:lnTo>
                  <a:lnTo>
                    <a:pt x="76" y="26"/>
                  </a:lnTo>
                  <a:lnTo>
                    <a:pt x="106" y="30"/>
                  </a:lnTo>
                  <a:lnTo>
                    <a:pt x="152" y="0"/>
                  </a:lnTo>
                  <a:lnTo>
                    <a:pt x="161" y="1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6" name="Freeform 451"/>
            <p:cNvSpPr>
              <a:spLocks noChangeArrowheads="1"/>
            </p:cNvSpPr>
            <p:nvPr/>
          </p:nvSpPr>
          <p:spPr bwMode="auto">
            <a:xfrm>
              <a:off x="8661400" y="2206625"/>
              <a:ext cx="58738" cy="46038"/>
            </a:xfrm>
            <a:custGeom>
              <a:avLst/>
              <a:gdLst/>
              <a:ahLst/>
              <a:cxnLst>
                <a:cxn ang="0">
                  <a:pos x="161" y="17"/>
                </a:cxn>
                <a:cxn ang="0">
                  <a:pos x="0" y="127"/>
                </a:cxn>
                <a:cxn ang="0">
                  <a:pos x="76" y="26"/>
                </a:cxn>
                <a:cxn ang="0">
                  <a:pos x="106" y="30"/>
                </a:cxn>
                <a:cxn ang="0">
                  <a:pos x="152" y="0"/>
                </a:cxn>
                <a:cxn ang="0">
                  <a:pos x="161" y="17"/>
                </a:cxn>
              </a:cxnLst>
              <a:rect l="0" t="0" r="r" b="b"/>
              <a:pathLst>
                <a:path w="162" h="128">
                  <a:moveTo>
                    <a:pt x="161" y="17"/>
                  </a:moveTo>
                  <a:lnTo>
                    <a:pt x="0" y="127"/>
                  </a:lnTo>
                  <a:lnTo>
                    <a:pt x="76" y="26"/>
                  </a:lnTo>
                  <a:lnTo>
                    <a:pt x="106" y="30"/>
                  </a:lnTo>
                  <a:lnTo>
                    <a:pt x="152" y="0"/>
                  </a:lnTo>
                  <a:lnTo>
                    <a:pt x="161" y="1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7" name="Freeform 452"/>
            <p:cNvSpPr>
              <a:spLocks noChangeArrowheads="1"/>
            </p:cNvSpPr>
            <p:nvPr/>
          </p:nvSpPr>
          <p:spPr bwMode="auto">
            <a:xfrm>
              <a:off x="8661400" y="2206625"/>
              <a:ext cx="58738" cy="46038"/>
            </a:xfrm>
            <a:custGeom>
              <a:avLst/>
              <a:gdLst/>
              <a:ahLst/>
              <a:cxnLst>
                <a:cxn ang="0">
                  <a:pos x="0" y="127"/>
                </a:cxn>
                <a:cxn ang="0">
                  <a:pos x="76" y="26"/>
                </a:cxn>
                <a:cxn ang="0">
                  <a:pos x="106" y="30"/>
                </a:cxn>
                <a:cxn ang="0">
                  <a:pos x="152" y="0"/>
                </a:cxn>
                <a:cxn ang="0">
                  <a:pos x="161" y="17"/>
                </a:cxn>
                <a:cxn ang="0">
                  <a:pos x="0" y="127"/>
                </a:cxn>
              </a:cxnLst>
              <a:rect l="0" t="0" r="r" b="b"/>
              <a:pathLst>
                <a:path w="162" h="128">
                  <a:moveTo>
                    <a:pt x="0" y="127"/>
                  </a:moveTo>
                  <a:lnTo>
                    <a:pt x="76" y="26"/>
                  </a:lnTo>
                  <a:lnTo>
                    <a:pt x="106" y="30"/>
                  </a:lnTo>
                  <a:lnTo>
                    <a:pt x="152" y="0"/>
                  </a:lnTo>
                  <a:lnTo>
                    <a:pt x="161" y="17"/>
                  </a:lnTo>
                  <a:lnTo>
                    <a:pt x="0" y="12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8" name="Freeform 453"/>
            <p:cNvSpPr>
              <a:spLocks noChangeArrowheads="1"/>
            </p:cNvSpPr>
            <p:nvPr/>
          </p:nvSpPr>
          <p:spPr bwMode="auto">
            <a:xfrm>
              <a:off x="8661400" y="2206625"/>
              <a:ext cx="58738" cy="46038"/>
            </a:xfrm>
            <a:custGeom>
              <a:avLst/>
              <a:gdLst/>
              <a:ahLst/>
              <a:cxnLst>
                <a:cxn ang="0">
                  <a:pos x="161" y="17"/>
                </a:cxn>
                <a:cxn ang="0">
                  <a:pos x="0" y="127"/>
                </a:cxn>
                <a:cxn ang="0">
                  <a:pos x="76" y="26"/>
                </a:cxn>
                <a:cxn ang="0">
                  <a:pos x="106" y="30"/>
                </a:cxn>
                <a:cxn ang="0">
                  <a:pos x="152" y="0"/>
                </a:cxn>
                <a:cxn ang="0">
                  <a:pos x="161" y="17"/>
                </a:cxn>
              </a:cxnLst>
              <a:rect l="0" t="0" r="r" b="b"/>
              <a:pathLst>
                <a:path w="162" h="128">
                  <a:moveTo>
                    <a:pt x="161" y="17"/>
                  </a:moveTo>
                  <a:lnTo>
                    <a:pt x="0" y="127"/>
                  </a:lnTo>
                  <a:lnTo>
                    <a:pt x="76" y="26"/>
                  </a:lnTo>
                  <a:lnTo>
                    <a:pt x="106" y="30"/>
                  </a:lnTo>
                  <a:lnTo>
                    <a:pt x="152" y="0"/>
                  </a:lnTo>
                  <a:lnTo>
                    <a:pt x="161" y="1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59" name="Freeform 454"/>
            <p:cNvSpPr>
              <a:spLocks noChangeArrowheads="1"/>
            </p:cNvSpPr>
            <p:nvPr/>
          </p:nvSpPr>
          <p:spPr bwMode="auto">
            <a:xfrm>
              <a:off x="8615363" y="2252663"/>
              <a:ext cx="26987" cy="31750"/>
            </a:xfrm>
            <a:custGeom>
              <a:avLst/>
              <a:gdLst/>
              <a:ahLst/>
              <a:cxnLst>
                <a:cxn ang="0">
                  <a:pos x="59" y="0"/>
                </a:cxn>
                <a:cxn ang="0">
                  <a:pos x="76" y="17"/>
                </a:cxn>
                <a:cxn ang="0">
                  <a:pos x="4" y="89"/>
                </a:cxn>
                <a:cxn ang="0">
                  <a:pos x="0" y="72"/>
                </a:cxn>
                <a:cxn ang="0">
                  <a:pos x="59" y="0"/>
                </a:cxn>
              </a:cxnLst>
              <a:rect l="0" t="0" r="r" b="b"/>
              <a:pathLst>
                <a:path w="77" h="90">
                  <a:moveTo>
                    <a:pt x="59" y="0"/>
                  </a:moveTo>
                  <a:lnTo>
                    <a:pt x="76" y="17"/>
                  </a:lnTo>
                  <a:lnTo>
                    <a:pt x="4" y="89"/>
                  </a:lnTo>
                  <a:lnTo>
                    <a:pt x="0" y="72"/>
                  </a:lnTo>
                  <a:lnTo>
                    <a:pt x="59"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0" name="Freeform 455"/>
            <p:cNvSpPr>
              <a:spLocks noChangeArrowheads="1"/>
            </p:cNvSpPr>
            <p:nvPr/>
          </p:nvSpPr>
          <p:spPr bwMode="auto">
            <a:xfrm>
              <a:off x="8615363" y="2252663"/>
              <a:ext cx="26987" cy="31750"/>
            </a:xfrm>
            <a:custGeom>
              <a:avLst/>
              <a:gdLst/>
              <a:ahLst/>
              <a:cxnLst>
                <a:cxn ang="0">
                  <a:pos x="59" y="0"/>
                </a:cxn>
                <a:cxn ang="0">
                  <a:pos x="76" y="17"/>
                </a:cxn>
                <a:cxn ang="0">
                  <a:pos x="4" y="89"/>
                </a:cxn>
                <a:cxn ang="0">
                  <a:pos x="0" y="72"/>
                </a:cxn>
                <a:cxn ang="0">
                  <a:pos x="59" y="0"/>
                </a:cxn>
              </a:cxnLst>
              <a:rect l="0" t="0" r="r" b="b"/>
              <a:pathLst>
                <a:path w="77" h="90">
                  <a:moveTo>
                    <a:pt x="59" y="0"/>
                  </a:moveTo>
                  <a:lnTo>
                    <a:pt x="76" y="17"/>
                  </a:lnTo>
                  <a:lnTo>
                    <a:pt x="4" y="89"/>
                  </a:lnTo>
                  <a:lnTo>
                    <a:pt x="0" y="72"/>
                  </a:lnTo>
                  <a:lnTo>
                    <a:pt x="59"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1" name="Freeform 456"/>
            <p:cNvSpPr>
              <a:spLocks noChangeArrowheads="1"/>
            </p:cNvSpPr>
            <p:nvPr/>
          </p:nvSpPr>
          <p:spPr bwMode="auto">
            <a:xfrm>
              <a:off x="8615363" y="2252663"/>
              <a:ext cx="26987" cy="31750"/>
            </a:xfrm>
            <a:custGeom>
              <a:avLst/>
              <a:gdLst/>
              <a:ahLst/>
              <a:cxnLst>
                <a:cxn ang="0">
                  <a:pos x="76" y="17"/>
                </a:cxn>
                <a:cxn ang="0">
                  <a:pos x="4" y="89"/>
                </a:cxn>
                <a:cxn ang="0">
                  <a:pos x="0" y="72"/>
                </a:cxn>
                <a:cxn ang="0">
                  <a:pos x="59" y="0"/>
                </a:cxn>
                <a:cxn ang="0">
                  <a:pos x="76" y="17"/>
                </a:cxn>
              </a:cxnLst>
              <a:rect l="0" t="0" r="r" b="b"/>
              <a:pathLst>
                <a:path w="77" h="90">
                  <a:moveTo>
                    <a:pt x="76" y="17"/>
                  </a:moveTo>
                  <a:lnTo>
                    <a:pt x="4" y="89"/>
                  </a:lnTo>
                  <a:lnTo>
                    <a:pt x="0" y="72"/>
                  </a:lnTo>
                  <a:lnTo>
                    <a:pt x="59" y="0"/>
                  </a:lnTo>
                  <a:lnTo>
                    <a:pt x="76" y="1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2" name="Freeform 457"/>
            <p:cNvSpPr>
              <a:spLocks noChangeArrowheads="1"/>
            </p:cNvSpPr>
            <p:nvPr/>
          </p:nvSpPr>
          <p:spPr bwMode="auto">
            <a:xfrm>
              <a:off x="8615363" y="2252663"/>
              <a:ext cx="26987" cy="31750"/>
            </a:xfrm>
            <a:custGeom>
              <a:avLst/>
              <a:gdLst/>
              <a:ahLst/>
              <a:cxnLst>
                <a:cxn ang="0">
                  <a:pos x="59" y="0"/>
                </a:cxn>
                <a:cxn ang="0">
                  <a:pos x="76" y="17"/>
                </a:cxn>
                <a:cxn ang="0">
                  <a:pos x="4" y="89"/>
                </a:cxn>
                <a:cxn ang="0">
                  <a:pos x="0" y="72"/>
                </a:cxn>
                <a:cxn ang="0">
                  <a:pos x="59" y="0"/>
                </a:cxn>
              </a:cxnLst>
              <a:rect l="0" t="0" r="r" b="b"/>
              <a:pathLst>
                <a:path w="77" h="90">
                  <a:moveTo>
                    <a:pt x="59" y="0"/>
                  </a:moveTo>
                  <a:lnTo>
                    <a:pt x="76" y="17"/>
                  </a:lnTo>
                  <a:lnTo>
                    <a:pt x="4" y="89"/>
                  </a:lnTo>
                  <a:lnTo>
                    <a:pt x="0" y="72"/>
                  </a:lnTo>
                  <a:lnTo>
                    <a:pt x="59"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3" name="Freeform 458"/>
            <p:cNvSpPr>
              <a:spLocks noChangeArrowheads="1"/>
            </p:cNvSpPr>
            <p:nvPr/>
          </p:nvSpPr>
          <p:spPr bwMode="auto">
            <a:xfrm>
              <a:off x="8739188" y="2179638"/>
              <a:ext cx="28575" cy="25400"/>
            </a:xfrm>
            <a:custGeom>
              <a:avLst/>
              <a:gdLst/>
              <a:ahLst/>
              <a:cxnLst>
                <a:cxn ang="0">
                  <a:pos x="80" y="0"/>
                </a:cxn>
                <a:cxn ang="0">
                  <a:pos x="0" y="68"/>
                </a:cxn>
                <a:cxn ang="0">
                  <a:pos x="38" y="17"/>
                </a:cxn>
                <a:cxn ang="0">
                  <a:pos x="80" y="0"/>
                </a:cxn>
              </a:cxnLst>
              <a:rect l="0" t="0" r="r" b="b"/>
              <a:pathLst>
                <a:path w="81" h="69">
                  <a:moveTo>
                    <a:pt x="80" y="0"/>
                  </a:moveTo>
                  <a:lnTo>
                    <a:pt x="0" y="68"/>
                  </a:lnTo>
                  <a:lnTo>
                    <a:pt x="38" y="17"/>
                  </a:lnTo>
                  <a:lnTo>
                    <a:pt x="80"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4" name="Freeform 459"/>
            <p:cNvSpPr>
              <a:spLocks noChangeArrowheads="1"/>
            </p:cNvSpPr>
            <p:nvPr/>
          </p:nvSpPr>
          <p:spPr bwMode="auto">
            <a:xfrm>
              <a:off x="8739188" y="2179638"/>
              <a:ext cx="28575" cy="25400"/>
            </a:xfrm>
            <a:custGeom>
              <a:avLst/>
              <a:gdLst/>
              <a:ahLst/>
              <a:cxnLst>
                <a:cxn ang="0">
                  <a:pos x="80" y="0"/>
                </a:cxn>
                <a:cxn ang="0">
                  <a:pos x="0" y="68"/>
                </a:cxn>
                <a:cxn ang="0">
                  <a:pos x="38" y="17"/>
                </a:cxn>
                <a:cxn ang="0">
                  <a:pos x="80" y="0"/>
                </a:cxn>
              </a:cxnLst>
              <a:rect l="0" t="0" r="r" b="b"/>
              <a:pathLst>
                <a:path w="81" h="69">
                  <a:moveTo>
                    <a:pt x="80" y="0"/>
                  </a:moveTo>
                  <a:lnTo>
                    <a:pt x="0" y="68"/>
                  </a:lnTo>
                  <a:lnTo>
                    <a:pt x="38" y="17"/>
                  </a:lnTo>
                  <a:lnTo>
                    <a:pt x="8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5" name="Freeform 460"/>
            <p:cNvSpPr>
              <a:spLocks noChangeArrowheads="1"/>
            </p:cNvSpPr>
            <p:nvPr/>
          </p:nvSpPr>
          <p:spPr bwMode="auto">
            <a:xfrm>
              <a:off x="8739188" y="2179638"/>
              <a:ext cx="28575" cy="25400"/>
            </a:xfrm>
            <a:custGeom>
              <a:avLst/>
              <a:gdLst/>
              <a:ahLst/>
              <a:cxnLst>
                <a:cxn ang="0">
                  <a:pos x="0" y="68"/>
                </a:cxn>
                <a:cxn ang="0">
                  <a:pos x="38" y="17"/>
                </a:cxn>
                <a:cxn ang="0">
                  <a:pos x="80" y="0"/>
                </a:cxn>
                <a:cxn ang="0">
                  <a:pos x="0" y="68"/>
                </a:cxn>
              </a:cxnLst>
              <a:rect l="0" t="0" r="r" b="b"/>
              <a:pathLst>
                <a:path w="81" h="69">
                  <a:moveTo>
                    <a:pt x="0" y="68"/>
                  </a:moveTo>
                  <a:lnTo>
                    <a:pt x="38" y="17"/>
                  </a:lnTo>
                  <a:lnTo>
                    <a:pt x="80" y="0"/>
                  </a:lnTo>
                  <a:lnTo>
                    <a:pt x="0" y="6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6" name="Freeform 461"/>
            <p:cNvSpPr>
              <a:spLocks noChangeArrowheads="1"/>
            </p:cNvSpPr>
            <p:nvPr/>
          </p:nvSpPr>
          <p:spPr bwMode="auto">
            <a:xfrm>
              <a:off x="8739188" y="2179638"/>
              <a:ext cx="28575" cy="25400"/>
            </a:xfrm>
            <a:custGeom>
              <a:avLst/>
              <a:gdLst/>
              <a:ahLst/>
              <a:cxnLst>
                <a:cxn ang="0">
                  <a:pos x="80" y="0"/>
                </a:cxn>
                <a:cxn ang="0">
                  <a:pos x="0" y="68"/>
                </a:cxn>
                <a:cxn ang="0">
                  <a:pos x="38" y="17"/>
                </a:cxn>
                <a:cxn ang="0">
                  <a:pos x="80" y="0"/>
                </a:cxn>
              </a:cxnLst>
              <a:rect l="0" t="0" r="r" b="b"/>
              <a:pathLst>
                <a:path w="81" h="69">
                  <a:moveTo>
                    <a:pt x="80" y="0"/>
                  </a:moveTo>
                  <a:lnTo>
                    <a:pt x="0" y="68"/>
                  </a:lnTo>
                  <a:lnTo>
                    <a:pt x="38" y="17"/>
                  </a:lnTo>
                  <a:lnTo>
                    <a:pt x="8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7" name="Freeform 462"/>
            <p:cNvSpPr>
              <a:spLocks noChangeArrowheads="1"/>
            </p:cNvSpPr>
            <p:nvPr/>
          </p:nvSpPr>
          <p:spPr bwMode="auto">
            <a:xfrm>
              <a:off x="8909050" y="1992313"/>
              <a:ext cx="4763" cy="12700"/>
            </a:xfrm>
            <a:custGeom>
              <a:avLst/>
              <a:gdLst/>
              <a:ahLst/>
              <a:cxnLst>
                <a:cxn ang="0">
                  <a:pos x="12" y="26"/>
                </a:cxn>
                <a:cxn ang="0">
                  <a:pos x="0" y="33"/>
                </a:cxn>
                <a:cxn ang="0">
                  <a:pos x="5" y="7"/>
                </a:cxn>
                <a:cxn ang="0">
                  <a:pos x="12" y="0"/>
                </a:cxn>
                <a:cxn ang="0">
                  <a:pos x="12" y="26"/>
                </a:cxn>
              </a:cxnLst>
              <a:rect l="0" t="0" r="r" b="b"/>
              <a:pathLst>
                <a:path w="13" h="34">
                  <a:moveTo>
                    <a:pt x="12" y="26"/>
                  </a:moveTo>
                  <a:lnTo>
                    <a:pt x="0" y="33"/>
                  </a:lnTo>
                  <a:lnTo>
                    <a:pt x="5" y="7"/>
                  </a:lnTo>
                  <a:lnTo>
                    <a:pt x="12" y="0"/>
                  </a:lnTo>
                  <a:lnTo>
                    <a:pt x="12"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8" name="Freeform 463"/>
            <p:cNvSpPr>
              <a:spLocks noChangeArrowheads="1"/>
            </p:cNvSpPr>
            <p:nvPr/>
          </p:nvSpPr>
          <p:spPr bwMode="auto">
            <a:xfrm>
              <a:off x="8909050" y="1992313"/>
              <a:ext cx="4763" cy="12700"/>
            </a:xfrm>
            <a:custGeom>
              <a:avLst/>
              <a:gdLst/>
              <a:ahLst/>
              <a:cxnLst>
                <a:cxn ang="0">
                  <a:pos x="12" y="26"/>
                </a:cxn>
                <a:cxn ang="0">
                  <a:pos x="0" y="33"/>
                </a:cxn>
                <a:cxn ang="0">
                  <a:pos x="5" y="7"/>
                </a:cxn>
                <a:cxn ang="0">
                  <a:pos x="12" y="0"/>
                </a:cxn>
                <a:cxn ang="0">
                  <a:pos x="12" y="26"/>
                </a:cxn>
              </a:cxnLst>
              <a:rect l="0" t="0" r="r" b="b"/>
              <a:pathLst>
                <a:path w="13" h="34">
                  <a:moveTo>
                    <a:pt x="12" y="26"/>
                  </a:moveTo>
                  <a:lnTo>
                    <a:pt x="0" y="33"/>
                  </a:lnTo>
                  <a:lnTo>
                    <a:pt x="5" y="7"/>
                  </a:lnTo>
                  <a:lnTo>
                    <a:pt x="12" y="0"/>
                  </a:lnTo>
                  <a:lnTo>
                    <a:pt x="12" y="2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69" name="Freeform 464"/>
            <p:cNvSpPr>
              <a:spLocks noChangeArrowheads="1"/>
            </p:cNvSpPr>
            <p:nvPr/>
          </p:nvSpPr>
          <p:spPr bwMode="auto">
            <a:xfrm>
              <a:off x="8909050" y="1992313"/>
              <a:ext cx="4763" cy="12700"/>
            </a:xfrm>
            <a:custGeom>
              <a:avLst/>
              <a:gdLst/>
              <a:ahLst/>
              <a:cxnLst>
                <a:cxn ang="0">
                  <a:pos x="12" y="26"/>
                </a:cxn>
                <a:cxn ang="0">
                  <a:pos x="0" y="33"/>
                </a:cxn>
                <a:cxn ang="0">
                  <a:pos x="5" y="7"/>
                </a:cxn>
                <a:cxn ang="0">
                  <a:pos x="12" y="0"/>
                </a:cxn>
                <a:cxn ang="0">
                  <a:pos x="12" y="26"/>
                </a:cxn>
              </a:cxnLst>
              <a:rect l="0" t="0" r="r" b="b"/>
              <a:pathLst>
                <a:path w="13" h="34">
                  <a:moveTo>
                    <a:pt x="12" y="26"/>
                  </a:moveTo>
                  <a:lnTo>
                    <a:pt x="0" y="33"/>
                  </a:lnTo>
                  <a:lnTo>
                    <a:pt x="5" y="7"/>
                  </a:lnTo>
                  <a:lnTo>
                    <a:pt x="12" y="0"/>
                  </a:lnTo>
                  <a:lnTo>
                    <a:pt x="12"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0" name="Freeform 465"/>
            <p:cNvSpPr>
              <a:spLocks noChangeArrowheads="1"/>
            </p:cNvSpPr>
            <p:nvPr/>
          </p:nvSpPr>
          <p:spPr bwMode="auto">
            <a:xfrm>
              <a:off x="8909050" y="1992313"/>
              <a:ext cx="4763" cy="12700"/>
            </a:xfrm>
            <a:custGeom>
              <a:avLst/>
              <a:gdLst/>
              <a:ahLst/>
              <a:cxnLst>
                <a:cxn ang="0">
                  <a:pos x="12" y="26"/>
                </a:cxn>
                <a:cxn ang="0">
                  <a:pos x="0" y="33"/>
                </a:cxn>
                <a:cxn ang="0">
                  <a:pos x="5" y="7"/>
                </a:cxn>
                <a:cxn ang="0">
                  <a:pos x="12" y="0"/>
                </a:cxn>
                <a:cxn ang="0">
                  <a:pos x="12" y="26"/>
                </a:cxn>
              </a:cxnLst>
              <a:rect l="0" t="0" r="r" b="b"/>
              <a:pathLst>
                <a:path w="13" h="34">
                  <a:moveTo>
                    <a:pt x="12" y="26"/>
                  </a:moveTo>
                  <a:lnTo>
                    <a:pt x="0" y="33"/>
                  </a:lnTo>
                  <a:lnTo>
                    <a:pt x="5" y="7"/>
                  </a:lnTo>
                  <a:lnTo>
                    <a:pt x="12" y="0"/>
                  </a:lnTo>
                  <a:lnTo>
                    <a:pt x="12" y="2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1" name="Freeform 466"/>
            <p:cNvSpPr>
              <a:spLocks noChangeArrowheads="1"/>
            </p:cNvSpPr>
            <p:nvPr/>
          </p:nvSpPr>
          <p:spPr bwMode="auto">
            <a:xfrm>
              <a:off x="8366125" y="1751013"/>
              <a:ext cx="30163" cy="31750"/>
            </a:xfrm>
            <a:custGeom>
              <a:avLst/>
              <a:gdLst/>
              <a:ahLst/>
              <a:cxnLst>
                <a:cxn ang="0">
                  <a:pos x="38" y="89"/>
                </a:cxn>
                <a:cxn ang="0">
                  <a:pos x="4" y="76"/>
                </a:cxn>
                <a:cxn ang="0">
                  <a:pos x="1" y="71"/>
                </a:cxn>
                <a:cxn ang="0">
                  <a:pos x="5" y="58"/>
                </a:cxn>
                <a:cxn ang="0">
                  <a:pos x="31" y="2"/>
                </a:cxn>
                <a:cxn ang="0">
                  <a:pos x="33" y="0"/>
                </a:cxn>
                <a:cxn ang="0">
                  <a:pos x="35" y="0"/>
                </a:cxn>
                <a:cxn ang="0">
                  <a:pos x="37" y="0"/>
                </a:cxn>
                <a:cxn ang="0">
                  <a:pos x="80" y="21"/>
                </a:cxn>
                <a:cxn ang="0">
                  <a:pos x="82" y="24"/>
                </a:cxn>
                <a:cxn ang="0">
                  <a:pos x="81" y="28"/>
                </a:cxn>
                <a:cxn ang="0">
                  <a:pos x="43" y="87"/>
                </a:cxn>
                <a:cxn ang="0">
                  <a:pos x="39" y="89"/>
                </a:cxn>
                <a:cxn ang="0">
                  <a:pos x="38" y="89"/>
                </a:cxn>
              </a:cxnLst>
              <a:rect l="0" t="0" r="r" b="b"/>
              <a:pathLst>
                <a:path w="83" h="90">
                  <a:moveTo>
                    <a:pt x="38" y="89"/>
                  </a:moveTo>
                  <a:lnTo>
                    <a:pt x="4" y="76"/>
                  </a:lnTo>
                  <a:cubicBezTo>
                    <a:pt x="1" y="76"/>
                    <a:pt x="0" y="73"/>
                    <a:pt x="1" y="71"/>
                  </a:cubicBezTo>
                  <a:lnTo>
                    <a:pt x="5" y="58"/>
                  </a:lnTo>
                  <a:lnTo>
                    <a:pt x="31" y="2"/>
                  </a:lnTo>
                  <a:cubicBezTo>
                    <a:pt x="31" y="1"/>
                    <a:pt x="32" y="0"/>
                    <a:pt x="33" y="0"/>
                  </a:cubicBezTo>
                  <a:cubicBezTo>
                    <a:pt x="34" y="0"/>
                    <a:pt x="35" y="0"/>
                    <a:pt x="35" y="0"/>
                  </a:cubicBezTo>
                  <a:cubicBezTo>
                    <a:pt x="36" y="0"/>
                    <a:pt x="37" y="0"/>
                    <a:pt x="37" y="0"/>
                  </a:cubicBezTo>
                  <a:lnTo>
                    <a:pt x="80" y="21"/>
                  </a:lnTo>
                  <a:cubicBezTo>
                    <a:pt x="81" y="22"/>
                    <a:pt x="82" y="23"/>
                    <a:pt x="82" y="24"/>
                  </a:cubicBezTo>
                  <a:cubicBezTo>
                    <a:pt x="82" y="25"/>
                    <a:pt x="82" y="27"/>
                    <a:pt x="81" y="28"/>
                  </a:cubicBezTo>
                  <a:lnTo>
                    <a:pt x="43" y="87"/>
                  </a:lnTo>
                  <a:cubicBezTo>
                    <a:pt x="42" y="89"/>
                    <a:pt x="41" y="89"/>
                    <a:pt x="39" y="89"/>
                  </a:cubicBezTo>
                  <a:lnTo>
                    <a:pt x="38" y="8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2" name="Freeform 467"/>
            <p:cNvSpPr>
              <a:spLocks noChangeArrowheads="1"/>
            </p:cNvSpPr>
            <p:nvPr/>
          </p:nvSpPr>
          <p:spPr bwMode="auto">
            <a:xfrm>
              <a:off x="8366125" y="1751013"/>
              <a:ext cx="30163" cy="31750"/>
            </a:xfrm>
            <a:custGeom>
              <a:avLst/>
              <a:gdLst/>
              <a:ahLst/>
              <a:cxnLst>
                <a:cxn ang="0">
                  <a:pos x="39" y="89"/>
                </a:cxn>
                <a:cxn ang="0">
                  <a:pos x="38" y="89"/>
                </a:cxn>
                <a:cxn ang="0">
                  <a:pos x="4" y="76"/>
                </a:cxn>
                <a:cxn ang="0">
                  <a:pos x="1" y="71"/>
                </a:cxn>
                <a:cxn ang="0">
                  <a:pos x="5" y="58"/>
                </a:cxn>
                <a:cxn ang="0">
                  <a:pos x="31" y="2"/>
                </a:cxn>
                <a:cxn ang="0">
                  <a:pos x="33" y="0"/>
                </a:cxn>
                <a:cxn ang="0">
                  <a:pos x="35" y="0"/>
                </a:cxn>
                <a:cxn ang="0">
                  <a:pos x="37" y="0"/>
                </a:cxn>
                <a:cxn ang="0">
                  <a:pos x="80" y="21"/>
                </a:cxn>
                <a:cxn ang="0">
                  <a:pos x="82" y="24"/>
                </a:cxn>
                <a:cxn ang="0">
                  <a:pos x="81" y="28"/>
                </a:cxn>
                <a:cxn ang="0">
                  <a:pos x="43" y="87"/>
                </a:cxn>
                <a:cxn ang="0">
                  <a:pos x="39" y="89"/>
                </a:cxn>
              </a:cxnLst>
              <a:rect l="0" t="0" r="r" b="b"/>
              <a:pathLst>
                <a:path w="83" h="90">
                  <a:moveTo>
                    <a:pt x="39" y="89"/>
                  </a:moveTo>
                  <a:lnTo>
                    <a:pt x="38" y="89"/>
                  </a:lnTo>
                  <a:lnTo>
                    <a:pt x="4" y="76"/>
                  </a:lnTo>
                  <a:cubicBezTo>
                    <a:pt x="1" y="76"/>
                    <a:pt x="0" y="73"/>
                    <a:pt x="1" y="71"/>
                  </a:cubicBezTo>
                  <a:lnTo>
                    <a:pt x="5" y="58"/>
                  </a:lnTo>
                  <a:lnTo>
                    <a:pt x="31" y="2"/>
                  </a:lnTo>
                  <a:cubicBezTo>
                    <a:pt x="31" y="1"/>
                    <a:pt x="32" y="0"/>
                    <a:pt x="33" y="0"/>
                  </a:cubicBezTo>
                  <a:cubicBezTo>
                    <a:pt x="34" y="0"/>
                    <a:pt x="35" y="0"/>
                    <a:pt x="35" y="0"/>
                  </a:cubicBezTo>
                  <a:cubicBezTo>
                    <a:pt x="36" y="0"/>
                    <a:pt x="37" y="0"/>
                    <a:pt x="37" y="0"/>
                  </a:cubicBezTo>
                  <a:lnTo>
                    <a:pt x="80" y="21"/>
                  </a:lnTo>
                  <a:cubicBezTo>
                    <a:pt x="81" y="22"/>
                    <a:pt x="82" y="23"/>
                    <a:pt x="82" y="24"/>
                  </a:cubicBezTo>
                  <a:cubicBezTo>
                    <a:pt x="82" y="25"/>
                    <a:pt x="82" y="27"/>
                    <a:pt x="81" y="28"/>
                  </a:cubicBezTo>
                  <a:lnTo>
                    <a:pt x="43" y="87"/>
                  </a:lnTo>
                  <a:cubicBezTo>
                    <a:pt x="42" y="89"/>
                    <a:pt x="41" y="89"/>
                    <a:pt x="39" y="8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3" name="Freeform 468"/>
            <p:cNvSpPr>
              <a:spLocks noChangeArrowheads="1"/>
            </p:cNvSpPr>
            <p:nvPr/>
          </p:nvSpPr>
          <p:spPr bwMode="auto">
            <a:xfrm>
              <a:off x="8501063" y="1795463"/>
              <a:ext cx="92075" cy="392112"/>
            </a:xfrm>
            <a:custGeom>
              <a:avLst/>
              <a:gdLst/>
              <a:ahLst/>
              <a:cxnLst>
                <a:cxn ang="0">
                  <a:pos x="80" y="0"/>
                </a:cxn>
                <a:cxn ang="0">
                  <a:pos x="102" y="25"/>
                </a:cxn>
                <a:cxn ang="0">
                  <a:pos x="140" y="211"/>
                </a:cxn>
                <a:cxn ang="0">
                  <a:pos x="123" y="283"/>
                </a:cxn>
                <a:cxn ang="0">
                  <a:pos x="131" y="385"/>
                </a:cxn>
                <a:cxn ang="0">
                  <a:pos x="216" y="668"/>
                </a:cxn>
                <a:cxn ang="0">
                  <a:pos x="254" y="749"/>
                </a:cxn>
                <a:cxn ang="0">
                  <a:pos x="182" y="677"/>
                </a:cxn>
                <a:cxn ang="0">
                  <a:pos x="119" y="694"/>
                </a:cxn>
                <a:cxn ang="0">
                  <a:pos x="80" y="888"/>
                </a:cxn>
                <a:cxn ang="0">
                  <a:pos x="123" y="977"/>
                </a:cxn>
                <a:cxn ang="0">
                  <a:pos x="153" y="994"/>
                </a:cxn>
                <a:cxn ang="0">
                  <a:pos x="161" y="1058"/>
                </a:cxn>
                <a:cxn ang="0">
                  <a:pos x="153" y="1079"/>
                </a:cxn>
                <a:cxn ang="0">
                  <a:pos x="144" y="1020"/>
                </a:cxn>
                <a:cxn ang="0">
                  <a:pos x="80" y="1003"/>
                </a:cxn>
                <a:cxn ang="0">
                  <a:pos x="42" y="1087"/>
                </a:cxn>
                <a:cxn ang="0">
                  <a:pos x="25" y="1079"/>
                </a:cxn>
                <a:cxn ang="0">
                  <a:pos x="21" y="1003"/>
                </a:cxn>
                <a:cxn ang="0">
                  <a:pos x="46" y="838"/>
                </a:cxn>
                <a:cxn ang="0">
                  <a:pos x="21" y="753"/>
                </a:cxn>
                <a:cxn ang="0">
                  <a:pos x="46" y="592"/>
                </a:cxn>
                <a:cxn ang="0">
                  <a:pos x="34" y="495"/>
                </a:cxn>
                <a:cxn ang="0">
                  <a:pos x="42" y="427"/>
                </a:cxn>
                <a:cxn ang="0">
                  <a:pos x="4" y="364"/>
                </a:cxn>
                <a:cxn ang="0">
                  <a:pos x="0" y="279"/>
                </a:cxn>
                <a:cxn ang="0">
                  <a:pos x="17" y="118"/>
                </a:cxn>
                <a:cxn ang="0">
                  <a:pos x="68" y="127"/>
                </a:cxn>
                <a:cxn ang="0">
                  <a:pos x="89" y="89"/>
                </a:cxn>
                <a:cxn ang="0">
                  <a:pos x="55" y="8"/>
                </a:cxn>
                <a:cxn ang="0">
                  <a:pos x="80" y="0"/>
                </a:cxn>
              </a:cxnLst>
              <a:rect l="0" t="0" r="r" b="b"/>
              <a:pathLst>
                <a:path w="255" h="1088">
                  <a:moveTo>
                    <a:pt x="80" y="0"/>
                  </a:moveTo>
                  <a:lnTo>
                    <a:pt x="102" y="25"/>
                  </a:lnTo>
                  <a:lnTo>
                    <a:pt x="140" y="211"/>
                  </a:lnTo>
                  <a:lnTo>
                    <a:pt x="123" y="283"/>
                  </a:lnTo>
                  <a:lnTo>
                    <a:pt x="131" y="385"/>
                  </a:lnTo>
                  <a:lnTo>
                    <a:pt x="216" y="668"/>
                  </a:lnTo>
                  <a:lnTo>
                    <a:pt x="254" y="749"/>
                  </a:lnTo>
                  <a:lnTo>
                    <a:pt x="182" y="677"/>
                  </a:lnTo>
                  <a:lnTo>
                    <a:pt x="119" y="694"/>
                  </a:lnTo>
                  <a:lnTo>
                    <a:pt x="80" y="888"/>
                  </a:lnTo>
                  <a:lnTo>
                    <a:pt x="123" y="977"/>
                  </a:lnTo>
                  <a:lnTo>
                    <a:pt x="153" y="994"/>
                  </a:lnTo>
                  <a:lnTo>
                    <a:pt x="161" y="1058"/>
                  </a:lnTo>
                  <a:lnTo>
                    <a:pt x="153" y="1079"/>
                  </a:lnTo>
                  <a:lnTo>
                    <a:pt x="144" y="1020"/>
                  </a:lnTo>
                  <a:lnTo>
                    <a:pt x="80" y="1003"/>
                  </a:lnTo>
                  <a:lnTo>
                    <a:pt x="42" y="1087"/>
                  </a:lnTo>
                  <a:lnTo>
                    <a:pt x="25" y="1079"/>
                  </a:lnTo>
                  <a:lnTo>
                    <a:pt x="21" y="1003"/>
                  </a:lnTo>
                  <a:lnTo>
                    <a:pt x="46" y="838"/>
                  </a:lnTo>
                  <a:lnTo>
                    <a:pt x="21" y="753"/>
                  </a:lnTo>
                  <a:lnTo>
                    <a:pt x="46" y="592"/>
                  </a:lnTo>
                  <a:lnTo>
                    <a:pt x="34" y="495"/>
                  </a:lnTo>
                  <a:lnTo>
                    <a:pt x="42" y="427"/>
                  </a:lnTo>
                  <a:lnTo>
                    <a:pt x="4" y="364"/>
                  </a:lnTo>
                  <a:lnTo>
                    <a:pt x="0" y="279"/>
                  </a:lnTo>
                  <a:lnTo>
                    <a:pt x="17" y="118"/>
                  </a:lnTo>
                  <a:lnTo>
                    <a:pt x="68" y="127"/>
                  </a:lnTo>
                  <a:lnTo>
                    <a:pt x="89" y="89"/>
                  </a:lnTo>
                  <a:lnTo>
                    <a:pt x="55" y="8"/>
                  </a:lnTo>
                  <a:lnTo>
                    <a:pt x="80"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4" name="Freeform 469"/>
            <p:cNvSpPr>
              <a:spLocks noChangeArrowheads="1"/>
            </p:cNvSpPr>
            <p:nvPr/>
          </p:nvSpPr>
          <p:spPr bwMode="auto">
            <a:xfrm>
              <a:off x="8501063" y="1795463"/>
              <a:ext cx="92075" cy="392112"/>
            </a:xfrm>
            <a:custGeom>
              <a:avLst/>
              <a:gdLst/>
              <a:ahLst/>
              <a:cxnLst>
                <a:cxn ang="0">
                  <a:pos x="80" y="0"/>
                </a:cxn>
                <a:cxn ang="0">
                  <a:pos x="102" y="25"/>
                </a:cxn>
                <a:cxn ang="0">
                  <a:pos x="140" y="211"/>
                </a:cxn>
                <a:cxn ang="0">
                  <a:pos x="123" y="283"/>
                </a:cxn>
                <a:cxn ang="0">
                  <a:pos x="131" y="385"/>
                </a:cxn>
                <a:cxn ang="0">
                  <a:pos x="216" y="668"/>
                </a:cxn>
                <a:cxn ang="0">
                  <a:pos x="254" y="749"/>
                </a:cxn>
                <a:cxn ang="0">
                  <a:pos x="182" y="677"/>
                </a:cxn>
                <a:cxn ang="0">
                  <a:pos x="119" y="694"/>
                </a:cxn>
                <a:cxn ang="0">
                  <a:pos x="80" y="888"/>
                </a:cxn>
                <a:cxn ang="0">
                  <a:pos x="123" y="977"/>
                </a:cxn>
                <a:cxn ang="0">
                  <a:pos x="153" y="994"/>
                </a:cxn>
                <a:cxn ang="0">
                  <a:pos x="161" y="1058"/>
                </a:cxn>
                <a:cxn ang="0">
                  <a:pos x="153" y="1079"/>
                </a:cxn>
                <a:cxn ang="0">
                  <a:pos x="144" y="1020"/>
                </a:cxn>
                <a:cxn ang="0">
                  <a:pos x="80" y="1003"/>
                </a:cxn>
                <a:cxn ang="0">
                  <a:pos x="42" y="1087"/>
                </a:cxn>
                <a:cxn ang="0">
                  <a:pos x="25" y="1079"/>
                </a:cxn>
                <a:cxn ang="0">
                  <a:pos x="21" y="1003"/>
                </a:cxn>
                <a:cxn ang="0">
                  <a:pos x="46" y="838"/>
                </a:cxn>
                <a:cxn ang="0">
                  <a:pos x="21" y="753"/>
                </a:cxn>
                <a:cxn ang="0">
                  <a:pos x="46" y="592"/>
                </a:cxn>
                <a:cxn ang="0">
                  <a:pos x="34" y="495"/>
                </a:cxn>
                <a:cxn ang="0">
                  <a:pos x="42" y="427"/>
                </a:cxn>
                <a:cxn ang="0">
                  <a:pos x="4" y="364"/>
                </a:cxn>
                <a:cxn ang="0">
                  <a:pos x="0" y="279"/>
                </a:cxn>
                <a:cxn ang="0">
                  <a:pos x="17" y="118"/>
                </a:cxn>
                <a:cxn ang="0">
                  <a:pos x="68" y="127"/>
                </a:cxn>
                <a:cxn ang="0">
                  <a:pos x="89" y="89"/>
                </a:cxn>
                <a:cxn ang="0">
                  <a:pos x="55" y="8"/>
                </a:cxn>
                <a:cxn ang="0">
                  <a:pos x="80" y="0"/>
                </a:cxn>
              </a:cxnLst>
              <a:rect l="0" t="0" r="r" b="b"/>
              <a:pathLst>
                <a:path w="255" h="1088">
                  <a:moveTo>
                    <a:pt x="80" y="0"/>
                  </a:moveTo>
                  <a:lnTo>
                    <a:pt x="102" y="25"/>
                  </a:lnTo>
                  <a:lnTo>
                    <a:pt x="140" y="211"/>
                  </a:lnTo>
                  <a:lnTo>
                    <a:pt x="123" y="283"/>
                  </a:lnTo>
                  <a:lnTo>
                    <a:pt x="131" y="385"/>
                  </a:lnTo>
                  <a:lnTo>
                    <a:pt x="216" y="668"/>
                  </a:lnTo>
                  <a:lnTo>
                    <a:pt x="254" y="749"/>
                  </a:lnTo>
                  <a:lnTo>
                    <a:pt x="182" y="677"/>
                  </a:lnTo>
                  <a:lnTo>
                    <a:pt x="119" y="694"/>
                  </a:lnTo>
                  <a:lnTo>
                    <a:pt x="80" y="888"/>
                  </a:lnTo>
                  <a:lnTo>
                    <a:pt x="123" y="977"/>
                  </a:lnTo>
                  <a:lnTo>
                    <a:pt x="153" y="994"/>
                  </a:lnTo>
                  <a:lnTo>
                    <a:pt x="161" y="1058"/>
                  </a:lnTo>
                  <a:lnTo>
                    <a:pt x="153" y="1079"/>
                  </a:lnTo>
                  <a:lnTo>
                    <a:pt x="144" y="1020"/>
                  </a:lnTo>
                  <a:lnTo>
                    <a:pt x="80" y="1003"/>
                  </a:lnTo>
                  <a:lnTo>
                    <a:pt x="42" y="1087"/>
                  </a:lnTo>
                  <a:lnTo>
                    <a:pt x="25" y="1079"/>
                  </a:lnTo>
                  <a:lnTo>
                    <a:pt x="21" y="1003"/>
                  </a:lnTo>
                  <a:lnTo>
                    <a:pt x="46" y="838"/>
                  </a:lnTo>
                  <a:lnTo>
                    <a:pt x="21" y="753"/>
                  </a:lnTo>
                  <a:lnTo>
                    <a:pt x="46" y="592"/>
                  </a:lnTo>
                  <a:lnTo>
                    <a:pt x="34" y="495"/>
                  </a:lnTo>
                  <a:lnTo>
                    <a:pt x="42" y="427"/>
                  </a:lnTo>
                  <a:lnTo>
                    <a:pt x="4" y="364"/>
                  </a:lnTo>
                  <a:lnTo>
                    <a:pt x="0" y="279"/>
                  </a:lnTo>
                  <a:lnTo>
                    <a:pt x="17" y="118"/>
                  </a:lnTo>
                  <a:lnTo>
                    <a:pt x="68" y="127"/>
                  </a:lnTo>
                  <a:lnTo>
                    <a:pt x="89" y="89"/>
                  </a:lnTo>
                  <a:lnTo>
                    <a:pt x="55" y="8"/>
                  </a:lnTo>
                  <a:lnTo>
                    <a:pt x="8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5" name="Freeform 470"/>
            <p:cNvSpPr>
              <a:spLocks noChangeArrowheads="1"/>
            </p:cNvSpPr>
            <p:nvPr/>
          </p:nvSpPr>
          <p:spPr bwMode="auto">
            <a:xfrm>
              <a:off x="8501063" y="1795463"/>
              <a:ext cx="92075" cy="392112"/>
            </a:xfrm>
            <a:custGeom>
              <a:avLst/>
              <a:gdLst/>
              <a:ahLst/>
              <a:cxnLst>
                <a:cxn ang="0">
                  <a:pos x="102" y="25"/>
                </a:cxn>
                <a:cxn ang="0">
                  <a:pos x="140" y="211"/>
                </a:cxn>
                <a:cxn ang="0">
                  <a:pos x="123" y="283"/>
                </a:cxn>
                <a:cxn ang="0">
                  <a:pos x="131" y="385"/>
                </a:cxn>
                <a:cxn ang="0">
                  <a:pos x="216" y="668"/>
                </a:cxn>
                <a:cxn ang="0">
                  <a:pos x="254" y="749"/>
                </a:cxn>
                <a:cxn ang="0">
                  <a:pos x="182" y="677"/>
                </a:cxn>
                <a:cxn ang="0">
                  <a:pos x="119" y="694"/>
                </a:cxn>
                <a:cxn ang="0">
                  <a:pos x="80" y="888"/>
                </a:cxn>
                <a:cxn ang="0">
                  <a:pos x="123" y="977"/>
                </a:cxn>
                <a:cxn ang="0">
                  <a:pos x="153" y="994"/>
                </a:cxn>
                <a:cxn ang="0">
                  <a:pos x="161" y="1058"/>
                </a:cxn>
                <a:cxn ang="0">
                  <a:pos x="153" y="1079"/>
                </a:cxn>
                <a:cxn ang="0">
                  <a:pos x="144" y="1020"/>
                </a:cxn>
                <a:cxn ang="0">
                  <a:pos x="80" y="1003"/>
                </a:cxn>
                <a:cxn ang="0">
                  <a:pos x="42" y="1087"/>
                </a:cxn>
                <a:cxn ang="0">
                  <a:pos x="25" y="1079"/>
                </a:cxn>
                <a:cxn ang="0">
                  <a:pos x="21" y="1003"/>
                </a:cxn>
                <a:cxn ang="0">
                  <a:pos x="46" y="838"/>
                </a:cxn>
                <a:cxn ang="0">
                  <a:pos x="21" y="753"/>
                </a:cxn>
                <a:cxn ang="0">
                  <a:pos x="46" y="592"/>
                </a:cxn>
                <a:cxn ang="0">
                  <a:pos x="34" y="495"/>
                </a:cxn>
                <a:cxn ang="0">
                  <a:pos x="42" y="427"/>
                </a:cxn>
                <a:cxn ang="0">
                  <a:pos x="4" y="364"/>
                </a:cxn>
                <a:cxn ang="0">
                  <a:pos x="0" y="279"/>
                </a:cxn>
                <a:cxn ang="0">
                  <a:pos x="17" y="118"/>
                </a:cxn>
                <a:cxn ang="0">
                  <a:pos x="68" y="127"/>
                </a:cxn>
                <a:cxn ang="0">
                  <a:pos x="89" y="89"/>
                </a:cxn>
                <a:cxn ang="0">
                  <a:pos x="55" y="8"/>
                </a:cxn>
                <a:cxn ang="0">
                  <a:pos x="80" y="0"/>
                </a:cxn>
                <a:cxn ang="0">
                  <a:pos x="102" y="25"/>
                </a:cxn>
              </a:cxnLst>
              <a:rect l="0" t="0" r="r" b="b"/>
              <a:pathLst>
                <a:path w="255" h="1088">
                  <a:moveTo>
                    <a:pt x="102" y="25"/>
                  </a:moveTo>
                  <a:lnTo>
                    <a:pt x="140" y="211"/>
                  </a:lnTo>
                  <a:lnTo>
                    <a:pt x="123" y="283"/>
                  </a:lnTo>
                  <a:lnTo>
                    <a:pt x="131" y="385"/>
                  </a:lnTo>
                  <a:lnTo>
                    <a:pt x="216" y="668"/>
                  </a:lnTo>
                  <a:lnTo>
                    <a:pt x="254" y="749"/>
                  </a:lnTo>
                  <a:lnTo>
                    <a:pt x="182" y="677"/>
                  </a:lnTo>
                  <a:lnTo>
                    <a:pt x="119" y="694"/>
                  </a:lnTo>
                  <a:lnTo>
                    <a:pt x="80" y="888"/>
                  </a:lnTo>
                  <a:lnTo>
                    <a:pt x="123" y="977"/>
                  </a:lnTo>
                  <a:lnTo>
                    <a:pt x="153" y="994"/>
                  </a:lnTo>
                  <a:lnTo>
                    <a:pt x="161" y="1058"/>
                  </a:lnTo>
                  <a:lnTo>
                    <a:pt x="153" y="1079"/>
                  </a:lnTo>
                  <a:lnTo>
                    <a:pt x="144" y="1020"/>
                  </a:lnTo>
                  <a:lnTo>
                    <a:pt x="80" y="1003"/>
                  </a:lnTo>
                  <a:lnTo>
                    <a:pt x="42" y="1087"/>
                  </a:lnTo>
                  <a:lnTo>
                    <a:pt x="25" y="1079"/>
                  </a:lnTo>
                  <a:lnTo>
                    <a:pt x="21" y="1003"/>
                  </a:lnTo>
                  <a:lnTo>
                    <a:pt x="46" y="838"/>
                  </a:lnTo>
                  <a:lnTo>
                    <a:pt x="21" y="753"/>
                  </a:lnTo>
                  <a:lnTo>
                    <a:pt x="46" y="592"/>
                  </a:lnTo>
                  <a:lnTo>
                    <a:pt x="34" y="495"/>
                  </a:lnTo>
                  <a:lnTo>
                    <a:pt x="42" y="427"/>
                  </a:lnTo>
                  <a:lnTo>
                    <a:pt x="4" y="364"/>
                  </a:lnTo>
                  <a:lnTo>
                    <a:pt x="0" y="279"/>
                  </a:lnTo>
                  <a:lnTo>
                    <a:pt x="17" y="118"/>
                  </a:lnTo>
                  <a:lnTo>
                    <a:pt x="68" y="127"/>
                  </a:lnTo>
                  <a:lnTo>
                    <a:pt x="89" y="89"/>
                  </a:lnTo>
                  <a:lnTo>
                    <a:pt x="55" y="8"/>
                  </a:lnTo>
                  <a:lnTo>
                    <a:pt x="80" y="0"/>
                  </a:lnTo>
                  <a:lnTo>
                    <a:pt x="102" y="2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6" name="Freeform 471"/>
            <p:cNvSpPr>
              <a:spLocks noChangeArrowheads="1"/>
            </p:cNvSpPr>
            <p:nvPr/>
          </p:nvSpPr>
          <p:spPr bwMode="auto">
            <a:xfrm>
              <a:off x="8501063" y="1795463"/>
              <a:ext cx="92075" cy="392112"/>
            </a:xfrm>
            <a:custGeom>
              <a:avLst/>
              <a:gdLst/>
              <a:ahLst/>
              <a:cxnLst>
                <a:cxn ang="0">
                  <a:pos x="80" y="0"/>
                </a:cxn>
                <a:cxn ang="0">
                  <a:pos x="102" y="25"/>
                </a:cxn>
                <a:cxn ang="0">
                  <a:pos x="140" y="211"/>
                </a:cxn>
                <a:cxn ang="0">
                  <a:pos x="123" y="283"/>
                </a:cxn>
                <a:cxn ang="0">
                  <a:pos x="131" y="385"/>
                </a:cxn>
                <a:cxn ang="0">
                  <a:pos x="216" y="668"/>
                </a:cxn>
                <a:cxn ang="0">
                  <a:pos x="254" y="749"/>
                </a:cxn>
                <a:cxn ang="0">
                  <a:pos x="182" y="677"/>
                </a:cxn>
                <a:cxn ang="0">
                  <a:pos x="119" y="694"/>
                </a:cxn>
                <a:cxn ang="0">
                  <a:pos x="80" y="888"/>
                </a:cxn>
                <a:cxn ang="0">
                  <a:pos x="123" y="977"/>
                </a:cxn>
                <a:cxn ang="0">
                  <a:pos x="153" y="994"/>
                </a:cxn>
                <a:cxn ang="0">
                  <a:pos x="161" y="1058"/>
                </a:cxn>
                <a:cxn ang="0">
                  <a:pos x="153" y="1079"/>
                </a:cxn>
                <a:cxn ang="0">
                  <a:pos x="144" y="1020"/>
                </a:cxn>
                <a:cxn ang="0">
                  <a:pos x="80" y="1003"/>
                </a:cxn>
                <a:cxn ang="0">
                  <a:pos x="42" y="1087"/>
                </a:cxn>
                <a:cxn ang="0">
                  <a:pos x="25" y="1079"/>
                </a:cxn>
                <a:cxn ang="0">
                  <a:pos x="21" y="1003"/>
                </a:cxn>
                <a:cxn ang="0">
                  <a:pos x="46" y="838"/>
                </a:cxn>
                <a:cxn ang="0">
                  <a:pos x="21" y="753"/>
                </a:cxn>
                <a:cxn ang="0">
                  <a:pos x="46" y="592"/>
                </a:cxn>
                <a:cxn ang="0">
                  <a:pos x="34" y="495"/>
                </a:cxn>
                <a:cxn ang="0">
                  <a:pos x="42" y="427"/>
                </a:cxn>
                <a:cxn ang="0">
                  <a:pos x="4" y="364"/>
                </a:cxn>
                <a:cxn ang="0">
                  <a:pos x="0" y="279"/>
                </a:cxn>
                <a:cxn ang="0">
                  <a:pos x="17" y="118"/>
                </a:cxn>
                <a:cxn ang="0">
                  <a:pos x="68" y="127"/>
                </a:cxn>
                <a:cxn ang="0">
                  <a:pos x="89" y="89"/>
                </a:cxn>
                <a:cxn ang="0">
                  <a:pos x="55" y="8"/>
                </a:cxn>
                <a:cxn ang="0">
                  <a:pos x="80" y="0"/>
                </a:cxn>
              </a:cxnLst>
              <a:rect l="0" t="0" r="r" b="b"/>
              <a:pathLst>
                <a:path w="255" h="1088">
                  <a:moveTo>
                    <a:pt x="80" y="0"/>
                  </a:moveTo>
                  <a:lnTo>
                    <a:pt x="102" y="25"/>
                  </a:lnTo>
                  <a:lnTo>
                    <a:pt x="140" y="211"/>
                  </a:lnTo>
                  <a:lnTo>
                    <a:pt x="123" y="283"/>
                  </a:lnTo>
                  <a:lnTo>
                    <a:pt x="131" y="385"/>
                  </a:lnTo>
                  <a:lnTo>
                    <a:pt x="216" y="668"/>
                  </a:lnTo>
                  <a:lnTo>
                    <a:pt x="254" y="749"/>
                  </a:lnTo>
                  <a:lnTo>
                    <a:pt x="182" y="677"/>
                  </a:lnTo>
                  <a:lnTo>
                    <a:pt x="119" y="694"/>
                  </a:lnTo>
                  <a:lnTo>
                    <a:pt x="80" y="888"/>
                  </a:lnTo>
                  <a:lnTo>
                    <a:pt x="123" y="977"/>
                  </a:lnTo>
                  <a:lnTo>
                    <a:pt x="153" y="994"/>
                  </a:lnTo>
                  <a:lnTo>
                    <a:pt x="161" y="1058"/>
                  </a:lnTo>
                  <a:lnTo>
                    <a:pt x="153" y="1079"/>
                  </a:lnTo>
                  <a:lnTo>
                    <a:pt x="144" y="1020"/>
                  </a:lnTo>
                  <a:lnTo>
                    <a:pt x="80" y="1003"/>
                  </a:lnTo>
                  <a:lnTo>
                    <a:pt x="42" y="1087"/>
                  </a:lnTo>
                  <a:lnTo>
                    <a:pt x="25" y="1079"/>
                  </a:lnTo>
                  <a:lnTo>
                    <a:pt x="21" y="1003"/>
                  </a:lnTo>
                  <a:lnTo>
                    <a:pt x="46" y="838"/>
                  </a:lnTo>
                  <a:lnTo>
                    <a:pt x="21" y="753"/>
                  </a:lnTo>
                  <a:lnTo>
                    <a:pt x="46" y="592"/>
                  </a:lnTo>
                  <a:lnTo>
                    <a:pt x="34" y="495"/>
                  </a:lnTo>
                  <a:lnTo>
                    <a:pt x="42" y="427"/>
                  </a:lnTo>
                  <a:lnTo>
                    <a:pt x="4" y="364"/>
                  </a:lnTo>
                  <a:lnTo>
                    <a:pt x="0" y="279"/>
                  </a:lnTo>
                  <a:lnTo>
                    <a:pt x="17" y="118"/>
                  </a:lnTo>
                  <a:lnTo>
                    <a:pt x="68" y="127"/>
                  </a:lnTo>
                  <a:lnTo>
                    <a:pt x="89" y="89"/>
                  </a:lnTo>
                  <a:lnTo>
                    <a:pt x="55" y="8"/>
                  </a:lnTo>
                  <a:lnTo>
                    <a:pt x="80"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7" name="Freeform 472"/>
            <p:cNvSpPr>
              <a:spLocks noChangeArrowheads="1"/>
            </p:cNvSpPr>
            <p:nvPr/>
          </p:nvSpPr>
          <p:spPr bwMode="auto">
            <a:xfrm>
              <a:off x="4899025" y="1536700"/>
              <a:ext cx="30163" cy="20638"/>
            </a:xfrm>
            <a:custGeom>
              <a:avLst/>
              <a:gdLst/>
              <a:ahLst/>
              <a:cxnLst>
                <a:cxn ang="0">
                  <a:pos x="31" y="55"/>
                </a:cxn>
                <a:cxn ang="0">
                  <a:pos x="2" y="25"/>
                </a:cxn>
                <a:cxn ang="0">
                  <a:pos x="0" y="21"/>
                </a:cxn>
                <a:cxn ang="0">
                  <a:pos x="4" y="17"/>
                </a:cxn>
                <a:cxn ang="0">
                  <a:pos x="63" y="1"/>
                </a:cxn>
                <a:cxn ang="0">
                  <a:pos x="64" y="0"/>
                </a:cxn>
                <a:cxn ang="0">
                  <a:pos x="69" y="3"/>
                </a:cxn>
                <a:cxn ang="0">
                  <a:pos x="81" y="28"/>
                </a:cxn>
                <a:cxn ang="0">
                  <a:pos x="82" y="32"/>
                </a:cxn>
                <a:cxn ang="0">
                  <a:pos x="79" y="35"/>
                </a:cxn>
                <a:cxn ang="0">
                  <a:pos x="37" y="56"/>
                </a:cxn>
                <a:cxn ang="0">
                  <a:pos x="35" y="56"/>
                </a:cxn>
                <a:cxn ang="0">
                  <a:pos x="31" y="55"/>
                </a:cxn>
              </a:cxnLst>
              <a:rect l="0" t="0" r="r" b="b"/>
              <a:pathLst>
                <a:path w="83" h="57">
                  <a:moveTo>
                    <a:pt x="31" y="55"/>
                  </a:moveTo>
                  <a:lnTo>
                    <a:pt x="2" y="25"/>
                  </a:lnTo>
                  <a:cubicBezTo>
                    <a:pt x="0" y="24"/>
                    <a:pt x="0" y="22"/>
                    <a:pt x="0" y="21"/>
                  </a:cubicBezTo>
                  <a:cubicBezTo>
                    <a:pt x="1" y="19"/>
                    <a:pt x="2" y="18"/>
                    <a:pt x="4" y="17"/>
                  </a:cubicBezTo>
                  <a:lnTo>
                    <a:pt x="63" y="1"/>
                  </a:lnTo>
                  <a:cubicBezTo>
                    <a:pt x="63" y="0"/>
                    <a:pt x="64" y="0"/>
                    <a:pt x="64" y="0"/>
                  </a:cubicBezTo>
                  <a:cubicBezTo>
                    <a:pt x="66" y="0"/>
                    <a:pt x="68" y="1"/>
                    <a:pt x="69" y="3"/>
                  </a:cubicBezTo>
                  <a:lnTo>
                    <a:pt x="81" y="28"/>
                  </a:lnTo>
                  <a:cubicBezTo>
                    <a:pt x="82" y="29"/>
                    <a:pt x="82" y="31"/>
                    <a:pt x="82" y="32"/>
                  </a:cubicBezTo>
                  <a:cubicBezTo>
                    <a:pt x="81" y="33"/>
                    <a:pt x="80" y="34"/>
                    <a:pt x="79" y="35"/>
                  </a:cubicBezTo>
                  <a:lnTo>
                    <a:pt x="37" y="56"/>
                  </a:lnTo>
                  <a:cubicBezTo>
                    <a:pt x="36" y="56"/>
                    <a:pt x="36" y="56"/>
                    <a:pt x="35" y="56"/>
                  </a:cubicBezTo>
                  <a:cubicBezTo>
                    <a:pt x="33" y="56"/>
                    <a:pt x="32" y="56"/>
                    <a:pt x="31" y="5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8" name="Freeform 473"/>
            <p:cNvSpPr>
              <a:spLocks noChangeArrowheads="1"/>
            </p:cNvSpPr>
            <p:nvPr/>
          </p:nvSpPr>
          <p:spPr bwMode="auto">
            <a:xfrm>
              <a:off x="4899025" y="1536700"/>
              <a:ext cx="30163" cy="20638"/>
            </a:xfrm>
            <a:custGeom>
              <a:avLst/>
              <a:gdLst/>
              <a:ahLst/>
              <a:cxnLst>
                <a:cxn ang="0">
                  <a:pos x="35" y="56"/>
                </a:cxn>
                <a:cxn ang="0">
                  <a:pos x="31" y="55"/>
                </a:cxn>
                <a:cxn ang="0">
                  <a:pos x="2" y="25"/>
                </a:cxn>
                <a:cxn ang="0">
                  <a:pos x="0" y="21"/>
                </a:cxn>
                <a:cxn ang="0">
                  <a:pos x="4" y="17"/>
                </a:cxn>
                <a:cxn ang="0">
                  <a:pos x="63" y="1"/>
                </a:cxn>
                <a:cxn ang="0">
                  <a:pos x="64" y="0"/>
                </a:cxn>
                <a:cxn ang="0">
                  <a:pos x="69" y="3"/>
                </a:cxn>
                <a:cxn ang="0">
                  <a:pos x="81" y="28"/>
                </a:cxn>
                <a:cxn ang="0">
                  <a:pos x="82" y="32"/>
                </a:cxn>
                <a:cxn ang="0">
                  <a:pos x="79" y="35"/>
                </a:cxn>
                <a:cxn ang="0">
                  <a:pos x="37" y="56"/>
                </a:cxn>
                <a:cxn ang="0">
                  <a:pos x="35" y="56"/>
                </a:cxn>
              </a:cxnLst>
              <a:rect l="0" t="0" r="r" b="b"/>
              <a:pathLst>
                <a:path w="83" h="57">
                  <a:moveTo>
                    <a:pt x="35" y="56"/>
                  </a:moveTo>
                  <a:cubicBezTo>
                    <a:pt x="33" y="56"/>
                    <a:pt x="32" y="56"/>
                    <a:pt x="31" y="55"/>
                  </a:cubicBezTo>
                  <a:lnTo>
                    <a:pt x="2" y="25"/>
                  </a:lnTo>
                  <a:cubicBezTo>
                    <a:pt x="0" y="24"/>
                    <a:pt x="0" y="22"/>
                    <a:pt x="0" y="21"/>
                  </a:cubicBezTo>
                  <a:cubicBezTo>
                    <a:pt x="1" y="19"/>
                    <a:pt x="2" y="18"/>
                    <a:pt x="4" y="17"/>
                  </a:cubicBezTo>
                  <a:lnTo>
                    <a:pt x="63" y="1"/>
                  </a:lnTo>
                  <a:cubicBezTo>
                    <a:pt x="63" y="0"/>
                    <a:pt x="64" y="0"/>
                    <a:pt x="64" y="0"/>
                  </a:cubicBezTo>
                  <a:cubicBezTo>
                    <a:pt x="66" y="0"/>
                    <a:pt x="68" y="1"/>
                    <a:pt x="69" y="3"/>
                  </a:cubicBezTo>
                  <a:lnTo>
                    <a:pt x="81" y="28"/>
                  </a:lnTo>
                  <a:cubicBezTo>
                    <a:pt x="82" y="29"/>
                    <a:pt x="82" y="31"/>
                    <a:pt x="82" y="32"/>
                  </a:cubicBezTo>
                  <a:cubicBezTo>
                    <a:pt x="81" y="33"/>
                    <a:pt x="80" y="34"/>
                    <a:pt x="79" y="35"/>
                  </a:cubicBezTo>
                  <a:lnTo>
                    <a:pt x="37" y="56"/>
                  </a:lnTo>
                  <a:cubicBezTo>
                    <a:pt x="36" y="56"/>
                    <a:pt x="36" y="56"/>
                    <a:pt x="35" y="5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79" name="Freeform 474"/>
            <p:cNvSpPr>
              <a:spLocks noChangeArrowheads="1"/>
            </p:cNvSpPr>
            <p:nvPr/>
          </p:nvSpPr>
          <p:spPr bwMode="auto">
            <a:xfrm>
              <a:off x="4894263" y="1562100"/>
              <a:ext cx="42862" cy="36513"/>
            </a:xfrm>
            <a:custGeom>
              <a:avLst/>
              <a:gdLst/>
              <a:ahLst/>
              <a:cxnLst>
                <a:cxn ang="0">
                  <a:pos x="98" y="0"/>
                </a:cxn>
                <a:cxn ang="0">
                  <a:pos x="119" y="25"/>
                </a:cxn>
                <a:cxn ang="0">
                  <a:pos x="43" y="50"/>
                </a:cxn>
                <a:cxn ang="0">
                  <a:pos x="21" y="101"/>
                </a:cxn>
                <a:cxn ang="0">
                  <a:pos x="21" y="67"/>
                </a:cxn>
                <a:cxn ang="0">
                  <a:pos x="0" y="50"/>
                </a:cxn>
                <a:cxn ang="0">
                  <a:pos x="0" y="16"/>
                </a:cxn>
                <a:cxn ang="0">
                  <a:pos x="98" y="0"/>
                </a:cxn>
              </a:cxnLst>
              <a:rect l="0" t="0" r="r" b="b"/>
              <a:pathLst>
                <a:path w="120" h="102">
                  <a:moveTo>
                    <a:pt x="98" y="0"/>
                  </a:moveTo>
                  <a:lnTo>
                    <a:pt x="119" y="25"/>
                  </a:lnTo>
                  <a:lnTo>
                    <a:pt x="43" y="50"/>
                  </a:lnTo>
                  <a:lnTo>
                    <a:pt x="21" y="101"/>
                  </a:lnTo>
                  <a:lnTo>
                    <a:pt x="21" y="67"/>
                  </a:lnTo>
                  <a:lnTo>
                    <a:pt x="0" y="50"/>
                  </a:lnTo>
                  <a:lnTo>
                    <a:pt x="0" y="16"/>
                  </a:lnTo>
                  <a:lnTo>
                    <a:pt x="98"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0" name="Freeform 475"/>
            <p:cNvSpPr>
              <a:spLocks noChangeArrowheads="1"/>
            </p:cNvSpPr>
            <p:nvPr/>
          </p:nvSpPr>
          <p:spPr bwMode="auto">
            <a:xfrm>
              <a:off x="4894263" y="1562100"/>
              <a:ext cx="42862" cy="36513"/>
            </a:xfrm>
            <a:custGeom>
              <a:avLst/>
              <a:gdLst/>
              <a:ahLst/>
              <a:cxnLst>
                <a:cxn ang="0">
                  <a:pos x="98" y="0"/>
                </a:cxn>
                <a:cxn ang="0">
                  <a:pos x="119" y="25"/>
                </a:cxn>
                <a:cxn ang="0">
                  <a:pos x="43" y="50"/>
                </a:cxn>
                <a:cxn ang="0">
                  <a:pos x="21" y="101"/>
                </a:cxn>
                <a:cxn ang="0">
                  <a:pos x="21" y="67"/>
                </a:cxn>
                <a:cxn ang="0">
                  <a:pos x="0" y="50"/>
                </a:cxn>
                <a:cxn ang="0">
                  <a:pos x="0" y="16"/>
                </a:cxn>
                <a:cxn ang="0">
                  <a:pos x="98" y="0"/>
                </a:cxn>
              </a:cxnLst>
              <a:rect l="0" t="0" r="r" b="b"/>
              <a:pathLst>
                <a:path w="120" h="102">
                  <a:moveTo>
                    <a:pt x="98" y="0"/>
                  </a:moveTo>
                  <a:lnTo>
                    <a:pt x="119" y="25"/>
                  </a:lnTo>
                  <a:lnTo>
                    <a:pt x="43" y="50"/>
                  </a:lnTo>
                  <a:lnTo>
                    <a:pt x="21" y="101"/>
                  </a:lnTo>
                  <a:lnTo>
                    <a:pt x="21" y="67"/>
                  </a:lnTo>
                  <a:lnTo>
                    <a:pt x="0" y="50"/>
                  </a:lnTo>
                  <a:lnTo>
                    <a:pt x="0" y="16"/>
                  </a:lnTo>
                  <a:lnTo>
                    <a:pt x="98"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1" name="Freeform 476"/>
            <p:cNvSpPr>
              <a:spLocks noChangeArrowheads="1"/>
            </p:cNvSpPr>
            <p:nvPr/>
          </p:nvSpPr>
          <p:spPr bwMode="auto">
            <a:xfrm>
              <a:off x="4894263" y="1562100"/>
              <a:ext cx="42862" cy="36513"/>
            </a:xfrm>
            <a:custGeom>
              <a:avLst/>
              <a:gdLst/>
              <a:ahLst/>
              <a:cxnLst>
                <a:cxn ang="0">
                  <a:pos x="0" y="16"/>
                </a:cxn>
                <a:cxn ang="0">
                  <a:pos x="98" y="0"/>
                </a:cxn>
                <a:cxn ang="0">
                  <a:pos x="119" y="25"/>
                </a:cxn>
                <a:cxn ang="0">
                  <a:pos x="43" y="50"/>
                </a:cxn>
                <a:cxn ang="0">
                  <a:pos x="21" y="101"/>
                </a:cxn>
                <a:cxn ang="0">
                  <a:pos x="21" y="67"/>
                </a:cxn>
                <a:cxn ang="0">
                  <a:pos x="0" y="50"/>
                </a:cxn>
                <a:cxn ang="0">
                  <a:pos x="0" y="16"/>
                </a:cxn>
              </a:cxnLst>
              <a:rect l="0" t="0" r="r" b="b"/>
              <a:pathLst>
                <a:path w="120" h="102">
                  <a:moveTo>
                    <a:pt x="0" y="16"/>
                  </a:moveTo>
                  <a:lnTo>
                    <a:pt x="98" y="0"/>
                  </a:lnTo>
                  <a:lnTo>
                    <a:pt x="119" y="25"/>
                  </a:lnTo>
                  <a:lnTo>
                    <a:pt x="43" y="50"/>
                  </a:lnTo>
                  <a:lnTo>
                    <a:pt x="21" y="101"/>
                  </a:lnTo>
                  <a:lnTo>
                    <a:pt x="21" y="67"/>
                  </a:lnTo>
                  <a:lnTo>
                    <a:pt x="0" y="50"/>
                  </a:lnTo>
                  <a:lnTo>
                    <a:pt x="0" y="1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2" name="Freeform 477"/>
            <p:cNvSpPr>
              <a:spLocks noChangeArrowheads="1"/>
            </p:cNvSpPr>
            <p:nvPr/>
          </p:nvSpPr>
          <p:spPr bwMode="auto">
            <a:xfrm>
              <a:off x="4894263" y="1562100"/>
              <a:ext cx="42862" cy="36513"/>
            </a:xfrm>
            <a:custGeom>
              <a:avLst/>
              <a:gdLst/>
              <a:ahLst/>
              <a:cxnLst>
                <a:cxn ang="0">
                  <a:pos x="98" y="0"/>
                </a:cxn>
                <a:cxn ang="0">
                  <a:pos x="119" y="25"/>
                </a:cxn>
                <a:cxn ang="0">
                  <a:pos x="43" y="50"/>
                </a:cxn>
                <a:cxn ang="0">
                  <a:pos x="21" y="101"/>
                </a:cxn>
                <a:cxn ang="0">
                  <a:pos x="21" y="67"/>
                </a:cxn>
                <a:cxn ang="0">
                  <a:pos x="0" y="50"/>
                </a:cxn>
                <a:cxn ang="0">
                  <a:pos x="0" y="16"/>
                </a:cxn>
                <a:cxn ang="0">
                  <a:pos x="98" y="0"/>
                </a:cxn>
              </a:cxnLst>
              <a:rect l="0" t="0" r="r" b="b"/>
              <a:pathLst>
                <a:path w="120" h="102">
                  <a:moveTo>
                    <a:pt x="98" y="0"/>
                  </a:moveTo>
                  <a:lnTo>
                    <a:pt x="119" y="25"/>
                  </a:lnTo>
                  <a:lnTo>
                    <a:pt x="43" y="50"/>
                  </a:lnTo>
                  <a:lnTo>
                    <a:pt x="21" y="101"/>
                  </a:lnTo>
                  <a:lnTo>
                    <a:pt x="21" y="67"/>
                  </a:lnTo>
                  <a:lnTo>
                    <a:pt x="0" y="50"/>
                  </a:lnTo>
                  <a:lnTo>
                    <a:pt x="0" y="16"/>
                  </a:lnTo>
                  <a:lnTo>
                    <a:pt x="98"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3" name="Freeform 478"/>
            <p:cNvSpPr>
              <a:spLocks noChangeArrowheads="1"/>
            </p:cNvSpPr>
            <p:nvPr/>
          </p:nvSpPr>
          <p:spPr bwMode="auto">
            <a:xfrm>
              <a:off x="8348663" y="4876800"/>
              <a:ext cx="49212" cy="19050"/>
            </a:xfrm>
            <a:custGeom>
              <a:avLst/>
              <a:gdLst/>
              <a:ahLst/>
              <a:cxnLst>
                <a:cxn ang="0">
                  <a:pos x="13" y="51"/>
                </a:cxn>
                <a:cxn ang="0">
                  <a:pos x="8" y="48"/>
                </a:cxn>
                <a:cxn ang="0">
                  <a:pos x="0" y="22"/>
                </a:cxn>
                <a:cxn ang="0">
                  <a:pos x="0" y="19"/>
                </a:cxn>
                <a:cxn ang="0">
                  <a:pos x="3" y="16"/>
                </a:cxn>
                <a:cxn ang="0">
                  <a:pos x="67" y="0"/>
                </a:cxn>
                <a:cxn ang="0">
                  <a:pos x="134" y="29"/>
                </a:cxn>
                <a:cxn ang="0">
                  <a:pos x="136" y="34"/>
                </a:cxn>
                <a:cxn ang="0">
                  <a:pos x="132" y="38"/>
                </a:cxn>
                <a:cxn ang="0">
                  <a:pos x="34" y="51"/>
                </a:cxn>
                <a:cxn ang="0">
                  <a:pos x="13" y="51"/>
                </a:cxn>
              </a:cxnLst>
              <a:rect l="0" t="0" r="r" b="b"/>
              <a:pathLst>
                <a:path w="138" h="52">
                  <a:moveTo>
                    <a:pt x="13" y="51"/>
                  </a:moveTo>
                  <a:cubicBezTo>
                    <a:pt x="11" y="51"/>
                    <a:pt x="9" y="50"/>
                    <a:pt x="8" y="48"/>
                  </a:cubicBezTo>
                  <a:lnTo>
                    <a:pt x="0" y="22"/>
                  </a:lnTo>
                  <a:cubicBezTo>
                    <a:pt x="0" y="21"/>
                    <a:pt x="0" y="20"/>
                    <a:pt x="0" y="19"/>
                  </a:cubicBezTo>
                  <a:cubicBezTo>
                    <a:pt x="1" y="18"/>
                    <a:pt x="2" y="17"/>
                    <a:pt x="3" y="16"/>
                  </a:cubicBezTo>
                  <a:lnTo>
                    <a:pt x="67" y="0"/>
                  </a:lnTo>
                  <a:lnTo>
                    <a:pt x="134" y="29"/>
                  </a:lnTo>
                  <a:cubicBezTo>
                    <a:pt x="136" y="30"/>
                    <a:pt x="137" y="32"/>
                    <a:pt x="136" y="34"/>
                  </a:cubicBezTo>
                  <a:cubicBezTo>
                    <a:pt x="136" y="36"/>
                    <a:pt x="134" y="38"/>
                    <a:pt x="132" y="38"/>
                  </a:cubicBezTo>
                  <a:lnTo>
                    <a:pt x="34" y="51"/>
                  </a:lnTo>
                  <a:lnTo>
                    <a:pt x="13" y="5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4" name="Freeform 479"/>
            <p:cNvSpPr>
              <a:spLocks noChangeArrowheads="1"/>
            </p:cNvSpPr>
            <p:nvPr/>
          </p:nvSpPr>
          <p:spPr bwMode="auto">
            <a:xfrm>
              <a:off x="8348663" y="4876800"/>
              <a:ext cx="49212" cy="19050"/>
            </a:xfrm>
            <a:custGeom>
              <a:avLst/>
              <a:gdLst/>
              <a:ahLst/>
              <a:cxnLst>
                <a:cxn ang="0">
                  <a:pos x="13" y="51"/>
                </a:cxn>
                <a:cxn ang="0">
                  <a:pos x="8" y="48"/>
                </a:cxn>
                <a:cxn ang="0">
                  <a:pos x="0" y="22"/>
                </a:cxn>
                <a:cxn ang="0">
                  <a:pos x="0" y="19"/>
                </a:cxn>
                <a:cxn ang="0">
                  <a:pos x="3" y="16"/>
                </a:cxn>
                <a:cxn ang="0">
                  <a:pos x="67" y="0"/>
                </a:cxn>
                <a:cxn ang="0">
                  <a:pos x="134" y="29"/>
                </a:cxn>
                <a:cxn ang="0">
                  <a:pos x="136" y="34"/>
                </a:cxn>
                <a:cxn ang="0">
                  <a:pos x="132" y="38"/>
                </a:cxn>
                <a:cxn ang="0">
                  <a:pos x="34" y="51"/>
                </a:cxn>
                <a:cxn ang="0">
                  <a:pos x="13" y="51"/>
                </a:cxn>
              </a:cxnLst>
              <a:rect l="0" t="0" r="r" b="b"/>
              <a:pathLst>
                <a:path w="138" h="52">
                  <a:moveTo>
                    <a:pt x="13" y="51"/>
                  </a:moveTo>
                  <a:cubicBezTo>
                    <a:pt x="11" y="51"/>
                    <a:pt x="9" y="50"/>
                    <a:pt x="8" y="48"/>
                  </a:cubicBezTo>
                  <a:lnTo>
                    <a:pt x="0" y="22"/>
                  </a:lnTo>
                  <a:cubicBezTo>
                    <a:pt x="0" y="21"/>
                    <a:pt x="0" y="20"/>
                    <a:pt x="0" y="19"/>
                  </a:cubicBezTo>
                  <a:cubicBezTo>
                    <a:pt x="1" y="18"/>
                    <a:pt x="2" y="17"/>
                    <a:pt x="3" y="16"/>
                  </a:cubicBezTo>
                  <a:lnTo>
                    <a:pt x="67" y="0"/>
                  </a:lnTo>
                  <a:lnTo>
                    <a:pt x="134" y="29"/>
                  </a:lnTo>
                  <a:cubicBezTo>
                    <a:pt x="136" y="30"/>
                    <a:pt x="137" y="32"/>
                    <a:pt x="136" y="34"/>
                  </a:cubicBezTo>
                  <a:cubicBezTo>
                    <a:pt x="136" y="36"/>
                    <a:pt x="134" y="38"/>
                    <a:pt x="132" y="38"/>
                  </a:cubicBezTo>
                  <a:lnTo>
                    <a:pt x="34" y="51"/>
                  </a:lnTo>
                  <a:lnTo>
                    <a:pt x="13" y="5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5" name="Freeform 480"/>
            <p:cNvSpPr>
              <a:spLocks noChangeArrowheads="1"/>
            </p:cNvSpPr>
            <p:nvPr/>
          </p:nvSpPr>
          <p:spPr bwMode="auto">
            <a:xfrm>
              <a:off x="7645400" y="4057650"/>
              <a:ext cx="1217613" cy="955675"/>
            </a:xfrm>
            <a:custGeom>
              <a:avLst/>
              <a:gdLst/>
              <a:ahLst/>
              <a:cxnLst>
                <a:cxn ang="0">
                  <a:pos x="2653" y="2569"/>
                </a:cxn>
                <a:cxn ang="0">
                  <a:pos x="2638" y="2543"/>
                </a:cxn>
                <a:cxn ang="0">
                  <a:pos x="2451" y="2573"/>
                </a:cxn>
                <a:cxn ang="0">
                  <a:pos x="2242" y="2470"/>
                </a:cxn>
                <a:cxn ang="0">
                  <a:pos x="2184" y="2262"/>
                </a:cxn>
                <a:cxn ang="0">
                  <a:pos x="2114" y="2196"/>
                </a:cxn>
                <a:cxn ang="0">
                  <a:pos x="1983" y="2238"/>
                </a:cxn>
                <a:cxn ang="0">
                  <a:pos x="2076" y="2030"/>
                </a:cxn>
                <a:cxn ang="0">
                  <a:pos x="1911" y="2222"/>
                </a:cxn>
                <a:cxn ang="0">
                  <a:pos x="1834" y="2163"/>
                </a:cxn>
                <a:cxn ang="0">
                  <a:pos x="1801" y="2038"/>
                </a:cxn>
                <a:cxn ang="0">
                  <a:pos x="1698" y="1946"/>
                </a:cxn>
                <a:cxn ang="0">
                  <a:pos x="1603" y="1929"/>
                </a:cxn>
                <a:cxn ang="0">
                  <a:pos x="917" y="2023"/>
                </a:cxn>
                <a:cxn ang="0">
                  <a:pos x="484" y="2167"/>
                </a:cxn>
                <a:cxn ang="0">
                  <a:pos x="250" y="2205"/>
                </a:cxn>
                <a:cxn ang="0">
                  <a:pos x="192" y="2069"/>
                </a:cxn>
                <a:cxn ang="0">
                  <a:pos x="59" y="1449"/>
                </a:cxn>
                <a:cxn ang="0">
                  <a:pos x="40" y="1399"/>
                </a:cxn>
                <a:cxn ang="0">
                  <a:pos x="64" y="1375"/>
                </a:cxn>
                <a:cxn ang="0">
                  <a:pos x="64" y="971"/>
                </a:cxn>
                <a:cxn ang="0">
                  <a:pos x="106" y="972"/>
                </a:cxn>
                <a:cxn ang="0">
                  <a:pos x="370" y="863"/>
                </a:cxn>
                <a:cxn ang="0">
                  <a:pos x="693" y="733"/>
                </a:cxn>
                <a:cxn ang="0">
                  <a:pos x="797" y="522"/>
                </a:cxn>
                <a:cxn ang="0">
                  <a:pos x="864" y="554"/>
                </a:cxn>
                <a:cxn ang="0">
                  <a:pos x="897" y="470"/>
                </a:cxn>
                <a:cxn ang="0">
                  <a:pos x="928" y="485"/>
                </a:cxn>
                <a:cxn ang="0">
                  <a:pos x="980" y="374"/>
                </a:cxn>
                <a:cxn ang="0">
                  <a:pos x="999" y="339"/>
                </a:cxn>
                <a:cxn ang="0">
                  <a:pos x="1063" y="284"/>
                </a:cxn>
                <a:cxn ang="0">
                  <a:pos x="1144" y="271"/>
                </a:cxn>
                <a:cxn ang="0">
                  <a:pos x="1250" y="379"/>
                </a:cxn>
                <a:cxn ang="0">
                  <a:pos x="1375" y="360"/>
                </a:cxn>
                <a:cxn ang="0">
                  <a:pos x="1423" y="225"/>
                </a:cxn>
                <a:cxn ang="0">
                  <a:pos x="1455" y="162"/>
                </a:cxn>
                <a:cxn ang="0">
                  <a:pos x="1488" y="141"/>
                </a:cxn>
                <a:cxn ang="0">
                  <a:pos x="1550" y="65"/>
                </a:cxn>
                <a:cxn ang="0">
                  <a:pos x="1585" y="53"/>
                </a:cxn>
                <a:cxn ang="0">
                  <a:pos x="1639" y="64"/>
                </a:cxn>
                <a:cxn ang="0">
                  <a:pos x="1800" y="119"/>
                </a:cxn>
                <a:cxn ang="0">
                  <a:pos x="1899" y="127"/>
                </a:cxn>
                <a:cxn ang="0">
                  <a:pos x="1946" y="110"/>
                </a:cxn>
                <a:cxn ang="0">
                  <a:pos x="1955" y="192"/>
                </a:cxn>
                <a:cxn ang="0">
                  <a:pos x="1928" y="243"/>
                </a:cxn>
                <a:cxn ang="0">
                  <a:pos x="1909" y="259"/>
                </a:cxn>
                <a:cxn ang="0">
                  <a:pos x="1941" y="406"/>
                </a:cxn>
                <a:cxn ang="0">
                  <a:pos x="2161" y="531"/>
                </a:cxn>
                <a:cxn ang="0">
                  <a:pos x="2364" y="259"/>
                </a:cxn>
                <a:cxn ang="0">
                  <a:pos x="2466" y="0"/>
                </a:cxn>
                <a:cxn ang="0">
                  <a:pos x="2505" y="111"/>
                </a:cxn>
                <a:cxn ang="0">
                  <a:pos x="2627" y="309"/>
                </a:cxn>
                <a:cxn ang="0">
                  <a:pos x="2763" y="671"/>
                </a:cxn>
                <a:cxn ang="0">
                  <a:pos x="2873" y="744"/>
                </a:cxn>
                <a:cxn ang="0">
                  <a:pos x="3006" y="881"/>
                </a:cxn>
                <a:cxn ang="0">
                  <a:pos x="3089" y="990"/>
                </a:cxn>
                <a:cxn ang="0">
                  <a:pos x="3144" y="1020"/>
                </a:cxn>
                <a:cxn ang="0">
                  <a:pos x="3335" y="1859"/>
                </a:cxn>
                <a:cxn ang="0">
                  <a:pos x="3144" y="2248"/>
                </a:cxn>
                <a:cxn ang="0">
                  <a:pos x="3032" y="2510"/>
                </a:cxn>
                <a:cxn ang="0">
                  <a:pos x="2800" y="2617"/>
                </a:cxn>
              </a:cxnLst>
              <a:rect l="0" t="0" r="r" b="b"/>
              <a:pathLst>
                <a:path w="3383" h="2655">
                  <a:moveTo>
                    <a:pt x="2784" y="2654"/>
                  </a:moveTo>
                  <a:cubicBezTo>
                    <a:pt x="2783" y="2654"/>
                    <a:pt x="2781" y="2653"/>
                    <a:pt x="2781" y="2653"/>
                  </a:cubicBezTo>
                  <a:lnTo>
                    <a:pt x="2708" y="2589"/>
                  </a:lnTo>
                  <a:lnTo>
                    <a:pt x="2696" y="2557"/>
                  </a:lnTo>
                  <a:lnTo>
                    <a:pt x="2654" y="2569"/>
                  </a:lnTo>
                  <a:cubicBezTo>
                    <a:pt x="2653" y="2569"/>
                    <a:pt x="2653" y="2569"/>
                    <a:pt x="2653" y="2569"/>
                  </a:cubicBezTo>
                  <a:cubicBezTo>
                    <a:pt x="2651" y="2569"/>
                    <a:pt x="2649" y="2568"/>
                    <a:pt x="2649" y="2567"/>
                  </a:cubicBezTo>
                  <a:cubicBezTo>
                    <a:pt x="2647" y="2566"/>
                    <a:pt x="2647" y="2563"/>
                    <a:pt x="2648" y="2562"/>
                  </a:cubicBezTo>
                  <a:lnTo>
                    <a:pt x="2664" y="2539"/>
                  </a:lnTo>
                  <a:lnTo>
                    <a:pt x="2651" y="2516"/>
                  </a:lnTo>
                  <a:lnTo>
                    <a:pt x="2623" y="2535"/>
                  </a:lnTo>
                  <a:lnTo>
                    <a:pt x="2638" y="2543"/>
                  </a:lnTo>
                  <a:cubicBezTo>
                    <a:pt x="2639" y="2544"/>
                    <a:pt x="2640" y="2546"/>
                    <a:pt x="2640" y="2548"/>
                  </a:cubicBezTo>
                  <a:cubicBezTo>
                    <a:pt x="2640" y="2549"/>
                    <a:pt x="2639" y="2551"/>
                    <a:pt x="2638" y="2552"/>
                  </a:cubicBezTo>
                  <a:lnTo>
                    <a:pt x="2532" y="2615"/>
                  </a:lnTo>
                  <a:cubicBezTo>
                    <a:pt x="2531" y="2615"/>
                    <a:pt x="2530" y="2616"/>
                    <a:pt x="2530" y="2616"/>
                  </a:cubicBezTo>
                  <a:cubicBezTo>
                    <a:pt x="2529" y="2616"/>
                    <a:pt x="2528" y="2616"/>
                    <a:pt x="2527" y="2615"/>
                  </a:cubicBezTo>
                  <a:lnTo>
                    <a:pt x="2451" y="2573"/>
                  </a:lnTo>
                  <a:lnTo>
                    <a:pt x="2399" y="2557"/>
                  </a:lnTo>
                  <a:lnTo>
                    <a:pt x="2375" y="2569"/>
                  </a:lnTo>
                  <a:cubicBezTo>
                    <a:pt x="2374" y="2569"/>
                    <a:pt x="2374" y="2569"/>
                    <a:pt x="2373" y="2569"/>
                  </a:cubicBezTo>
                  <a:cubicBezTo>
                    <a:pt x="2372" y="2569"/>
                    <a:pt x="2371" y="2569"/>
                    <a:pt x="2371" y="2569"/>
                  </a:cubicBezTo>
                  <a:lnTo>
                    <a:pt x="2282" y="2522"/>
                  </a:lnTo>
                  <a:lnTo>
                    <a:pt x="2242" y="2470"/>
                  </a:lnTo>
                  <a:lnTo>
                    <a:pt x="2220" y="2423"/>
                  </a:lnTo>
                  <a:lnTo>
                    <a:pt x="2224" y="2378"/>
                  </a:lnTo>
                  <a:lnTo>
                    <a:pt x="2216" y="2337"/>
                  </a:lnTo>
                  <a:lnTo>
                    <a:pt x="2179" y="2292"/>
                  </a:lnTo>
                  <a:cubicBezTo>
                    <a:pt x="2178" y="2291"/>
                    <a:pt x="2177" y="2290"/>
                    <a:pt x="2178" y="2288"/>
                  </a:cubicBezTo>
                  <a:lnTo>
                    <a:pt x="2184" y="2262"/>
                  </a:lnTo>
                  <a:lnTo>
                    <a:pt x="2094" y="2286"/>
                  </a:lnTo>
                  <a:lnTo>
                    <a:pt x="2094" y="2286"/>
                  </a:lnTo>
                  <a:cubicBezTo>
                    <a:pt x="2092" y="2286"/>
                    <a:pt x="2090" y="2285"/>
                    <a:pt x="2090" y="2284"/>
                  </a:cubicBezTo>
                  <a:cubicBezTo>
                    <a:pt x="2088" y="2282"/>
                    <a:pt x="2088" y="2280"/>
                    <a:pt x="2089" y="2278"/>
                  </a:cubicBezTo>
                  <a:lnTo>
                    <a:pt x="2115" y="2240"/>
                  </a:lnTo>
                  <a:lnTo>
                    <a:pt x="2114" y="2196"/>
                  </a:lnTo>
                  <a:lnTo>
                    <a:pt x="2086" y="2149"/>
                  </a:lnTo>
                  <a:lnTo>
                    <a:pt x="2060" y="2232"/>
                  </a:lnTo>
                  <a:cubicBezTo>
                    <a:pt x="2059" y="2233"/>
                    <a:pt x="2057" y="2235"/>
                    <a:pt x="2056" y="2235"/>
                  </a:cubicBezTo>
                  <a:lnTo>
                    <a:pt x="1987" y="2243"/>
                  </a:lnTo>
                  <a:cubicBezTo>
                    <a:pt x="1986" y="2243"/>
                    <a:pt x="1985" y="2243"/>
                    <a:pt x="1984" y="2242"/>
                  </a:cubicBezTo>
                  <a:cubicBezTo>
                    <a:pt x="1983" y="2241"/>
                    <a:pt x="1982" y="2240"/>
                    <a:pt x="1983" y="2238"/>
                  </a:cubicBezTo>
                  <a:lnTo>
                    <a:pt x="1987" y="2208"/>
                  </a:lnTo>
                  <a:cubicBezTo>
                    <a:pt x="1987" y="2206"/>
                    <a:pt x="1989" y="2205"/>
                    <a:pt x="1991" y="2204"/>
                  </a:cubicBezTo>
                  <a:lnTo>
                    <a:pt x="2025" y="2201"/>
                  </a:lnTo>
                  <a:lnTo>
                    <a:pt x="2029" y="2128"/>
                  </a:lnTo>
                  <a:lnTo>
                    <a:pt x="2068" y="2067"/>
                  </a:lnTo>
                  <a:lnTo>
                    <a:pt x="2076" y="2030"/>
                  </a:lnTo>
                  <a:lnTo>
                    <a:pt x="2062" y="1990"/>
                  </a:lnTo>
                  <a:lnTo>
                    <a:pt x="2060" y="2011"/>
                  </a:lnTo>
                  <a:lnTo>
                    <a:pt x="2017" y="2089"/>
                  </a:lnTo>
                  <a:lnTo>
                    <a:pt x="1947" y="2129"/>
                  </a:lnTo>
                  <a:lnTo>
                    <a:pt x="1911" y="2182"/>
                  </a:lnTo>
                  <a:lnTo>
                    <a:pt x="1911" y="2222"/>
                  </a:lnTo>
                  <a:cubicBezTo>
                    <a:pt x="1911" y="2224"/>
                    <a:pt x="1911" y="2225"/>
                    <a:pt x="1909" y="2226"/>
                  </a:cubicBezTo>
                  <a:cubicBezTo>
                    <a:pt x="1908" y="2226"/>
                    <a:pt x="1907" y="2227"/>
                    <a:pt x="1907" y="2227"/>
                  </a:cubicBezTo>
                  <a:cubicBezTo>
                    <a:pt x="1906" y="2227"/>
                    <a:pt x="1905" y="2226"/>
                    <a:pt x="1904" y="2226"/>
                  </a:cubicBezTo>
                  <a:lnTo>
                    <a:pt x="1836" y="2183"/>
                  </a:lnTo>
                  <a:cubicBezTo>
                    <a:pt x="1835" y="2183"/>
                    <a:pt x="1834" y="2181"/>
                    <a:pt x="1834" y="2180"/>
                  </a:cubicBezTo>
                  <a:lnTo>
                    <a:pt x="1834" y="2163"/>
                  </a:lnTo>
                  <a:cubicBezTo>
                    <a:pt x="1834" y="2161"/>
                    <a:pt x="1835" y="2159"/>
                    <a:pt x="1837" y="2158"/>
                  </a:cubicBezTo>
                  <a:cubicBezTo>
                    <a:pt x="1837" y="2158"/>
                    <a:pt x="1838" y="2158"/>
                    <a:pt x="1839" y="2158"/>
                  </a:cubicBezTo>
                  <a:cubicBezTo>
                    <a:pt x="1840" y="2158"/>
                    <a:pt x="1841" y="2158"/>
                    <a:pt x="1842" y="2159"/>
                  </a:cubicBezTo>
                  <a:lnTo>
                    <a:pt x="1858" y="2170"/>
                  </a:lnTo>
                  <a:lnTo>
                    <a:pt x="1856" y="2146"/>
                  </a:lnTo>
                  <a:lnTo>
                    <a:pt x="1801" y="2038"/>
                  </a:lnTo>
                  <a:lnTo>
                    <a:pt x="1752" y="2015"/>
                  </a:lnTo>
                  <a:cubicBezTo>
                    <a:pt x="1750" y="2014"/>
                    <a:pt x="1749" y="2011"/>
                    <a:pt x="1750" y="2009"/>
                  </a:cubicBezTo>
                  <a:lnTo>
                    <a:pt x="1757" y="1975"/>
                  </a:lnTo>
                  <a:lnTo>
                    <a:pt x="1699" y="1940"/>
                  </a:lnTo>
                  <a:lnTo>
                    <a:pt x="1699" y="1941"/>
                  </a:lnTo>
                  <a:cubicBezTo>
                    <a:pt x="1700" y="1943"/>
                    <a:pt x="1700" y="1945"/>
                    <a:pt x="1698" y="1946"/>
                  </a:cubicBezTo>
                  <a:cubicBezTo>
                    <a:pt x="1697" y="1947"/>
                    <a:pt x="1696" y="1947"/>
                    <a:pt x="1695" y="1947"/>
                  </a:cubicBezTo>
                  <a:cubicBezTo>
                    <a:pt x="1694" y="1947"/>
                    <a:pt x="1694" y="1947"/>
                    <a:pt x="1693" y="1947"/>
                  </a:cubicBezTo>
                  <a:lnTo>
                    <a:pt x="1631" y="1918"/>
                  </a:lnTo>
                  <a:lnTo>
                    <a:pt x="1608" y="1930"/>
                  </a:lnTo>
                  <a:cubicBezTo>
                    <a:pt x="1608" y="1930"/>
                    <a:pt x="1607" y="1930"/>
                    <a:pt x="1606" y="1930"/>
                  </a:cubicBezTo>
                  <a:cubicBezTo>
                    <a:pt x="1605" y="1930"/>
                    <a:pt x="1604" y="1930"/>
                    <a:pt x="1603" y="1929"/>
                  </a:cubicBezTo>
                  <a:lnTo>
                    <a:pt x="1548" y="1887"/>
                  </a:lnTo>
                  <a:lnTo>
                    <a:pt x="1486" y="1875"/>
                  </a:lnTo>
                  <a:lnTo>
                    <a:pt x="1343" y="1880"/>
                  </a:lnTo>
                  <a:lnTo>
                    <a:pt x="1252" y="1930"/>
                  </a:lnTo>
                  <a:lnTo>
                    <a:pt x="1085" y="1947"/>
                  </a:lnTo>
                  <a:lnTo>
                    <a:pt x="917" y="2023"/>
                  </a:lnTo>
                  <a:lnTo>
                    <a:pt x="882" y="2097"/>
                  </a:lnTo>
                  <a:cubicBezTo>
                    <a:pt x="881" y="2099"/>
                    <a:pt x="879" y="2100"/>
                    <a:pt x="877" y="2100"/>
                  </a:cubicBezTo>
                  <a:lnTo>
                    <a:pt x="579" y="2108"/>
                  </a:lnTo>
                  <a:lnTo>
                    <a:pt x="529" y="2162"/>
                  </a:lnTo>
                  <a:cubicBezTo>
                    <a:pt x="528" y="2162"/>
                    <a:pt x="527" y="2163"/>
                    <a:pt x="526" y="2163"/>
                  </a:cubicBezTo>
                  <a:lnTo>
                    <a:pt x="484" y="2167"/>
                  </a:lnTo>
                  <a:lnTo>
                    <a:pt x="431" y="2213"/>
                  </a:lnTo>
                  <a:cubicBezTo>
                    <a:pt x="430" y="2213"/>
                    <a:pt x="429" y="2214"/>
                    <a:pt x="428" y="2214"/>
                  </a:cubicBezTo>
                  <a:lnTo>
                    <a:pt x="407" y="2214"/>
                  </a:lnTo>
                  <a:lnTo>
                    <a:pt x="403" y="2227"/>
                  </a:lnTo>
                  <a:cubicBezTo>
                    <a:pt x="403" y="2229"/>
                    <a:pt x="401" y="2231"/>
                    <a:pt x="399" y="2231"/>
                  </a:cubicBezTo>
                  <a:lnTo>
                    <a:pt x="250" y="2205"/>
                  </a:lnTo>
                  <a:lnTo>
                    <a:pt x="196" y="2149"/>
                  </a:lnTo>
                  <a:lnTo>
                    <a:pt x="165" y="2142"/>
                  </a:lnTo>
                  <a:cubicBezTo>
                    <a:pt x="162" y="2141"/>
                    <a:pt x="161" y="2139"/>
                    <a:pt x="161" y="2137"/>
                  </a:cubicBezTo>
                  <a:lnTo>
                    <a:pt x="161" y="2074"/>
                  </a:lnTo>
                  <a:cubicBezTo>
                    <a:pt x="161" y="2071"/>
                    <a:pt x="163" y="2069"/>
                    <a:pt x="166" y="2069"/>
                  </a:cubicBezTo>
                  <a:lnTo>
                    <a:pt x="192" y="2069"/>
                  </a:lnTo>
                  <a:lnTo>
                    <a:pt x="212" y="2029"/>
                  </a:lnTo>
                  <a:lnTo>
                    <a:pt x="212" y="1883"/>
                  </a:lnTo>
                  <a:lnTo>
                    <a:pt x="153" y="1758"/>
                  </a:lnTo>
                  <a:lnTo>
                    <a:pt x="144" y="1651"/>
                  </a:lnTo>
                  <a:lnTo>
                    <a:pt x="81" y="1534"/>
                  </a:lnTo>
                  <a:lnTo>
                    <a:pt x="59" y="1449"/>
                  </a:lnTo>
                  <a:lnTo>
                    <a:pt x="1" y="1370"/>
                  </a:lnTo>
                  <a:cubicBezTo>
                    <a:pt x="0" y="1368"/>
                    <a:pt x="0" y="1366"/>
                    <a:pt x="1" y="1364"/>
                  </a:cubicBezTo>
                  <a:cubicBezTo>
                    <a:pt x="2" y="1363"/>
                    <a:pt x="3" y="1362"/>
                    <a:pt x="5" y="1362"/>
                  </a:cubicBezTo>
                  <a:cubicBezTo>
                    <a:pt x="5" y="1362"/>
                    <a:pt x="6" y="1363"/>
                    <a:pt x="7" y="1363"/>
                  </a:cubicBezTo>
                  <a:lnTo>
                    <a:pt x="24" y="1371"/>
                  </a:lnTo>
                  <a:lnTo>
                    <a:pt x="40" y="1399"/>
                  </a:lnTo>
                  <a:lnTo>
                    <a:pt x="54" y="1394"/>
                  </a:lnTo>
                  <a:lnTo>
                    <a:pt x="43" y="1356"/>
                  </a:lnTo>
                  <a:cubicBezTo>
                    <a:pt x="42" y="1354"/>
                    <a:pt x="43" y="1351"/>
                    <a:pt x="45" y="1350"/>
                  </a:cubicBezTo>
                  <a:cubicBezTo>
                    <a:pt x="46" y="1350"/>
                    <a:pt x="47" y="1350"/>
                    <a:pt x="47" y="1350"/>
                  </a:cubicBezTo>
                  <a:cubicBezTo>
                    <a:pt x="49" y="1350"/>
                    <a:pt x="50" y="1351"/>
                    <a:pt x="51" y="1352"/>
                  </a:cubicBezTo>
                  <a:lnTo>
                    <a:pt x="64" y="1375"/>
                  </a:lnTo>
                  <a:lnTo>
                    <a:pt x="80" y="1354"/>
                  </a:lnTo>
                  <a:lnTo>
                    <a:pt x="13" y="1208"/>
                  </a:lnTo>
                  <a:lnTo>
                    <a:pt x="13" y="1164"/>
                  </a:lnTo>
                  <a:lnTo>
                    <a:pt x="43" y="1107"/>
                  </a:lnTo>
                  <a:lnTo>
                    <a:pt x="38" y="1016"/>
                  </a:lnTo>
                  <a:lnTo>
                    <a:pt x="64" y="971"/>
                  </a:lnTo>
                  <a:lnTo>
                    <a:pt x="68" y="960"/>
                  </a:lnTo>
                  <a:cubicBezTo>
                    <a:pt x="69" y="958"/>
                    <a:pt x="71" y="956"/>
                    <a:pt x="73" y="956"/>
                  </a:cubicBezTo>
                  <a:lnTo>
                    <a:pt x="73" y="956"/>
                  </a:lnTo>
                  <a:cubicBezTo>
                    <a:pt x="75" y="957"/>
                    <a:pt x="77" y="958"/>
                    <a:pt x="77" y="961"/>
                  </a:cubicBezTo>
                  <a:lnTo>
                    <a:pt x="84" y="1017"/>
                  </a:lnTo>
                  <a:lnTo>
                    <a:pt x="106" y="972"/>
                  </a:lnTo>
                  <a:cubicBezTo>
                    <a:pt x="107" y="971"/>
                    <a:pt x="108" y="970"/>
                    <a:pt x="109" y="969"/>
                  </a:cubicBezTo>
                  <a:lnTo>
                    <a:pt x="185" y="944"/>
                  </a:lnTo>
                  <a:lnTo>
                    <a:pt x="221" y="895"/>
                  </a:lnTo>
                  <a:lnTo>
                    <a:pt x="290" y="851"/>
                  </a:lnTo>
                  <a:cubicBezTo>
                    <a:pt x="291" y="851"/>
                    <a:pt x="292" y="851"/>
                    <a:pt x="293" y="851"/>
                  </a:cubicBezTo>
                  <a:lnTo>
                    <a:pt x="370" y="863"/>
                  </a:lnTo>
                  <a:lnTo>
                    <a:pt x="460" y="826"/>
                  </a:lnTo>
                  <a:lnTo>
                    <a:pt x="489" y="801"/>
                  </a:lnTo>
                  <a:cubicBezTo>
                    <a:pt x="490" y="800"/>
                    <a:pt x="491" y="800"/>
                    <a:pt x="492" y="800"/>
                  </a:cubicBezTo>
                  <a:lnTo>
                    <a:pt x="531" y="804"/>
                  </a:lnTo>
                  <a:lnTo>
                    <a:pt x="643" y="766"/>
                  </a:lnTo>
                  <a:lnTo>
                    <a:pt x="693" y="733"/>
                  </a:lnTo>
                  <a:lnTo>
                    <a:pt x="716" y="676"/>
                  </a:lnTo>
                  <a:lnTo>
                    <a:pt x="758" y="634"/>
                  </a:lnTo>
                  <a:lnTo>
                    <a:pt x="742" y="590"/>
                  </a:lnTo>
                  <a:cubicBezTo>
                    <a:pt x="741" y="589"/>
                    <a:pt x="741" y="588"/>
                    <a:pt x="742" y="587"/>
                  </a:cubicBezTo>
                  <a:lnTo>
                    <a:pt x="759" y="549"/>
                  </a:lnTo>
                  <a:lnTo>
                    <a:pt x="797" y="522"/>
                  </a:lnTo>
                  <a:lnTo>
                    <a:pt x="805" y="494"/>
                  </a:lnTo>
                  <a:cubicBezTo>
                    <a:pt x="806" y="493"/>
                    <a:pt x="807" y="491"/>
                    <a:pt x="809" y="491"/>
                  </a:cubicBezTo>
                  <a:lnTo>
                    <a:pt x="810" y="491"/>
                  </a:lnTo>
                  <a:cubicBezTo>
                    <a:pt x="811" y="491"/>
                    <a:pt x="813" y="492"/>
                    <a:pt x="814" y="493"/>
                  </a:cubicBezTo>
                  <a:lnTo>
                    <a:pt x="862" y="578"/>
                  </a:lnTo>
                  <a:lnTo>
                    <a:pt x="864" y="554"/>
                  </a:lnTo>
                  <a:cubicBezTo>
                    <a:pt x="864" y="552"/>
                    <a:pt x="866" y="550"/>
                    <a:pt x="869" y="550"/>
                  </a:cubicBezTo>
                  <a:lnTo>
                    <a:pt x="878" y="550"/>
                  </a:lnTo>
                  <a:lnTo>
                    <a:pt x="860" y="515"/>
                  </a:lnTo>
                  <a:lnTo>
                    <a:pt x="860" y="483"/>
                  </a:lnTo>
                  <a:cubicBezTo>
                    <a:pt x="860" y="481"/>
                    <a:pt x="861" y="479"/>
                    <a:pt x="864" y="478"/>
                  </a:cubicBezTo>
                  <a:lnTo>
                    <a:pt x="897" y="470"/>
                  </a:lnTo>
                  <a:cubicBezTo>
                    <a:pt x="898" y="470"/>
                    <a:pt x="898" y="470"/>
                    <a:pt x="898" y="470"/>
                  </a:cubicBezTo>
                  <a:cubicBezTo>
                    <a:pt x="900" y="470"/>
                    <a:pt x="902" y="471"/>
                    <a:pt x="903" y="472"/>
                  </a:cubicBezTo>
                  <a:lnTo>
                    <a:pt x="918" y="500"/>
                  </a:lnTo>
                  <a:lnTo>
                    <a:pt x="933" y="502"/>
                  </a:lnTo>
                  <a:lnTo>
                    <a:pt x="928" y="489"/>
                  </a:lnTo>
                  <a:cubicBezTo>
                    <a:pt x="928" y="488"/>
                    <a:pt x="928" y="486"/>
                    <a:pt x="928" y="485"/>
                  </a:cubicBezTo>
                  <a:lnTo>
                    <a:pt x="949" y="443"/>
                  </a:lnTo>
                  <a:lnTo>
                    <a:pt x="945" y="420"/>
                  </a:lnTo>
                  <a:cubicBezTo>
                    <a:pt x="944" y="418"/>
                    <a:pt x="946" y="415"/>
                    <a:pt x="948" y="415"/>
                  </a:cubicBezTo>
                  <a:lnTo>
                    <a:pt x="986" y="407"/>
                  </a:lnTo>
                  <a:lnTo>
                    <a:pt x="979" y="378"/>
                  </a:lnTo>
                  <a:cubicBezTo>
                    <a:pt x="978" y="377"/>
                    <a:pt x="979" y="375"/>
                    <a:pt x="980" y="374"/>
                  </a:cubicBezTo>
                  <a:cubicBezTo>
                    <a:pt x="981" y="373"/>
                    <a:pt x="982" y="373"/>
                    <a:pt x="983" y="373"/>
                  </a:cubicBezTo>
                  <a:cubicBezTo>
                    <a:pt x="984" y="373"/>
                    <a:pt x="984" y="373"/>
                    <a:pt x="985" y="373"/>
                  </a:cubicBezTo>
                  <a:lnTo>
                    <a:pt x="1006" y="379"/>
                  </a:lnTo>
                  <a:lnTo>
                    <a:pt x="996" y="345"/>
                  </a:lnTo>
                  <a:cubicBezTo>
                    <a:pt x="995" y="343"/>
                    <a:pt x="995" y="342"/>
                    <a:pt x="996" y="341"/>
                  </a:cubicBezTo>
                  <a:cubicBezTo>
                    <a:pt x="997" y="340"/>
                    <a:pt x="998" y="339"/>
                    <a:pt x="999" y="339"/>
                  </a:cubicBezTo>
                  <a:lnTo>
                    <a:pt x="1047" y="330"/>
                  </a:lnTo>
                  <a:cubicBezTo>
                    <a:pt x="1048" y="330"/>
                    <a:pt x="1049" y="331"/>
                    <a:pt x="1050" y="331"/>
                  </a:cubicBezTo>
                  <a:cubicBezTo>
                    <a:pt x="1051" y="332"/>
                    <a:pt x="1051" y="333"/>
                    <a:pt x="1051" y="335"/>
                  </a:cubicBezTo>
                  <a:lnTo>
                    <a:pt x="1051" y="339"/>
                  </a:lnTo>
                  <a:lnTo>
                    <a:pt x="1063" y="332"/>
                  </a:lnTo>
                  <a:lnTo>
                    <a:pt x="1063" y="284"/>
                  </a:lnTo>
                  <a:cubicBezTo>
                    <a:pt x="1063" y="282"/>
                    <a:pt x="1065" y="280"/>
                    <a:pt x="1067" y="280"/>
                  </a:cubicBezTo>
                  <a:lnTo>
                    <a:pt x="1068" y="280"/>
                  </a:lnTo>
                  <a:cubicBezTo>
                    <a:pt x="1070" y="280"/>
                    <a:pt x="1071" y="280"/>
                    <a:pt x="1072" y="282"/>
                  </a:cubicBezTo>
                  <a:lnTo>
                    <a:pt x="1083" y="299"/>
                  </a:lnTo>
                  <a:lnTo>
                    <a:pt x="1142" y="272"/>
                  </a:lnTo>
                  <a:cubicBezTo>
                    <a:pt x="1143" y="271"/>
                    <a:pt x="1144" y="271"/>
                    <a:pt x="1144" y="271"/>
                  </a:cubicBezTo>
                  <a:cubicBezTo>
                    <a:pt x="1145" y="271"/>
                    <a:pt x="1146" y="271"/>
                    <a:pt x="1146" y="271"/>
                  </a:cubicBezTo>
                  <a:lnTo>
                    <a:pt x="1205" y="297"/>
                  </a:lnTo>
                  <a:lnTo>
                    <a:pt x="1253" y="344"/>
                  </a:lnTo>
                  <a:cubicBezTo>
                    <a:pt x="1255" y="346"/>
                    <a:pt x="1255" y="347"/>
                    <a:pt x="1255" y="349"/>
                  </a:cubicBezTo>
                  <a:lnTo>
                    <a:pt x="1243" y="392"/>
                  </a:lnTo>
                  <a:lnTo>
                    <a:pt x="1250" y="379"/>
                  </a:lnTo>
                  <a:lnTo>
                    <a:pt x="1277" y="357"/>
                  </a:lnTo>
                  <a:lnTo>
                    <a:pt x="1335" y="356"/>
                  </a:lnTo>
                  <a:lnTo>
                    <a:pt x="1371" y="380"/>
                  </a:lnTo>
                  <a:lnTo>
                    <a:pt x="1368" y="370"/>
                  </a:lnTo>
                  <a:cubicBezTo>
                    <a:pt x="1368" y="368"/>
                    <a:pt x="1369" y="367"/>
                    <a:pt x="1370" y="366"/>
                  </a:cubicBezTo>
                  <a:lnTo>
                    <a:pt x="1375" y="360"/>
                  </a:lnTo>
                  <a:lnTo>
                    <a:pt x="1348" y="325"/>
                  </a:lnTo>
                  <a:cubicBezTo>
                    <a:pt x="1347" y="324"/>
                    <a:pt x="1347" y="322"/>
                    <a:pt x="1348" y="320"/>
                  </a:cubicBezTo>
                  <a:lnTo>
                    <a:pt x="1390" y="248"/>
                  </a:lnTo>
                  <a:cubicBezTo>
                    <a:pt x="1391" y="247"/>
                    <a:pt x="1392" y="246"/>
                    <a:pt x="1393" y="246"/>
                  </a:cubicBezTo>
                  <a:lnTo>
                    <a:pt x="1423" y="238"/>
                  </a:lnTo>
                  <a:lnTo>
                    <a:pt x="1423" y="225"/>
                  </a:lnTo>
                  <a:lnTo>
                    <a:pt x="1420" y="225"/>
                  </a:lnTo>
                  <a:cubicBezTo>
                    <a:pt x="1418" y="225"/>
                    <a:pt x="1417" y="225"/>
                    <a:pt x="1416" y="224"/>
                  </a:cubicBezTo>
                  <a:cubicBezTo>
                    <a:pt x="1415" y="223"/>
                    <a:pt x="1415" y="222"/>
                    <a:pt x="1415" y="220"/>
                  </a:cubicBezTo>
                  <a:lnTo>
                    <a:pt x="1419" y="186"/>
                  </a:lnTo>
                  <a:cubicBezTo>
                    <a:pt x="1419" y="185"/>
                    <a:pt x="1420" y="184"/>
                    <a:pt x="1421" y="183"/>
                  </a:cubicBezTo>
                  <a:lnTo>
                    <a:pt x="1455" y="162"/>
                  </a:lnTo>
                  <a:cubicBezTo>
                    <a:pt x="1456" y="161"/>
                    <a:pt x="1457" y="161"/>
                    <a:pt x="1458" y="161"/>
                  </a:cubicBezTo>
                  <a:cubicBezTo>
                    <a:pt x="1459" y="161"/>
                    <a:pt x="1460" y="161"/>
                    <a:pt x="1461" y="162"/>
                  </a:cubicBezTo>
                  <a:lnTo>
                    <a:pt x="1477" y="176"/>
                  </a:lnTo>
                  <a:lnTo>
                    <a:pt x="1474" y="158"/>
                  </a:lnTo>
                  <a:cubicBezTo>
                    <a:pt x="1474" y="157"/>
                    <a:pt x="1475" y="155"/>
                    <a:pt x="1476" y="154"/>
                  </a:cubicBezTo>
                  <a:lnTo>
                    <a:pt x="1488" y="141"/>
                  </a:lnTo>
                  <a:cubicBezTo>
                    <a:pt x="1489" y="140"/>
                    <a:pt x="1490" y="140"/>
                    <a:pt x="1492" y="140"/>
                  </a:cubicBezTo>
                  <a:lnTo>
                    <a:pt x="1577" y="144"/>
                  </a:lnTo>
                  <a:lnTo>
                    <a:pt x="1614" y="125"/>
                  </a:lnTo>
                  <a:lnTo>
                    <a:pt x="1614" y="93"/>
                  </a:lnTo>
                  <a:lnTo>
                    <a:pt x="1566" y="68"/>
                  </a:lnTo>
                  <a:lnTo>
                    <a:pt x="1550" y="65"/>
                  </a:lnTo>
                  <a:cubicBezTo>
                    <a:pt x="1548" y="64"/>
                    <a:pt x="1547" y="63"/>
                    <a:pt x="1546" y="61"/>
                  </a:cubicBezTo>
                  <a:cubicBezTo>
                    <a:pt x="1546" y="59"/>
                    <a:pt x="1547" y="57"/>
                    <a:pt x="1548" y="56"/>
                  </a:cubicBezTo>
                  <a:lnTo>
                    <a:pt x="1570" y="43"/>
                  </a:lnTo>
                  <a:cubicBezTo>
                    <a:pt x="1570" y="43"/>
                    <a:pt x="1571" y="43"/>
                    <a:pt x="1572" y="43"/>
                  </a:cubicBezTo>
                  <a:cubicBezTo>
                    <a:pt x="1573" y="43"/>
                    <a:pt x="1574" y="43"/>
                    <a:pt x="1575" y="44"/>
                  </a:cubicBezTo>
                  <a:lnTo>
                    <a:pt x="1585" y="53"/>
                  </a:lnTo>
                  <a:lnTo>
                    <a:pt x="1590" y="48"/>
                  </a:lnTo>
                  <a:cubicBezTo>
                    <a:pt x="1591" y="47"/>
                    <a:pt x="1592" y="47"/>
                    <a:pt x="1593" y="47"/>
                  </a:cubicBezTo>
                  <a:cubicBezTo>
                    <a:pt x="1594" y="47"/>
                    <a:pt x="1595" y="47"/>
                    <a:pt x="1596" y="48"/>
                  </a:cubicBezTo>
                  <a:lnTo>
                    <a:pt x="1630" y="78"/>
                  </a:lnTo>
                  <a:lnTo>
                    <a:pt x="1636" y="66"/>
                  </a:lnTo>
                  <a:cubicBezTo>
                    <a:pt x="1636" y="65"/>
                    <a:pt x="1638" y="64"/>
                    <a:pt x="1639" y="64"/>
                  </a:cubicBezTo>
                  <a:lnTo>
                    <a:pt x="1640" y="64"/>
                  </a:lnTo>
                  <a:cubicBezTo>
                    <a:pt x="1641" y="64"/>
                    <a:pt x="1643" y="64"/>
                    <a:pt x="1644" y="65"/>
                  </a:cubicBezTo>
                  <a:lnTo>
                    <a:pt x="1664" y="90"/>
                  </a:lnTo>
                  <a:lnTo>
                    <a:pt x="1717" y="98"/>
                  </a:lnTo>
                  <a:lnTo>
                    <a:pt x="1757" y="124"/>
                  </a:lnTo>
                  <a:lnTo>
                    <a:pt x="1800" y="119"/>
                  </a:lnTo>
                  <a:lnTo>
                    <a:pt x="1839" y="139"/>
                  </a:lnTo>
                  <a:lnTo>
                    <a:pt x="1901" y="111"/>
                  </a:lnTo>
                  <a:cubicBezTo>
                    <a:pt x="1901" y="110"/>
                    <a:pt x="1902" y="110"/>
                    <a:pt x="1903" y="110"/>
                  </a:cubicBezTo>
                  <a:cubicBezTo>
                    <a:pt x="1904" y="110"/>
                    <a:pt x="1905" y="111"/>
                    <a:pt x="1906" y="112"/>
                  </a:cubicBezTo>
                  <a:cubicBezTo>
                    <a:pt x="1908" y="114"/>
                    <a:pt x="1908" y="116"/>
                    <a:pt x="1906" y="118"/>
                  </a:cubicBezTo>
                  <a:lnTo>
                    <a:pt x="1899" y="127"/>
                  </a:lnTo>
                  <a:lnTo>
                    <a:pt x="1907" y="127"/>
                  </a:lnTo>
                  <a:cubicBezTo>
                    <a:pt x="1909" y="127"/>
                    <a:pt x="1911" y="129"/>
                    <a:pt x="1911" y="132"/>
                  </a:cubicBezTo>
                  <a:lnTo>
                    <a:pt x="1911" y="155"/>
                  </a:lnTo>
                  <a:lnTo>
                    <a:pt x="1941" y="112"/>
                  </a:lnTo>
                  <a:cubicBezTo>
                    <a:pt x="1942" y="111"/>
                    <a:pt x="1943" y="110"/>
                    <a:pt x="1945" y="110"/>
                  </a:cubicBezTo>
                  <a:lnTo>
                    <a:pt x="1946" y="110"/>
                  </a:lnTo>
                  <a:cubicBezTo>
                    <a:pt x="1948" y="111"/>
                    <a:pt x="1949" y="112"/>
                    <a:pt x="1949" y="114"/>
                  </a:cubicBezTo>
                  <a:lnTo>
                    <a:pt x="1957" y="144"/>
                  </a:lnTo>
                  <a:lnTo>
                    <a:pt x="1979" y="144"/>
                  </a:lnTo>
                  <a:cubicBezTo>
                    <a:pt x="1981" y="144"/>
                    <a:pt x="1982" y="145"/>
                    <a:pt x="1983" y="147"/>
                  </a:cubicBezTo>
                  <a:cubicBezTo>
                    <a:pt x="1984" y="148"/>
                    <a:pt x="1984" y="150"/>
                    <a:pt x="1983" y="152"/>
                  </a:cubicBezTo>
                  <a:lnTo>
                    <a:pt x="1955" y="192"/>
                  </a:lnTo>
                  <a:lnTo>
                    <a:pt x="1962" y="206"/>
                  </a:lnTo>
                  <a:cubicBezTo>
                    <a:pt x="1963" y="207"/>
                    <a:pt x="1962" y="209"/>
                    <a:pt x="1961" y="211"/>
                  </a:cubicBezTo>
                  <a:lnTo>
                    <a:pt x="1953" y="223"/>
                  </a:lnTo>
                  <a:cubicBezTo>
                    <a:pt x="1952" y="225"/>
                    <a:pt x="1951" y="225"/>
                    <a:pt x="1949" y="225"/>
                  </a:cubicBezTo>
                  <a:lnTo>
                    <a:pt x="1932" y="222"/>
                  </a:lnTo>
                  <a:lnTo>
                    <a:pt x="1928" y="243"/>
                  </a:lnTo>
                  <a:cubicBezTo>
                    <a:pt x="1928" y="244"/>
                    <a:pt x="1927" y="246"/>
                    <a:pt x="1926" y="246"/>
                  </a:cubicBezTo>
                  <a:cubicBezTo>
                    <a:pt x="1925" y="247"/>
                    <a:pt x="1924" y="247"/>
                    <a:pt x="1924" y="247"/>
                  </a:cubicBezTo>
                  <a:cubicBezTo>
                    <a:pt x="1923" y="247"/>
                    <a:pt x="1922" y="246"/>
                    <a:pt x="1921" y="246"/>
                  </a:cubicBezTo>
                  <a:lnTo>
                    <a:pt x="1909" y="237"/>
                  </a:lnTo>
                  <a:lnTo>
                    <a:pt x="1902" y="263"/>
                  </a:lnTo>
                  <a:lnTo>
                    <a:pt x="1909" y="259"/>
                  </a:lnTo>
                  <a:cubicBezTo>
                    <a:pt x="1910" y="259"/>
                    <a:pt x="1910" y="258"/>
                    <a:pt x="1911" y="258"/>
                  </a:cubicBezTo>
                  <a:cubicBezTo>
                    <a:pt x="1912" y="258"/>
                    <a:pt x="1913" y="259"/>
                    <a:pt x="1914" y="260"/>
                  </a:cubicBezTo>
                  <a:cubicBezTo>
                    <a:pt x="1916" y="261"/>
                    <a:pt x="1916" y="263"/>
                    <a:pt x="1915" y="265"/>
                  </a:cubicBezTo>
                  <a:lnTo>
                    <a:pt x="1879" y="375"/>
                  </a:lnTo>
                  <a:lnTo>
                    <a:pt x="1938" y="403"/>
                  </a:lnTo>
                  <a:cubicBezTo>
                    <a:pt x="1940" y="403"/>
                    <a:pt x="1941" y="405"/>
                    <a:pt x="1941" y="406"/>
                  </a:cubicBezTo>
                  <a:lnTo>
                    <a:pt x="1949" y="457"/>
                  </a:lnTo>
                  <a:lnTo>
                    <a:pt x="2013" y="449"/>
                  </a:lnTo>
                  <a:cubicBezTo>
                    <a:pt x="2014" y="449"/>
                    <a:pt x="2015" y="449"/>
                    <a:pt x="2016" y="450"/>
                  </a:cubicBezTo>
                  <a:lnTo>
                    <a:pt x="2088" y="514"/>
                  </a:lnTo>
                  <a:lnTo>
                    <a:pt x="2158" y="529"/>
                  </a:lnTo>
                  <a:cubicBezTo>
                    <a:pt x="2159" y="530"/>
                    <a:pt x="2160" y="530"/>
                    <a:pt x="2161" y="531"/>
                  </a:cubicBezTo>
                  <a:lnTo>
                    <a:pt x="2186" y="569"/>
                  </a:lnTo>
                  <a:lnTo>
                    <a:pt x="2251" y="609"/>
                  </a:lnTo>
                  <a:lnTo>
                    <a:pt x="2310" y="589"/>
                  </a:lnTo>
                  <a:lnTo>
                    <a:pt x="2343" y="511"/>
                  </a:lnTo>
                  <a:lnTo>
                    <a:pt x="2372" y="381"/>
                  </a:lnTo>
                  <a:lnTo>
                    <a:pt x="2364" y="259"/>
                  </a:lnTo>
                  <a:lnTo>
                    <a:pt x="2385" y="171"/>
                  </a:lnTo>
                  <a:lnTo>
                    <a:pt x="2373" y="156"/>
                  </a:lnTo>
                  <a:cubicBezTo>
                    <a:pt x="2372" y="155"/>
                    <a:pt x="2372" y="153"/>
                    <a:pt x="2373" y="151"/>
                  </a:cubicBezTo>
                  <a:lnTo>
                    <a:pt x="2428" y="28"/>
                  </a:lnTo>
                  <a:lnTo>
                    <a:pt x="2463" y="1"/>
                  </a:lnTo>
                  <a:cubicBezTo>
                    <a:pt x="2464" y="1"/>
                    <a:pt x="2465" y="0"/>
                    <a:pt x="2466" y="0"/>
                  </a:cubicBezTo>
                  <a:lnTo>
                    <a:pt x="2467" y="1"/>
                  </a:lnTo>
                  <a:cubicBezTo>
                    <a:pt x="2469" y="1"/>
                    <a:pt x="2470" y="2"/>
                    <a:pt x="2471" y="4"/>
                  </a:cubicBezTo>
                  <a:lnTo>
                    <a:pt x="2479" y="29"/>
                  </a:lnTo>
                  <a:lnTo>
                    <a:pt x="2483" y="92"/>
                  </a:lnTo>
                  <a:lnTo>
                    <a:pt x="2503" y="107"/>
                  </a:lnTo>
                  <a:cubicBezTo>
                    <a:pt x="2504" y="108"/>
                    <a:pt x="2505" y="109"/>
                    <a:pt x="2505" y="111"/>
                  </a:cubicBezTo>
                  <a:lnTo>
                    <a:pt x="2505" y="143"/>
                  </a:lnTo>
                  <a:lnTo>
                    <a:pt x="2529" y="167"/>
                  </a:lnTo>
                  <a:lnTo>
                    <a:pt x="2563" y="311"/>
                  </a:lnTo>
                  <a:lnTo>
                    <a:pt x="2581" y="322"/>
                  </a:lnTo>
                  <a:lnTo>
                    <a:pt x="2626" y="309"/>
                  </a:lnTo>
                  <a:lnTo>
                    <a:pt x="2627" y="309"/>
                  </a:lnTo>
                  <a:cubicBezTo>
                    <a:pt x="2628" y="309"/>
                    <a:pt x="2630" y="310"/>
                    <a:pt x="2630" y="311"/>
                  </a:cubicBezTo>
                  <a:lnTo>
                    <a:pt x="2694" y="374"/>
                  </a:lnTo>
                  <a:lnTo>
                    <a:pt x="2712" y="510"/>
                  </a:lnTo>
                  <a:lnTo>
                    <a:pt x="2740" y="535"/>
                  </a:lnTo>
                  <a:cubicBezTo>
                    <a:pt x="2741" y="535"/>
                    <a:pt x="2742" y="536"/>
                    <a:pt x="2742" y="537"/>
                  </a:cubicBezTo>
                  <a:lnTo>
                    <a:pt x="2763" y="671"/>
                  </a:lnTo>
                  <a:lnTo>
                    <a:pt x="2778" y="682"/>
                  </a:lnTo>
                  <a:cubicBezTo>
                    <a:pt x="2779" y="683"/>
                    <a:pt x="2780" y="684"/>
                    <a:pt x="2780" y="686"/>
                  </a:cubicBezTo>
                  <a:lnTo>
                    <a:pt x="2784" y="721"/>
                  </a:lnTo>
                  <a:lnTo>
                    <a:pt x="2824" y="741"/>
                  </a:lnTo>
                  <a:lnTo>
                    <a:pt x="2869" y="741"/>
                  </a:lnTo>
                  <a:cubicBezTo>
                    <a:pt x="2871" y="741"/>
                    <a:pt x="2872" y="742"/>
                    <a:pt x="2873" y="744"/>
                  </a:cubicBezTo>
                  <a:lnTo>
                    <a:pt x="2889" y="788"/>
                  </a:lnTo>
                  <a:lnTo>
                    <a:pt x="2929" y="796"/>
                  </a:lnTo>
                  <a:lnTo>
                    <a:pt x="2990" y="830"/>
                  </a:lnTo>
                  <a:cubicBezTo>
                    <a:pt x="2992" y="831"/>
                    <a:pt x="2992" y="834"/>
                    <a:pt x="2992" y="836"/>
                  </a:cubicBezTo>
                  <a:lnTo>
                    <a:pt x="2980" y="866"/>
                  </a:lnTo>
                  <a:lnTo>
                    <a:pt x="3006" y="881"/>
                  </a:lnTo>
                  <a:lnTo>
                    <a:pt x="3042" y="938"/>
                  </a:lnTo>
                  <a:lnTo>
                    <a:pt x="3059" y="1027"/>
                  </a:lnTo>
                  <a:lnTo>
                    <a:pt x="3073" y="1021"/>
                  </a:lnTo>
                  <a:lnTo>
                    <a:pt x="3085" y="993"/>
                  </a:lnTo>
                  <a:cubicBezTo>
                    <a:pt x="3085" y="992"/>
                    <a:pt x="3086" y="991"/>
                    <a:pt x="3088" y="991"/>
                  </a:cubicBezTo>
                  <a:lnTo>
                    <a:pt x="3089" y="990"/>
                  </a:lnTo>
                  <a:cubicBezTo>
                    <a:pt x="3090" y="990"/>
                    <a:pt x="3091" y="991"/>
                    <a:pt x="3092" y="992"/>
                  </a:cubicBezTo>
                  <a:lnTo>
                    <a:pt x="3130" y="1029"/>
                  </a:lnTo>
                  <a:lnTo>
                    <a:pt x="3135" y="1018"/>
                  </a:lnTo>
                  <a:cubicBezTo>
                    <a:pt x="3136" y="1017"/>
                    <a:pt x="3138" y="1016"/>
                    <a:pt x="3140" y="1016"/>
                  </a:cubicBezTo>
                  <a:lnTo>
                    <a:pt x="3140" y="1016"/>
                  </a:lnTo>
                  <a:cubicBezTo>
                    <a:pt x="3142" y="1016"/>
                    <a:pt x="3144" y="1018"/>
                    <a:pt x="3144" y="1020"/>
                  </a:cubicBezTo>
                  <a:lnTo>
                    <a:pt x="3161" y="1121"/>
                  </a:lnTo>
                  <a:lnTo>
                    <a:pt x="3283" y="1224"/>
                  </a:lnTo>
                  <a:lnTo>
                    <a:pt x="3347" y="1331"/>
                  </a:lnTo>
                  <a:lnTo>
                    <a:pt x="3348" y="1460"/>
                  </a:lnTo>
                  <a:lnTo>
                    <a:pt x="3382" y="1608"/>
                  </a:lnTo>
                  <a:lnTo>
                    <a:pt x="3335" y="1859"/>
                  </a:lnTo>
                  <a:lnTo>
                    <a:pt x="3292" y="1961"/>
                  </a:lnTo>
                  <a:lnTo>
                    <a:pt x="3192" y="2079"/>
                  </a:lnTo>
                  <a:lnTo>
                    <a:pt x="3199" y="2102"/>
                  </a:lnTo>
                  <a:lnTo>
                    <a:pt x="3148" y="2245"/>
                  </a:lnTo>
                  <a:cubicBezTo>
                    <a:pt x="3148" y="2246"/>
                    <a:pt x="3146" y="2248"/>
                    <a:pt x="3145" y="2248"/>
                  </a:cubicBezTo>
                  <a:lnTo>
                    <a:pt x="3144" y="2248"/>
                  </a:lnTo>
                  <a:cubicBezTo>
                    <a:pt x="3142" y="2248"/>
                    <a:pt x="3141" y="2247"/>
                    <a:pt x="3140" y="2246"/>
                  </a:cubicBezTo>
                  <a:lnTo>
                    <a:pt x="3136" y="2240"/>
                  </a:lnTo>
                  <a:lnTo>
                    <a:pt x="3106" y="2300"/>
                  </a:lnTo>
                  <a:lnTo>
                    <a:pt x="3085" y="2477"/>
                  </a:lnTo>
                  <a:cubicBezTo>
                    <a:pt x="3085" y="2478"/>
                    <a:pt x="3084" y="2479"/>
                    <a:pt x="3083" y="2480"/>
                  </a:cubicBezTo>
                  <a:lnTo>
                    <a:pt x="3032" y="2510"/>
                  </a:lnTo>
                  <a:lnTo>
                    <a:pt x="2929" y="2523"/>
                  </a:lnTo>
                  <a:lnTo>
                    <a:pt x="2821" y="2607"/>
                  </a:lnTo>
                  <a:lnTo>
                    <a:pt x="2780" y="2607"/>
                  </a:lnTo>
                  <a:lnTo>
                    <a:pt x="2780" y="2618"/>
                  </a:lnTo>
                  <a:cubicBezTo>
                    <a:pt x="2780" y="2618"/>
                    <a:pt x="2796" y="2615"/>
                    <a:pt x="2797" y="2615"/>
                  </a:cubicBezTo>
                  <a:cubicBezTo>
                    <a:pt x="2798" y="2615"/>
                    <a:pt x="2799" y="2616"/>
                    <a:pt x="2800" y="2617"/>
                  </a:cubicBezTo>
                  <a:cubicBezTo>
                    <a:pt x="2801" y="2618"/>
                    <a:pt x="2802" y="2620"/>
                    <a:pt x="2801" y="2622"/>
                  </a:cubicBezTo>
                  <a:lnTo>
                    <a:pt x="2788" y="2651"/>
                  </a:lnTo>
                  <a:cubicBezTo>
                    <a:pt x="2788" y="2653"/>
                    <a:pt x="2786" y="2654"/>
                    <a:pt x="2785" y="2654"/>
                  </a:cubicBezTo>
                  <a:lnTo>
                    <a:pt x="2784" y="265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6" name="Freeform 481"/>
            <p:cNvSpPr>
              <a:spLocks noChangeArrowheads="1"/>
            </p:cNvSpPr>
            <p:nvPr/>
          </p:nvSpPr>
          <p:spPr bwMode="auto">
            <a:xfrm>
              <a:off x="7645400" y="4057650"/>
              <a:ext cx="1217613" cy="955675"/>
            </a:xfrm>
            <a:custGeom>
              <a:avLst/>
              <a:gdLst/>
              <a:ahLst/>
              <a:cxnLst>
                <a:cxn ang="0">
                  <a:pos x="2653" y="2569"/>
                </a:cxn>
                <a:cxn ang="0">
                  <a:pos x="2638" y="2543"/>
                </a:cxn>
                <a:cxn ang="0">
                  <a:pos x="2451" y="2573"/>
                </a:cxn>
                <a:cxn ang="0">
                  <a:pos x="2242" y="2470"/>
                </a:cxn>
                <a:cxn ang="0">
                  <a:pos x="2184" y="2262"/>
                </a:cxn>
                <a:cxn ang="0">
                  <a:pos x="2114" y="2196"/>
                </a:cxn>
                <a:cxn ang="0">
                  <a:pos x="1983" y="2238"/>
                </a:cxn>
                <a:cxn ang="0">
                  <a:pos x="2076" y="2030"/>
                </a:cxn>
                <a:cxn ang="0">
                  <a:pos x="1911" y="2222"/>
                </a:cxn>
                <a:cxn ang="0">
                  <a:pos x="1834" y="2163"/>
                </a:cxn>
                <a:cxn ang="0">
                  <a:pos x="1801" y="2038"/>
                </a:cxn>
                <a:cxn ang="0">
                  <a:pos x="1698" y="1946"/>
                </a:cxn>
                <a:cxn ang="0">
                  <a:pos x="1603" y="1929"/>
                </a:cxn>
                <a:cxn ang="0">
                  <a:pos x="917" y="2023"/>
                </a:cxn>
                <a:cxn ang="0">
                  <a:pos x="484" y="2167"/>
                </a:cxn>
                <a:cxn ang="0">
                  <a:pos x="250" y="2205"/>
                </a:cxn>
                <a:cxn ang="0">
                  <a:pos x="192" y="2069"/>
                </a:cxn>
                <a:cxn ang="0">
                  <a:pos x="59" y="1449"/>
                </a:cxn>
                <a:cxn ang="0">
                  <a:pos x="40" y="1399"/>
                </a:cxn>
                <a:cxn ang="0">
                  <a:pos x="64" y="1375"/>
                </a:cxn>
                <a:cxn ang="0">
                  <a:pos x="64" y="971"/>
                </a:cxn>
                <a:cxn ang="0">
                  <a:pos x="106" y="972"/>
                </a:cxn>
                <a:cxn ang="0">
                  <a:pos x="370" y="863"/>
                </a:cxn>
                <a:cxn ang="0">
                  <a:pos x="693" y="733"/>
                </a:cxn>
                <a:cxn ang="0">
                  <a:pos x="797" y="522"/>
                </a:cxn>
                <a:cxn ang="0">
                  <a:pos x="864" y="554"/>
                </a:cxn>
                <a:cxn ang="0">
                  <a:pos x="897" y="470"/>
                </a:cxn>
                <a:cxn ang="0">
                  <a:pos x="928" y="485"/>
                </a:cxn>
                <a:cxn ang="0">
                  <a:pos x="980" y="374"/>
                </a:cxn>
                <a:cxn ang="0">
                  <a:pos x="999" y="339"/>
                </a:cxn>
                <a:cxn ang="0">
                  <a:pos x="1063" y="284"/>
                </a:cxn>
                <a:cxn ang="0">
                  <a:pos x="1144" y="271"/>
                </a:cxn>
                <a:cxn ang="0">
                  <a:pos x="1250" y="379"/>
                </a:cxn>
                <a:cxn ang="0">
                  <a:pos x="1375" y="360"/>
                </a:cxn>
                <a:cxn ang="0">
                  <a:pos x="1423" y="225"/>
                </a:cxn>
                <a:cxn ang="0">
                  <a:pos x="1455" y="162"/>
                </a:cxn>
                <a:cxn ang="0">
                  <a:pos x="1488" y="141"/>
                </a:cxn>
                <a:cxn ang="0">
                  <a:pos x="1550" y="65"/>
                </a:cxn>
                <a:cxn ang="0">
                  <a:pos x="1585" y="53"/>
                </a:cxn>
                <a:cxn ang="0">
                  <a:pos x="1639" y="64"/>
                </a:cxn>
                <a:cxn ang="0">
                  <a:pos x="1800" y="119"/>
                </a:cxn>
                <a:cxn ang="0">
                  <a:pos x="1899" y="127"/>
                </a:cxn>
                <a:cxn ang="0">
                  <a:pos x="1946" y="110"/>
                </a:cxn>
                <a:cxn ang="0">
                  <a:pos x="1955" y="192"/>
                </a:cxn>
                <a:cxn ang="0">
                  <a:pos x="1928" y="243"/>
                </a:cxn>
                <a:cxn ang="0">
                  <a:pos x="1909" y="259"/>
                </a:cxn>
                <a:cxn ang="0">
                  <a:pos x="1941" y="406"/>
                </a:cxn>
                <a:cxn ang="0">
                  <a:pos x="2161" y="531"/>
                </a:cxn>
                <a:cxn ang="0">
                  <a:pos x="2364" y="259"/>
                </a:cxn>
                <a:cxn ang="0">
                  <a:pos x="2466" y="0"/>
                </a:cxn>
                <a:cxn ang="0">
                  <a:pos x="2505" y="111"/>
                </a:cxn>
                <a:cxn ang="0">
                  <a:pos x="2627" y="309"/>
                </a:cxn>
                <a:cxn ang="0">
                  <a:pos x="2763" y="671"/>
                </a:cxn>
                <a:cxn ang="0">
                  <a:pos x="2873" y="744"/>
                </a:cxn>
                <a:cxn ang="0">
                  <a:pos x="3006" y="881"/>
                </a:cxn>
                <a:cxn ang="0">
                  <a:pos x="3089" y="990"/>
                </a:cxn>
                <a:cxn ang="0">
                  <a:pos x="3144" y="1020"/>
                </a:cxn>
                <a:cxn ang="0">
                  <a:pos x="3335" y="1859"/>
                </a:cxn>
                <a:cxn ang="0">
                  <a:pos x="3144" y="2248"/>
                </a:cxn>
                <a:cxn ang="0">
                  <a:pos x="3032" y="2510"/>
                </a:cxn>
                <a:cxn ang="0">
                  <a:pos x="2800" y="2617"/>
                </a:cxn>
              </a:cxnLst>
              <a:rect l="0" t="0" r="r" b="b"/>
              <a:pathLst>
                <a:path w="3383" h="2655">
                  <a:moveTo>
                    <a:pt x="2784" y="2654"/>
                  </a:moveTo>
                  <a:cubicBezTo>
                    <a:pt x="2783" y="2654"/>
                    <a:pt x="2781" y="2653"/>
                    <a:pt x="2781" y="2653"/>
                  </a:cubicBezTo>
                  <a:lnTo>
                    <a:pt x="2708" y="2589"/>
                  </a:lnTo>
                  <a:lnTo>
                    <a:pt x="2696" y="2557"/>
                  </a:lnTo>
                  <a:lnTo>
                    <a:pt x="2654" y="2569"/>
                  </a:lnTo>
                  <a:cubicBezTo>
                    <a:pt x="2653" y="2569"/>
                    <a:pt x="2653" y="2569"/>
                    <a:pt x="2653" y="2569"/>
                  </a:cubicBezTo>
                  <a:cubicBezTo>
                    <a:pt x="2651" y="2569"/>
                    <a:pt x="2649" y="2568"/>
                    <a:pt x="2649" y="2567"/>
                  </a:cubicBezTo>
                  <a:cubicBezTo>
                    <a:pt x="2647" y="2566"/>
                    <a:pt x="2647" y="2563"/>
                    <a:pt x="2648" y="2562"/>
                  </a:cubicBezTo>
                  <a:lnTo>
                    <a:pt x="2664" y="2539"/>
                  </a:lnTo>
                  <a:lnTo>
                    <a:pt x="2651" y="2516"/>
                  </a:lnTo>
                  <a:lnTo>
                    <a:pt x="2623" y="2535"/>
                  </a:lnTo>
                  <a:lnTo>
                    <a:pt x="2638" y="2543"/>
                  </a:lnTo>
                  <a:cubicBezTo>
                    <a:pt x="2639" y="2544"/>
                    <a:pt x="2640" y="2546"/>
                    <a:pt x="2640" y="2548"/>
                  </a:cubicBezTo>
                  <a:cubicBezTo>
                    <a:pt x="2640" y="2549"/>
                    <a:pt x="2639" y="2551"/>
                    <a:pt x="2638" y="2552"/>
                  </a:cubicBezTo>
                  <a:lnTo>
                    <a:pt x="2532" y="2615"/>
                  </a:lnTo>
                  <a:cubicBezTo>
                    <a:pt x="2531" y="2615"/>
                    <a:pt x="2530" y="2616"/>
                    <a:pt x="2530" y="2616"/>
                  </a:cubicBezTo>
                  <a:cubicBezTo>
                    <a:pt x="2529" y="2616"/>
                    <a:pt x="2528" y="2616"/>
                    <a:pt x="2527" y="2615"/>
                  </a:cubicBezTo>
                  <a:lnTo>
                    <a:pt x="2451" y="2573"/>
                  </a:lnTo>
                  <a:lnTo>
                    <a:pt x="2399" y="2557"/>
                  </a:lnTo>
                  <a:lnTo>
                    <a:pt x="2375" y="2569"/>
                  </a:lnTo>
                  <a:cubicBezTo>
                    <a:pt x="2374" y="2569"/>
                    <a:pt x="2374" y="2569"/>
                    <a:pt x="2373" y="2569"/>
                  </a:cubicBezTo>
                  <a:cubicBezTo>
                    <a:pt x="2372" y="2569"/>
                    <a:pt x="2371" y="2569"/>
                    <a:pt x="2371" y="2569"/>
                  </a:cubicBezTo>
                  <a:lnTo>
                    <a:pt x="2282" y="2522"/>
                  </a:lnTo>
                  <a:lnTo>
                    <a:pt x="2242" y="2470"/>
                  </a:lnTo>
                  <a:lnTo>
                    <a:pt x="2220" y="2423"/>
                  </a:lnTo>
                  <a:lnTo>
                    <a:pt x="2224" y="2378"/>
                  </a:lnTo>
                  <a:lnTo>
                    <a:pt x="2216" y="2337"/>
                  </a:lnTo>
                  <a:lnTo>
                    <a:pt x="2179" y="2292"/>
                  </a:lnTo>
                  <a:cubicBezTo>
                    <a:pt x="2178" y="2291"/>
                    <a:pt x="2177" y="2290"/>
                    <a:pt x="2178" y="2288"/>
                  </a:cubicBezTo>
                  <a:lnTo>
                    <a:pt x="2184" y="2262"/>
                  </a:lnTo>
                  <a:lnTo>
                    <a:pt x="2094" y="2286"/>
                  </a:lnTo>
                  <a:lnTo>
                    <a:pt x="2094" y="2286"/>
                  </a:lnTo>
                  <a:cubicBezTo>
                    <a:pt x="2092" y="2286"/>
                    <a:pt x="2090" y="2285"/>
                    <a:pt x="2090" y="2284"/>
                  </a:cubicBezTo>
                  <a:cubicBezTo>
                    <a:pt x="2088" y="2282"/>
                    <a:pt x="2088" y="2280"/>
                    <a:pt x="2089" y="2278"/>
                  </a:cubicBezTo>
                  <a:lnTo>
                    <a:pt x="2115" y="2240"/>
                  </a:lnTo>
                  <a:lnTo>
                    <a:pt x="2114" y="2196"/>
                  </a:lnTo>
                  <a:lnTo>
                    <a:pt x="2086" y="2149"/>
                  </a:lnTo>
                  <a:lnTo>
                    <a:pt x="2060" y="2232"/>
                  </a:lnTo>
                  <a:cubicBezTo>
                    <a:pt x="2059" y="2233"/>
                    <a:pt x="2057" y="2235"/>
                    <a:pt x="2056" y="2235"/>
                  </a:cubicBezTo>
                  <a:lnTo>
                    <a:pt x="1987" y="2243"/>
                  </a:lnTo>
                  <a:cubicBezTo>
                    <a:pt x="1986" y="2243"/>
                    <a:pt x="1985" y="2243"/>
                    <a:pt x="1984" y="2242"/>
                  </a:cubicBezTo>
                  <a:cubicBezTo>
                    <a:pt x="1983" y="2241"/>
                    <a:pt x="1982" y="2240"/>
                    <a:pt x="1983" y="2238"/>
                  </a:cubicBezTo>
                  <a:lnTo>
                    <a:pt x="1987" y="2208"/>
                  </a:lnTo>
                  <a:cubicBezTo>
                    <a:pt x="1987" y="2206"/>
                    <a:pt x="1989" y="2205"/>
                    <a:pt x="1991" y="2204"/>
                  </a:cubicBezTo>
                  <a:lnTo>
                    <a:pt x="2025" y="2201"/>
                  </a:lnTo>
                  <a:lnTo>
                    <a:pt x="2029" y="2128"/>
                  </a:lnTo>
                  <a:lnTo>
                    <a:pt x="2068" y="2067"/>
                  </a:lnTo>
                  <a:lnTo>
                    <a:pt x="2076" y="2030"/>
                  </a:lnTo>
                  <a:lnTo>
                    <a:pt x="2062" y="1990"/>
                  </a:lnTo>
                  <a:lnTo>
                    <a:pt x="2060" y="2011"/>
                  </a:lnTo>
                  <a:lnTo>
                    <a:pt x="2017" y="2089"/>
                  </a:lnTo>
                  <a:lnTo>
                    <a:pt x="1947" y="2129"/>
                  </a:lnTo>
                  <a:lnTo>
                    <a:pt x="1911" y="2182"/>
                  </a:lnTo>
                  <a:lnTo>
                    <a:pt x="1911" y="2222"/>
                  </a:lnTo>
                  <a:cubicBezTo>
                    <a:pt x="1911" y="2224"/>
                    <a:pt x="1911" y="2225"/>
                    <a:pt x="1909" y="2226"/>
                  </a:cubicBezTo>
                  <a:cubicBezTo>
                    <a:pt x="1908" y="2226"/>
                    <a:pt x="1907" y="2227"/>
                    <a:pt x="1907" y="2227"/>
                  </a:cubicBezTo>
                  <a:cubicBezTo>
                    <a:pt x="1906" y="2227"/>
                    <a:pt x="1905" y="2226"/>
                    <a:pt x="1904" y="2226"/>
                  </a:cubicBezTo>
                  <a:lnTo>
                    <a:pt x="1836" y="2183"/>
                  </a:lnTo>
                  <a:cubicBezTo>
                    <a:pt x="1835" y="2183"/>
                    <a:pt x="1834" y="2181"/>
                    <a:pt x="1834" y="2180"/>
                  </a:cubicBezTo>
                  <a:lnTo>
                    <a:pt x="1834" y="2163"/>
                  </a:lnTo>
                  <a:cubicBezTo>
                    <a:pt x="1834" y="2161"/>
                    <a:pt x="1835" y="2159"/>
                    <a:pt x="1837" y="2158"/>
                  </a:cubicBezTo>
                  <a:cubicBezTo>
                    <a:pt x="1837" y="2158"/>
                    <a:pt x="1838" y="2158"/>
                    <a:pt x="1839" y="2158"/>
                  </a:cubicBezTo>
                  <a:cubicBezTo>
                    <a:pt x="1840" y="2158"/>
                    <a:pt x="1841" y="2158"/>
                    <a:pt x="1842" y="2159"/>
                  </a:cubicBezTo>
                  <a:lnTo>
                    <a:pt x="1858" y="2170"/>
                  </a:lnTo>
                  <a:lnTo>
                    <a:pt x="1856" y="2146"/>
                  </a:lnTo>
                  <a:lnTo>
                    <a:pt x="1801" y="2038"/>
                  </a:lnTo>
                  <a:lnTo>
                    <a:pt x="1752" y="2015"/>
                  </a:lnTo>
                  <a:cubicBezTo>
                    <a:pt x="1750" y="2014"/>
                    <a:pt x="1749" y="2011"/>
                    <a:pt x="1750" y="2009"/>
                  </a:cubicBezTo>
                  <a:lnTo>
                    <a:pt x="1757" y="1975"/>
                  </a:lnTo>
                  <a:lnTo>
                    <a:pt x="1699" y="1940"/>
                  </a:lnTo>
                  <a:lnTo>
                    <a:pt x="1699" y="1941"/>
                  </a:lnTo>
                  <a:cubicBezTo>
                    <a:pt x="1700" y="1943"/>
                    <a:pt x="1700" y="1945"/>
                    <a:pt x="1698" y="1946"/>
                  </a:cubicBezTo>
                  <a:cubicBezTo>
                    <a:pt x="1697" y="1947"/>
                    <a:pt x="1696" y="1947"/>
                    <a:pt x="1695" y="1947"/>
                  </a:cubicBezTo>
                  <a:cubicBezTo>
                    <a:pt x="1694" y="1947"/>
                    <a:pt x="1694" y="1947"/>
                    <a:pt x="1693" y="1947"/>
                  </a:cubicBezTo>
                  <a:lnTo>
                    <a:pt x="1631" y="1918"/>
                  </a:lnTo>
                  <a:lnTo>
                    <a:pt x="1608" y="1930"/>
                  </a:lnTo>
                  <a:cubicBezTo>
                    <a:pt x="1608" y="1930"/>
                    <a:pt x="1607" y="1930"/>
                    <a:pt x="1606" y="1930"/>
                  </a:cubicBezTo>
                  <a:cubicBezTo>
                    <a:pt x="1605" y="1930"/>
                    <a:pt x="1604" y="1930"/>
                    <a:pt x="1603" y="1929"/>
                  </a:cubicBezTo>
                  <a:lnTo>
                    <a:pt x="1548" y="1887"/>
                  </a:lnTo>
                  <a:lnTo>
                    <a:pt x="1486" y="1875"/>
                  </a:lnTo>
                  <a:lnTo>
                    <a:pt x="1343" y="1880"/>
                  </a:lnTo>
                  <a:lnTo>
                    <a:pt x="1252" y="1930"/>
                  </a:lnTo>
                  <a:lnTo>
                    <a:pt x="1085" y="1947"/>
                  </a:lnTo>
                  <a:lnTo>
                    <a:pt x="917" y="2023"/>
                  </a:lnTo>
                  <a:lnTo>
                    <a:pt x="882" y="2097"/>
                  </a:lnTo>
                  <a:cubicBezTo>
                    <a:pt x="881" y="2099"/>
                    <a:pt x="879" y="2100"/>
                    <a:pt x="877" y="2100"/>
                  </a:cubicBezTo>
                  <a:lnTo>
                    <a:pt x="579" y="2108"/>
                  </a:lnTo>
                  <a:lnTo>
                    <a:pt x="529" y="2162"/>
                  </a:lnTo>
                  <a:cubicBezTo>
                    <a:pt x="528" y="2162"/>
                    <a:pt x="527" y="2163"/>
                    <a:pt x="526" y="2163"/>
                  </a:cubicBezTo>
                  <a:lnTo>
                    <a:pt x="484" y="2167"/>
                  </a:lnTo>
                  <a:lnTo>
                    <a:pt x="431" y="2213"/>
                  </a:lnTo>
                  <a:cubicBezTo>
                    <a:pt x="430" y="2213"/>
                    <a:pt x="429" y="2214"/>
                    <a:pt x="428" y="2214"/>
                  </a:cubicBezTo>
                  <a:lnTo>
                    <a:pt x="407" y="2214"/>
                  </a:lnTo>
                  <a:lnTo>
                    <a:pt x="403" y="2227"/>
                  </a:lnTo>
                  <a:cubicBezTo>
                    <a:pt x="403" y="2229"/>
                    <a:pt x="401" y="2231"/>
                    <a:pt x="399" y="2231"/>
                  </a:cubicBezTo>
                  <a:lnTo>
                    <a:pt x="250" y="2205"/>
                  </a:lnTo>
                  <a:lnTo>
                    <a:pt x="196" y="2149"/>
                  </a:lnTo>
                  <a:lnTo>
                    <a:pt x="165" y="2142"/>
                  </a:lnTo>
                  <a:cubicBezTo>
                    <a:pt x="162" y="2141"/>
                    <a:pt x="161" y="2139"/>
                    <a:pt x="161" y="2137"/>
                  </a:cubicBezTo>
                  <a:lnTo>
                    <a:pt x="161" y="2074"/>
                  </a:lnTo>
                  <a:cubicBezTo>
                    <a:pt x="161" y="2071"/>
                    <a:pt x="163" y="2069"/>
                    <a:pt x="166" y="2069"/>
                  </a:cubicBezTo>
                  <a:lnTo>
                    <a:pt x="192" y="2069"/>
                  </a:lnTo>
                  <a:lnTo>
                    <a:pt x="212" y="2029"/>
                  </a:lnTo>
                  <a:lnTo>
                    <a:pt x="212" y="1883"/>
                  </a:lnTo>
                  <a:lnTo>
                    <a:pt x="153" y="1758"/>
                  </a:lnTo>
                  <a:lnTo>
                    <a:pt x="144" y="1651"/>
                  </a:lnTo>
                  <a:lnTo>
                    <a:pt x="81" y="1534"/>
                  </a:lnTo>
                  <a:lnTo>
                    <a:pt x="59" y="1449"/>
                  </a:lnTo>
                  <a:lnTo>
                    <a:pt x="1" y="1370"/>
                  </a:lnTo>
                  <a:cubicBezTo>
                    <a:pt x="0" y="1368"/>
                    <a:pt x="0" y="1366"/>
                    <a:pt x="1" y="1364"/>
                  </a:cubicBezTo>
                  <a:cubicBezTo>
                    <a:pt x="2" y="1363"/>
                    <a:pt x="3" y="1362"/>
                    <a:pt x="5" y="1362"/>
                  </a:cubicBezTo>
                  <a:cubicBezTo>
                    <a:pt x="5" y="1362"/>
                    <a:pt x="6" y="1363"/>
                    <a:pt x="7" y="1363"/>
                  </a:cubicBezTo>
                  <a:lnTo>
                    <a:pt x="24" y="1371"/>
                  </a:lnTo>
                  <a:lnTo>
                    <a:pt x="40" y="1399"/>
                  </a:lnTo>
                  <a:lnTo>
                    <a:pt x="54" y="1394"/>
                  </a:lnTo>
                  <a:lnTo>
                    <a:pt x="43" y="1356"/>
                  </a:lnTo>
                  <a:cubicBezTo>
                    <a:pt x="42" y="1354"/>
                    <a:pt x="43" y="1351"/>
                    <a:pt x="45" y="1350"/>
                  </a:cubicBezTo>
                  <a:cubicBezTo>
                    <a:pt x="46" y="1350"/>
                    <a:pt x="47" y="1350"/>
                    <a:pt x="47" y="1350"/>
                  </a:cubicBezTo>
                  <a:cubicBezTo>
                    <a:pt x="49" y="1350"/>
                    <a:pt x="50" y="1351"/>
                    <a:pt x="51" y="1352"/>
                  </a:cubicBezTo>
                  <a:lnTo>
                    <a:pt x="64" y="1375"/>
                  </a:lnTo>
                  <a:lnTo>
                    <a:pt x="80" y="1354"/>
                  </a:lnTo>
                  <a:lnTo>
                    <a:pt x="13" y="1208"/>
                  </a:lnTo>
                  <a:lnTo>
                    <a:pt x="13" y="1164"/>
                  </a:lnTo>
                  <a:lnTo>
                    <a:pt x="43" y="1107"/>
                  </a:lnTo>
                  <a:lnTo>
                    <a:pt x="38" y="1016"/>
                  </a:lnTo>
                  <a:lnTo>
                    <a:pt x="64" y="971"/>
                  </a:lnTo>
                  <a:lnTo>
                    <a:pt x="68" y="960"/>
                  </a:lnTo>
                  <a:cubicBezTo>
                    <a:pt x="69" y="958"/>
                    <a:pt x="71" y="956"/>
                    <a:pt x="73" y="956"/>
                  </a:cubicBezTo>
                  <a:lnTo>
                    <a:pt x="73" y="956"/>
                  </a:lnTo>
                  <a:cubicBezTo>
                    <a:pt x="75" y="957"/>
                    <a:pt x="77" y="958"/>
                    <a:pt x="77" y="961"/>
                  </a:cubicBezTo>
                  <a:lnTo>
                    <a:pt x="84" y="1017"/>
                  </a:lnTo>
                  <a:lnTo>
                    <a:pt x="106" y="972"/>
                  </a:lnTo>
                  <a:cubicBezTo>
                    <a:pt x="107" y="971"/>
                    <a:pt x="108" y="970"/>
                    <a:pt x="109" y="969"/>
                  </a:cubicBezTo>
                  <a:lnTo>
                    <a:pt x="185" y="944"/>
                  </a:lnTo>
                  <a:lnTo>
                    <a:pt x="221" y="895"/>
                  </a:lnTo>
                  <a:lnTo>
                    <a:pt x="290" y="851"/>
                  </a:lnTo>
                  <a:cubicBezTo>
                    <a:pt x="291" y="851"/>
                    <a:pt x="292" y="851"/>
                    <a:pt x="293" y="851"/>
                  </a:cubicBezTo>
                  <a:lnTo>
                    <a:pt x="370" y="863"/>
                  </a:lnTo>
                  <a:lnTo>
                    <a:pt x="460" y="826"/>
                  </a:lnTo>
                  <a:lnTo>
                    <a:pt x="489" y="801"/>
                  </a:lnTo>
                  <a:cubicBezTo>
                    <a:pt x="490" y="800"/>
                    <a:pt x="491" y="800"/>
                    <a:pt x="492" y="800"/>
                  </a:cubicBezTo>
                  <a:lnTo>
                    <a:pt x="531" y="804"/>
                  </a:lnTo>
                  <a:lnTo>
                    <a:pt x="643" y="766"/>
                  </a:lnTo>
                  <a:lnTo>
                    <a:pt x="693" y="733"/>
                  </a:lnTo>
                  <a:lnTo>
                    <a:pt x="716" y="676"/>
                  </a:lnTo>
                  <a:lnTo>
                    <a:pt x="758" y="634"/>
                  </a:lnTo>
                  <a:lnTo>
                    <a:pt x="742" y="590"/>
                  </a:lnTo>
                  <a:cubicBezTo>
                    <a:pt x="741" y="589"/>
                    <a:pt x="741" y="588"/>
                    <a:pt x="742" y="587"/>
                  </a:cubicBezTo>
                  <a:lnTo>
                    <a:pt x="759" y="549"/>
                  </a:lnTo>
                  <a:lnTo>
                    <a:pt x="797" y="522"/>
                  </a:lnTo>
                  <a:lnTo>
                    <a:pt x="805" y="494"/>
                  </a:lnTo>
                  <a:cubicBezTo>
                    <a:pt x="806" y="493"/>
                    <a:pt x="807" y="491"/>
                    <a:pt x="809" y="491"/>
                  </a:cubicBezTo>
                  <a:lnTo>
                    <a:pt x="810" y="491"/>
                  </a:lnTo>
                  <a:cubicBezTo>
                    <a:pt x="811" y="491"/>
                    <a:pt x="813" y="492"/>
                    <a:pt x="814" y="493"/>
                  </a:cubicBezTo>
                  <a:lnTo>
                    <a:pt x="862" y="578"/>
                  </a:lnTo>
                  <a:lnTo>
                    <a:pt x="864" y="554"/>
                  </a:lnTo>
                  <a:cubicBezTo>
                    <a:pt x="864" y="552"/>
                    <a:pt x="866" y="550"/>
                    <a:pt x="869" y="550"/>
                  </a:cubicBezTo>
                  <a:lnTo>
                    <a:pt x="878" y="550"/>
                  </a:lnTo>
                  <a:lnTo>
                    <a:pt x="860" y="515"/>
                  </a:lnTo>
                  <a:lnTo>
                    <a:pt x="860" y="483"/>
                  </a:lnTo>
                  <a:cubicBezTo>
                    <a:pt x="860" y="481"/>
                    <a:pt x="861" y="479"/>
                    <a:pt x="864" y="478"/>
                  </a:cubicBezTo>
                  <a:lnTo>
                    <a:pt x="897" y="470"/>
                  </a:lnTo>
                  <a:cubicBezTo>
                    <a:pt x="898" y="470"/>
                    <a:pt x="898" y="470"/>
                    <a:pt x="898" y="470"/>
                  </a:cubicBezTo>
                  <a:cubicBezTo>
                    <a:pt x="900" y="470"/>
                    <a:pt x="902" y="471"/>
                    <a:pt x="903" y="472"/>
                  </a:cubicBezTo>
                  <a:lnTo>
                    <a:pt x="918" y="500"/>
                  </a:lnTo>
                  <a:lnTo>
                    <a:pt x="933" y="502"/>
                  </a:lnTo>
                  <a:lnTo>
                    <a:pt x="928" y="489"/>
                  </a:lnTo>
                  <a:cubicBezTo>
                    <a:pt x="928" y="488"/>
                    <a:pt x="928" y="486"/>
                    <a:pt x="928" y="485"/>
                  </a:cubicBezTo>
                  <a:lnTo>
                    <a:pt x="949" y="443"/>
                  </a:lnTo>
                  <a:lnTo>
                    <a:pt x="945" y="420"/>
                  </a:lnTo>
                  <a:cubicBezTo>
                    <a:pt x="944" y="418"/>
                    <a:pt x="946" y="415"/>
                    <a:pt x="948" y="415"/>
                  </a:cubicBezTo>
                  <a:lnTo>
                    <a:pt x="986" y="407"/>
                  </a:lnTo>
                  <a:lnTo>
                    <a:pt x="979" y="378"/>
                  </a:lnTo>
                  <a:cubicBezTo>
                    <a:pt x="978" y="377"/>
                    <a:pt x="979" y="375"/>
                    <a:pt x="980" y="374"/>
                  </a:cubicBezTo>
                  <a:cubicBezTo>
                    <a:pt x="981" y="373"/>
                    <a:pt x="982" y="373"/>
                    <a:pt x="983" y="373"/>
                  </a:cubicBezTo>
                  <a:cubicBezTo>
                    <a:pt x="984" y="373"/>
                    <a:pt x="984" y="373"/>
                    <a:pt x="985" y="373"/>
                  </a:cubicBezTo>
                  <a:lnTo>
                    <a:pt x="1006" y="379"/>
                  </a:lnTo>
                  <a:lnTo>
                    <a:pt x="996" y="345"/>
                  </a:lnTo>
                  <a:cubicBezTo>
                    <a:pt x="995" y="343"/>
                    <a:pt x="995" y="342"/>
                    <a:pt x="996" y="341"/>
                  </a:cubicBezTo>
                  <a:cubicBezTo>
                    <a:pt x="997" y="340"/>
                    <a:pt x="998" y="339"/>
                    <a:pt x="999" y="339"/>
                  </a:cubicBezTo>
                  <a:lnTo>
                    <a:pt x="1047" y="330"/>
                  </a:lnTo>
                  <a:cubicBezTo>
                    <a:pt x="1048" y="330"/>
                    <a:pt x="1049" y="331"/>
                    <a:pt x="1050" y="331"/>
                  </a:cubicBezTo>
                  <a:cubicBezTo>
                    <a:pt x="1051" y="332"/>
                    <a:pt x="1051" y="333"/>
                    <a:pt x="1051" y="335"/>
                  </a:cubicBezTo>
                  <a:lnTo>
                    <a:pt x="1051" y="339"/>
                  </a:lnTo>
                  <a:lnTo>
                    <a:pt x="1063" y="332"/>
                  </a:lnTo>
                  <a:lnTo>
                    <a:pt x="1063" y="284"/>
                  </a:lnTo>
                  <a:cubicBezTo>
                    <a:pt x="1063" y="282"/>
                    <a:pt x="1065" y="280"/>
                    <a:pt x="1067" y="280"/>
                  </a:cubicBezTo>
                  <a:lnTo>
                    <a:pt x="1068" y="280"/>
                  </a:lnTo>
                  <a:cubicBezTo>
                    <a:pt x="1070" y="280"/>
                    <a:pt x="1071" y="280"/>
                    <a:pt x="1072" y="282"/>
                  </a:cubicBezTo>
                  <a:lnTo>
                    <a:pt x="1083" y="299"/>
                  </a:lnTo>
                  <a:lnTo>
                    <a:pt x="1142" y="272"/>
                  </a:lnTo>
                  <a:cubicBezTo>
                    <a:pt x="1143" y="271"/>
                    <a:pt x="1144" y="271"/>
                    <a:pt x="1144" y="271"/>
                  </a:cubicBezTo>
                  <a:cubicBezTo>
                    <a:pt x="1145" y="271"/>
                    <a:pt x="1146" y="271"/>
                    <a:pt x="1146" y="271"/>
                  </a:cubicBezTo>
                  <a:lnTo>
                    <a:pt x="1205" y="297"/>
                  </a:lnTo>
                  <a:lnTo>
                    <a:pt x="1253" y="344"/>
                  </a:lnTo>
                  <a:cubicBezTo>
                    <a:pt x="1255" y="346"/>
                    <a:pt x="1255" y="347"/>
                    <a:pt x="1255" y="349"/>
                  </a:cubicBezTo>
                  <a:lnTo>
                    <a:pt x="1243" y="392"/>
                  </a:lnTo>
                  <a:lnTo>
                    <a:pt x="1250" y="379"/>
                  </a:lnTo>
                  <a:lnTo>
                    <a:pt x="1277" y="357"/>
                  </a:lnTo>
                  <a:lnTo>
                    <a:pt x="1335" y="356"/>
                  </a:lnTo>
                  <a:lnTo>
                    <a:pt x="1371" y="380"/>
                  </a:lnTo>
                  <a:lnTo>
                    <a:pt x="1368" y="370"/>
                  </a:lnTo>
                  <a:cubicBezTo>
                    <a:pt x="1368" y="368"/>
                    <a:pt x="1369" y="367"/>
                    <a:pt x="1370" y="366"/>
                  </a:cubicBezTo>
                  <a:lnTo>
                    <a:pt x="1375" y="360"/>
                  </a:lnTo>
                  <a:lnTo>
                    <a:pt x="1348" y="325"/>
                  </a:lnTo>
                  <a:cubicBezTo>
                    <a:pt x="1347" y="324"/>
                    <a:pt x="1347" y="322"/>
                    <a:pt x="1348" y="320"/>
                  </a:cubicBezTo>
                  <a:lnTo>
                    <a:pt x="1390" y="248"/>
                  </a:lnTo>
                  <a:cubicBezTo>
                    <a:pt x="1391" y="247"/>
                    <a:pt x="1392" y="246"/>
                    <a:pt x="1393" y="246"/>
                  </a:cubicBezTo>
                  <a:lnTo>
                    <a:pt x="1423" y="238"/>
                  </a:lnTo>
                  <a:lnTo>
                    <a:pt x="1423" y="225"/>
                  </a:lnTo>
                  <a:lnTo>
                    <a:pt x="1420" y="225"/>
                  </a:lnTo>
                  <a:cubicBezTo>
                    <a:pt x="1418" y="225"/>
                    <a:pt x="1417" y="225"/>
                    <a:pt x="1416" y="224"/>
                  </a:cubicBezTo>
                  <a:cubicBezTo>
                    <a:pt x="1415" y="223"/>
                    <a:pt x="1415" y="222"/>
                    <a:pt x="1415" y="220"/>
                  </a:cubicBezTo>
                  <a:lnTo>
                    <a:pt x="1419" y="186"/>
                  </a:lnTo>
                  <a:cubicBezTo>
                    <a:pt x="1419" y="185"/>
                    <a:pt x="1420" y="184"/>
                    <a:pt x="1421" y="183"/>
                  </a:cubicBezTo>
                  <a:lnTo>
                    <a:pt x="1455" y="162"/>
                  </a:lnTo>
                  <a:cubicBezTo>
                    <a:pt x="1456" y="161"/>
                    <a:pt x="1457" y="161"/>
                    <a:pt x="1458" y="161"/>
                  </a:cubicBezTo>
                  <a:cubicBezTo>
                    <a:pt x="1459" y="161"/>
                    <a:pt x="1460" y="161"/>
                    <a:pt x="1461" y="162"/>
                  </a:cubicBezTo>
                  <a:lnTo>
                    <a:pt x="1477" y="176"/>
                  </a:lnTo>
                  <a:lnTo>
                    <a:pt x="1474" y="158"/>
                  </a:lnTo>
                  <a:cubicBezTo>
                    <a:pt x="1474" y="157"/>
                    <a:pt x="1475" y="155"/>
                    <a:pt x="1476" y="154"/>
                  </a:cubicBezTo>
                  <a:lnTo>
                    <a:pt x="1488" y="141"/>
                  </a:lnTo>
                  <a:cubicBezTo>
                    <a:pt x="1489" y="140"/>
                    <a:pt x="1490" y="140"/>
                    <a:pt x="1492" y="140"/>
                  </a:cubicBezTo>
                  <a:lnTo>
                    <a:pt x="1577" y="144"/>
                  </a:lnTo>
                  <a:lnTo>
                    <a:pt x="1614" y="125"/>
                  </a:lnTo>
                  <a:lnTo>
                    <a:pt x="1614" y="93"/>
                  </a:lnTo>
                  <a:lnTo>
                    <a:pt x="1566" y="68"/>
                  </a:lnTo>
                  <a:lnTo>
                    <a:pt x="1550" y="65"/>
                  </a:lnTo>
                  <a:cubicBezTo>
                    <a:pt x="1548" y="64"/>
                    <a:pt x="1547" y="63"/>
                    <a:pt x="1546" y="61"/>
                  </a:cubicBezTo>
                  <a:cubicBezTo>
                    <a:pt x="1546" y="59"/>
                    <a:pt x="1547" y="57"/>
                    <a:pt x="1548" y="56"/>
                  </a:cubicBezTo>
                  <a:lnTo>
                    <a:pt x="1570" y="43"/>
                  </a:lnTo>
                  <a:cubicBezTo>
                    <a:pt x="1570" y="43"/>
                    <a:pt x="1571" y="43"/>
                    <a:pt x="1572" y="43"/>
                  </a:cubicBezTo>
                  <a:cubicBezTo>
                    <a:pt x="1573" y="43"/>
                    <a:pt x="1574" y="43"/>
                    <a:pt x="1575" y="44"/>
                  </a:cubicBezTo>
                  <a:lnTo>
                    <a:pt x="1585" y="53"/>
                  </a:lnTo>
                  <a:lnTo>
                    <a:pt x="1590" y="48"/>
                  </a:lnTo>
                  <a:cubicBezTo>
                    <a:pt x="1591" y="47"/>
                    <a:pt x="1592" y="47"/>
                    <a:pt x="1593" y="47"/>
                  </a:cubicBezTo>
                  <a:cubicBezTo>
                    <a:pt x="1594" y="47"/>
                    <a:pt x="1595" y="47"/>
                    <a:pt x="1596" y="48"/>
                  </a:cubicBezTo>
                  <a:lnTo>
                    <a:pt x="1630" y="78"/>
                  </a:lnTo>
                  <a:lnTo>
                    <a:pt x="1636" y="66"/>
                  </a:lnTo>
                  <a:cubicBezTo>
                    <a:pt x="1636" y="65"/>
                    <a:pt x="1638" y="64"/>
                    <a:pt x="1639" y="64"/>
                  </a:cubicBezTo>
                  <a:lnTo>
                    <a:pt x="1640" y="64"/>
                  </a:lnTo>
                  <a:cubicBezTo>
                    <a:pt x="1641" y="64"/>
                    <a:pt x="1643" y="64"/>
                    <a:pt x="1644" y="65"/>
                  </a:cubicBezTo>
                  <a:lnTo>
                    <a:pt x="1664" y="90"/>
                  </a:lnTo>
                  <a:lnTo>
                    <a:pt x="1717" y="98"/>
                  </a:lnTo>
                  <a:lnTo>
                    <a:pt x="1757" y="124"/>
                  </a:lnTo>
                  <a:lnTo>
                    <a:pt x="1800" y="119"/>
                  </a:lnTo>
                  <a:lnTo>
                    <a:pt x="1839" y="139"/>
                  </a:lnTo>
                  <a:lnTo>
                    <a:pt x="1901" y="111"/>
                  </a:lnTo>
                  <a:cubicBezTo>
                    <a:pt x="1901" y="110"/>
                    <a:pt x="1902" y="110"/>
                    <a:pt x="1903" y="110"/>
                  </a:cubicBezTo>
                  <a:cubicBezTo>
                    <a:pt x="1904" y="110"/>
                    <a:pt x="1905" y="111"/>
                    <a:pt x="1906" y="112"/>
                  </a:cubicBezTo>
                  <a:cubicBezTo>
                    <a:pt x="1908" y="114"/>
                    <a:pt x="1908" y="116"/>
                    <a:pt x="1906" y="118"/>
                  </a:cubicBezTo>
                  <a:lnTo>
                    <a:pt x="1899" y="127"/>
                  </a:lnTo>
                  <a:lnTo>
                    <a:pt x="1907" y="127"/>
                  </a:lnTo>
                  <a:cubicBezTo>
                    <a:pt x="1909" y="127"/>
                    <a:pt x="1911" y="129"/>
                    <a:pt x="1911" y="132"/>
                  </a:cubicBezTo>
                  <a:lnTo>
                    <a:pt x="1911" y="155"/>
                  </a:lnTo>
                  <a:lnTo>
                    <a:pt x="1941" y="112"/>
                  </a:lnTo>
                  <a:cubicBezTo>
                    <a:pt x="1942" y="111"/>
                    <a:pt x="1943" y="110"/>
                    <a:pt x="1945" y="110"/>
                  </a:cubicBezTo>
                  <a:lnTo>
                    <a:pt x="1946" y="110"/>
                  </a:lnTo>
                  <a:cubicBezTo>
                    <a:pt x="1948" y="111"/>
                    <a:pt x="1949" y="112"/>
                    <a:pt x="1949" y="114"/>
                  </a:cubicBezTo>
                  <a:lnTo>
                    <a:pt x="1957" y="144"/>
                  </a:lnTo>
                  <a:lnTo>
                    <a:pt x="1979" y="144"/>
                  </a:lnTo>
                  <a:cubicBezTo>
                    <a:pt x="1981" y="144"/>
                    <a:pt x="1982" y="145"/>
                    <a:pt x="1983" y="147"/>
                  </a:cubicBezTo>
                  <a:cubicBezTo>
                    <a:pt x="1984" y="148"/>
                    <a:pt x="1984" y="150"/>
                    <a:pt x="1983" y="152"/>
                  </a:cubicBezTo>
                  <a:lnTo>
                    <a:pt x="1955" y="192"/>
                  </a:lnTo>
                  <a:lnTo>
                    <a:pt x="1962" y="206"/>
                  </a:lnTo>
                  <a:cubicBezTo>
                    <a:pt x="1963" y="207"/>
                    <a:pt x="1962" y="209"/>
                    <a:pt x="1961" y="211"/>
                  </a:cubicBezTo>
                  <a:lnTo>
                    <a:pt x="1953" y="223"/>
                  </a:lnTo>
                  <a:cubicBezTo>
                    <a:pt x="1952" y="225"/>
                    <a:pt x="1951" y="225"/>
                    <a:pt x="1949" y="225"/>
                  </a:cubicBezTo>
                  <a:lnTo>
                    <a:pt x="1932" y="222"/>
                  </a:lnTo>
                  <a:lnTo>
                    <a:pt x="1928" y="243"/>
                  </a:lnTo>
                  <a:cubicBezTo>
                    <a:pt x="1928" y="244"/>
                    <a:pt x="1927" y="246"/>
                    <a:pt x="1926" y="246"/>
                  </a:cubicBezTo>
                  <a:cubicBezTo>
                    <a:pt x="1925" y="247"/>
                    <a:pt x="1924" y="247"/>
                    <a:pt x="1924" y="247"/>
                  </a:cubicBezTo>
                  <a:cubicBezTo>
                    <a:pt x="1923" y="247"/>
                    <a:pt x="1922" y="246"/>
                    <a:pt x="1921" y="246"/>
                  </a:cubicBezTo>
                  <a:lnTo>
                    <a:pt x="1909" y="237"/>
                  </a:lnTo>
                  <a:lnTo>
                    <a:pt x="1902" y="263"/>
                  </a:lnTo>
                  <a:lnTo>
                    <a:pt x="1909" y="259"/>
                  </a:lnTo>
                  <a:cubicBezTo>
                    <a:pt x="1910" y="259"/>
                    <a:pt x="1910" y="258"/>
                    <a:pt x="1911" y="258"/>
                  </a:cubicBezTo>
                  <a:cubicBezTo>
                    <a:pt x="1912" y="258"/>
                    <a:pt x="1913" y="259"/>
                    <a:pt x="1914" y="260"/>
                  </a:cubicBezTo>
                  <a:cubicBezTo>
                    <a:pt x="1916" y="261"/>
                    <a:pt x="1916" y="263"/>
                    <a:pt x="1915" y="265"/>
                  </a:cubicBezTo>
                  <a:lnTo>
                    <a:pt x="1879" y="375"/>
                  </a:lnTo>
                  <a:lnTo>
                    <a:pt x="1938" y="403"/>
                  </a:lnTo>
                  <a:cubicBezTo>
                    <a:pt x="1940" y="403"/>
                    <a:pt x="1941" y="405"/>
                    <a:pt x="1941" y="406"/>
                  </a:cubicBezTo>
                  <a:lnTo>
                    <a:pt x="1949" y="457"/>
                  </a:lnTo>
                  <a:lnTo>
                    <a:pt x="2013" y="449"/>
                  </a:lnTo>
                  <a:cubicBezTo>
                    <a:pt x="2014" y="449"/>
                    <a:pt x="2015" y="449"/>
                    <a:pt x="2016" y="450"/>
                  </a:cubicBezTo>
                  <a:lnTo>
                    <a:pt x="2088" y="514"/>
                  </a:lnTo>
                  <a:lnTo>
                    <a:pt x="2158" y="529"/>
                  </a:lnTo>
                  <a:cubicBezTo>
                    <a:pt x="2159" y="530"/>
                    <a:pt x="2160" y="530"/>
                    <a:pt x="2161" y="531"/>
                  </a:cubicBezTo>
                  <a:lnTo>
                    <a:pt x="2186" y="569"/>
                  </a:lnTo>
                  <a:lnTo>
                    <a:pt x="2251" y="609"/>
                  </a:lnTo>
                  <a:lnTo>
                    <a:pt x="2310" y="589"/>
                  </a:lnTo>
                  <a:lnTo>
                    <a:pt x="2343" y="511"/>
                  </a:lnTo>
                  <a:lnTo>
                    <a:pt x="2372" y="381"/>
                  </a:lnTo>
                  <a:lnTo>
                    <a:pt x="2364" y="259"/>
                  </a:lnTo>
                  <a:lnTo>
                    <a:pt x="2385" y="171"/>
                  </a:lnTo>
                  <a:lnTo>
                    <a:pt x="2373" y="156"/>
                  </a:lnTo>
                  <a:cubicBezTo>
                    <a:pt x="2372" y="155"/>
                    <a:pt x="2372" y="153"/>
                    <a:pt x="2373" y="151"/>
                  </a:cubicBezTo>
                  <a:lnTo>
                    <a:pt x="2428" y="28"/>
                  </a:lnTo>
                  <a:lnTo>
                    <a:pt x="2463" y="1"/>
                  </a:lnTo>
                  <a:cubicBezTo>
                    <a:pt x="2464" y="1"/>
                    <a:pt x="2465" y="0"/>
                    <a:pt x="2466" y="0"/>
                  </a:cubicBezTo>
                  <a:lnTo>
                    <a:pt x="2467" y="1"/>
                  </a:lnTo>
                  <a:cubicBezTo>
                    <a:pt x="2469" y="1"/>
                    <a:pt x="2470" y="2"/>
                    <a:pt x="2471" y="4"/>
                  </a:cubicBezTo>
                  <a:lnTo>
                    <a:pt x="2479" y="29"/>
                  </a:lnTo>
                  <a:lnTo>
                    <a:pt x="2483" y="92"/>
                  </a:lnTo>
                  <a:lnTo>
                    <a:pt x="2503" y="107"/>
                  </a:lnTo>
                  <a:cubicBezTo>
                    <a:pt x="2504" y="108"/>
                    <a:pt x="2505" y="109"/>
                    <a:pt x="2505" y="111"/>
                  </a:cubicBezTo>
                  <a:lnTo>
                    <a:pt x="2505" y="143"/>
                  </a:lnTo>
                  <a:lnTo>
                    <a:pt x="2529" y="167"/>
                  </a:lnTo>
                  <a:lnTo>
                    <a:pt x="2563" y="311"/>
                  </a:lnTo>
                  <a:lnTo>
                    <a:pt x="2581" y="322"/>
                  </a:lnTo>
                  <a:lnTo>
                    <a:pt x="2626" y="309"/>
                  </a:lnTo>
                  <a:lnTo>
                    <a:pt x="2627" y="309"/>
                  </a:lnTo>
                  <a:cubicBezTo>
                    <a:pt x="2628" y="309"/>
                    <a:pt x="2630" y="310"/>
                    <a:pt x="2630" y="311"/>
                  </a:cubicBezTo>
                  <a:lnTo>
                    <a:pt x="2694" y="374"/>
                  </a:lnTo>
                  <a:lnTo>
                    <a:pt x="2712" y="510"/>
                  </a:lnTo>
                  <a:lnTo>
                    <a:pt x="2740" y="535"/>
                  </a:lnTo>
                  <a:cubicBezTo>
                    <a:pt x="2741" y="535"/>
                    <a:pt x="2742" y="536"/>
                    <a:pt x="2742" y="537"/>
                  </a:cubicBezTo>
                  <a:lnTo>
                    <a:pt x="2763" y="671"/>
                  </a:lnTo>
                  <a:lnTo>
                    <a:pt x="2778" y="682"/>
                  </a:lnTo>
                  <a:cubicBezTo>
                    <a:pt x="2779" y="683"/>
                    <a:pt x="2780" y="684"/>
                    <a:pt x="2780" y="686"/>
                  </a:cubicBezTo>
                  <a:lnTo>
                    <a:pt x="2784" y="721"/>
                  </a:lnTo>
                  <a:lnTo>
                    <a:pt x="2824" y="741"/>
                  </a:lnTo>
                  <a:lnTo>
                    <a:pt x="2869" y="741"/>
                  </a:lnTo>
                  <a:cubicBezTo>
                    <a:pt x="2871" y="741"/>
                    <a:pt x="2872" y="742"/>
                    <a:pt x="2873" y="744"/>
                  </a:cubicBezTo>
                  <a:lnTo>
                    <a:pt x="2889" y="788"/>
                  </a:lnTo>
                  <a:lnTo>
                    <a:pt x="2929" y="796"/>
                  </a:lnTo>
                  <a:lnTo>
                    <a:pt x="2990" y="830"/>
                  </a:lnTo>
                  <a:cubicBezTo>
                    <a:pt x="2992" y="831"/>
                    <a:pt x="2992" y="834"/>
                    <a:pt x="2992" y="836"/>
                  </a:cubicBezTo>
                  <a:lnTo>
                    <a:pt x="2980" y="866"/>
                  </a:lnTo>
                  <a:lnTo>
                    <a:pt x="3006" y="881"/>
                  </a:lnTo>
                  <a:lnTo>
                    <a:pt x="3042" y="938"/>
                  </a:lnTo>
                  <a:lnTo>
                    <a:pt x="3059" y="1027"/>
                  </a:lnTo>
                  <a:lnTo>
                    <a:pt x="3073" y="1021"/>
                  </a:lnTo>
                  <a:lnTo>
                    <a:pt x="3085" y="993"/>
                  </a:lnTo>
                  <a:cubicBezTo>
                    <a:pt x="3085" y="992"/>
                    <a:pt x="3086" y="991"/>
                    <a:pt x="3088" y="991"/>
                  </a:cubicBezTo>
                  <a:lnTo>
                    <a:pt x="3089" y="990"/>
                  </a:lnTo>
                  <a:cubicBezTo>
                    <a:pt x="3090" y="990"/>
                    <a:pt x="3091" y="991"/>
                    <a:pt x="3092" y="992"/>
                  </a:cubicBezTo>
                  <a:lnTo>
                    <a:pt x="3130" y="1029"/>
                  </a:lnTo>
                  <a:lnTo>
                    <a:pt x="3135" y="1018"/>
                  </a:lnTo>
                  <a:cubicBezTo>
                    <a:pt x="3136" y="1017"/>
                    <a:pt x="3138" y="1016"/>
                    <a:pt x="3140" y="1016"/>
                  </a:cubicBezTo>
                  <a:lnTo>
                    <a:pt x="3140" y="1016"/>
                  </a:lnTo>
                  <a:cubicBezTo>
                    <a:pt x="3142" y="1016"/>
                    <a:pt x="3144" y="1018"/>
                    <a:pt x="3144" y="1020"/>
                  </a:cubicBezTo>
                  <a:lnTo>
                    <a:pt x="3161" y="1121"/>
                  </a:lnTo>
                  <a:lnTo>
                    <a:pt x="3283" y="1224"/>
                  </a:lnTo>
                  <a:lnTo>
                    <a:pt x="3347" y="1331"/>
                  </a:lnTo>
                  <a:lnTo>
                    <a:pt x="3348" y="1460"/>
                  </a:lnTo>
                  <a:lnTo>
                    <a:pt x="3382" y="1608"/>
                  </a:lnTo>
                  <a:lnTo>
                    <a:pt x="3335" y="1859"/>
                  </a:lnTo>
                  <a:lnTo>
                    <a:pt x="3292" y="1961"/>
                  </a:lnTo>
                  <a:lnTo>
                    <a:pt x="3192" y="2079"/>
                  </a:lnTo>
                  <a:lnTo>
                    <a:pt x="3199" y="2102"/>
                  </a:lnTo>
                  <a:lnTo>
                    <a:pt x="3148" y="2245"/>
                  </a:lnTo>
                  <a:cubicBezTo>
                    <a:pt x="3148" y="2246"/>
                    <a:pt x="3146" y="2248"/>
                    <a:pt x="3145" y="2248"/>
                  </a:cubicBezTo>
                  <a:lnTo>
                    <a:pt x="3144" y="2248"/>
                  </a:lnTo>
                  <a:cubicBezTo>
                    <a:pt x="3142" y="2248"/>
                    <a:pt x="3141" y="2247"/>
                    <a:pt x="3140" y="2246"/>
                  </a:cubicBezTo>
                  <a:lnTo>
                    <a:pt x="3136" y="2240"/>
                  </a:lnTo>
                  <a:lnTo>
                    <a:pt x="3106" y="2300"/>
                  </a:lnTo>
                  <a:lnTo>
                    <a:pt x="3085" y="2477"/>
                  </a:lnTo>
                  <a:cubicBezTo>
                    <a:pt x="3085" y="2478"/>
                    <a:pt x="3084" y="2479"/>
                    <a:pt x="3083" y="2480"/>
                  </a:cubicBezTo>
                  <a:lnTo>
                    <a:pt x="3032" y="2510"/>
                  </a:lnTo>
                  <a:lnTo>
                    <a:pt x="2929" y="2523"/>
                  </a:lnTo>
                  <a:lnTo>
                    <a:pt x="2821" y="2607"/>
                  </a:lnTo>
                  <a:lnTo>
                    <a:pt x="2780" y="2607"/>
                  </a:lnTo>
                  <a:lnTo>
                    <a:pt x="2780" y="2618"/>
                  </a:lnTo>
                  <a:cubicBezTo>
                    <a:pt x="2780" y="2618"/>
                    <a:pt x="2796" y="2615"/>
                    <a:pt x="2797" y="2615"/>
                  </a:cubicBezTo>
                  <a:cubicBezTo>
                    <a:pt x="2798" y="2615"/>
                    <a:pt x="2799" y="2616"/>
                    <a:pt x="2800" y="2617"/>
                  </a:cubicBezTo>
                  <a:cubicBezTo>
                    <a:pt x="2801" y="2618"/>
                    <a:pt x="2802" y="2620"/>
                    <a:pt x="2801" y="2622"/>
                  </a:cubicBezTo>
                  <a:lnTo>
                    <a:pt x="2788" y="2651"/>
                  </a:lnTo>
                  <a:cubicBezTo>
                    <a:pt x="2788" y="2653"/>
                    <a:pt x="2786" y="2654"/>
                    <a:pt x="2785" y="2654"/>
                  </a:cubicBezTo>
                  <a:lnTo>
                    <a:pt x="2784" y="265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7" name="Freeform 482"/>
            <p:cNvSpPr>
              <a:spLocks noChangeArrowheads="1"/>
            </p:cNvSpPr>
            <p:nvPr/>
          </p:nvSpPr>
          <p:spPr bwMode="auto">
            <a:xfrm>
              <a:off x="8697913" y="5054600"/>
              <a:ext cx="12700" cy="9525"/>
            </a:xfrm>
            <a:custGeom>
              <a:avLst/>
              <a:gdLst/>
              <a:ahLst/>
              <a:cxnLst>
                <a:cxn ang="0">
                  <a:pos x="4" y="22"/>
                </a:cxn>
                <a:cxn ang="0">
                  <a:pos x="0" y="19"/>
                </a:cxn>
                <a:cxn ang="0">
                  <a:pos x="2" y="14"/>
                </a:cxn>
                <a:cxn ang="0">
                  <a:pos x="19" y="1"/>
                </a:cxn>
                <a:cxn ang="0">
                  <a:pos x="22" y="0"/>
                </a:cxn>
                <a:cxn ang="0">
                  <a:pos x="23" y="0"/>
                </a:cxn>
                <a:cxn ang="0">
                  <a:pos x="26" y="3"/>
                </a:cxn>
                <a:cxn ang="0">
                  <a:pos x="34" y="20"/>
                </a:cxn>
                <a:cxn ang="0">
                  <a:pos x="34" y="25"/>
                </a:cxn>
                <a:cxn ang="0">
                  <a:pos x="30" y="27"/>
                </a:cxn>
                <a:cxn ang="0">
                  <a:pos x="4" y="22"/>
                </a:cxn>
              </a:cxnLst>
              <a:rect l="0" t="0" r="r" b="b"/>
              <a:pathLst>
                <a:path w="36" h="28">
                  <a:moveTo>
                    <a:pt x="4" y="22"/>
                  </a:moveTo>
                  <a:cubicBezTo>
                    <a:pt x="2" y="22"/>
                    <a:pt x="1" y="21"/>
                    <a:pt x="0" y="19"/>
                  </a:cubicBezTo>
                  <a:cubicBezTo>
                    <a:pt x="0" y="17"/>
                    <a:pt x="0" y="15"/>
                    <a:pt x="2" y="14"/>
                  </a:cubicBezTo>
                  <a:lnTo>
                    <a:pt x="19" y="1"/>
                  </a:lnTo>
                  <a:cubicBezTo>
                    <a:pt x="20" y="0"/>
                    <a:pt x="21" y="0"/>
                    <a:pt x="22" y="0"/>
                  </a:cubicBezTo>
                  <a:cubicBezTo>
                    <a:pt x="22" y="0"/>
                    <a:pt x="22" y="0"/>
                    <a:pt x="23" y="0"/>
                  </a:cubicBezTo>
                  <a:cubicBezTo>
                    <a:pt x="24" y="1"/>
                    <a:pt x="25" y="2"/>
                    <a:pt x="26" y="3"/>
                  </a:cubicBezTo>
                  <a:lnTo>
                    <a:pt x="34" y="20"/>
                  </a:lnTo>
                  <a:cubicBezTo>
                    <a:pt x="35" y="21"/>
                    <a:pt x="35" y="23"/>
                    <a:pt x="34" y="25"/>
                  </a:cubicBezTo>
                  <a:cubicBezTo>
                    <a:pt x="33" y="26"/>
                    <a:pt x="32" y="27"/>
                    <a:pt x="30" y="27"/>
                  </a:cubicBezTo>
                  <a:lnTo>
                    <a:pt x="4" y="2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8" name="Freeform 483"/>
            <p:cNvSpPr>
              <a:spLocks noChangeArrowheads="1"/>
            </p:cNvSpPr>
            <p:nvPr/>
          </p:nvSpPr>
          <p:spPr bwMode="auto">
            <a:xfrm>
              <a:off x="8697913" y="5054600"/>
              <a:ext cx="12700" cy="9525"/>
            </a:xfrm>
            <a:custGeom>
              <a:avLst/>
              <a:gdLst/>
              <a:ahLst/>
              <a:cxnLst>
                <a:cxn ang="0">
                  <a:pos x="4" y="22"/>
                </a:cxn>
                <a:cxn ang="0">
                  <a:pos x="0" y="19"/>
                </a:cxn>
                <a:cxn ang="0">
                  <a:pos x="2" y="14"/>
                </a:cxn>
                <a:cxn ang="0">
                  <a:pos x="19" y="1"/>
                </a:cxn>
                <a:cxn ang="0">
                  <a:pos x="22" y="0"/>
                </a:cxn>
                <a:cxn ang="0">
                  <a:pos x="23" y="0"/>
                </a:cxn>
                <a:cxn ang="0">
                  <a:pos x="26" y="3"/>
                </a:cxn>
                <a:cxn ang="0">
                  <a:pos x="34" y="20"/>
                </a:cxn>
                <a:cxn ang="0">
                  <a:pos x="34" y="25"/>
                </a:cxn>
                <a:cxn ang="0">
                  <a:pos x="30" y="27"/>
                </a:cxn>
                <a:cxn ang="0">
                  <a:pos x="4" y="22"/>
                </a:cxn>
              </a:cxnLst>
              <a:rect l="0" t="0" r="r" b="b"/>
              <a:pathLst>
                <a:path w="36" h="28">
                  <a:moveTo>
                    <a:pt x="4" y="22"/>
                  </a:moveTo>
                  <a:cubicBezTo>
                    <a:pt x="2" y="22"/>
                    <a:pt x="1" y="21"/>
                    <a:pt x="0" y="19"/>
                  </a:cubicBezTo>
                  <a:cubicBezTo>
                    <a:pt x="0" y="17"/>
                    <a:pt x="0" y="15"/>
                    <a:pt x="2" y="14"/>
                  </a:cubicBezTo>
                  <a:lnTo>
                    <a:pt x="19" y="1"/>
                  </a:lnTo>
                  <a:cubicBezTo>
                    <a:pt x="20" y="0"/>
                    <a:pt x="21" y="0"/>
                    <a:pt x="22" y="0"/>
                  </a:cubicBezTo>
                  <a:cubicBezTo>
                    <a:pt x="22" y="0"/>
                    <a:pt x="22" y="0"/>
                    <a:pt x="23" y="0"/>
                  </a:cubicBezTo>
                  <a:cubicBezTo>
                    <a:pt x="24" y="1"/>
                    <a:pt x="25" y="2"/>
                    <a:pt x="26" y="3"/>
                  </a:cubicBezTo>
                  <a:lnTo>
                    <a:pt x="34" y="20"/>
                  </a:lnTo>
                  <a:cubicBezTo>
                    <a:pt x="35" y="21"/>
                    <a:pt x="35" y="23"/>
                    <a:pt x="34" y="25"/>
                  </a:cubicBezTo>
                  <a:cubicBezTo>
                    <a:pt x="33" y="26"/>
                    <a:pt x="32" y="27"/>
                    <a:pt x="30" y="27"/>
                  </a:cubicBezTo>
                  <a:lnTo>
                    <a:pt x="4" y="2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89" name="Freeform 484"/>
            <p:cNvSpPr>
              <a:spLocks noChangeArrowheads="1"/>
            </p:cNvSpPr>
            <p:nvPr/>
          </p:nvSpPr>
          <p:spPr bwMode="auto">
            <a:xfrm>
              <a:off x="8345488" y="4152900"/>
              <a:ext cx="17462" cy="19050"/>
            </a:xfrm>
            <a:custGeom>
              <a:avLst/>
              <a:gdLst/>
              <a:ahLst/>
              <a:cxnLst>
                <a:cxn ang="0">
                  <a:pos x="7" y="51"/>
                </a:cxn>
                <a:cxn ang="0">
                  <a:pos x="5" y="47"/>
                </a:cxn>
                <a:cxn ang="0">
                  <a:pos x="0" y="5"/>
                </a:cxn>
                <a:cxn ang="0">
                  <a:pos x="2" y="1"/>
                </a:cxn>
                <a:cxn ang="0">
                  <a:pos x="5" y="0"/>
                </a:cxn>
                <a:cxn ang="0">
                  <a:pos x="30" y="0"/>
                </a:cxn>
                <a:cxn ang="0">
                  <a:pos x="35" y="3"/>
                </a:cxn>
                <a:cxn ang="0">
                  <a:pos x="48" y="37"/>
                </a:cxn>
                <a:cxn ang="0">
                  <a:pos x="47" y="40"/>
                </a:cxn>
                <a:cxn ang="0">
                  <a:pos x="44" y="43"/>
                </a:cxn>
                <a:cxn ang="0">
                  <a:pos x="11" y="51"/>
                </a:cxn>
                <a:cxn ang="0">
                  <a:pos x="9" y="51"/>
                </a:cxn>
                <a:cxn ang="0">
                  <a:pos x="7" y="51"/>
                </a:cxn>
              </a:cxnLst>
              <a:rect l="0" t="0" r="r" b="b"/>
              <a:pathLst>
                <a:path w="49" h="52">
                  <a:moveTo>
                    <a:pt x="7" y="51"/>
                  </a:moveTo>
                  <a:cubicBezTo>
                    <a:pt x="5" y="50"/>
                    <a:pt x="5" y="49"/>
                    <a:pt x="5" y="47"/>
                  </a:cubicBezTo>
                  <a:lnTo>
                    <a:pt x="0" y="5"/>
                  </a:lnTo>
                  <a:cubicBezTo>
                    <a:pt x="0" y="4"/>
                    <a:pt x="1" y="2"/>
                    <a:pt x="2" y="1"/>
                  </a:cubicBezTo>
                  <a:cubicBezTo>
                    <a:pt x="2" y="0"/>
                    <a:pt x="4" y="0"/>
                    <a:pt x="5" y="0"/>
                  </a:cubicBezTo>
                  <a:lnTo>
                    <a:pt x="30" y="0"/>
                  </a:lnTo>
                  <a:cubicBezTo>
                    <a:pt x="32" y="0"/>
                    <a:pt x="34" y="1"/>
                    <a:pt x="35" y="3"/>
                  </a:cubicBezTo>
                  <a:lnTo>
                    <a:pt x="48" y="37"/>
                  </a:lnTo>
                  <a:cubicBezTo>
                    <a:pt x="48" y="38"/>
                    <a:pt x="48" y="39"/>
                    <a:pt x="47" y="40"/>
                  </a:cubicBezTo>
                  <a:cubicBezTo>
                    <a:pt x="47" y="42"/>
                    <a:pt x="46" y="42"/>
                    <a:pt x="44" y="43"/>
                  </a:cubicBezTo>
                  <a:lnTo>
                    <a:pt x="11" y="51"/>
                  </a:lnTo>
                  <a:cubicBezTo>
                    <a:pt x="10" y="51"/>
                    <a:pt x="10" y="51"/>
                    <a:pt x="9" y="51"/>
                  </a:cubicBezTo>
                  <a:cubicBezTo>
                    <a:pt x="8" y="51"/>
                    <a:pt x="7" y="51"/>
                    <a:pt x="7" y="51"/>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0" name="Freeform 485"/>
            <p:cNvSpPr>
              <a:spLocks noChangeArrowheads="1"/>
            </p:cNvSpPr>
            <p:nvPr/>
          </p:nvSpPr>
          <p:spPr bwMode="auto">
            <a:xfrm>
              <a:off x="8345488" y="4152900"/>
              <a:ext cx="17462" cy="19050"/>
            </a:xfrm>
            <a:custGeom>
              <a:avLst/>
              <a:gdLst/>
              <a:ahLst/>
              <a:cxnLst>
                <a:cxn ang="0">
                  <a:pos x="9" y="51"/>
                </a:cxn>
                <a:cxn ang="0">
                  <a:pos x="7" y="51"/>
                </a:cxn>
                <a:cxn ang="0">
                  <a:pos x="5" y="47"/>
                </a:cxn>
                <a:cxn ang="0">
                  <a:pos x="0" y="5"/>
                </a:cxn>
                <a:cxn ang="0">
                  <a:pos x="2" y="1"/>
                </a:cxn>
                <a:cxn ang="0">
                  <a:pos x="5" y="0"/>
                </a:cxn>
                <a:cxn ang="0">
                  <a:pos x="30" y="0"/>
                </a:cxn>
                <a:cxn ang="0">
                  <a:pos x="35" y="3"/>
                </a:cxn>
                <a:cxn ang="0">
                  <a:pos x="48" y="37"/>
                </a:cxn>
                <a:cxn ang="0">
                  <a:pos x="47" y="40"/>
                </a:cxn>
                <a:cxn ang="0">
                  <a:pos x="44" y="43"/>
                </a:cxn>
                <a:cxn ang="0">
                  <a:pos x="11" y="51"/>
                </a:cxn>
                <a:cxn ang="0">
                  <a:pos x="9" y="51"/>
                </a:cxn>
              </a:cxnLst>
              <a:rect l="0" t="0" r="r" b="b"/>
              <a:pathLst>
                <a:path w="49" h="52">
                  <a:moveTo>
                    <a:pt x="9" y="51"/>
                  </a:moveTo>
                  <a:cubicBezTo>
                    <a:pt x="8" y="51"/>
                    <a:pt x="7" y="51"/>
                    <a:pt x="7" y="51"/>
                  </a:cubicBezTo>
                  <a:cubicBezTo>
                    <a:pt x="5" y="50"/>
                    <a:pt x="5" y="49"/>
                    <a:pt x="5" y="47"/>
                  </a:cubicBezTo>
                  <a:lnTo>
                    <a:pt x="0" y="5"/>
                  </a:lnTo>
                  <a:cubicBezTo>
                    <a:pt x="0" y="4"/>
                    <a:pt x="1" y="2"/>
                    <a:pt x="2" y="1"/>
                  </a:cubicBezTo>
                  <a:cubicBezTo>
                    <a:pt x="2" y="0"/>
                    <a:pt x="4" y="0"/>
                    <a:pt x="5" y="0"/>
                  </a:cubicBezTo>
                  <a:lnTo>
                    <a:pt x="30" y="0"/>
                  </a:lnTo>
                  <a:cubicBezTo>
                    <a:pt x="32" y="0"/>
                    <a:pt x="34" y="1"/>
                    <a:pt x="35" y="3"/>
                  </a:cubicBezTo>
                  <a:lnTo>
                    <a:pt x="48" y="37"/>
                  </a:lnTo>
                  <a:cubicBezTo>
                    <a:pt x="48" y="38"/>
                    <a:pt x="48" y="39"/>
                    <a:pt x="47" y="40"/>
                  </a:cubicBezTo>
                  <a:cubicBezTo>
                    <a:pt x="47" y="42"/>
                    <a:pt x="46" y="42"/>
                    <a:pt x="44" y="43"/>
                  </a:cubicBezTo>
                  <a:lnTo>
                    <a:pt x="11" y="51"/>
                  </a:lnTo>
                  <a:cubicBezTo>
                    <a:pt x="10" y="51"/>
                    <a:pt x="10" y="51"/>
                    <a:pt x="9" y="5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1" name="Freeform 486"/>
            <p:cNvSpPr>
              <a:spLocks noChangeArrowheads="1"/>
            </p:cNvSpPr>
            <p:nvPr/>
          </p:nvSpPr>
          <p:spPr bwMode="auto">
            <a:xfrm>
              <a:off x="8159750" y="4073525"/>
              <a:ext cx="36513" cy="25400"/>
            </a:xfrm>
            <a:custGeom>
              <a:avLst/>
              <a:gdLst/>
              <a:ahLst/>
              <a:cxnLst>
                <a:cxn ang="0">
                  <a:pos x="50" y="67"/>
                </a:cxn>
                <a:cxn ang="0">
                  <a:pos x="11" y="42"/>
                </a:cxn>
                <a:cxn ang="0">
                  <a:pos x="9" y="39"/>
                </a:cxn>
                <a:cxn ang="0">
                  <a:pos x="1" y="6"/>
                </a:cxn>
                <a:cxn ang="0">
                  <a:pos x="3" y="0"/>
                </a:cxn>
                <a:cxn ang="0">
                  <a:pos x="5" y="0"/>
                </a:cxn>
                <a:cxn ang="0">
                  <a:pos x="8" y="1"/>
                </a:cxn>
                <a:cxn ang="0">
                  <a:pos x="32" y="20"/>
                </a:cxn>
                <a:cxn ang="0">
                  <a:pos x="76" y="0"/>
                </a:cxn>
                <a:cxn ang="0">
                  <a:pos x="78" y="0"/>
                </a:cxn>
                <a:cxn ang="0">
                  <a:pos x="82" y="2"/>
                </a:cxn>
                <a:cxn ang="0">
                  <a:pos x="98" y="32"/>
                </a:cxn>
                <a:cxn ang="0">
                  <a:pos x="97" y="38"/>
                </a:cxn>
                <a:cxn ang="0">
                  <a:pos x="55" y="67"/>
                </a:cxn>
                <a:cxn ang="0">
                  <a:pos x="52" y="68"/>
                </a:cxn>
                <a:cxn ang="0">
                  <a:pos x="50" y="67"/>
                </a:cxn>
              </a:cxnLst>
              <a:rect l="0" t="0" r="r" b="b"/>
              <a:pathLst>
                <a:path w="101" h="69">
                  <a:moveTo>
                    <a:pt x="50" y="67"/>
                  </a:moveTo>
                  <a:lnTo>
                    <a:pt x="11" y="42"/>
                  </a:lnTo>
                  <a:cubicBezTo>
                    <a:pt x="10" y="42"/>
                    <a:pt x="10" y="41"/>
                    <a:pt x="9" y="39"/>
                  </a:cubicBezTo>
                  <a:lnTo>
                    <a:pt x="1" y="6"/>
                  </a:lnTo>
                  <a:cubicBezTo>
                    <a:pt x="0" y="4"/>
                    <a:pt x="1" y="1"/>
                    <a:pt x="3" y="0"/>
                  </a:cubicBezTo>
                  <a:cubicBezTo>
                    <a:pt x="4" y="0"/>
                    <a:pt x="5" y="0"/>
                    <a:pt x="5" y="0"/>
                  </a:cubicBezTo>
                  <a:cubicBezTo>
                    <a:pt x="7" y="0"/>
                    <a:pt x="8" y="0"/>
                    <a:pt x="8" y="1"/>
                  </a:cubicBezTo>
                  <a:lnTo>
                    <a:pt x="32" y="20"/>
                  </a:lnTo>
                  <a:lnTo>
                    <a:pt x="76" y="0"/>
                  </a:lnTo>
                  <a:cubicBezTo>
                    <a:pt x="76" y="0"/>
                    <a:pt x="77" y="0"/>
                    <a:pt x="78" y="0"/>
                  </a:cubicBezTo>
                  <a:cubicBezTo>
                    <a:pt x="79" y="0"/>
                    <a:pt x="81" y="1"/>
                    <a:pt x="82" y="2"/>
                  </a:cubicBezTo>
                  <a:lnTo>
                    <a:pt x="98" y="32"/>
                  </a:lnTo>
                  <a:cubicBezTo>
                    <a:pt x="100" y="34"/>
                    <a:pt x="99" y="36"/>
                    <a:pt x="97" y="38"/>
                  </a:cubicBezTo>
                  <a:lnTo>
                    <a:pt x="55" y="67"/>
                  </a:lnTo>
                  <a:cubicBezTo>
                    <a:pt x="54" y="68"/>
                    <a:pt x="53" y="68"/>
                    <a:pt x="52" y="68"/>
                  </a:cubicBezTo>
                  <a:cubicBezTo>
                    <a:pt x="51" y="68"/>
                    <a:pt x="50" y="68"/>
                    <a:pt x="50" y="6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2" name="Freeform 487"/>
            <p:cNvSpPr>
              <a:spLocks noChangeArrowheads="1"/>
            </p:cNvSpPr>
            <p:nvPr/>
          </p:nvSpPr>
          <p:spPr bwMode="auto">
            <a:xfrm>
              <a:off x="8159750" y="4073525"/>
              <a:ext cx="36513" cy="25400"/>
            </a:xfrm>
            <a:custGeom>
              <a:avLst/>
              <a:gdLst/>
              <a:ahLst/>
              <a:cxnLst>
                <a:cxn ang="0">
                  <a:pos x="52" y="68"/>
                </a:cxn>
                <a:cxn ang="0">
                  <a:pos x="50" y="67"/>
                </a:cxn>
                <a:cxn ang="0">
                  <a:pos x="11" y="42"/>
                </a:cxn>
                <a:cxn ang="0">
                  <a:pos x="9" y="39"/>
                </a:cxn>
                <a:cxn ang="0">
                  <a:pos x="1" y="6"/>
                </a:cxn>
                <a:cxn ang="0">
                  <a:pos x="3" y="0"/>
                </a:cxn>
                <a:cxn ang="0">
                  <a:pos x="5" y="0"/>
                </a:cxn>
                <a:cxn ang="0">
                  <a:pos x="8" y="1"/>
                </a:cxn>
                <a:cxn ang="0">
                  <a:pos x="32" y="20"/>
                </a:cxn>
                <a:cxn ang="0">
                  <a:pos x="76" y="0"/>
                </a:cxn>
                <a:cxn ang="0">
                  <a:pos x="78" y="0"/>
                </a:cxn>
                <a:cxn ang="0">
                  <a:pos x="82" y="2"/>
                </a:cxn>
                <a:cxn ang="0">
                  <a:pos x="98" y="32"/>
                </a:cxn>
                <a:cxn ang="0">
                  <a:pos x="97" y="38"/>
                </a:cxn>
                <a:cxn ang="0">
                  <a:pos x="55" y="67"/>
                </a:cxn>
                <a:cxn ang="0">
                  <a:pos x="52" y="68"/>
                </a:cxn>
              </a:cxnLst>
              <a:rect l="0" t="0" r="r" b="b"/>
              <a:pathLst>
                <a:path w="101" h="69">
                  <a:moveTo>
                    <a:pt x="52" y="68"/>
                  </a:moveTo>
                  <a:cubicBezTo>
                    <a:pt x="51" y="68"/>
                    <a:pt x="50" y="68"/>
                    <a:pt x="50" y="67"/>
                  </a:cubicBezTo>
                  <a:lnTo>
                    <a:pt x="11" y="42"/>
                  </a:lnTo>
                  <a:cubicBezTo>
                    <a:pt x="10" y="42"/>
                    <a:pt x="10" y="41"/>
                    <a:pt x="9" y="39"/>
                  </a:cubicBezTo>
                  <a:lnTo>
                    <a:pt x="1" y="6"/>
                  </a:lnTo>
                  <a:cubicBezTo>
                    <a:pt x="0" y="4"/>
                    <a:pt x="1" y="1"/>
                    <a:pt x="3" y="0"/>
                  </a:cubicBezTo>
                  <a:cubicBezTo>
                    <a:pt x="4" y="0"/>
                    <a:pt x="5" y="0"/>
                    <a:pt x="5" y="0"/>
                  </a:cubicBezTo>
                  <a:cubicBezTo>
                    <a:pt x="7" y="0"/>
                    <a:pt x="8" y="0"/>
                    <a:pt x="8" y="1"/>
                  </a:cubicBezTo>
                  <a:lnTo>
                    <a:pt x="32" y="20"/>
                  </a:lnTo>
                  <a:lnTo>
                    <a:pt x="76" y="0"/>
                  </a:lnTo>
                  <a:cubicBezTo>
                    <a:pt x="76" y="0"/>
                    <a:pt x="77" y="0"/>
                    <a:pt x="78" y="0"/>
                  </a:cubicBezTo>
                  <a:cubicBezTo>
                    <a:pt x="79" y="0"/>
                    <a:pt x="81" y="1"/>
                    <a:pt x="82" y="2"/>
                  </a:cubicBezTo>
                  <a:lnTo>
                    <a:pt x="98" y="32"/>
                  </a:lnTo>
                  <a:cubicBezTo>
                    <a:pt x="100" y="34"/>
                    <a:pt x="99" y="36"/>
                    <a:pt x="97" y="38"/>
                  </a:cubicBezTo>
                  <a:lnTo>
                    <a:pt x="55" y="67"/>
                  </a:lnTo>
                  <a:cubicBezTo>
                    <a:pt x="54" y="68"/>
                    <a:pt x="53" y="68"/>
                    <a:pt x="52" y="6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3" name="Freeform 488"/>
            <p:cNvSpPr>
              <a:spLocks noChangeArrowheads="1"/>
            </p:cNvSpPr>
            <p:nvPr/>
          </p:nvSpPr>
          <p:spPr bwMode="auto">
            <a:xfrm>
              <a:off x="8150225" y="4079875"/>
              <a:ext cx="19050" cy="17463"/>
            </a:xfrm>
            <a:custGeom>
              <a:avLst/>
              <a:gdLst/>
              <a:ahLst/>
              <a:cxnLst>
                <a:cxn ang="0">
                  <a:pos x="9" y="45"/>
                </a:cxn>
                <a:cxn ang="0">
                  <a:pos x="1" y="28"/>
                </a:cxn>
                <a:cxn ang="0">
                  <a:pos x="1" y="22"/>
                </a:cxn>
                <a:cxn ang="0">
                  <a:pos x="18" y="1"/>
                </a:cxn>
                <a:cxn ang="0">
                  <a:pos x="22" y="0"/>
                </a:cxn>
                <a:cxn ang="0">
                  <a:pos x="22" y="0"/>
                </a:cxn>
                <a:cxn ang="0">
                  <a:pos x="26" y="2"/>
                </a:cxn>
                <a:cxn ang="0">
                  <a:pos x="51" y="35"/>
                </a:cxn>
                <a:cxn ang="0">
                  <a:pos x="52" y="40"/>
                </a:cxn>
                <a:cxn ang="0">
                  <a:pos x="48" y="43"/>
                </a:cxn>
                <a:cxn ang="0">
                  <a:pos x="13" y="47"/>
                </a:cxn>
                <a:cxn ang="0">
                  <a:pos x="9" y="45"/>
                </a:cxn>
              </a:cxnLst>
              <a:rect l="0" t="0" r="r" b="b"/>
              <a:pathLst>
                <a:path w="53" h="48">
                  <a:moveTo>
                    <a:pt x="9" y="45"/>
                  </a:moveTo>
                  <a:lnTo>
                    <a:pt x="1" y="28"/>
                  </a:lnTo>
                  <a:cubicBezTo>
                    <a:pt x="0" y="26"/>
                    <a:pt x="0" y="24"/>
                    <a:pt x="1" y="22"/>
                  </a:cubicBezTo>
                  <a:lnTo>
                    <a:pt x="18" y="1"/>
                  </a:lnTo>
                  <a:cubicBezTo>
                    <a:pt x="19" y="0"/>
                    <a:pt x="20" y="0"/>
                    <a:pt x="22" y="0"/>
                  </a:cubicBezTo>
                  <a:lnTo>
                    <a:pt x="22" y="0"/>
                  </a:lnTo>
                  <a:cubicBezTo>
                    <a:pt x="24" y="0"/>
                    <a:pt x="25" y="0"/>
                    <a:pt x="26" y="2"/>
                  </a:cubicBezTo>
                  <a:lnTo>
                    <a:pt x="51" y="35"/>
                  </a:lnTo>
                  <a:cubicBezTo>
                    <a:pt x="52" y="37"/>
                    <a:pt x="52" y="38"/>
                    <a:pt x="52" y="40"/>
                  </a:cubicBezTo>
                  <a:cubicBezTo>
                    <a:pt x="51" y="42"/>
                    <a:pt x="49" y="43"/>
                    <a:pt x="48" y="43"/>
                  </a:cubicBezTo>
                  <a:lnTo>
                    <a:pt x="13" y="47"/>
                  </a:lnTo>
                  <a:cubicBezTo>
                    <a:pt x="11" y="47"/>
                    <a:pt x="10" y="46"/>
                    <a:pt x="9" y="4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4" name="Freeform 489"/>
            <p:cNvSpPr>
              <a:spLocks noChangeArrowheads="1"/>
            </p:cNvSpPr>
            <p:nvPr/>
          </p:nvSpPr>
          <p:spPr bwMode="auto">
            <a:xfrm>
              <a:off x="8150225" y="4079875"/>
              <a:ext cx="19050" cy="17463"/>
            </a:xfrm>
            <a:custGeom>
              <a:avLst/>
              <a:gdLst/>
              <a:ahLst/>
              <a:cxnLst>
                <a:cxn ang="0">
                  <a:pos x="13" y="47"/>
                </a:cxn>
                <a:cxn ang="0">
                  <a:pos x="9" y="45"/>
                </a:cxn>
                <a:cxn ang="0">
                  <a:pos x="1" y="28"/>
                </a:cxn>
                <a:cxn ang="0">
                  <a:pos x="1" y="22"/>
                </a:cxn>
                <a:cxn ang="0">
                  <a:pos x="18" y="1"/>
                </a:cxn>
                <a:cxn ang="0">
                  <a:pos x="22" y="0"/>
                </a:cxn>
                <a:cxn ang="0">
                  <a:pos x="22" y="0"/>
                </a:cxn>
                <a:cxn ang="0">
                  <a:pos x="26" y="2"/>
                </a:cxn>
                <a:cxn ang="0">
                  <a:pos x="51" y="35"/>
                </a:cxn>
                <a:cxn ang="0">
                  <a:pos x="52" y="40"/>
                </a:cxn>
                <a:cxn ang="0">
                  <a:pos x="48" y="43"/>
                </a:cxn>
                <a:cxn ang="0">
                  <a:pos x="13" y="47"/>
                </a:cxn>
              </a:cxnLst>
              <a:rect l="0" t="0" r="r" b="b"/>
              <a:pathLst>
                <a:path w="53" h="48">
                  <a:moveTo>
                    <a:pt x="13" y="47"/>
                  </a:moveTo>
                  <a:cubicBezTo>
                    <a:pt x="11" y="47"/>
                    <a:pt x="10" y="46"/>
                    <a:pt x="9" y="45"/>
                  </a:cubicBezTo>
                  <a:lnTo>
                    <a:pt x="1" y="28"/>
                  </a:lnTo>
                  <a:cubicBezTo>
                    <a:pt x="0" y="26"/>
                    <a:pt x="0" y="24"/>
                    <a:pt x="1" y="22"/>
                  </a:cubicBezTo>
                  <a:lnTo>
                    <a:pt x="18" y="1"/>
                  </a:lnTo>
                  <a:cubicBezTo>
                    <a:pt x="19" y="0"/>
                    <a:pt x="20" y="0"/>
                    <a:pt x="22" y="0"/>
                  </a:cubicBezTo>
                  <a:lnTo>
                    <a:pt x="22" y="0"/>
                  </a:lnTo>
                  <a:cubicBezTo>
                    <a:pt x="24" y="0"/>
                    <a:pt x="25" y="0"/>
                    <a:pt x="26" y="2"/>
                  </a:cubicBezTo>
                  <a:lnTo>
                    <a:pt x="51" y="35"/>
                  </a:lnTo>
                  <a:cubicBezTo>
                    <a:pt x="52" y="37"/>
                    <a:pt x="52" y="38"/>
                    <a:pt x="52" y="40"/>
                  </a:cubicBezTo>
                  <a:cubicBezTo>
                    <a:pt x="51" y="42"/>
                    <a:pt x="49" y="43"/>
                    <a:pt x="48" y="43"/>
                  </a:cubicBezTo>
                  <a:lnTo>
                    <a:pt x="13" y="4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5" name="Freeform 490"/>
            <p:cNvSpPr>
              <a:spLocks noChangeArrowheads="1"/>
            </p:cNvSpPr>
            <p:nvPr/>
          </p:nvSpPr>
          <p:spPr bwMode="auto">
            <a:xfrm>
              <a:off x="8429625" y="4233863"/>
              <a:ext cx="20638" cy="14287"/>
            </a:xfrm>
            <a:custGeom>
              <a:avLst/>
              <a:gdLst/>
              <a:ahLst/>
              <a:cxnLst>
                <a:cxn ang="0">
                  <a:pos x="7" y="38"/>
                </a:cxn>
                <a:cxn ang="0">
                  <a:pos x="5" y="36"/>
                </a:cxn>
                <a:cxn ang="0">
                  <a:pos x="1" y="23"/>
                </a:cxn>
                <a:cxn ang="0">
                  <a:pos x="3" y="18"/>
                </a:cxn>
                <a:cxn ang="0">
                  <a:pos x="32" y="1"/>
                </a:cxn>
                <a:cxn ang="0">
                  <a:pos x="35" y="0"/>
                </a:cxn>
                <a:cxn ang="0">
                  <a:pos x="38" y="1"/>
                </a:cxn>
                <a:cxn ang="0">
                  <a:pos x="54" y="14"/>
                </a:cxn>
                <a:cxn ang="0">
                  <a:pos x="56" y="18"/>
                </a:cxn>
                <a:cxn ang="0">
                  <a:pos x="53" y="22"/>
                </a:cxn>
                <a:cxn ang="0">
                  <a:pos x="11" y="38"/>
                </a:cxn>
                <a:cxn ang="0">
                  <a:pos x="9" y="39"/>
                </a:cxn>
                <a:cxn ang="0">
                  <a:pos x="7" y="38"/>
                </a:cxn>
              </a:cxnLst>
              <a:rect l="0" t="0" r="r" b="b"/>
              <a:pathLst>
                <a:path w="58" h="40">
                  <a:moveTo>
                    <a:pt x="7" y="38"/>
                  </a:moveTo>
                  <a:cubicBezTo>
                    <a:pt x="6" y="38"/>
                    <a:pt x="5" y="37"/>
                    <a:pt x="5" y="36"/>
                  </a:cubicBezTo>
                  <a:lnTo>
                    <a:pt x="1" y="23"/>
                  </a:lnTo>
                  <a:cubicBezTo>
                    <a:pt x="0" y="21"/>
                    <a:pt x="1" y="19"/>
                    <a:pt x="3" y="18"/>
                  </a:cubicBezTo>
                  <a:lnTo>
                    <a:pt x="32" y="1"/>
                  </a:lnTo>
                  <a:cubicBezTo>
                    <a:pt x="33" y="0"/>
                    <a:pt x="34" y="0"/>
                    <a:pt x="35" y="0"/>
                  </a:cubicBezTo>
                  <a:cubicBezTo>
                    <a:pt x="36" y="0"/>
                    <a:pt x="37" y="0"/>
                    <a:pt x="38" y="1"/>
                  </a:cubicBezTo>
                  <a:lnTo>
                    <a:pt x="54" y="14"/>
                  </a:lnTo>
                  <a:cubicBezTo>
                    <a:pt x="56" y="14"/>
                    <a:pt x="57" y="16"/>
                    <a:pt x="56" y="18"/>
                  </a:cubicBezTo>
                  <a:cubicBezTo>
                    <a:pt x="56" y="20"/>
                    <a:pt x="55" y="21"/>
                    <a:pt x="53" y="22"/>
                  </a:cubicBezTo>
                  <a:lnTo>
                    <a:pt x="11" y="38"/>
                  </a:lnTo>
                  <a:cubicBezTo>
                    <a:pt x="10" y="39"/>
                    <a:pt x="10" y="39"/>
                    <a:pt x="9" y="39"/>
                  </a:cubicBezTo>
                  <a:cubicBezTo>
                    <a:pt x="9" y="39"/>
                    <a:pt x="8" y="39"/>
                    <a:pt x="7" y="3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6" name="Freeform 491"/>
            <p:cNvSpPr>
              <a:spLocks noChangeArrowheads="1"/>
            </p:cNvSpPr>
            <p:nvPr/>
          </p:nvSpPr>
          <p:spPr bwMode="auto">
            <a:xfrm>
              <a:off x="8429625" y="4233863"/>
              <a:ext cx="20638" cy="14287"/>
            </a:xfrm>
            <a:custGeom>
              <a:avLst/>
              <a:gdLst/>
              <a:ahLst/>
              <a:cxnLst>
                <a:cxn ang="0">
                  <a:pos x="9" y="39"/>
                </a:cxn>
                <a:cxn ang="0">
                  <a:pos x="7" y="38"/>
                </a:cxn>
                <a:cxn ang="0">
                  <a:pos x="5" y="36"/>
                </a:cxn>
                <a:cxn ang="0">
                  <a:pos x="1" y="23"/>
                </a:cxn>
                <a:cxn ang="0">
                  <a:pos x="3" y="18"/>
                </a:cxn>
                <a:cxn ang="0">
                  <a:pos x="32" y="1"/>
                </a:cxn>
                <a:cxn ang="0">
                  <a:pos x="35" y="0"/>
                </a:cxn>
                <a:cxn ang="0">
                  <a:pos x="38" y="1"/>
                </a:cxn>
                <a:cxn ang="0">
                  <a:pos x="54" y="14"/>
                </a:cxn>
                <a:cxn ang="0">
                  <a:pos x="56" y="18"/>
                </a:cxn>
                <a:cxn ang="0">
                  <a:pos x="53" y="22"/>
                </a:cxn>
                <a:cxn ang="0">
                  <a:pos x="11" y="38"/>
                </a:cxn>
                <a:cxn ang="0">
                  <a:pos x="9" y="39"/>
                </a:cxn>
              </a:cxnLst>
              <a:rect l="0" t="0" r="r" b="b"/>
              <a:pathLst>
                <a:path w="58" h="40">
                  <a:moveTo>
                    <a:pt x="9" y="39"/>
                  </a:moveTo>
                  <a:cubicBezTo>
                    <a:pt x="9" y="39"/>
                    <a:pt x="8" y="39"/>
                    <a:pt x="7" y="38"/>
                  </a:cubicBezTo>
                  <a:cubicBezTo>
                    <a:pt x="6" y="38"/>
                    <a:pt x="5" y="37"/>
                    <a:pt x="5" y="36"/>
                  </a:cubicBezTo>
                  <a:lnTo>
                    <a:pt x="1" y="23"/>
                  </a:lnTo>
                  <a:cubicBezTo>
                    <a:pt x="0" y="21"/>
                    <a:pt x="1" y="19"/>
                    <a:pt x="3" y="18"/>
                  </a:cubicBezTo>
                  <a:lnTo>
                    <a:pt x="32" y="1"/>
                  </a:lnTo>
                  <a:cubicBezTo>
                    <a:pt x="33" y="0"/>
                    <a:pt x="34" y="0"/>
                    <a:pt x="35" y="0"/>
                  </a:cubicBezTo>
                  <a:cubicBezTo>
                    <a:pt x="36" y="0"/>
                    <a:pt x="37" y="0"/>
                    <a:pt x="38" y="1"/>
                  </a:cubicBezTo>
                  <a:lnTo>
                    <a:pt x="54" y="14"/>
                  </a:lnTo>
                  <a:cubicBezTo>
                    <a:pt x="56" y="14"/>
                    <a:pt x="57" y="16"/>
                    <a:pt x="56" y="18"/>
                  </a:cubicBezTo>
                  <a:cubicBezTo>
                    <a:pt x="56" y="20"/>
                    <a:pt x="55" y="21"/>
                    <a:pt x="53" y="22"/>
                  </a:cubicBezTo>
                  <a:lnTo>
                    <a:pt x="11" y="38"/>
                  </a:lnTo>
                  <a:cubicBezTo>
                    <a:pt x="10" y="39"/>
                    <a:pt x="10" y="39"/>
                    <a:pt x="9" y="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7" name="Freeform 492"/>
            <p:cNvSpPr>
              <a:spLocks noChangeArrowheads="1"/>
            </p:cNvSpPr>
            <p:nvPr/>
          </p:nvSpPr>
          <p:spPr bwMode="auto">
            <a:xfrm>
              <a:off x="8847138" y="4498975"/>
              <a:ext cx="11112" cy="33338"/>
            </a:xfrm>
            <a:custGeom>
              <a:avLst/>
              <a:gdLst/>
              <a:ahLst/>
              <a:cxnLst>
                <a:cxn ang="0">
                  <a:pos x="0" y="85"/>
                </a:cxn>
                <a:cxn ang="0">
                  <a:pos x="4" y="5"/>
                </a:cxn>
                <a:cxn ang="0">
                  <a:pos x="8" y="0"/>
                </a:cxn>
                <a:cxn ang="0">
                  <a:pos x="9" y="0"/>
                </a:cxn>
                <a:cxn ang="0">
                  <a:pos x="13" y="3"/>
                </a:cxn>
                <a:cxn ang="0">
                  <a:pos x="30" y="41"/>
                </a:cxn>
                <a:cxn ang="0">
                  <a:pos x="30" y="45"/>
                </a:cxn>
                <a:cxn ang="0">
                  <a:pos x="9" y="87"/>
                </a:cxn>
                <a:cxn ang="0">
                  <a:pos x="5" y="90"/>
                </a:cxn>
                <a:cxn ang="0">
                  <a:pos x="4" y="90"/>
                </a:cxn>
                <a:cxn ang="0">
                  <a:pos x="0" y="85"/>
                </a:cxn>
              </a:cxnLst>
              <a:rect l="0" t="0" r="r" b="b"/>
              <a:pathLst>
                <a:path w="32" h="91">
                  <a:moveTo>
                    <a:pt x="0" y="85"/>
                  </a:moveTo>
                  <a:lnTo>
                    <a:pt x="4" y="5"/>
                  </a:lnTo>
                  <a:cubicBezTo>
                    <a:pt x="4" y="2"/>
                    <a:pt x="6" y="1"/>
                    <a:pt x="8" y="0"/>
                  </a:cubicBezTo>
                  <a:lnTo>
                    <a:pt x="9" y="0"/>
                  </a:lnTo>
                  <a:cubicBezTo>
                    <a:pt x="11" y="0"/>
                    <a:pt x="13" y="1"/>
                    <a:pt x="13" y="3"/>
                  </a:cubicBezTo>
                  <a:lnTo>
                    <a:pt x="30" y="41"/>
                  </a:lnTo>
                  <a:cubicBezTo>
                    <a:pt x="31" y="42"/>
                    <a:pt x="31" y="44"/>
                    <a:pt x="30" y="45"/>
                  </a:cubicBezTo>
                  <a:lnTo>
                    <a:pt x="9" y="87"/>
                  </a:lnTo>
                  <a:cubicBezTo>
                    <a:pt x="8" y="89"/>
                    <a:pt x="6" y="90"/>
                    <a:pt x="5" y="90"/>
                  </a:cubicBezTo>
                  <a:lnTo>
                    <a:pt x="4" y="90"/>
                  </a:lnTo>
                  <a:cubicBezTo>
                    <a:pt x="1" y="89"/>
                    <a:pt x="0" y="87"/>
                    <a:pt x="0" y="8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8" name="Freeform 493"/>
            <p:cNvSpPr>
              <a:spLocks noChangeArrowheads="1"/>
            </p:cNvSpPr>
            <p:nvPr/>
          </p:nvSpPr>
          <p:spPr bwMode="auto">
            <a:xfrm>
              <a:off x="8847138" y="4498975"/>
              <a:ext cx="11112" cy="33338"/>
            </a:xfrm>
            <a:custGeom>
              <a:avLst/>
              <a:gdLst/>
              <a:ahLst/>
              <a:cxnLst>
                <a:cxn ang="0">
                  <a:pos x="4" y="90"/>
                </a:cxn>
                <a:cxn ang="0">
                  <a:pos x="0" y="85"/>
                </a:cxn>
                <a:cxn ang="0">
                  <a:pos x="4" y="5"/>
                </a:cxn>
                <a:cxn ang="0">
                  <a:pos x="8" y="0"/>
                </a:cxn>
                <a:cxn ang="0">
                  <a:pos x="9" y="0"/>
                </a:cxn>
                <a:cxn ang="0">
                  <a:pos x="13" y="3"/>
                </a:cxn>
                <a:cxn ang="0">
                  <a:pos x="30" y="41"/>
                </a:cxn>
                <a:cxn ang="0">
                  <a:pos x="30" y="45"/>
                </a:cxn>
                <a:cxn ang="0">
                  <a:pos x="9" y="87"/>
                </a:cxn>
                <a:cxn ang="0">
                  <a:pos x="5" y="90"/>
                </a:cxn>
                <a:cxn ang="0">
                  <a:pos x="4" y="90"/>
                </a:cxn>
              </a:cxnLst>
              <a:rect l="0" t="0" r="r" b="b"/>
              <a:pathLst>
                <a:path w="32" h="91">
                  <a:moveTo>
                    <a:pt x="4" y="90"/>
                  </a:moveTo>
                  <a:cubicBezTo>
                    <a:pt x="1" y="89"/>
                    <a:pt x="0" y="87"/>
                    <a:pt x="0" y="85"/>
                  </a:cubicBezTo>
                  <a:lnTo>
                    <a:pt x="4" y="5"/>
                  </a:lnTo>
                  <a:cubicBezTo>
                    <a:pt x="4" y="2"/>
                    <a:pt x="6" y="1"/>
                    <a:pt x="8" y="0"/>
                  </a:cubicBezTo>
                  <a:lnTo>
                    <a:pt x="9" y="0"/>
                  </a:lnTo>
                  <a:cubicBezTo>
                    <a:pt x="11" y="0"/>
                    <a:pt x="13" y="1"/>
                    <a:pt x="13" y="3"/>
                  </a:cubicBezTo>
                  <a:lnTo>
                    <a:pt x="30" y="41"/>
                  </a:lnTo>
                  <a:cubicBezTo>
                    <a:pt x="31" y="42"/>
                    <a:pt x="31" y="44"/>
                    <a:pt x="30" y="45"/>
                  </a:cubicBezTo>
                  <a:lnTo>
                    <a:pt x="9" y="87"/>
                  </a:lnTo>
                  <a:cubicBezTo>
                    <a:pt x="8" y="89"/>
                    <a:pt x="6" y="90"/>
                    <a:pt x="5" y="90"/>
                  </a:cubicBezTo>
                  <a:lnTo>
                    <a:pt x="4" y="9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499" name="Freeform 494"/>
            <p:cNvSpPr>
              <a:spLocks noChangeArrowheads="1"/>
            </p:cNvSpPr>
            <p:nvPr/>
          </p:nvSpPr>
          <p:spPr bwMode="auto">
            <a:xfrm>
              <a:off x="8689975" y="5033963"/>
              <a:ext cx="17463" cy="23812"/>
            </a:xfrm>
            <a:custGeom>
              <a:avLst/>
              <a:gdLst/>
              <a:ahLst/>
              <a:cxnLst>
                <a:cxn ang="0">
                  <a:pos x="25" y="64"/>
                </a:cxn>
                <a:cxn ang="0">
                  <a:pos x="22" y="61"/>
                </a:cxn>
                <a:cxn ang="0">
                  <a:pos x="1" y="6"/>
                </a:cxn>
                <a:cxn ang="0">
                  <a:pos x="2" y="1"/>
                </a:cxn>
                <a:cxn ang="0">
                  <a:pos x="5" y="0"/>
                </a:cxn>
                <a:cxn ang="0">
                  <a:pos x="8" y="1"/>
                </a:cxn>
                <a:cxn ang="0">
                  <a:pos x="42" y="22"/>
                </a:cxn>
                <a:cxn ang="0">
                  <a:pos x="44" y="25"/>
                </a:cxn>
                <a:cxn ang="0">
                  <a:pos x="48" y="51"/>
                </a:cxn>
                <a:cxn ang="0">
                  <a:pos x="46" y="55"/>
                </a:cxn>
                <a:cxn ang="0">
                  <a:pos x="29" y="64"/>
                </a:cxn>
                <a:cxn ang="0">
                  <a:pos x="27" y="64"/>
                </a:cxn>
                <a:cxn ang="0">
                  <a:pos x="25" y="64"/>
                </a:cxn>
              </a:cxnLst>
              <a:rect l="0" t="0" r="r" b="b"/>
              <a:pathLst>
                <a:path w="50" h="65">
                  <a:moveTo>
                    <a:pt x="25" y="64"/>
                  </a:moveTo>
                  <a:cubicBezTo>
                    <a:pt x="24" y="64"/>
                    <a:pt x="23" y="63"/>
                    <a:pt x="22" y="61"/>
                  </a:cubicBezTo>
                  <a:lnTo>
                    <a:pt x="1" y="6"/>
                  </a:lnTo>
                  <a:cubicBezTo>
                    <a:pt x="0" y="5"/>
                    <a:pt x="1" y="2"/>
                    <a:pt x="2" y="1"/>
                  </a:cubicBezTo>
                  <a:cubicBezTo>
                    <a:pt x="3" y="0"/>
                    <a:pt x="4" y="0"/>
                    <a:pt x="5" y="0"/>
                  </a:cubicBezTo>
                  <a:cubicBezTo>
                    <a:pt x="6" y="0"/>
                    <a:pt x="7" y="0"/>
                    <a:pt x="8" y="1"/>
                  </a:cubicBezTo>
                  <a:lnTo>
                    <a:pt x="42" y="22"/>
                  </a:lnTo>
                  <a:cubicBezTo>
                    <a:pt x="43" y="23"/>
                    <a:pt x="44" y="24"/>
                    <a:pt x="44" y="25"/>
                  </a:cubicBezTo>
                  <a:lnTo>
                    <a:pt x="48" y="51"/>
                  </a:lnTo>
                  <a:cubicBezTo>
                    <a:pt x="49" y="53"/>
                    <a:pt x="48" y="55"/>
                    <a:pt x="46" y="55"/>
                  </a:cubicBezTo>
                  <a:lnTo>
                    <a:pt x="29" y="64"/>
                  </a:lnTo>
                  <a:cubicBezTo>
                    <a:pt x="28" y="64"/>
                    <a:pt x="27" y="64"/>
                    <a:pt x="27" y="64"/>
                  </a:cubicBezTo>
                  <a:cubicBezTo>
                    <a:pt x="26" y="64"/>
                    <a:pt x="26" y="64"/>
                    <a:pt x="25" y="6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0" name="Freeform 495"/>
            <p:cNvSpPr>
              <a:spLocks noChangeArrowheads="1"/>
            </p:cNvSpPr>
            <p:nvPr/>
          </p:nvSpPr>
          <p:spPr bwMode="auto">
            <a:xfrm>
              <a:off x="8689975" y="5033963"/>
              <a:ext cx="17463" cy="23812"/>
            </a:xfrm>
            <a:custGeom>
              <a:avLst/>
              <a:gdLst/>
              <a:ahLst/>
              <a:cxnLst>
                <a:cxn ang="0">
                  <a:pos x="27" y="64"/>
                </a:cxn>
                <a:cxn ang="0">
                  <a:pos x="25" y="64"/>
                </a:cxn>
                <a:cxn ang="0">
                  <a:pos x="22" y="61"/>
                </a:cxn>
                <a:cxn ang="0">
                  <a:pos x="1" y="6"/>
                </a:cxn>
                <a:cxn ang="0">
                  <a:pos x="2" y="1"/>
                </a:cxn>
                <a:cxn ang="0">
                  <a:pos x="5" y="0"/>
                </a:cxn>
                <a:cxn ang="0">
                  <a:pos x="8" y="1"/>
                </a:cxn>
                <a:cxn ang="0">
                  <a:pos x="42" y="22"/>
                </a:cxn>
                <a:cxn ang="0">
                  <a:pos x="44" y="25"/>
                </a:cxn>
                <a:cxn ang="0">
                  <a:pos x="48" y="51"/>
                </a:cxn>
                <a:cxn ang="0">
                  <a:pos x="46" y="55"/>
                </a:cxn>
                <a:cxn ang="0">
                  <a:pos x="29" y="64"/>
                </a:cxn>
                <a:cxn ang="0">
                  <a:pos x="27" y="64"/>
                </a:cxn>
              </a:cxnLst>
              <a:rect l="0" t="0" r="r" b="b"/>
              <a:pathLst>
                <a:path w="50" h="65">
                  <a:moveTo>
                    <a:pt x="27" y="64"/>
                  </a:moveTo>
                  <a:cubicBezTo>
                    <a:pt x="26" y="64"/>
                    <a:pt x="26" y="64"/>
                    <a:pt x="25" y="64"/>
                  </a:cubicBezTo>
                  <a:cubicBezTo>
                    <a:pt x="24" y="64"/>
                    <a:pt x="23" y="63"/>
                    <a:pt x="22" y="61"/>
                  </a:cubicBezTo>
                  <a:lnTo>
                    <a:pt x="1" y="6"/>
                  </a:lnTo>
                  <a:cubicBezTo>
                    <a:pt x="0" y="5"/>
                    <a:pt x="1" y="2"/>
                    <a:pt x="2" y="1"/>
                  </a:cubicBezTo>
                  <a:cubicBezTo>
                    <a:pt x="3" y="0"/>
                    <a:pt x="4" y="0"/>
                    <a:pt x="5" y="0"/>
                  </a:cubicBezTo>
                  <a:cubicBezTo>
                    <a:pt x="6" y="0"/>
                    <a:pt x="7" y="0"/>
                    <a:pt x="8" y="1"/>
                  </a:cubicBezTo>
                  <a:lnTo>
                    <a:pt x="42" y="22"/>
                  </a:lnTo>
                  <a:cubicBezTo>
                    <a:pt x="43" y="23"/>
                    <a:pt x="44" y="24"/>
                    <a:pt x="44" y="25"/>
                  </a:cubicBezTo>
                  <a:lnTo>
                    <a:pt x="48" y="51"/>
                  </a:lnTo>
                  <a:cubicBezTo>
                    <a:pt x="49" y="53"/>
                    <a:pt x="48" y="55"/>
                    <a:pt x="46" y="55"/>
                  </a:cubicBezTo>
                  <a:lnTo>
                    <a:pt x="29" y="64"/>
                  </a:lnTo>
                  <a:cubicBezTo>
                    <a:pt x="28" y="64"/>
                    <a:pt x="27" y="64"/>
                    <a:pt x="27" y="6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1" name="Freeform 496"/>
            <p:cNvSpPr>
              <a:spLocks noChangeArrowheads="1"/>
            </p:cNvSpPr>
            <p:nvPr/>
          </p:nvSpPr>
          <p:spPr bwMode="auto">
            <a:xfrm>
              <a:off x="8596313" y="5068888"/>
              <a:ext cx="111125" cy="120650"/>
            </a:xfrm>
            <a:custGeom>
              <a:avLst/>
              <a:gdLst/>
              <a:ahLst/>
              <a:cxnLst>
                <a:cxn ang="0">
                  <a:pos x="110" y="327"/>
                </a:cxn>
                <a:cxn ang="0">
                  <a:pos x="107" y="324"/>
                </a:cxn>
                <a:cxn ang="0">
                  <a:pos x="107" y="319"/>
                </a:cxn>
                <a:cxn ang="0">
                  <a:pos x="120" y="303"/>
                </a:cxn>
                <a:cxn ang="0">
                  <a:pos x="93" y="293"/>
                </a:cxn>
                <a:cxn ang="0">
                  <a:pos x="52" y="241"/>
                </a:cxn>
                <a:cxn ang="0">
                  <a:pos x="38" y="167"/>
                </a:cxn>
                <a:cxn ang="0">
                  <a:pos x="42" y="161"/>
                </a:cxn>
                <a:cxn ang="0">
                  <a:pos x="43" y="161"/>
                </a:cxn>
                <a:cxn ang="0">
                  <a:pos x="48" y="164"/>
                </a:cxn>
                <a:cxn ang="0">
                  <a:pos x="57" y="190"/>
                </a:cxn>
                <a:cxn ang="0">
                  <a:pos x="63" y="182"/>
                </a:cxn>
                <a:cxn ang="0">
                  <a:pos x="1" y="71"/>
                </a:cxn>
                <a:cxn ang="0">
                  <a:pos x="0" y="5"/>
                </a:cxn>
                <a:cxn ang="0">
                  <a:pos x="2" y="1"/>
                </a:cxn>
                <a:cxn ang="0">
                  <a:pos x="5" y="0"/>
                </a:cxn>
                <a:cxn ang="0">
                  <a:pos x="6" y="1"/>
                </a:cxn>
                <a:cxn ang="0">
                  <a:pos x="155" y="51"/>
                </a:cxn>
                <a:cxn ang="0">
                  <a:pos x="279" y="17"/>
                </a:cxn>
                <a:cxn ang="0">
                  <a:pos x="280" y="17"/>
                </a:cxn>
                <a:cxn ang="0">
                  <a:pos x="285" y="20"/>
                </a:cxn>
                <a:cxn ang="0">
                  <a:pos x="306" y="71"/>
                </a:cxn>
                <a:cxn ang="0">
                  <a:pos x="302" y="153"/>
                </a:cxn>
                <a:cxn ang="0">
                  <a:pos x="272" y="239"/>
                </a:cxn>
                <a:cxn ang="0">
                  <a:pos x="268" y="242"/>
                </a:cxn>
                <a:cxn ang="0">
                  <a:pos x="241" y="246"/>
                </a:cxn>
                <a:cxn ang="0">
                  <a:pos x="221" y="295"/>
                </a:cxn>
                <a:cxn ang="0">
                  <a:pos x="217" y="297"/>
                </a:cxn>
                <a:cxn ang="0">
                  <a:pos x="199" y="294"/>
                </a:cxn>
                <a:cxn ang="0">
                  <a:pos x="183" y="333"/>
                </a:cxn>
                <a:cxn ang="0">
                  <a:pos x="179" y="335"/>
                </a:cxn>
                <a:cxn ang="0">
                  <a:pos x="110" y="327"/>
                </a:cxn>
              </a:cxnLst>
              <a:rect l="0" t="0" r="r" b="b"/>
              <a:pathLst>
                <a:path w="307" h="336">
                  <a:moveTo>
                    <a:pt x="110" y="327"/>
                  </a:moveTo>
                  <a:cubicBezTo>
                    <a:pt x="109" y="327"/>
                    <a:pt x="107" y="326"/>
                    <a:pt x="107" y="324"/>
                  </a:cubicBezTo>
                  <a:cubicBezTo>
                    <a:pt x="106" y="323"/>
                    <a:pt x="106" y="321"/>
                    <a:pt x="107" y="319"/>
                  </a:cubicBezTo>
                  <a:lnTo>
                    <a:pt x="120" y="303"/>
                  </a:lnTo>
                  <a:lnTo>
                    <a:pt x="93" y="293"/>
                  </a:lnTo>
                  <a:lnTo>
                    <a:pt x="52" y="241"/>
                  </a:lnTo>
                  <a:lnTo>
                    <a:pt x="38" y="167"/>
                  </a:lnTo>
                  <a:cubicBezTo>
                    <a:pt x="38" y="164"/>
                    <a:pt x="40" y="162"/>
                    <a:pt x="42" y="161"/>
                  </a:cubicBezTo>
                  <a:lnTo>
                    <a:pt x="43" y="161"/>
                  </a:lnTo>
                  <a:cubicBezTo>
                    <a:pt x="45" y="161"/>
                    <a:pt x="47" y="162"/>
                    <a:pt x="48" y="164"/>
                  </a:cubicBezTo>
                  <a:lnTo>
                    <a:pt x="57" y="190"/>
                  </a:lnTo>
                  <a:lnTo>
                    <a:pt x="63" y="182"/>
                  </a:lnTo>
                  <a:lnTo>
                    <a:pt x="1" y="71"/>
                  </a:lnTo>
                  <a:lnTo>
                    <a:pt x="0" y="5"/>
                  </a:lnTo>
                  <a:cubicBezTo>
                    <a:pt x="0" y="4"/>
                    <a:pt x="1" y="2"/>
                    <a:pt x="2" y="1"/>
                  </a:cubicBezTo>
                  <a:cubicBezTo>
                    <a:pt x="3" y="1"/>
                    <a:pt x="4" y="0"/>
                    <a:pt x="5" y="0"/>
                  </a:cubicBezTo>
                  <a:cubicBezTo>
                    <a:pt x="6" y="0"/>
                    <a:pt x="6" y="0"/>
                    <a:pt x="6" y="1"/>
                  </a:cubicBezTo>
                  <a:lnTo>
                    <a:pt x="155" y="51"/>
                  </a:lnTo>
                  <a:lnTo>
                    <a:pt x="279" y="17"/>
                  </a:lnTo>
                  <a:cubicBezTo>
                    <a:pt x="280" y="17"/>
                    <a:pt x="280" y="17"/>
                    <a:pt x="280" y="17"/>
                  </a:cubicBezTo>
                  <a:cubicBezTo>
                    <a:pt x="282" y="17"/>
                    <a:pt x="284" y="18"/>
                    <a:pt x="285" y="20"/>
                  </a:cubicBezTo>
                  <a:lnTo>
                    <a:pt x="306" y="71"/>
                  </a:lnTo>
                  <a:lnTo>
                    <a:pt x="302" y="153"/>
                  </a:lnTo>
                  <a:lnTo>
                    <a:pt x="272" y="239"/>
                  </a:lnTo>
                  <a:cubicBezTo>
                    <a:pt x="272" y="241"/>
                    <a:pt x="270" y="242"/>
                    <a:pt x="268" y="242"/>
                  </a:cubicBezTo>
                  <a:lnTo>
                    <a:pt x="241" y="246"/>
                  </a:lnTo>
                  <a:lnTo>
                    <a:pt x="221" y="295"/>
                  </a:lnTo>
                  <a:cubicBezTo>
                    <a:pt x="220" y="296"/>
                    <a:pt x="219" y="297"/>
                    <a:pt x="217" y="297"/>
                  </a:cubicBezTo>
                  <a:lnTo>
                    <a:pt x="199" y="294"/>
                  </a:lnTo>
                  <a:lnTo>
                    <a:pt x="183" y="333"/>
                  </a:lnTo>
                  <a:cubicBezTo>
                    <a:pt x="182" y="334"/>
                    <a:pt x="181" y="335"/>
                    <a:pt x="179" y="335"/>
                  </a:cubicBezTo>
                  <a:lnTo>
                    <a:pt x="110" y="32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2" name="Freeform 497"/>
            <p:cNvSpPr>
              <a:spLocks noChangeArrowheads="1"/>
            </p:cNvSpPr>
            <p:nvPr/>
          </p:nvSpPr>
          <p:spPr bwMode="auto">
            <a:xfrm>
              <a:off x="8596313" y="5068888"/>
              <a:ext cx="111125" cy="120650"/>
            </a:xfrm>
            <a:custGeom>
              <a:avLst/>
              <a:gdLst/>
              <a:ahLst/>
              <a:cxnLst>
                <a:cxn ang="0">
                  <a:pos x="110" y="327"/>
                </a:cxn>
                <a:cxn ang="0">
                  <a:pos x="107" y="324"/>
                </a:cxn>
                <a:cxn ang="0">
                  <a:pos x="107" y="319"/>
                </a:cxn>
                <a:cxn ang="0">
                  <a:pos x="120" y="303"/>
                </a:cxn>
                <a:cxn ang="0">
                  <a:pos x="93" y="293"/>
                </a:cxn>
                <a:cxn ang="0">
                  <a:pos x="52" y="241"/>
                </a:cxn>
                <a:cxn ang="0">
                  <a:pos x="38" y="167"/>
                </a:cxn>
                <a:cxn ang="0">
                  <a:pos x="42" y="161"/>
                </a:cxn>
                <a:cxn ang="0">
                  <a:pos x="43" y="161"/>
                </a:cxn>
                <a:cxn ang="0">
                  <a:pos x="48" y="164"/>
                </a:cxn>
                <a:cxn ang="0">
                  <a:pos x="57" y="190"/>
                </a:cxn>
                <a:cxn ang="0">
                  <a:pos x="63" y="182"/>
                </a:cxn>
                <a:cxn ang="0">
                  <a:pos x="1" y="71"/>
                </a:cxn>
                <a:cxn ang="0">
                  <a:pos x="0" y="5"/>
                </a:cxn>
                <a:cxn ang="0">
                  <a:pos x="2" y="1"/>
                </a:cxn>
                <a:cxn ang="0">
                  <a:pos x="5" y="0"/>
                </a:cxn>
                <a:cxn ang="0">
                  <a:pos x="6" y="1"/>
                </a:cxn>
                <a:cxn ang="0">
                  <a:pos x="155" y="51"/>
                </a:cxn>
                <a:cxn ang="0">
                  <a:pos x="279" y="17"/>
                </a:cxn>
                <a:cxn ang="0">
                  <a:pos x="280" y="17"/>
                </a:cxn>
                <a:cxn ang="0">
                  <a:pos x="285" y="20"/>
                </a:cxn>
                <a:cxn ang="0">
                  <a:pos x="306" y="71"/>
                </a:cxn>
                <a:cxn ang="0">
                  <a:pos x="302" y="153"/>
                </a:cxn>
                <a:cxn ang="0">
                  <a:pos x="272" y="239"/>
                </a:cxn>
                <a:cxn ang="0">
                  <a:pos x="268" y="242"/>
                </a:cxn>
                <a:cxn ang="0">
                  <a:pos x="241" y="246"/>
                </a:cxn>
                <a:cxn ang="0">
                  <a:pos x="221" y="295"/>
                </a:cxn>
                <a:cxn ang="0">
                  <a:pos x="217" y="297"/>
                </a:cxn>
                <a:cxn ang="0">
                  <a:pos x="199" y="294"/>
                </a:cxn>
                <a:cxn ang="0">
                  <a:pos x="183" y="333"/>
                </a:cxn>
                <a:cxn ang="0">
                  <a:pos x="179" y="335"/>
                </a:cxn>
                <a:cxn ang="0">
                  <a:pos x="110" y="327"/>
                </a:cxn>
              </a:cxnLst>
              <a:rect l="0" t="0" r="r" b="b"/>
              <a:pathLst>
                <a:path w="307" h="336">
                  <a:moveTo>
                    <a:pt x="110" y="327"/>
                  </a:moveTo>
                  <a:cubicBezTo>
                    <a:pt x="109" y="327"/>
                    <a:pt x="107" y="326"/>
                    <a:pt x="107" y="324"/>
                  </a:cubicBezTo>
                  <a:cubicBezTo>
                    <a:pt x="106" y="323"/>
                    <a:pt x="106" y="321"/>
                    <a:pt x="107" y="319"/>
                  </a:cubicBezTo>
                  <a:lnTo>
                    <a:pt x="120" y="303"/>
                  </a:lnTo>
                  <a:lnTo>
                    <a:pt x="93" y="293"/>
                  </a:lnTo>
                  <a:lnTo>
                    <a:pt x="52" y="241"/>
                  </a:lnTo>
                  <a:lnTo>
                    <a:pt x="38" y="167"/>
                  </a:lnTo>
                  <a:cubicBezTo>
                    <a:pt x="38" y="164"/>
                    <a:pt x="40" y="162"/>
                    <a:pt x="42" y="161"/>
                  </a:cubicBezTo>
                  <a:lnTo>
                    <a:pt x="43" y="161"/>
                  </a:lnTo>
                  <a:cubicBezTo>
                    <a:pt x="45" y="161"/>
                    <a:pt x="47" y="162"/>
                    <a:pt x="48" y="164"/>
                  </a:cubicBezTo>
                  <a:lnTo>
                    <a:pt x="57" y="190"/>
                  </a:lnTo>
                  <a:lnTo>
                    <a:pt x="63" y="182"/>
                  </a:lnTo>
                  <a:lnTo>
                    <a:pt x="1" y="71"/>
                  </a:lnTo>
                  <a:lnTo>
                    <a:pt x="0" y="5"/>
                  </a:lnTo>
                  <a:cubicBezTo>
                    <a:pt x="0" y="4"/>
                    <a:pt x="1" y="2"/>
                    <a:pt x="2" y="1"/>
                  </a:cubicBezTo>
                  <a:cubicBezTo>
                    <a:pt x="3" y="1"/>
                    <a:pt x="4" y="0"/>
                    <a:pt x="5" y="0"/>
                  </a:cubicBezTo>
                  <a:cubicBezTo>
                    <a:pt x="6" y="0"/>
                    <a:pt x="6" y="0"/>
                    <a:pt x="6" y="1"/>
                  </a:cubicBezTo>
                  <a:lnTo>
                    <a:pt x="155" y="51"/>
                  </a:lnTo>
                  <a:lnTo>
                    <a:pt x="279" y="17"/>
                  </a:lnTo>
                  <a:cubicBezTo>
                    <a:pt x="280" y="17"/>
                    <a:pt x="280" y="17"/>
                    <a:pt x="280" y="17"/>
                  </a:cubicBezTo>
                  <a:cubicBezTo>
                    <a:pt x="282" y="17"/>
                    <a:pt x="284" y="18"/>
                    <a:pt x="285" y="20"/>
                  </a:cubicBezTo>
                  <a:lnTo>
                    <a:pt x="306" y="71"/>
                  </a:lnTo>
                  <a:lnTo>
                    <a:pt x="302" y="153"/>
                  </a:lnTo>
                  <a:lnTo>
                    <a:pt x="272" y="239"/>
                  </a:lnTo>
                  <a:cubicBezTo>
                    <a:pt x="272" y="241"/>
                    <a:pt x="270" y="242"/>
                    <a:pt x="268" y="242"/>
                  </a:cubicBezTo>
                  <a:lnTo>
                    <a:pt x="241" y="246"/>
                  </a:lnTo>
                  <a:lnTo>
                    <a:pt x="221" y="295"/>
                  </a:lnTo>
                  <a:cubicBezTo>
                    <a:pt x="220" y="296"/>
                    <a:pt x="219" y="297"/>
                    <a:pt x="217" y="297"/>
                  </a:cubicBezTo>
                  <a:lnTo>
                    <a:pt x="199" y="294"/>
                  </a:lnTo>
                  <a:lnTo>
                    <a:pt x="183" y="333"/>
                  </a:lnTo>
                  <a:cubicBezTo>
                    <a:pt x="182" y="334"/>
                    <a:pt x="181" y="335"/>
                    <a:pt x="179" y="335"/>
                  </a:cubicBezTo>
                  <a:lnTo>
                    <a:pt x="110" y="32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3" name="Freeform 498"/>
            <p:cNvSpPr>
              <a:spLocks noChangeArrowheads="1"/>
            </p:cNvSpPr>
            <p:nvPr/>
          </p:nvSpPr>
          <p:spPr bwMode="auto">
            <a:xfrm>
              <a:off x="7666038" y="3586163"/>
              <a:ext cx="46037" cy="34925"/>
            </a:xfrm>
            <a:custGeom>
              <a:avLst/>
              <a:gdLst/>
              <a:ahLst/>
              <a:cxnLst>
                <a:cxn ang="0">
                  <a:pos x="56" y="98"/>
                </a:cxn>
                <a:cxn ang="0">
                  <a:pos x="53" y="97"/>
                </a:cxn>
                <a:cxn ang="0">
                  <a:pos x="2" y="50"/>
                </a:cxn>
                <a:cxn ang="0">
                  <a:pos x="0" y="46"/>
                </a:cxn>
                <a:cxn ang="0">
                  <a:pos x="3" y="43"/>
                </a:cxn>
                <a:cxn ang="0">
                  <a:pos x="83" y="0"/>
                </a:cxn>
                <a:cxn ang="0">
                  <a:pos x="85" y="0"/>
                </a:cxn>
                <a:cxn ang="0">
                  <a:pos x="88" y="1"/>
                </a:cxn>
                <a:cxn ang="0">
                  <a:pos x="110" y="18"/>
                </a:cxn>
                <a:cxn ang="0">
                  <a:pos x="128" y="62"/>
                </a:cxn>
                <a:cxn ang="0">
                  <a:pos x="126" y="67"/>
                </a:cxn>
                <a:cxn ang="0">
                  <a:pos x="123" y="68"/>
                </a:cxn>
                <a:cxn ang="0">
                  <a:pos x="120" y="67"/>
                </a:cxn>
                <a:cxn ang="0">
                  <a:pos x="87" y="37"/>
                </a:cxn>
                <a:cxn ang="0">
                  <a:pos x="60" y="95"/>
                </a:cxn>
                <a:cxn ang="0">
                  <a:pos x="57" y="98"/>
                </a:cxn>
                <a:cxn ang="0">
                  <a:pos x="56" y="98"/>
                </a:cxn>
              </a:cxnLst>
              <a:rect l="0" t="0" r="r" b="b"/>
              <a:pathLst>
                <a:path w="130" h="99">
                  <a:moveTo>
                    <a:pt x="56" y="98"/>
                  </a:moveTo>
                  <a:cubicBezTo>
                    <a:pt x="55" y="98"/>
                    <a:pt x="53" y="97"/>
                    <a:pt x="53" y="97"/>
                  </a:cubicBezTo>
                  <a:lnTo>
                    <a:pt x="2" y="50"/>
                  </a:lnTo>
                  <a:cubicBezTo>
                    <a:pt x="1" y="49"/>
                    <a:pt x="0" y="48"/>
                    <a:pt x="0" y="46"/>
                  </a:cubicBezTo>
                  <a:cubicBezTo>
                    <a:pt x="1" y="45"/>
                    <a:pt x="1" y="43"/>
                    <a:pt x="3" y="43"/>
                  </a:cubicBezTo>
                  <a:lnTo>
                    <a:pt x="83" y="0"/>
                  </a:lnTo>
                  <a:cubicBezTo>
                    <a:pt x="84" y="0"/>
                    <a:pt x="85" y="0"/>
                    <a:pt x="85" y="0"/>
                  </a:cubicBezTo>
                  <a:cubicBezTo>
                    <a:pt x="86" y="0"/>
                    <a:pt x="88" y="0"/>
                    <a:pt x="88" y="1"/>
                  </a:cubicBezTo>
                  <a:lnTo>
                    <a:pt x="110" y="18"/>
                  </a:lnTo>
                  <a:lnTo>
                    <a:pt x="128" y="62"/>
                  </a:lnTo>
                  <a:cubicBezTo>
                    <a:pt x="129" y="64"/>
                    <a:pt x="128" y="66"/>
                    <a:pt x="126" y="67"/>
                  </a:cubicBezTo>
                  <a:cubicBezTo>
                    <a:pt x="126" y="68"/>
                    <a:pt x="124" y="68"/>
                    <a:pt x="123" y="68"/>
                  </a:cubicBezTo>
                  <a:cubicBezTo>
                    <a:pt x="122" y="68"/>
                    <a:pt x="121" y="68"/>
                    <a:pt x="120" y="67"/>
                  </a:cubicBezTo>
                  <a:lnTo>
                    <a:pt x="87" y="37"/>
                  </a:lnTo>
                  <a:lnTo>
                    <a:pt x="60" y="95"/>
                  </a:lnTo>
                  <a:cubicBezTo>
                    <a:pt x="59" y="96"/>
                    <a:pt x="58" y="98"/>
                    <a:pt x="57" y="98"/>
                  </a:cubicBezTo>
                  <a:cubicBezTo>
                    <a:pt x="56" y="98"/>
                    <a:pt x="56" y="98"/>
                    <a:pt x="56" y="98"/>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4" name="Freeform 499"/>
            <p:cNvSpPr>
              <a:spLocks noChangeArrowheads="1"/>
            </p:cNvSpPr>
            <p:nvPr/>
          </p:nvSpPr>
          <p:spPr bwMode="auto">
            <a:xfrm>
              <a:off x="7666038" y="3586163"/>
              <a:ext cx="46037" cy="34925"/>
            </a:xfrm>
            <a:custGeom>
              <a:avLst/>
              <a:gdLst/>
              <a:ahLst/>
              <a:cxnLst>
                <a:cxn ang="0">
                  <a:pos x="56" y="98"/>
                </a:cxn>
                <a:cxn ang="0">
                  <a:pos x="53" y="97"/>
                </a:cxn>
                <a:cxn ang="0">
                  <a:pos x="2" y="50"/>
                </a:cxn>
                <a:cxn ang="0">
                  <a:pos x="0" y="46"/>
                </a:cxn>
                <a:cxn ang="0">
                  <a:pos x="3" y="43"/>
                </a:cxn>
                <a:cxn ang="0">
                  <a:pos x="83" y="0"/>
                </a:cxn>
                <a:cxn ang="0">
                  <a:pos x="85" y="0"/>
                </a:cxn>
                <a:cxn ang="0">
                  <a:pos x="88" y="1"/>
                </a:cxn>
                <a:cxn ang="0">
                  <a:pos x="110" y="18"/>
                </a:cxn>
                <a:cxn ang="0">
                  <a:pos x="128" y="62"/>
                </a:cxn>
                <a:cxn ang="0">
                  <a:pos x="126" y="67"/>
                </a:cxn>
                <a:cxn ang="0">
                  <a:pos x="123" y="68"/>
                </a:cxn>
                <a:cxn ang="0">
                  <a:pos x="120" y="67"/>
                </a:cxn>
                <a:cxn ang="0">
                  <a:pos x="87" y="37"/>
                </a:cxn>
                <a:cxn ang="0">
                  <a:pos x="60" y="95"/>
                </a:cxn>
                <a:cxn ang="0">
                  <a:pos x="57" y="98"/>
                </a:cxn>
                <a:cxn ang="0">
                  <a:pos x="56" y="98"/>
                </a:cxn>
              </a:cxnLst>
              <a:rect l="0" t="0" r="r" b="b"/>
              <a:pathLst>
                <a:path w="130" h="99">
                  <a:moveTo>
                    <a:pt x="56" y="98"/>
                  </a:moveTo>
                  <a:cubicBezTo>
                    <a:pt x="55" y="98"/>
                    <a:pt x="53" y="97"/>
                    <a:pt x="53" y="97"/>
                  </a:cubicBezTo>
                  <a:lnTo>
                    <a:pt x="2" y="50"/>
                  </a:lnTo>
                  <a:cubicBezTo>
                    <a:pt x="1" y="49"/>
                    <a:pt x="0" y="48"/>
                    <a:pt x="0" y="46"/>
                  </a:cubicBezTo>
                  <a:cubicBezTo>
                    <a:pt x="1" y="45"/>
                    <a:pt x="1" y="43"/>
                    <a:pt x="3" y="43"/>
                  </a:cubicBezTo>
                  <a:lnTo>
                    <a:pt x="83" y="0"/>
                  </a:lnTo>
                  <a:cubicBezTo>
                    <a:pt x="84" y="0"/>
                    <a:pt x="85" y="0"/>
                    <a:pt x="85" y="0"/>
                  </a:cubicBezTo>
                  <a:cubicBezTo>
                    <a:pt x="86" y="0"/>
                    <a:pt x="88" y="0"/>
                    <a:pt x="88" y="1"/>
                  </a:cubicBezTo>
                  <a:lnTo>
                    <a:pt x="110" y="18"/>
                  </a:lnTo>
                  <a:lnTo>
                    <a:pt x="128" y="62"/>
                  </a:lnTo>
                  <a:cubicBezTo>
                    <a:pt x="129" y="64"/>
                    <a:pt x="128" y="66"/>
                    <a:pt x="126" y="67"/>
                  </a:cubicBezTo>
                  <a:cubicBezTo>
                    <a:pt x="126" y="68"/>
                    <a:pt x="124" y="68"/>
                    <a:pt x="123" y="68"/>
                  </a:cubicBezTo>
                  <a:cubicBezTo>
                    <a:pt x="122" y="68"/>
                    <a:pt x="121" y="68"/>
                    <a:pt x="120" y="67"/>
                  </a:cubicBezTo>
                  <a:lnTo>
                    <a:pt x="87" y="37"/>
                  </a:lnTo>
                  <a:lnTo>
                    <a:pt x="60" y="95"/>
                  </a:lnTo>
                  <a:cubicBezTo>
                    <a:pt x="59" y="96"/>
                    <a:pt x="58" y="98"/>
                    <a:pt x="57" y="98"/>
                  </a:cubicBezTo>
                  <a:cubicBezTo>
                    <a:pt x="56" y="98"/>
                    <a:pt x="56" y="98"/>
                    <a:pt x="56" y="9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5" name="Freeform 500"/>
            <p:cNvSpPr>
              <a:spLocks noChangeArrowheads="1"/>
            </p:cNvSpPr>
            <p:nvPr/>
          </p:nvSpPr>
          <p:spPr bwMode="auto">
            <a:xfrm>
              <a:off x="8480425" y="3813175"/>
              <a:ext cx="301625" cy="247650"/>
            </a:xfrm>
            <a:custGeom>
              <a:avLst/>
              <a:gdLst/>
              <a:ahLst/>
              <a:cxnLst>
                <a:cxn ang="0">
                  <a:pos x="786" y="686"/>
                </a:cxn>
                <a:cxn ang="0">
                  <a:pos x="752" y="665"/>
                </a:cxn>
                <a:cxn ang="0">
                  <a:pos x="576" y="636"/>
                </a:cxn>
                <a:cxn ang="0">
                  <a:pos x="502" y="571"/>
                </a:cxn>
                <a:cxn ang="0">
                  <a:pos x="500" y="568"/>
                </a:cxn>
                <a:cxn ang="0">
                  <a:pos x="500" y="555"/>
                </a:cxn>
                <a:cxn ang="0">
                  <a:pos x="479" y="551"/>
                </a:cxn>
                <a:cxn ang="0">
                  <a:pos x="476" y="549"/>
                </a:cxn>
                <a:cxn ang="0">
                  <a:pos x="437" y="485"/>
                </a:cxn>
                <a:cxn ang="0">
                  <a:pos x="293" y="425"/>
                </a:cxn>
                <a:cxn ang="0">
                  <a:pos x="270" y="436"/>
                </a:cxn>
                <a:cxn ang="0">
                  <a:pos x="268" y="437"/>
                </a:cxn>
                <a:cxn ang="0">
                  <a:pos x="266" y="437"/>
                </a:cxn>
                <a:cxn ang="0">
                  <a:pos x="248" y="431"/>
                </a:cxn>
                <a:cxn ang="0">
                  <a:pos x="251" y="453"/>
                </a:cxn>
                <a:cxn ang="0">
                  <a:pos x="248" y="458"/>
                </a:cxn>
                <a:cxn ang="0">
                  <a:pos x="225" y="466"/>
                </a:cxn>
                <a:cxn ang="0">
                  <a:pos x="221" y="476"/>
                </a:cxn>
                <a:cxn ang="0">
                  <a:pos x="219" y="479"/>
                </a:cxn>
                <a:cxn ang="0">
                  <a:pos x="182" y="494"/>
                </a:cxn>
                <a:cxn ang="0">
                  <a:pos x="208" y="531"/>
                </a:cxn>
                <a:cxn ang="0">
                  <a:pos x="207" y="538"/>
                </a:cxn>
                <a:cxn ang="0">
                  <a:pos x="160" y="572"/>
                </a:cxn>
                <a:cxn ang="0">
                  <a:pos x="158" y="572"/>
                </a:cxn>
                <a:cxn ang="0">
                  <a:pos x="26" y="560"/>
                </a:cxn>
                <a:cxn ang="0">
                  <a:pos x="22" y="555"/>
                </a:cxn>
                <a:cxn ang="0">
                  <a:pos x="0" y="361"/>
                </a:cxn>
                <a:cxn ang="0">
                  <a:pos x="9" y="212"/>
                </a:cxn>
                <a:cxn ang="0">
                  <a:pos x="5" y="5"/>
                </a:cxn>
                <a:cxn ang="0">
                  <a:pos x="7" y="1"/>
                </a:cxn>
                <a:cxn ang="0">
                  <a:pos x="9" y="0"/>
                </a:cxn>
                <a:cxn ang="0">
                  <a:pos x="11" y="1"/>
                </a:cxn>
                <a:cxn ang="0">
                  <a:pos x="291" y="102"/>
                </a:cxn>
                <a:cxn ang="0">
                  <a:pos x="389" y="170"/>
                </a:cxn>
                <a:cxn ang="0">
                  <a:pos x="420" y="247"/>
                </a:cxn>
                <a:cxn ang="0">
                  <a:pos x="566" y="297"/>
                </a:cxn>
                <a:cxn ang="0">
                  <a:pos x="569" y="300"/>
                </a:cxn>
                <a:cxn ang="0">
                  <a:pos x="586" y="355"/>
                </a:cxn>
                <a:cxn ang="0">
                  <a:pos x="585" y="359"/>
                </a:cxn>
                <a:cxn ang="0">
                  <a:pos x="582" y="361"/>
                </a:cxn>
                <a:cxn ang="0">
                  <a:pos x="520" y="369"/>
                </a:cxn>
                <a:cxn ang="0">
                  <a:pos x="539" y="409"/>
                </a:cxn>
                <a:cxn ang="0">
                  <a:pos x="593" y="463"/>
                </a:cxn>
                <a:cxn ang="0">
                  <a:pos x="647" y="534"/>
                </a:cxn>
                <a:cxn ang="0">
                  <a:pos x="692" y="542"/>
                </a:cxn>
                <a:cxn ang="0">
                  <a:pos x="696" y="546"/>
                </a:cxn>
                <a:cxn ang="0">
                  <a:pos x="700" y="577"/>
                </a:cxn>
                <a:cxn ang="0">
                  <a:pos x="761" y="597"/>
                </a:cxn>
                <a:cxn ang="0">
                  <a:pos x="764" y="600"/>
                </a:cxn>
                <a:cxn ang="0">
                  <a:pos x="763" y="604"/>
                </a:cxn>
                <a:cxn ang="0">
                  <a:pos x="754" y="616"/>
                </a:cxn>
                <a:cxn ang="0">
                  <a:pos x="833" y="639"/>
                </a:cxn>
                <a:cxn ang="0">
                  <a:pos x="836" y="644"/>
                </a:cxn>
                <a:cxn ang="0">
                  <a:pos x="833" y="648"/>
                </a:cxn>
                <a:cxn ang="0">
                  <a:pos x="804" y="657"/>
                </a:cxn>
                <a:cxn ang="0">
                  <a:pos x="816" y="661"/>
                </a:cxn>
                <a:cxn ang="0">
                  <a:pos x="819" y="664"/>
                </a:cxn>
                <a:cxn ang="0">
                  <a:pos x="817" y="669"/>
                </a:cxn>
                <a:cxn ang="0">
                  <a:pos x="791" y="686"/>
                </a:cxn>
                <a:cxn ang="0">
                  <a:pos x="789" y="687"/>
                </a:cxn>
                <a:cxn ang="0">
                  <a:pos x="786" y="686"/>
                </a:cxn>
              </a:cxnLst>
              <a:rect l="0" t="0" r="r" b="b"/>
              <a:pathLst>
                <a:path w="837" h="688">
                  <a:moveTo>
                    <a:pt x="786" y="686"/>
                  </a:moveTo>
                  <a:lnTo>
                    <a:pt x="752" y="665"/>
                  </a:lnTo>
                  <a:lnTo>
                    <a:pt x="576" y="636"/>
                  </a:lnTo>
                  <a:lnTo>
                    <a:pt x="502" y="571"/>
                  </a:lnTo>
                  <a:cubicBezTo>
                    <a:pt x="501" y="570"/>
                    <a:pt x="500" y="569"/>
                    <a:pt x="500" y="568"/>
                  </a:cubicBezTo>
                  <a:lnTo>
                    <a:pt x="500" y="555"/>
                  </a:lnTo>
                  <a:lnTo>
                    <a:pt x="479" y="551"/>
                  </a:lnTo>
                  <a:cubicBezTo>
                    <a:pt x="477" y="551"/>
                    <a:pt x="476" y="550"/>
                    <a:pt x="476" y="549"/>
                  </a:cubicBezTo>
                  <a:lnTo>
                    <a:pt x="437" y="485"/>
                  </a:lnTo>
                  <a:lnTo>
                    <a:pt x="293" y="425"/>
                  </a:lnTo>
                  <a:lnTo>
                    <a:pt x="270" y="436"/>
                  </a:lnTo>
                  <a:cubicBezTo>
                    <a:pt x="269" y="437"/>
                    <a:pt x="269" y="437"/>
                    <a:pt x="268" y="437"/>
                  </a:cubicBezTo>
                  <a:cubicBezTo>
                    <a:pt x="267" y="437"/>
                    <a:pt x="267" y="437"/>
                    <a:pt x="266" y="437"/>
                  </a:cubicBezTo>
                  <a:lnTo>
                    <a:pt x="248" y="431"/>
                  </a:lnTo>
                  <a:lnTo>
                    <a:pt x="251" y="453"/>
                  </a:lnTo>
                  <a:cubicBezTo>
                    <a:pt x="252" y="455"/>
                    <a:pt x="250" y="457"/>
                    <a:pt x="248" y="458"/>
                  </a:cubicBezTo>
                  <a:lnTo>
                    <a:pt x="225" y="466"/>
                  </a:lnTo>
                  <a:lnTo>
                    <a:pt x="221" y="476"/>
                  </a:lnTo>
                  <a:cubicBezTo>
                    <a:pt x="221" y="477"/>
                    <a:pt x="220" y="478"/>
                    <a:pt x="219" y="479"/>
                  </a:cubicBezTo>
                  <a:lnTo>
                    <a:pt x="182" y="494"/>
                  </a:lnTo>
                  <a:lnTo>
                    <a:pt x="208" y="531"/>
                  </a:lnTo>
                  <a:cubicBezTo>
                    <a:pt x="210" y="533"/>
                    <a:pt x="209" y="536"/>
                    <a:pt x="207" y="538"/>
                  </a:cubicBezTo>
                  <a:lnTo>
                    <a:pt x="160" y="572"/>
                  </a:lnTo>
                  <a:cubicBezTo>
                    <a:pt x="160" y="572"/>
                    <a:pt x="159" y="572"/>
                    <a:pt x="158" y="572"/>
                  </a:cubicBezTo>
                  <a:lnTo>
                    <a:pt x="26" y="560"/>
                  </a:lnTo>
                  <a:cubicBezTo>
                    <a:pt x="24" y="559"/>
                    <a:pt x="22" y="558"/>
                    <a:pt x="22" y="555"/>
                  </a:cubicBezTo>
                  <a:lnTo>
                    <a:pt x="0" y="361"/>
                  </a:lnTo>
                  <a:lnTo>
                    <a:pt x="9" y="212"/>
                  </a:lnTo>
                  <a:lnTo>
                    <a:pt x="5" y="5"/>
                  </a:lnTo>
                  <a:cubicBezTo>
                    <a:pt x="5" y="4"/>
                    <a:pt x="5" y="2"/>
                    <a:pt x="7" y="1"/>
                  </a:cubicBezTo>
                  <a:cubicBezTo>
                    <a:pt x="7" y="1"/>
                    <a:pt x="8" y="0"/>
                    <a:pt x="9" y="0"/>
                  </a:cubicBezTo>
                  <a:cubicBezTo>
                    <a:pt x="10" y="0"/>
                    <a:pt x="10" y="0"/>
                    <a:pt x="11" y="1"/>
                  </a:cubicBezTo>
                  <a:lnTo>
                    <a:pt x="291" y="102"/>
                  </a:lnTo>
                  <a:lnTo>
                    <a:pt x="389" y="170"/>
                  </a:lnTo>
                  <a:lnTo>
                    <a:pt x="420" y="247"/>
                  </a:lnTo>
                  <a:lnTo>
                    <a:pt x="566" y="297"/>
                  </a:lnTo>
                  <a:cubicBezTo>
                    <a:pt x="567" y="297"/>
                    <a:pt x="568" y="298"/>
                    <a:pt x="569" y="300"/>
                  </a:cubicBezTo>
                  <a:lnTo>
                    <a:pt x="586" y="355"/>
                  </a:lnTo>
                  <a:cubicBezTo>
                    <a:pt x="586" y="356"/>
                    <a:pt x="586" y="358"/>
                    <a:pt x="585" y="359"/>
                  </a:cubicBezTo>
                  <a:cubicBezTo>
                    <a:pt x="584" y="360"/>
                    <a:pt x="583" y="361"/>
                    <a:pt x="582" y="361"/>
                  </a:cubicBezTo>
                  <a:lnTo>
                    <a:pt x="520" y="369"/>
                  </a:lnTo>
                  <a:lnTo>
                    <a:pt x="539" y="409"/>
                  </a:lnTo>
                  <a:lnTo>
                    <a:pt x="593" y="463"/>
                  </a:lnTo>
                  <a:lnTo>
                    <a:pt x="647" y="534"/>
                  </a:lnTo>
                  <a:lnTo>
                    <a:pt x="692" y="542"/>
                  </a:lnTo>
                  <a:cubicBezTo>
                    <a:pt x="694" y="542"/>
                    <a:pt x="696" y="544"/>
                    <a:pt x="696" y="546"/>
                  </a:cubicBezTo>
                  <a:lnTo>
                    <a:pt x="700" y="577"/>
                  </a:lnTo>
                  <a:lnTo>
                    <a:pt x="761" y="597"/>
                  </a:lnTo>
                  <a:cubicBezTo>
                    <a:pt x="762" y="598"/>
                    <a:pt x="763" y="599"/>
                    <a:pt x="764" y="600"/>
                  </a:cubicBezTo>
                  <a:cubicBezTo>
                    <a:pt x="764" y="602"/>
                    <a:pt x="764" y="603"/>
                    <a:pt x="763" y="604"/>
                  </a:cubicBezTo>
                  <a:lnTo>
                    <a:pt x="754" y="616"/>
                  </a:lnTo>
                  <a:lnTo>
                    <a:pt x="833" y="639"/>
                  </a:lnTo>
                  <a:cubicBezTo>
                    <a:pt x="835" y="640"/>
                    <a:pt x="836" y="642"/>
                    <a:pt x="836" y="644"/>
                  </a:cubicBezTo>
                  <a:cubicBezTo>
                    <a:pt x="836" y="646"/>
                    <a:pt x="835" y="648"/>
                    <a:pt x="833" y="648"/>
                  </a:cubicBezTo>
                  <a:lnTo>
                    <a:pt x="804" y="657"/>
                  </a:lnTo>
                  <a:lnTo>
                    <a:pt x="816" y="661"/>
                  </a:lnTo>
                  <a:cubicBezTo>
                    <a:pt x="817" y="661"/>
                    <a:pt x="819" y="663"/>
                    <a:pt x="819" y="664"/>
                  </a:cubicBezTo>
                  <a:cubicBezTo>
                    <a:pt x="819" y="666"/>
                    <a:pt x="818" y="668"/>
                    <a:pt x="817" y="669"/>
                  </a:cubicBezTo>
                  <a:lnTo>
                    <a:pt x="791" y="686"/>
                  </a:lnTo>
                  <a:cubicBezTo>
                    <a:pt x="791" y="686"/>
                    <a:pt x="790" y="687"/>
                    <a:pt x="789" y="687"/>
                  </a:cubicBezTo>
                  <a:cubicBezTo>
                    <a:pt x="788" y="687"/>
                    <a:pt x="787" y="686"/>
                    <a:pt x="786" y="68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6" name="Freeform 501"/>
            <p:cNvSpPr>
              <a:spLocks noChangeArrowheads="1"/>
            </p:cNvSpPr>
            <p:nvPr/>
          </p:nvSpPr>
          <p:spPr bwMode="auto">
            <a:xfrm>
              <a:off x="8480425" y="3813175"/>
              <a:ext cx="301625" cy="247650"/>
            </a:xfrm>
            <a:custGeom>
              <a:avLst/>
              <a:gdLst/>
              <a:ahLst/>
              <a:cxnLst>
                <a:cxn ang="0">
                  <a:pos x="789" y="687"/>
                </a:cxn>
                <a:cxn ang="0">
                  <a:pos x="786" y="686"/>
                </a:cxn>
                <a:cxn ang="0">
                  <a:pos x="752" y="665"/>
                </a:cxn>
                <a:cxn ang="0">
                  <a:pos x="576" y="636"/>
                </a:cxn>
                <a:cxn ang="0">
                  <a:pos x="502" y="571"/>
                </a:cxn>
                <a:cxn ang="0">
                  <a:pos x="500" y="568"/>
                </a:cxn>
                <a:cxn ang="0">
                  <a:pos x="500" y="555"/>
                </a:cxn>
                <a:cxn ang="0">
                  <a:pos x="479" y="551"/>
                </a:cxn>
                <a:cxn ang="0">
                  <a:pos x="476" y="549"/>
                </a:cxn>
                <a:cxn ang="0">
                  <a:pos x="437" y="485"/>
                </a:cxn>
                <a:cxn ang="0">
                  <a:pos x="293" y="425"/>
                </a:cxn>
                <a:cxn ang="0">
                  <a:pos x="270" y="436"/>
                </a:cxn>
                <a:cxn ang="0">
                  <a:pos x="268" y="437"/>
                </a:cxn>
                <a:cxn ang="0">
                  <a:pos x="266" y="437"/>
                </a:cxn>
                <a:cxn ang="0">
                  <a:pos x="248" y="431"/>
                </a:cxn>
                <a:cxn ang="0">
                  <a:pos x="251" y="453"/>
                </a:cxn>
                <a:cxn ang="0">
                  <a:pos x="248" y="458"/>
                </a:cxn>
                <a:cxn ang="0">
                  <a:pos x="225" y="466"/>
                </a:cxn>
                <a:cxn ang="0">
                  <a:pos x="221" y="476"/>
                </a:cxn>
                <a:cxn ang="0">
                  <a:pos x="219" y="479"/>
                </a:cxn>
                <a:cxn ang="0">
                  <a:pos x="182" y="494"/>
                </a:cxn>
                <a:cxn ang="0">
                  <a:pos x="208" y="531"/>
                </a:cxn>
                <a:cxn ang="0">
                  <a:pos x="207" y="538"/>
                </a:cxn>
                <a:cxn ang="0">
                  <a:pos x="160" y="572"/>
                </a:cxn>
                <a:cxn ang="0">
                  <a:pos x="158" y="572"/>
                </a:cxn>
                <a:cxn ang="0">
                  <a:pos x="26" y="560"/>
                </a:cxn>
                <a:cxn ang="0">
                  <a:pos x="22" y="555"/>
                </a:cxn>
                <a:cxn ang="0">
                  <a:pos x="0" y="361"/>
                </a:cxn>
                <a:cxn ang="0">
                  <a:pos x="9" y="212"/>
                </a:cxn>
                <a:cxn ang="0">
                  <a:pos x="5" y="5"/>
                </a:cxn>
                <a:cxn ang="0">
                  <a:pos x="7" y="1"/>
                </a:cxn>
                <a:cxn ang="0">
                  <a:pos x="9" y="0"/>
                </a:cxn>
                <a:cxn ang="0">
                  <a:pos x="11" y="1"/>
                </a:cxn>
                <a:cxn ang="0">
                  <a:pos x="291" y="102"/>
                </a:cxn>
                <a:cxn ang="0">
                  <a:pos x="389" y="170"/>
                </a:cxn>
                <a:cxn ang="0">
                  <a:pos x="420" y="247"/>
                </a:cxn>
                <a:cxn ang="0">
                  <a:pos x="566" y="297"/>
                </a:cxn>
                <a:cxn ang="0">
                  <a:pos x="569" y="300"/>
                </a:cxn>
                <a:cxn ang="0">
                  <a:pos x="586" y="355"/>
                </a:cxn>
                <a:cxn ang="0">
                  <a:pos x="585" y="359"/>
                </a:cxn>
                <a:cxn ang="0">
                  <a:pos x="582" y="361"/>
                </a:cxn>
                <a:cxn ang="0">
                  <a:pos x="520" y="369"/>
                </a:cxn>
                <a:cxn ang="0">
                  <a:pos x="539" y="409"/>
                </a:cxn>
                <a:cxn ang="0">
                  <a:pos x="593" y="463"/>
                </a:cxn>
                <a:cxn ang="0">
                  <a:pos x="647" y="534"/>
                </a:cxn>
                <a:cxn ang="0">
                  <a:pos x="692" y="542"/>
                </a:cxn>
                <a:cxn ang="0">
                  <a:pos x="696" y="546"/>
                </a:cxn>
                <a:cxn ang="0">
                  <a:pos x="700" y="577"/>
                </a:cxn>
                <a:cxn ang="0">
                  <a:pos x="761" y="597"/>
                </a:cxn>
                <a:cxn ang="0">
                  <a:pos x="764" y="600"/>
                </a:cxn>
                <a:cxn ang="0">
                  <a:pos x="763" y="604"/>
                </a:cxn>
                <a:cxn ang="0">
                  <a:pos x="754" y="616"/>
                </a:cxn>
                <a:cxn ang="0">
                  <a:pos x="833" y="639"/>
                </a:cxn>
                <a:cxn ang="0">
                  <a:pos x="836" y="644"/>
                </a:cxn>
                <a:cxn ang="0">
                  <a:pos x="833" y="648"/>
                </a:cxn>
                <a:cxn ang="0">
                  <a:pos x="804" y="657"/>
                </a:cxn>
                <a:cxn ang="0">
                  <a:pos x="816" y="661"/>
                </a:cxn>
                <a:cxn ang="0">
                  <a:pos x="819" y="664"/>
                </a:cxn>
                <a:cxn ang="0">
                  <a:pos x="817" y="669"/>
                </a:cxn>
                <a:cxn ang="0">
                  <a:pos x="791" y="686"/>
                </a:cxn>
                <a:cxn ang="0">
                  <a:pos x="789" y="687"/>
                </a:cxn>
              </a:cxnLst>
              <a:rect l="0" t="0" r="r" b="b"/>
              <a:pathLst>
                <a:path w="837" h="688">
                  <a:moveTo>
                    <a:pt x="789" y="687"/>
                  </a:moveTo>
                  <a:cubicBezTo>
                    <a:pt x="788" y="687"/>
                    <a:pt x="787" y="686"/>
                    <a:pt x="786" y="686"/>
                  </a:cubicBezTo>
                  <a:lnTo>
                    <a:pt x="752" y="665"/>
                  </a:lnTo>
                  <a:lnTo>
                    <a:pt x="576" y="636"/>
                  </a:lnTo>
                  <a:lnTo>
                    <a:pt x="502" y="571"/>
                  </a:lnTo>
                  <a:cubicBezTo>
                    <a:pt x="501" y="570"/>
                    <a:pt x="500" y="569"/>
                    <a:pt x="500" y="568"/>
                  </a:cubicBezTo>
                  <a:lnTo>
                    <a:pt x="500" y="555"/>
                  </a:lnTo>
                  <a:lnTo>
                    <a:pt x="479" y="551"/>
                  </a:lnTo>
                  <a:cubicBezTo>
                    <a:pt x="477" y="551"/>
                    <a:pt x="476" y="550"/>
                    <a:pt x="476" y="549"/>
                  </a:cubicBezTo>
                  <a:lnTo>
                    <a:pt x="437" y="485"/>
                  </a:lnTo>
                  <a:lnTo>
                    <a:pt x="293" y="425"/>
                  </a:lnTo>
                  <a:lnTo>
                    <a:pt x="270" y="436"/>
                  </a:lnTo>
                  <a:cubicBezTo>
                    <a:pt x="269" y="437"/>
                    <a:pt x="269" y="437"/>
                    <a:pt x="268" y="437"/>
                  </a:cubicBezTo>
                  <a:cubicBezTo>
                    <a:pt x="267" y="437"/>
                    <a:pt x="267" y="437"/>
                    <a:pt x="266" y="437"/>
                  </a:cubicBezTo>
                  <a:lnTo>
                    <a:pt x="248" y="431"/>
                  </a:lnTo>
                  <a:lnTo>
                    <a:pt x="251" y="453"/>
                  </a:lnTo>
                  <a:cubicBezTo>
                    <a:pt x="252" y="455"/>
                    <a:pt x="250" y="457"/>
                    <a:pt x="248" y="458"/>
                  </a:cubicBezTo>
                  <a:lnTo>
                    <a:pt x="225" y="466"/>
                  </a:lnTo>
                  <a:lnTo>
                    <a:pt x="221" y="476"/>
                  </a:lnTo>
                  <a:cubicBezTo>
                    <a:pt x="221" y="477"/>
                    <a:pt x="220" y="478"/>
                    <a:pt x="219" y="479"/>
                  </a:cubicBezTo>
                  <a:lnTo>
                    <a:pt x="182" y="494"/>
                  </a:lnTo>
                  <a:lnTo>
                    <a:pt x="208" y="531"/>
                  </a:lnTo>
                  <a:cubicBezTo>
                    <a:pt x="210" y="533"/>
                    <a:pt x="209" y="536"/>
                    <a:pt x="207" y="538"/>
                  </a:cubicBezTo>
                  <a:lnTo>
                    <a:pt x="160" y="572"/>
                  </a:lnTo>
                  <a:cubicBezTo>
                    <a:pt x="160" y="572"/>
                    <a:pt x="159" y="572"/>
                    <a:pt x="158" y="572"/>
                  </a:cubicBezTo>
                  <a:lnTo>
                    <a:pt x="26" y="560"/>
                  </a:lnTo>
                  <a:cubicBezTo>
                    <a:pt x="24" y="559"/>
                    <a:pt x="22" y="558"/>
                    <a:pt x="22" y="555"/>
                  </a:cubicBezTo>
                  <a:lnTo>
                    <a:pt x="0" y="361"/>
                  </a:lnTo>
                  <a:lnTo>
                    <a:pt x="9" y="212"/>
                  </a:lnTo>
                  <a:lnTo>
                    <a:pt x="5" y="5"/>
                  </a:lnTo>
                  <a:cubicBezTo>
                    <a:pt x="5" y="4"/>
                    <a:pt x="5" y="2"/>
                    <a:pt x="7" y="1"/>
                  </a:cubicBezTo>
                  <a:cubicBezTo>
                    <a:pt x="7" y="1"/>
                    <a:pt x="8" y="0"/>
                    <a:pt x="9" y="0"/>
                  </a:cubicBezTo>
                  <a:cubicBezTo>
                    <a:pt x="10" y="0"/>
                    <a:pt x="10" y="0"/>
                    <a:pt x="11" y="1"/>
                  </a:cubicBezTo>
                  <a:lnTo>
                    <a:pt x="291" y="102"/>
                  </a:lnTo>
                  <a:lnTo>
                    <a:pt x="389" y="170"/>
                  </a:lnTo>
                  <a:lnTo>
                    <a:pt x="420" y="247"/>
                  </a:lnTo>
                  <a:lnTo>
                    <a:pt x="566" y="297"/>
                  </a:lnTo>
                  <a:cubicBezTo>
                    <a:pt x="567" y="297"/>
                    <a:pt x="568" y="298"/>
                    <a:pt x="569" y="300"/>
                  </a:cubicBezTo>
                  <a:lnTo>
                    <a:pt x="586" y="355"/>
                  </a:lnTo>
                  <a:cubicBezTo>
                    <a:pt x="586" y="356"/>
                    <a:pt x="586" y="358"/>
                    <a:pt x="585" y="359"/>
                  </a:cubicBezTo>
                  <a:cubicBezTo>
                    <a:pt x="584" y="360"/>
                    <a:pt x="583" y="361"/>
                    <a:pt x="582" y="361"/>
                  </a:cubicBezTo>
                  <a:lnTo>
                    <a:pt x="520" y="369"/>
                  </a:lnTo>
                  <a:lnTo>
                    <a:pt x="539" y="409"/>
                  </a:lnTo>
                  <a:lnTo>
                    <a:pt x="593" y="463"/>
                  </a:lnTo>
                  <a:lnTo>
                    <a:pt x="647" y="534"/>
                  </a:lnTo>
                  <a:lnTo>
                    <a:pt x="692" y="542"/>
                  </a:lnTo>
                  <a:cubicBezTo>
                    <a:pt x="694" y="542"/>
                    <a:pt x="696" y="544"/>
                    <a:pt x="696" y="546"/>
                  </a:cubicBezTo>
                  <a:lnTo>
                    <a:pt x="700" y="577"/>
                  </a:lnTo>
                  <a:lnTo>
                    <a:pt x="761" y="597"/>
                  </a:lnTo>
                  <a:cubicBezTo>
                    <a:pt x="762" y="598"/>
                    <a:pt x="763" y="599"/>
                    <a:pt x="764" y="600"/>
                  </a:cubicBezTo>
                  <a:cubicBezTo>
                    <a:pt x="764" y="602"/>
                    <a:pt x="764" y="603"/>
                    <a:pt x="763" y="604"/>
                  </a:cubicBezTo>
                  <a:lnTo>
                    <a:pt x="754" y="616"/>
                  </a:lnTo>
                  <a:lnTo>
                    <a:pt x="833" y="639"/>
                  </a:lnTo>
                  <a:cubicBezTo>
                    <a:pt x="835" y="640"/>
                    <a:pt x="836" y="642"/>
                    <a:pt x="836" y="644"/>
                  </a:cubicBezTo>
                  <a:cubicBezTo>
                    <a:pt x="836" y="646"/>
                    <a:pt x="835" y="648"/>
                    <a:pt x="833" y="648"/>
                  </a:cubicBezTo>
                  <a:lnTo>
                    <a:pt x="804" y="657"/>
                  </a:lnTo>
                  <a:lnTo>
                    <a:pt x="816" y="661"/>
                  </a:lnTo>
                  <a:cubicBezTo>
                    <a:pt x="817" y="661"/>
                    <a:pt x="819" y="663"/>
                    <a:pt x="819" y="664"/>
                  </a:cubicBezTo>
                  <a:cubicBezTo>
                    <a:pt x="819" y="666"/>
                    <a:pt x="818" y="668"/>
                    <a:pt x="817" y="669"/>
                  </a:cubicBezTo>
                  <a:lnTo>
                    <a:pt x="791" y="686"/>
                  </a:lnTo>
                  <a:cubicBezTo>
                    <a:pt x="791" y="686"/>
                    <a:pt x="790" y="687"/>
                    <a:pt x="789" y="68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7" name="Freeform 502"/>
            <p:cNvSpPr>
              <a:spLocks noChangeArrowheads="1"/>
            </p:cNvSpPr>
            <p:nvPr/>
          </p:nvSpPr>
          <p:spPr bwMode="auto">
            <a:xfrm>
              <a:off x="8767763" y="4017963"/>
              <a:ext cx="17462" cy="14287"/>
            </a:xfrm>
            <a:custGeom>
              <a:avLst/>
              <a:gdLst/>
              <a:ahLst/>
              <a:cxnLst>
                <a:cxn ang="0">
                  <a:pos x="12" y="35"/>
                </a:cxn>
                <a:cxn ang="0">
                  <a:pos x="9" y="32"/>
                </a:cxn>
                <a:cxn ang="0">
                  <a:pos x="0" y="6"/>
                </a:cxn>
                <a:cxn ang="0">
                  <a:pos x="1" y="2"/>
                </a:cxn>
                <a:cxn ang="0">
                  <a:pos x="5" y="0"/>
                </a:cxn>
                <a:cxn ang="0">
                  <a:pos x="6" y="0"/>
                </a:cxn>
                <a:cxn ang="0">
                  <a:pos x="40" y="9"/>
                </a:cxn>
                <a:cxn ang="0">
                  <a:pos x="43" y="12"/>
                </a:cxn>
                <a:cxn ang="0">
                  <a:pos x="47" y="33"/>
                </a:cxn>
                <a:cxn ang="0">
                  <a:pos x="46" y="38"/>
                </a:cxn>
                <a:cxn ang="0">
                  <a:pos x="43" y="39"/>
                </a:cxn>
                <a:cxn ang="0">
                  <a:pos x="12" y="35"/>
                </a:cxn>
              </a:cxnLst>
              <a:rect l="0" t="0" r="r" b="b"/>
              <a:pathLst>
                <a:path w="49" h="40">
                  <a:moveTo>
                    <a:pt x="12" y="35"/>
                  </a:moveTo>
                  <a:cubicBezTo>
                    <a:pt x="11" y="35"/>
                    <a:pt x="9" y="33"/>
                    <a:pt x="9" y="32"/>
                  </a:cubicBezTo>
                  <a:lnTo>
                    <a:pt x="0" y="6"/>
                  </a:lnTo>
                  <a:cubicBezTo>
                    <a:pt x="0" y="5"/>
                    <a:pt x="0" y="3"/>
                    <a:pt x="1" y="2"/>
                  </a:cubicBezTo>
                  <a:cubicBezTo>
                    <a:pt x="2" y="1"/>
                    <a:pt x="3" y="0"/>
                    <a:pt x="5" y="0"/>
                  </a:cubicBezTo>
                  <a:cubicBezTo>
                    <a:pt x="5" y="0"/>
                    <a:pt x="5" y="0"/>
                    <a:pt x="6" y="0"/>
                  </a:cubicBezTo>
                  <a:lnTo>
                    <a:pt x="40" y="9"/>
                  </a:lnTo>
                  <a:cubicBezTo>
                    <a:pt x="41" y="9"/>
                    <a:pt x="43" y="10"/>
                    <a:pt x="43" y="12"/>
                  </a:cubicBezTo>
                  <a:lnTo>
                    <a:pt x="47" y="33"/>
                  </a:lnTo>
                  <a:cubicBezTo>
                    <a:pt x="48" y="35"/>
                    <a:pt x="47" y="37"/>
                    <a:pt x="46" y="38"/>
                  </a:cubicBezTo>
                  <a:cubicBezTo>
                    <a:pt x="45" y="39"/>
                    <a:pt x="44" y="39"/>
                    <a:pt x="43" y="39"/>
                  </a:cubicBezTo>
                  <a:lnTo>
                    <a:pt x="12" y="3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8" name="Freeform 503"/>
            <p:cNvSpPr>
              <a:spLocks noChangeArrowheads="1"/>
            </p:cNvSpPr>
            <p:nvPr/>
          </p:nvSpPr>
          <p:spPr bwMode="auto">
            <a:xfrm>
              <a:off x="8767763" y="4017963"/>
              <a:ext cx="17462" cy="14287"/>
            </a:xfrm>
            <a:custGeom>
              <a:avLst/>
              <a:gdLst/>
              <a:ahLst/>
              <a:cxnLst>
                <a:cxn ang="0">
                  <a:pos x="12" y="35"/>
                </a:cxn>
                <a:cxn ang="0">
                  <a:pos x="9" y="32"/>
                </a:cxn>
                <a:cxn ang="0">
                  <a:pos x="0" y="6"/>
                </a:cxn>
                <a:cxn ang="0">
                  <a:pos x="1" y="2"/>
                </a:cxn>
                <a:cxn ang="0">
                  <a:pos x="5" y="0"/>
                </a:cxn>
                <a:cxn ang="0">
                  <a:pos x="6" y="0"/>
                </a:cxn>
                <a:cxn ang="0">
                  <a:pos x="40" y="9"/>
                </a:cxn>
                <a:cxn ang="0">
                  <a:pos x="43" y="12"/>
                </a:cxn>
                <a:cxn ang="0">
                  <a:pos x="47" y="33"/>
                </a:cxn>
                <a:cxn ang="0">
                  <a:pos x="46" y="38"/>
                </a:cxn>
                <a:cxn ang="0">
                  <a:pos x="43" y="39"/>
                </a:cxn>
                <a:cxn ang="0">
                  <a:pos x="12" y="35"/>
                </a:cxn>
              </a:cxnLst>
              <a:rect l="0" t="0" r="r" b="b"/>
              <a:pathLst>
                <a:path w="49" h="40">
                  <a:moveTo>
                    <a:pt x="12" y="35"/>
                  </a:moveTo>
                  <a:cubicBezTo>
                    <a:pt x="11" y="35"/>
                    <a:pt x="9" y="33"/>
                    <a:pt x="9" y="32"/>
                  </a:cubicBezTo>
                  <a:lnTo>
                    <a:pt x="0" y="6"/>
                  </a:lnTo>
                  <a:cubicBezTo>
                    <a:pt x="0" y="5"/>
                    <a:pt x="0" y="3"/>
                    <a:pt x="1" y="2"/>
                  </a:cubicBezTo>
                  <a:cubicBezTo>
                    <a:pt x="2" y="1"/>
                    <a:pt x="3" y="0"/>
                    <a:pt x="5" y="0"/>
                  </a:cubicBezTo>
                  <a:cubicBezTo>
                    <a:pt x="5" y="0"/>
                    <a:pt x="5" y="0"/>
                    <a:pt x="6" y="0"/>
                  </a:cubicBezTo>
                  <a:lnTo>
                    <a:pt x="40" y="9"/>
                  </a:lnTo>
                  <a:cubicBezTo>
                    <a:pt x="41" y="9"/>
                    <a:pt x="43" y="10"/>
                    <a:pt x="43" y="12"/>
                  </a:cubicBezTo>
                  <a:lnTo>
                    <a:pt x="47" y="33"/>
                  </a:lnTo>
                  <a:cubicBezTo>
                    <a:pt x="48" y="35"/>
                    <a:pt x="47" y="37"/>
                    <a:pt x="46" y="38"/>
                  </a:cubicBezTo>
                  <a:cubicBezTo>
                    <a:pt x="45" y="39"/>
                    <a:pt x="44" y="39"/>
                    <a:pt x="43" y="39"/>
                  </a:cubicBezTo>
                  <a:lnTo>
                    <a:pt x="12" y="3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09" name="Freeform 504"/>
            <p:cNvSpPr>
              <a:spLocks noChangeArrowheads="1"/>
            </p:cNvSpPr>
            <p:nvPr/>
          </p:nvSpPr>
          <p:spPr bwMode="auto">
            <a:xfrm>
              <a:off x="8702675" y="3863975"/>
              <a:ext cx="125413" cy="66675"/>
            </a:xfrm>
            <a:custGeom>
              <a:avLst/>
              <a:gdLst/>
              <a:ahLst/>
              <a:cxnLst>
                <a:cxn ang="0">
                  <a:pos x="121" y="182"/>
                </a:cxn>
                <a:cxn ang="0">
                  <a:pos x="102" y="166"/>
                </a:cxn>
                <a:cxn ang="0">
                  <a:pos x="78" y="170"/>
                </a:cxn>
                <a:cxn ang="0">
                  <a:pos x="24" y="144"/>
                </a:cxn>
                <a:cxn ang="0">
                  <a:pos x="2" y="118"/>
                </a:cxn>
                <a:cxn ang="0">
                  <a:pos x="1" y="113"/>
                </a:cxn>
                <a:cxn ang="0">
                  <a:pos x="5" y="110"/>
                </a:cxn>
                <a:cxn ang="0">
                  <a:pos x="122" y="110"/>
                </a:cxn>
                <a:cxn ang="0">
                  <a:pos x="154" y="69"/>
                </a:cxn>
                <a:cxn ang="0">
                  <a:pos x="158" y="68"/>
                </a:cxn>
                <a:cxn ang="0">
                  <a:pos x="160" y="68"/>
                </a:cxn>
                <a:cxn ang="0">
                  <a:pos x="162" y="73"/>
                </a:cxn>
                <a:cxn ang="0">
                  <a:pos x="159" y="98"/>
                </a:cxn>
                <a:cxn ang="0">
                  <a:pos x="207" y="105"/>
                </a:cxn>
                <a:cxn ang="0">
                  <a:pos x="280" y="53"/>
                </a:cxn>
                <a:cxn ang="0">
                  <a:pos x="276" y="9"/>
                </a:cxn>
                <a:cxn ang="0">
                  <a:pos x="277" y="6"/>
                </a:cxn>
                <a:cxn ang="0">
                  <a:pos x="280" y="4"/>
                </a:cxn>
                <a:cxn ang="0">
                  <a:pos x="327" y="0"/>
                </a:cxn>
                <a:cxn ang="0">
                  <a:pos x="331" y="2"/>
                </a:cxn>
                <a:cxn ang="0">
                  <a:pos x="348" y="23"/>
                </a:cxn>
                <a:cxn ang="0">
                  <a:pos x="349" y="27"/>
                </a:cxn>
                <a:cxn ang="0">
                  <a:pos x="319" y="116"/>
                </a:cxn>
                <a:cxn ang="0">
                  <a:pos x="315" y="119"/>
                </a:cxn>
                <a:cxn ang="0">
                  <a:pos x="287" y="119"/>
                </a:cxn>
                <a:cxn ang="0">
                  <a:pos x="264" y="155"/>
                </a:cxn>
                <a:cxn ang="0">
                  <a:pos x="206" y="178"/>
                </a:cxn>
                <a:cxn ang="0">
                  <a:pos x="124" y="183"/>
                </a:cxn>
                <a:cxn ang="0">
                  <a:pos x="121" y="182"/>
                </a:cxn>
              </a:cxnLst>
              <a:rect l="0" t="0" r="r" b="b"/>
              <a:pathLst>
                <a:path w="350" h="184">
                  <a:moveTo>
                    <a:pt x="121" y="182"/>
                  </a:moveTo>
                  <a:lnTo>
                    <a:pt x="102" y="166"/>
                  </a:lnTo>
                  <a:lnTo>
                    <a:pt x="78" y="170"/>
                  </a:lnTo>
                  <a:lnTo>
                    <a:pt x="24" y="144"/>
                  </a:lnTo>
                  <a:lnTo>
                    <a:pt x="2" y="118"/>
                  </a:lnTo>
                  <a:cubicBezTo>
                    <a:pt x="1" y="116"/>
                    <a:pt x="0" y="114"/>
                    <a:pt x="1" y="113"/>
                  </a:cubicBezTo>
                  <a:cubicBezTo>
                    <a:pt x="2" y="111"/>
                    <a:pt x="4" y="110"/>
                    <a:pt x="5" y="110"/>
                  </a:cubicBezTo>
                  <a:lnTo>
                    <a:pt x="122" y="110"/>
                  </a:lnTo>
                  <a:lnTo>
                    <a:pt x="154" y="69"/>
                  </a:lnTo>
                  <a:cubicBezTo>
                    <a:pt x="155" y="68"/>
                    <a:pt x="156" y="68"/>
                    <a:pt x="158" y="68"/>
                  </a:cubicBezTo>
                  <a:cubicBezTo>
                    <a:pt x="159" y="68"/>
                    <a:pt x="159" y="68"/>
                    <a:pt x="160" y="68"/>
                  </a:cubicBezTo>
                  <a:cubicBezTo>
                    <a:pt x="162" y="69"/>
                    <a:pt x="163" y="71"/>
                    <a:pt x="162" y="73"/>
                  </a:cubicBezTo>
                  <a:lnTo>
                    <a:pt x="159" y="98"/>
                  </a:lnTo>
                  <a:lnTo>
                    <a:pt x="207" y="105"/>
                  </a:lnTo>
                  <a:lnTo>
                    <a:pt x="280" y="53"/>
                  </a:lnTo>
                  <a:lnTo>
                    <a:pt x="276" y="9"/>
                  </a:lnTo>
                  <a:cubicBezTo>
                    <a:pt x="276" y="8"/>
                    <a:pt x="276" y="7"/>
                    <a:pt x="277" y="6"/>
                  </a:cubicBezTo>
                  <a:cubicBezTo>
                    <a:pt x="278" y="5"/>
                    <a:pt x="279" y="4"/>
                    <a:pt x="280" y="4"/>
                  </a:cubicBezTo>
                  <a:lnTo>
                    <a:pt x="327" y="0"/>
                  </a:lnTo>
                  <a:cubicBezTo>
                    <a:pt x="329" y="0"/>
                    <a:pt x="330" y="1"/>
                    <a:pt x="331" y="2"/>
                  </a:cubicBezTo>
                  <a:lnTo>
                    <a:pt x="348" y="23"/>
                  </a:lnTo>
                  <a:cubicBezTo>
                    <a:pt x="349" y="24"/>
                    <a:pt x="349" y="26"/>
                    <a:pt x="349" y="27"/>
                  </a:cubicBezTo>
                  <a:lnTo>
                    <a:pt x="319" y="116"/>
                  </a:lnTo>
                  <a:cubicBezTo>
                    <a:pt x="318" y="118"/>
                    <a:pt x="317" y="119"/>
                    <a:pt x="315" y="119"/>
                  </a:cubicBezTo>
                  <a:lnTo>
                    <a:pt x="287" y="119"/>
                  </a:lnTo>
                  <a:lnTo>
                    <a:pt x="264" y="155"/>
                  </a:lnTo>
                  <a:lnTo>
                    <a:pt x="206" y="178"/>
                  </a:lnTo>
                  <a:lnTo>
                    <a:pt x="124" y="183"/>
                  </a:lnTo>
                  <a:cubicBezTo>
                    <a:pt x="123" y="183"/>
                    <a:pt x="122" y="182"/>
                    <a:pt x="121" y="18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0" name="Freeform 505"/>
            <p:cNvSpPr>
              <a:spLocks noChangeArrowheads="1"/>
            </p:cNvSpPr>
            <p:nvPr/>
          </p:nvSpPr>
          <p:spPr bwMode="auto">
            <a:xfrm>
              <a:off x="8702675" y="3863975"/>
              <a:ext cx="125413" cy="66675"/>
            </a:xfrm>
            <a:custGeom>
              <a:avLst/>
              <a:gdLst/>
              <a:ahLst/>
              <a:cxnLst>
                <a:cxn ang="0">
                  <a:pos x="124" y="183"/>
                </a:cxn>
                <a:cxn ang="0">
                  <a:pos x="121" y="182"/>
                </a:cxn>
                <a:cxn ang="0">
                  <a:pos x="102" y="166"/>
                </a:cxn>
                <a:cxn ang="0">
                  <a:pos x="78" y="170"/>
                </a:cxn>
                <a:cxn ang="0">
                  <a:pos x="24" y="144"/>
                </a:cxn>
                <a:cxn ang="0">
                  <a:pos x="2" y="118"/>
                </a:cxn>
                <a:cxn ang="0">
                  <a:pos x="1" y="113"/>
                </a:cxn>
                <a:cxn ang="0">
                  <a:pos x="5" y="110"/>
                </a:cxn>
                <a:cxn ang="0">
                  <a:pos x="122" y="110"/>
                </a:cxn>
                <a:cxn ang="0">
                  <a:pos x="154" y="69"/>
                </a:cxn>
                <a:cxn ang="0">
                  <a:pos x="158" y="68"/>
                </a:cxn>
                <a:cxn ang="0">
                  <a:pos x="160" y="68"/>
                </a:cxn>
                <a:cxn ang="0">
                  <a:pos x="162" y="73"/>
                </a:cxn>
                <a:cxn ang="0">
                  <a:pos x="159" y="98"/>
                </a:cxn>
                <a:cxn ang="0">
                  <a:pos x="207" y="105"/>
                </a:cxn>
                <a:cxn ang="0">
                  <a:pos x="280" y="53"/>
                </a:cxn>
                <a:cxn ang="0">
                  <a:pos x="276" y="9"/>
                </a:cxn>
                <a:cxn ang="0">
                  <a:pos x="277" y="6"/>
                </a:cxn>
                <a:cxn ang="0">
                  <a:pos x="280" y="4"/>
                </a:cxn>
                <a:cxn ang="0">
                  <a:pos x="327" y="0"/>
                </a:cxn>
                <a:cxn ang="0">
                  <a:pos x="331" y="2"/>
                </a:cxn>
                <a:cxn ang="0">
                  <a:pos x="348" y="23"/>
                </a:cxn>
                <a:cxn ang="0">
                  <a:pos x="349" y="27"/>
                </a:cxn>
                <a:cxn ang="0">
                  <a:pos x="319" y="116"/>
                </a:cxn>
                <a:cxn ang="0">
                  <a:pos x="315" y="119"/>
                </a:cxn>
                <a:cxn ang="0">
                  <a:pos x="287" y="119"/>
                </a:cxn>
                <a:cxn ang="0">
                  <a:pos x="264" y="155"/>
                </a:cxn>
                <a:cxn ang="0">
                  <a:pos x="206" y="178"/>
                </a:cxn>
                <a:cxn ang="0">
                  <a:pos x="124" y="183"/>
                </a:cxn>
              </a:cxnLst>
              <a:rect l="0" t="0" r="r" b="b"/>
              <a:pathLst>
                <a:path w="350" h="184">
                  <a:moveTo>
                    <a:pt x="124" y="183"/>
                  </a:moveTo>
                  <a:cubicBezTo>
                    <a:pt x="123" y="183"/>
                    <a:pt x="122" y="182"/>
                    <a:pt x="121" y="182"/>
                  </a:cubicBezTo>
                  <a:lnTo>
                    <a:pt x="102" y="166"/>
                  </a:lnTo>
                  <a:lnTo>
                    <a:pt x="78" y="170"/>
                  </a:lnTo>
                  <a:lnTo>
                    <a:pt x="24" y="144"/>
                  </a:lnTo>
                  <a:lnTo>
                    <a:pt x="2" y="118"/>
                  </a:lnTo>
                  <a:cubicBezTo>
                    <a:pt x="1" y="116"/>
                    <a:pt x="0" y="114"/>
                    <a:pt x="1" y="113"/>
                  </a:cubicBezTo>
                  <a:cubicBezTo>
                    <a:pt x="2" y="111"/>
                    <a:pt x="4" y="110"/>
                    <a:pt x="5" y="110"/>
                  </a:cubicBezTo>
                  <a:lnTo>
                    <a:pt x="122" y="110"/>
                  </a:lnTo>
                  <a:lnTo>
                    <a:pt x="154" y="69"/>
                  </a:lnTo>
                  <a:cubicBezTo>
                    <a:pt x="155" y="68"/>
                    <a:pt x="156" y="68"/>
                    <a:pt x="158" y="68"/>
                  </a:cubicBezTo>
                  <a:cubicBezTo>
                    <a:pt x="159" y="68"/>
                    <a:pt x="159" y="68"/>
                    <a:pt x="160" y="68"/>
                  </a:cubicBezTo>
                  <a:cubicBezTo>
                    <a:pt x="162" y="69"/>
                    <a:pt x="163" y="71"/>
                    <a:pt x="162" y="73"/>
                  </a:cubicBezTo>
                  <a:lnTo>
                    <a:pt x="159" y="98"/>
                  </a:lnTo>
                  <a:lnTo>
                    <a:pt x="207" y="105"/>
                  </a:lnTo>
                  <a:lnTo>
                    <a:pt x="280" y="53"/>
                  </a:lnTo>
                  <a:lnTo>
                    <a:pt x="276" y="9"/>
                  </a:lnTo>
                  <a:cubicBezTo>
                    <a:pt x="276" y="8"/>
                    <a:pt x="276" y="7"/>
                    <a:pt x="277" y="6"/>
                  </a:cubicBezTo>
                  <a:cubicBezTo>
                    <a:pt x="278" y="5"/>
                    <a:pt x="279" y="4"/>
                    <a:pt x="280" y="4"/>
                  </a:cubicBezTo>
                  <a:lnTo>
                    <a:pt x="327" y="0"/>
                  </a:lnTo>
                  <a:cubicBezTo>
                    <a:pt x="329" y="0"/>
                    <a:pt x="330" y="1"/>
                    <a:pt x="331" y="2"/>
                  </a:cubicBezTo>
                  <a:lnTo>
                    <a:pt x="348" y="23"/>
                  </a:lnTo>
                  <a:cubicBezTo>
                    <a:pt x="349" y="24"/>
                    <a:pt x="349" y="26"/>
                    <a:pt x="349" y="27"/>
                  </a:cubicBezTo>
                  <a:lnTo>
                    <a:pt x="319" y="116"/>
                  </a:lnTo>
                  <a:cubicBezTo>
                    <a:pt x="318" y="118"/>
                    <a:pt x="317" y="119"/>
                    <a:pt x="315" y="119"/>
                  </a:cubicBezTo>
                  <a:lnTo>
                    <a:pt x="287" y="119"/>
                  </a:lnTo>
                  <a:lnTo>
                    <a:pt x="264" y="155"/>
                  </a:lnTo>
                  <a:lnTo>
                    <a:pt x="206" y="178"/>
                  </a:lnTo>
                  <a:lnTo>
                    <a:pt x="124" y="18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1" name="Freeform 506"/>
            <p:cNvSpPr>
              <a:spLocks noChangeArrowheads="1"/>
            </p:cNvSpPr>
            <p:nvPr/>
          </p:nvSpPr>
          <p:spPr bwMode="auto">
            <a:xfrm>
              <a:off x="8686800" y="3903663"/>
              <a:ext cx="11113" cy="11112"/>
            </a:xfrm>
            <a:custGeom>
              <a:avLst/>
              <a:gdLst/>
              <a:ahLst/>
              <a:cxnLst>
                <a:cxn ang="0">
                  <a:pos x="23" y="29"/>
                </a:cxn>
                <a:cxn ang="0">
                  <a:pos x="2" y="8"/>
                </a:cxn>
                <a:cxn ang="0">
                  <a:pos x="1" y="2"/>
                </a:cxn>
                <a:cxn ang="0">
                  <a:pos x="5" y="0"/>
                </a:cxn>
                <a:cxn ang="0">
                  <a:pos x="27" y="4"/>
                </a:cxn>
                <a:cxn ang="0">
                  <a:pos x="31" y="9"/>
                </a:cxn>
                <a:cxn ang="0">
                  <a:pos x="31" y="26"/>
                </a:cxn>
                <a:cxn ang="0">
                  <a:pos x="28" y="30"/>
                </a:cxn>
                <a:cxn ang="0">
                  <a:pos x="26" y="30"/>
                </a:cxn>
                <a:cxn ang="0">
                  <a:pos x="23" y="29"/>
                </a:cxn>
              </a:cxnLst>
              <a:rect l="0" t="0" r="r" b="b"/>
              <a:pathLst>
                <a:path w="32" h="31">
                  <a:moveTo>
                    <a:pt x="23" y="29"/>
                  </a:moveTo>
                  <a:lnTo>
                    <a:pt x="2" y="8"/>
                  </a:lnTo>
                  <a:cubicBezTo>
                    <a:pt x="0" y="6"/>
                    <a:pt x="0" y="4"/>
                    <a:pt x="1" y="2"/>
                  </a:cubicBezTo>
                  <a:cubicBezTo>
                    <a:pt x="2" y="1"/>
                    <a:pt x="3" y="0"/>
                    <a:pt x="5" y="0"/>
                  </a:cubicBezTo>
                  <a:lnTo>
                    <a:pt x="27" y="4"/>
                  </a:lnTo>
                  <a:cubicBezTo>
                    <a:pt x="29" y="5"/>
                    <a:pt x="31" y="7"/>
                    <a:pt x="31" y="9"/>
                  </a:cubicBezTo>
                  <a:lnTo>
                    <a:pt x="31" y="26"/>
                  </a:lnTo>
                  <a:cubicBezTo>
                    <a:pt x="31" y="28"/>
                    <a:pt x="30" y="29"/>
                    <a:pt x="28" y="30"/>
                  </a:cubicBezTo>
                  <a:cubicBezTo>
                    <a:pt x="27" y="30"/>
                    <a:pt x="27" y="30"/>
                    <a:pt x="26" y="30"/>
                  </a:cubicBezTo>
                  <a:cubicBezTo>
                    <a:pt x="25" y="30"/>
                    <a:pt x="24" y="30"/>
                    <a:pt x="23" y="2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2" name="Freeform 507"/>
            <p:cNvSpPr>
              <a:spLocks noChangeArrowheads="1"/>
            </p:cNvSpPr>
            <p:nvPr/>
          </p:nvSpPr>
          <p:spPr bwMode="auto">
            <a:xfrm>
              <a:off x="8686800" y="3903663"/>
              <a:ext cx="11113" cy="11112"/>
            </a:xfrm>
            <a:custGeom>
              <a:avLst/>
              <a:gdLst/>
              <a:ahLst/>
              <a:cxnLst>
                <a:cxn ang="0">
                  <a:pos x="26" y="30"/>
                </a:cxn>
                <a:cxn ang="0">
                  <a:pos x="23" y="29"/>
                </a:cxn>
                <a:cxn ang="0">
                  <a:pos x="2" y="8"/>
                </a:cxn>
                <a:cxn ang="0">
                  <a:pos x="1" y="2"/>
                </a:cxn>
                <a:cxn ang="0">
                  <a:pos x="5" y="0"/>
                </a:cxn>
                <a:cxn ang="0">
                  <a:pos x="27" y="4"/>
                </a:cxn>
                <a:cxn ang="0">
                  <a:pos x="31" y="9"/>
                </a:cxn>
                <a:cxn ang="0">
                  <a:pos x="31" y="26"/>
                </a:cxn>
                <a:cxn ang="0">
                  <a:pos x="28" y="30"/>
                </a:cxn>
                <a:cxn ang="0">
                  <a:pos x="26" y="30"/>
                </a:cxn>
              </a:cxnLst>
              <a:rect l="0" t="0" r="r" b="b"/>
              <a:pathLst>
                <a:path w="32" h="31">
                  <a:moveTo>
                    <a:pt x="26" y="30"/>
                  </a:moveTo>
                  <a:cubicBezTo>
                    <a:pt x="25" y="30"/>
                    <a:pt x="24" y="30"/>
                    <a:pt x="23" y="29"/>
                  </a:cubicBezTo>
                  <a:lnTo>
                    <a:pt x="2" y="8"/>
                  </a:lnTo>
                  <a:cubicBezTo>
                    <a:pt x="0" y="6"/>
                    <a:pt x="0" y="4"/>
                    <a:pt x="1" y="2"/>
                  </a:cubicBezTo>
                  <a:cubicBezTo>
                    <a:pt x="2" y="1"/>
                    <a:pt x="3" y="0"/>
                    <a:pt x="5" y="0"/>
                  </a:cubicBezTo>
                  <a:lnTo>
                    <a:pt x="27" y="4"/>
                  </a:lnTo>
                  <a:cubicBezTo>
                    <a:pt x="29" y="5"/>
                    <a:pt x="31" y="7"/>
                    <a:pt x="31" y="9"/>
                  </a:cubicBezTo>
                  <a:lnTo>
                    <a:pt x="31" y="26"/>
                  </a:lnTo>
                  <a:cubicBezTo>
                    <a:pt x="31" y="28"/>
                    <a:pt x="30" y="29"/>
                    <a:pt x="28" y="30"/>
                  </a:cubicBezTo>
                  <a:cubicBezTo>
                    <a:pt x="27" y="30"/>
                    <a:pt x="27" y="30"/>
                    <a:pt x="26" y="3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3" name="Freeform 508"/>
            <p:cNvSpPr>
              <a:spLocks noChangeArrowheads="1"/>
            </p:cNvSpPr>
            <p:nvPr/>
          </p:nvSpPr>
          <p:spPr bwMode="auto">
            <a:xfrm>
              <a:off x="8824913" y="3843338"/>
              <a:ext cx="26987" cy="39687"/>
            </a:xfrm>
            <a:custGeom>
              <a:avLst/>
              <a:gdLst/>
              <a:ahLst/>
              <a:cxnLst>
                <a:cxn ang="0">
                  <a:pos x="44" y="111"/>
                </a:cxn>
                <a:cxn ang="0">
                  <a:pos x="39" y="108"/>
                </a:cxn>
                <a:cxn ang="0">
                  <a:pos x="1" y="6"/>
                </a:cxn>
                <a:cxn ang="0">
                  <a:pos x="3" y="1"/>
                </a:cxn>
                <a:cxn ang="0">
                  <a:pos x="6" y="0"/>
                </a:cxn>
                <a:cxn ang="0">
                  <a:pos x="8" y="1"/>
                </a:cxn>
                <a:cxn ang="0">
                  <a:pos x="55" y="35"/>
                </a:cxn>
                <a:cxn ang="0">
                  <a:pos x="73" y="66"/>
                </a:cxn>
                <a:cxn ang="0">
                  <a:pos x="73" y="70"/>
                </a:cxn>
                <a:cxn ang="0">
                  <a:pos x="56" y="108"/>
                </a:cxn>
                <a:cxn ang="0">
                  <a:pos x="52" y="111"/>
                </a:cxn>
                <a:cxn ang="0">
                  <a:pos x="44" y="111"/>
                </a:cxn>
              </a:cxnLst>
              <a:rect l="0" t="0" r="r" b="b"/>
              <a:pathLst>
                <a:path w="75" h="112">
                  <a:moveTo>
                    <a:pt x="44" y="111"/>
                  </a:moveTo>
                  <a:cubicBezTo>
                    <a:pt x="42" y="111"/>
                    <a:pt x="40" y="110"/>
                    <a:pt x="39" y="108"/>
                  </a:cubicBezTo>
                  <a:lnTo>
                    <a:pt x="1" y="6"/>
                  </a:lnTo>
                  <a:cubicBezTo>
                    <a:pt x="0" y="4"/>
                    <a:pt x="1" y="2"/>
                    <a:pt x="3" y="1"/>
                  </a:cubicBezTo>
                  <a:cubicBezTo>
                    <a:pt x="4" y="0"/>
                    <a:pt x="5" y="0"/>
                    <a:pt x="6" y="0"/>
                  </a:cubicBezTo>
                  <a:cubicBezTo>
                    <a:pt x="7" y="0"/>
                    <a:pt x="7" y="0"/>
                    <a:pt x="8" y="1"/>
                  </a:cubicBezTo>
                  <a:lnTo>
                    <a:pt x="55" y="35"/>
                  </a:lnTo>
                  <a:lnTo>
                    <a:pt x="73" y="66"/>
                  </a:lnTo>
                  <a:cubicBezTo>
                    <a:pt x="74" y="67"/>
                    <a:pt x="74" y="69"/>
                    <a:pt x="73" y="70"/>
                  </a:cubicBezTo>
                  <a:lnTo>
                    <a:pt x="56" y="108"/>
                  </a:lnTo>
                  <a:cubicBezTo>
                    <a:pt x="56" y="110"/>
                    <a:pt x="54" y="111"/>
                    <a:pt x="52" y="111"/>
                  </a:cubicBezTo>
                  <a:lnTo>
                    <a:pt x="44" y="11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4" name="Freeform 509"/>
            <p:cNvSpPr>
              <a:spLocks noChangeArrowheads="1"/>
            </p:cNvSpPr>
            <p:nvPr/>
          </p:nvSpPr>
          <p:spPr bwMode="auto">
            <a:xfrm>
              <a:off x="8824913" y="3843338"/>
              <a:ext cx="26987" cy="39687"/>
            </a:xfrm>
            <a:custGeom>
              <a:avLst/>
              <a:gdLst/>
              <a:ahLst/>
              <a:cxnLst>
                <a:cxn ang="0">
                  <a:pos x="44" y="111"/>
                </a:cxn>
                <a:cxn ang="0">
                  <a:pos x="39" y="108"/>
                </a:cxn>
                <a:cxn ang="0">
                  <a:pos x="1" y="6"/>
                </a:cxn>
                <a:cxn ang="0">
                  <a:pos x="3" y="1"/>
                </a:cxn>
                <a:cxn ang="0">
                  <a:pos x="6" y="0"/>
                </a:cxn>
                <a:cxn ang="0">
                  <a:pos x="8" y="1"/>
                </a:cxn>
                <a:cxn ang="0">
                  <a:pos x="55" y="35"/>
                </a:cxn>
                <a:cxn ang="0">
                  <a:pos x="73" y="66"/>
                </a:cxn>
                <a:cxn ang="0">
                  <a:pos x="73" y="70"/>
                </a:cxn>
                <a:cxn ang="0">
                  <a:pos x="56" y="108"/>
                </a:cxn>
                <a:cxn ang="0">
                  <a:pos x="52" y="111"/>
                </a:cxn>
                <a:cxn ang="0">
                  <a:pos x="44" y="111"/>
                </a:cxn>
              </a:cxnLst>
              <a:rect l="0" t="0" r="r" b="b"/>
              <a:pathLst>
                <a:path w="75" h="112">
                  <a:moveTo>
                    <a:pt x="44" y="111"/>
                  </a:moveTo>
                  <a:cubicBezTo>
                    <a:pt x="42" y="111"/>
                    <a:pt x="40" y="110"/>
                    <a:pt x="39" y="108"/>
                  </a:cubicBezTo>
                  <a:lnTo>
                    <a:pt x="1" y="6"/>
                  </a:lnTo>
                  <a:cubicBezTo>
                    <a:pt x="0" y="4"/>
                    <a:pt x="1" y="2"/>
                    <a:pt x="3" y="1"/>
                  </a:cubicBezTo>
                  <a:cubicBezTo>
                    <a:pt x="4" y="0"/>
                    <a:pt x="5" y="0"/>
                    <a:pt x="6" y="0"/>
                  </a:cubicBezTo>
                  <a:cubicBezTo>
                    <a:pt x="7" y="0"/>
                    <a:pt x="7" y="0"/>
                    <a:pt x="8" y="1"/>
                  </a:cubicBezTo>
                  <a:lnTo>
                    <a:pt x="55" y="35"/>
                  </a:lnTo>
                  <a:lnTo>
                    <a:pt x="73" y="66"/>
                  </a:lnTo>
                  <a:cubicBezTo>
                    <a:pt x="74" y="67"/>
                    <a:pt x="74" y="69"/>
                    <a:pt x="73" y="70"/>
                  </a:cubicBezTo>
                  <a:lnTo>
                    <a:pt x="56" y="108"/>
                  </a:lnTo>
                  <a:cubicBezTo>
                    <a:pt x="56" y="110"/>
                    <a:pt x="54" y="111"/>
                    <a:pt x="52" y="111"/>
                  </a:cubicBezTo>
                  <a:lnTo>
                    <a:pt x="44" y="11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5" name="Freeform 510"/>
            <p:cNvSpPr>
              <a:spLocks noChangeArrowheads="1"/>
            </p:cNvSpPr>
            <p:nvPr/>
          </p:nvSpPr>
          <p:spPr bwMode="auto">
            <a:xfrm>
              <a:off x="7764463" y="3397250"/>
              <a:ext cx="74612" cy="92075"/>
            </a:xfrm>
            <a:custGeom>
              <a:avLst/>
              <a:gdLst/>
              <a:ahLst/>
              <a:cxnLst>
                <a:cxn ang="0">
                  <a:pos x="2" y="254"/>
                </a:cxn>
                <a:cxn ang="0">
                  <a:pos x="1" y="248"/>
                </a:cxn>
                <a:cxn ang="0">
                  <a:pos x="18" y="210"/>
                </a:cxn>
                <a:cxn ang="0">
                  <a:pos x="159" y="82"/>
                </a:cxn>
                <a:cxn ang="0">
                  <a:pos x="183" y="3"/>
                </a:cxn>
                <a:cxn ang="0">
                  <a:pos x="187" y="0"/>
                </a:cxn>
                <a:cxn ang="0">
                  <a:pos x="188" y="0"/>
                </a:cxn>
                <a:cxn ang="0">
                  <a:pos x="192" y="4"/>
                </a:cxn>
                <a:cxn ang="0">
                  <a:pos x="204" y="84"/>
                </a:cxn>
                <a:cxn ang="0">
                  <a:pos x="203" y="89"/>
                </a:cxn>
                <a:cxn ang="0">
                  <a:pos x="141" y="134"/>
                </a:cxn>
                <a:cxn ang="0">
                  <a:pos x="137" y="154"/>
                </a:cxn>
                <a:cxn ang="0">
                  <a:pos x="68" y="220"/>
                </a:cxn>
                <a:cxn ang="0">
                  <a:pos x="7" y="254"/>
                </a:cxn>
                <a:cxn ang="0">
                  <a:pos x="5" y="255"/>
                </a:cxn>
                <a:cxn ang="0">
                  <a:pos x="2" y="254"/>
                </a:cxn>
              </a:cxnLst>
              <a:rect l="0" t="0" r="r" b="b"/>
              <a:pathLst>
                <a:path w="206" h="256">
                  <a:moveTo>
                    <a:pt x="2" y="254"/>
                  </a:moveTo>
                  <a:cubicBezTo>
                    <a:pt x="0" y="252"/>
                    <a:pt x="0" y="250"/>
                    <a:pt x="1" y="248"/>
                  </a:cubicBezTo>
                  <a:lnTo>
                    <a:pt x="18" y="210"/>
                  </a:lnTo>
                  <a:lnTo>
                    <a:pt x="159" y="82"/>
                  </a:lnTo>
                  <a:lnTo>
                    <a:pt x="183" y="3"/>
                  </a:lnTo>
                  <a:cubicBezTo>
                    <a:pt x="183" y="1"/>
                    <a:pt x="185" y="0"/>
                    <a:pt x="187" y="0"/>
                  </a:cubicBezTo>
                  <a:lnTo>
                    <a:pt x="188" y="0"/>
                  </a:lnTo>
                  <a:cubicBezTo>
                    <a:pt x="190" y="0"/>
                    <a:pt x="192" y="2"/>
                    <a:pt x="192" y="4"/>
                  </a:cubicBezTo>
                  <a:lnTo>
                    <a:pt x="204" y="84"/>
                  </a:lnTo>
                  <a:cubicBezTo>
                    <a:pt x="205" y="86"/>
                    <a:pt x="204" y="88"/>
                    <a:pt x="203" y="89"/>
                  </a:cubicBezTo>
                  <a:lnTo>
                    <a:pt x="141" y="134"/>
                  </a:lnTo>
                  <a:lnTo>
                    <a:pt x="137" y="154"/>
                  </a:lnTo>
                  <a:lnTo>
                    <a:pt x="68" y="220"/>
                  </a:lnTo>
                  <a:lnTo>
                    <a:pt x="7" y="254"/>
                  </a:lnTo>
                  <a:cubicBezTo>
                    <a:pt x="7" y="255"/>
                    <a:pt x="6" y="255"/>
                    <a:pt x="5" y="255"/>
                  </a:cubicBezTo>
                  <a:cubicBezTo>
                    <a:pt x="4" y="255"/>
                    <a:pt x="3" y="254"/>
                    <a:pt x="2" y="254"/>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6" name="Freeform 511"/>
            <p:cNvSpPr>
              <a:spLocks noChangeArrowheads="1"/>
            </p:cNvSpPr>
            <p:nvPr/>
          </p:nvSpPr>
          <p:spPr bwMode="auto">
            <a:xfrm>
              <a:off x="7764463" y="3397250"/>
              <a:ext cx="74612" cy="92075"/>
            </a:xfrm>
            <a:custGeom>
              <a:avLst/>
              <a:gdLst/>
              <a:ahLst/>
              <a:cxnLst>
                <a:cxn ang="0">
                  <a:pos x="5" y="255"/>
                </a:cxn>
                <a:cxn ang="0">
                  <a:pos x="2" y="254"/>
                </a:cxn>
                <a:cxn ang="0">
                  <a:pos x="1" y="248"/>
                </a:cxn>
                <a:cxn ang="0">
                  <a:pos x="18" y="210"/>
                </a:cxn>
                <a:cxn ang="0">
                  <a:pos x="159" y="82"/>
                </a:cxn>
                <a:cxn ang="0">
                  <a:pos x="183" y="3"/>
                </a:cxn>
                <a:cxn ang="0">
                  <a:pos x="187" y="0"/>
                </a:cxn>
                <a:cxn ang="0">
                  <a:pos x="188" y="0"/>
                </a:cxn>
                <a:cxn ang="0">
                  <a:pos x="192" y="4"/>
                </a:cxn>
                <a:cxn ang="0">
                  <a:pos x="204" y="84"/>
                </a:cxn>
                <a:cxn ang="0">
                  <a:pos x="203" y="89"/>
                </a:cxn>
                <a:cxn ang="0">
                  <a:pos x="141" y="134"/>
                </a:cxn>
                <a:cxn ang="0">
                  <a:pos x="137" y="154"/>
                </a:cxn>
                <a:cxn ang="0">
                  <a:pos x="68" y="220"/>
                </a:cxn>
                <a:cxn ang="0">
                  <a:pos x="7" y="254"/>
                </a:cxn>
                <a:cxn ang="0">
                  <a:pos x="5" y="255"/>
                </a:cxn>
              </a:cxnLst>
              <a:rect l="0" t="0" r="r" b="b"/>
              <a:pathLst>
                <a:path w="206" h="256">
                  <a:moveTo>
                    <a:pt x="5" y="255"/>
                  </a:moveTo>
                  <a:cubicBezTo>
                    <a:pt x="4" y="255"/>
                    <a:pt x="3" y="254"/>
                    <a:pt x="2" y="254"/>
                  </a:cubicBezTo>
                  <a:cubicBezTo>
                    <a:pt x="0" y="252"/>
                    <a:pt x="0" y="250"/>
                    <a:pt x="1" y="248"/>
                  </a:cubicBezTo>
                  <a:lnTo>
                    <a:pt x="18" y="210"/>
                  </a:lnTo>
                  <a:lnTo>
                    <a:pt x="159" y="82"/>
                  </a:lnTo>
                  <a:lnTo>
                    <a:pt x="183" y="3"/>
                  </a:lnTo>
                  <a:cubicBezTo>
                    <a:pt x="183" y="1"/>
                    <a:pt x="185" y="0"/>
                    <a:pt x="187" y="0"/>
                  </a:cubicBezTo>
                  <a:lnTo>
                    <a:pt x="188" y="0"/>
                  </a:lnTo>
                  <a:cubicBezTo>
                    <a:pt x="190" y="0"/>
                    <a:pt x="192" y="2"/>
                    <a:pt x="192" y="4"/>
                  </a:cubicBezTo>
                  <a:lnTo>
                    <a:pt x="204" y="84"/>
                  </a:lnTo>
                  <a:cubicBezTo>
                    <a:pt x="205" y="86"/>
                    <a:pt x="204" y="88"/>
                    <a:pt x="203" y="89"/>
                  </a:cubicBezTo>
                  <a:lnTo>
                    <a:pt x="141" y="134"/>
                  </a:lnTo>
                  <a:lnTo>
                    <a:pt x="137" y="154"/>
                  </a:lnTo>
                  <a:lnTo>
                    <a:pt x="68" y="220"/>
                  </a:lnTo>
                  <a:lnTo>
                    <a:pt x="7" y="254"/>
                  </a:lnTo>
                  <a:cubicBezTo>
                    <a:pt x="7" y="255"/>
                    <a:pt x="6" y="255"/>
                    <a:pt x="5" y="25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7" name="Freeform 512"/>
            <p:cNvSpPr>
              <a:spLocks noChangeArrowheads="1"/>
            </p:cNvSpPr>
            <p:nvPr/>
          </p:nvSpPr>
          <p:spPr bwMode="auto">
            <a:xfrm>
              <a:off x="7842250" y="3582988"/>
              <a:ext cx="14288" cy="11112"/>
            </a:xfrm>
            <a:custGeom>
              <a:avLst/>
              <a:gdLst/>
              <a:ahLst/>
              <a:cxnLst>
                <a:cxn ang="0">
                  <a:pos x="2" y="30"/>
                </a:cxn>
                <a:cxn ang="0">
                  <a:pos x="1" y="24"/>
                </a:cxn>
                <a:cxn ang="0">
                  <a:pos x="9" y="7"/>
                </a:cxn>
                <a:cxn ang="0">
                  <a:pos x="13" y="5"/>
                </a:cxn>
                <a:cxn ang="0">
                  <a:pos x="35" y="0"/>
                </a:cxn>
                <a:cxn ang="0">
                  <a:pos x="39" y="3"/>
                </a:cxn>
                <a:cxn ang="0">
                  <a:pos x="37" y="9"/>
                </a:cxn>
                <a:cxn ang="0">
                  <a:pos x="8" y="30"/>
                </a:cxn>
                <a:cxn ang="0">
                  <a:pos x="5" y="31"/>
                </a:cxn>
                <a:cxn ang="0">
                  <a:pos x="2" y="30"/>
                </a:cxn>
              </a:cxnLst>
              <a:rect l="0" t="0" r="r" b="b"/>
              <a:pathLst>
                <a:path w="41" h="32">
                  <a:moveTo>
                    <a:pt x="2" y="30"/>
                  </a:moveTo>
                  <a:cubicBezTo>
                    <a:pt x="0" y="28"/>
                    <a:pt x="0" y="26"/>
                    <a:pt x="1" y="24"/>
                  </a:cubicBezTo>
                  <a:lnTo>
                    <a:pt x="9" y="7"/>
                  </a:lnTo>
                  <a:cubicBezTo>
                    <a:pt x="10" y="6"/>
                    <a:pt x="11" y="5"/>
                    <a:pt x="13" y="5"/>
                  </a:cubicBezTo>
                  <a:lnTo>
                    <a:pt x="35" y="0"/>
                  </a:lnTo>
                  <a:cubicBezTo>
                    <a:pt x="37" y="0"/>
                    <a:pt x="38" y="1"/>
                    <a:pt x="39" y="3"/>
                  </a:cubicBezTo>
                  <a:cubicBezTo>
                    <a:pt x="40" y="5"/>
                    <a:pt x="39" y="7"/>
                    <a:pt x="37" y="9"/>
                  </a:cubicBezTo>
                  <a:lnTo>
                    <a:pt x="8" y="30"/>
                  </a:lnTo>
                  <a:cubicBezTo>
                    <a:pt x="7" y="30"/>
                    <a:pt x="6" y="31"/>
                    <a:pt x="5" y="31"/>
                  </a:cubicBezTo>
                  <a:cubicBezTo>
                    <a:pt x="4" y="31"/>
                    <a:pt x="3" y="30"/>
                    <a:pt x="2" y="3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8" name="Freeform 513"/>
            <p:cNvSpPr>
              <a:spLocks noChangeArrowheads="1"/>
            </p:cNvSpPr>
            <p:nvPr/>
          </p:nvSpPr>
          <p:spPr bwMode="auto">
            <a:xfrm>
              <a:off x="7842250" y="3582988"/>
              <a:ext cx="14288" cy="11112"/>
            </a:xfrm>
            <a:custGeom>
              <a:avLst/>
              <a:gdLst/>
              <a:ahLst/>
              <a:cxnLst>
                <a:cxn ang="0">
                  <a:pos x="5" y="31"/>
                </a:cxn>
                <a:cxn ang="0">
                  <a:pos x="2" y="30"/>
                </a:cxn>
                <a:cxn ang="0">
                  <a:pos x="1" y="24"/>
                </a:cxn>
                <a:cxn ang="0">
                  <a:pos x="9" y="7"/>
                </a:cxn>
                <a:cxn ang="0">
                  <a:pos x="13" y="5"/>
                </a:cxn>
                <a:cxn ang="0">
                  <a:pos x="35" y="0"/>
                </a:cxn>
                <a:cxn ang="0">
                  <a:pos x="39" y="3"/>
                </a:cxn>
                <a:cxn ang="0">
                  <a:pos x="37" y="9"/>
                </a:cxn>
                <a:cxn ang="0">
                  <a:pos x="8" y="30"/>
                </a:cxn>
                <a:cxn ang="0">
                  <a:pos x="5" y="31"/>
                </a:cxn>
              </a:cxnLst>
              <a:rect l="0" t="0" r="r" b="b"/>
              <a:pathLst>
                <a:path w="41" h="32">
                  <a:moveTo>
                    <a:pt x="5" y="31"/>
                  </a:moveTo>
                  <a:cubicBezTo>
                    <a:pt x="4" y="31"/>
                    <a:pt x="3" y="30"/>
                    <a:pt x="2" y="30"/>
                  </a:cubicBezTo>
                  <a:cubicBezTo>
                    <a:pt x="0" y="28"/>
                    <a:pt x="0" y="26"/>
                    <a:pt x="1" y="24"/>
                  </a:cubicBezTo>
                  <a:lnTo>
                    <a:pt x="9" y="7"/>
                  </a:lnTo>
                  <a:cubicBezTo>
                    <a:pt x="10" y="6"/>
                    <a:pt x="11" y="5"/>
                    <a:pt x="13" y="5"/>
                  </a:cubicBezTo>
                  <a:lnTo>
                    <a:pt x="35" y="0"/>
                  </a:lnTo>
                  <a:cubicBezTo>
                    <a:pt x="37" y="0"/>
                    <a:pt x="38" y="1"/>
                    <a:pt x="39" y="3"/>
                  </a:cubicBezTo>
                  <a:cubicBezTo>
                    <a:pt x="40" y="5"/>
                    <a:pt x="39" y="7"/>
                    <a:pt x="37" y="9"/>
                  </a:cubicBezTo>
                  <a:lnTo>
                    <a:pt x="8" y="30"/>
                  </a:lnTo>
                  <a:cubicBezTo>
                    <a:pt x="7" y="30"/>
                    <a:pt x="6" y="31"/>
                    <a:pt x="5" y="3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19" name="Freeform 514"/>
            <p:cNvSpPr>
              <a:spLocks noChangeArrowheads="1"/>
            </p:cNvSpPr>
            <p:nvPr/>
          </p:nvSpPr>
          <p:spPr bwMode="auto">
            <a:xfrm>
              <a:off x="7875588" y="3556000"/>
              <a:ext cx="17462" cy="11113"/>
            </a:xfrm>
            <a:custGeom>
              <a:avLst/>
              <a:gdLst/>
              <a:ahLst/>
              <a:cxnLst>
                <a:cxn ang="0">
                  <a:pos x="5" y="26"/>
                </a:cxn>
                <a:cxn ang="0">
                  <a:pos x="1" y="24"/>
                </a:cxn>
                <a:cxn ang="0">
                  <a:pos x="2" y="19"/>
                </a:cxn>
                <a:cxn ang="0">
                  <a:pos x="14" y="2"/>
                </a:cxn>
                <a:cxn ang="0">
                  <a:pos x="18" y="0"/>
                </a:cxn>
                <a:cxn ang="0">
                  <a:pos x="20" y="1"/>
                </a:cxn>
                <a:cxn ang="0">
                  <a:pos x="46" y="13"/>
                </a:cxn>
                <a:cxn ang="0">
                  <a:pos x="48" y="16"/>
                </a:cxn>
                <a:cxn ang="0">
                  <a:pos x="48" y="20"/>
                </a:cxn>
                <a:cxn ang="0">
                  <a:pos x="43" y="28"/>
                </a:cxn>
                <a:cxn ang="0">
                  <a:pos x="39" y="31"/>
                </a:cxn>
                <a:cxn ang="0">
                  <a:pos x="5" y="26"/>
                </a:cxn>
              </a:cxnLst>
              <a:rect l="0" t="0" r="r" b="b"/>
              <a:pathLst>
                <a:path w="49" h="32">
                  <a:moveTo>
                    <a:pt x="5" y="26"/>
                  </a:moveTo>
                  <a:cubicBezTo>
                    <a:pt x="3" y="26"/>
                    <a:pt x="2" y="25"/>
                    <a:pt x="1" y="24"/>
                  </a:cubicBezTo>
                  <a:cubicBezTo>
                    <a:pt x="0" y="22"/>
                    <a:pt x="0" y="20"/>
                    <a:pt x="2" y="19"/>
                  </a:cubicBezTo>
                  <a:lnTo>
                    <a:pt x="14" y="2"/>
                  </a:lnTo>
                  <a:cubicBezTo>
                    <a:pt x="15" y="1"/>
                    <a:pt x="17" y="0"/>
                    <a:pt x="18" y="0"/>
                  </a:cubicBezTo>
                  <a:cubicBezTo>
                    <a:pt x="19" y="0"/>
                    <a:pt x="19" y="0"/>
                    <a:pt x="20" y="1"/>
                  </a:cubicBezTo>
                  <a:lnTo>
                    <a:pt x="46" y="13"/>
                  </a:lnTo>
                  <a:cubicBezTo>
                    <a:pt x="47" y="14"/>
                    <a:pt x="48" y="15"/>
                    <a:pt x="48" y="16"/>
                  </a:cubicBezTo>
                  <a:cubicBezTo>
                    <a:pt x="48" y="17"/>
                    <a:pt x="48" y="19"/>
                    <a:pt x="48" y="20"/>
                  </a:cubicBezTo>
                  <a:lnTo>
                    <a:pt x="43" y="28"/>
                  </a:lnTo>
                  <a:cubicBezTo>
                    <a:pt x="43" y="30"/>
                    <a:pt x="41" y="31"/>
                    <a:pt x="39" y="31"/>
                  </a:cubicBezTo>
                  <a:lnTo>
                    <a:pt x="5"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0" name="Freeform 515"/>
            <p:cNvSpPr>
              <a:spLocks noChangeArrowheads="1"/>
            </p:cNvSpPr>
            <p:nvPr/>
          </p:nvSpPr>
          <p:spPr bwMode="auto">
            <a:xfrm>
              <a:off x="7875588" y="3556000"/>
              <a:ext cx="17462" cy="11113"/>
            </a:xfrm>
            <a:custGeom>
              <a:avLst/>
              <a:gdLst/>
              <a:ahLst/>
              <a:cxnLst>
                <a:cxn ang="0">
                  <a:pos x="5" y="26"/>
                </a:cxn>
                <a:cxn ang="0">
                  <a:pos x="1" y="24"/>
                </a:cxn>
                <a:cxn ang="0">
                  <a:pos x="2" y="19"/>
                </a:cxn>
                <a:cxn ang="0">
                  <a:pos x="14" y="2"/>
                </a:cxn>
                <a:cxn ang="0">
                  <a:pos x="18" y="0"/>
                </a:cxn>
                <a:cxn ang="0">
                  <a:pos x="20" y="1"/>
                </a:cxn>
                <a:cxn ang="0">
                  <a:pos x="46" y="13"/>
                </a:cxn>
                <a:cxn ang="0">
                  <a:pos x="48" y="16"/>
                </a:cxn>
                <a:cxn ang="0">
                  <a:pos x="48" y="20"/>
                </a:cxn>
                <a:cxn ang="0">
                  <a:pos x="43" y="28"/>
                </a:cxn>
                <a:cxn ang="0">
                  <a:pos x="39" y="31"/>
                </a:cxn>
                <a:cxn ang="0">
                  <a:pos x="5" y="26"/>
                </a:cxn>
              </a:cxnLst>
              <a:rect l="0" t="0" r="r" b="b"/>
              <a:pathLst>
                <a:path w="49" h="32">
                  <a:moveTo>
                    <a:pt x="5" y="26"/>
                  </a:moveTo>
                  <a:cubicBezTo>
                    <a:pt x="3" y="26"/>
                    <a:pt x="2" y="25"/>
                    <a:pt x="1" y="24"/>
                  </a:cubicBezTo>
                  <a:cubicBezTo>
                    <a:pt x="0" y="22"/>
                    <a:pt x="0" y="20"/>
                    <a:pt x="2" y="19"/>
                  </a:cubicBezTo>
                  <a:lnTo>
                    <a:pt x="14" y="2"/>
                  </a:lnTo>
                  <a:cubicBezTo>
                    <a:pt x="15" y="1"/>
                    <a:pt x="17" y="0"/>
                    <a:pt x="18" y="0"/>
                  </a:cubicBezTo>
                  <a:cubicBezTo>
                    <a:pt x="19" y="0"/>
                    <a:pt x="19" y="0"/>
                    <a:pt x="20" y="1"/>
                  </a:cubicBezTo>
                  <a:lnTo>
                    <a:pt x="46" y="13"/>
                  </a:lnTo>
                  <a:cubicBezTo>
                    <a:pt x="47" y="14"/>
                    <a:pt x="48" y="15"/>
                    <a:pt x="48" y="16"/>
                  </a:cubicBezTo>
                  <a:cubicBezTo>
                    <a:pt x="48" y="17"/>
                    <a:pt x="48" y="19"/>
                    <a:pt x="48" y="20"/>
                  </a:cubicBezTo>
                  <a:lnTo>
                    <a:pt x="43" y="28"/>
                  </a:lnTo>
                  <a:cubicBezTo>
                    <a:pt x="43" y="30"/>
                    <a:pt x="41" y="31"/>
                    <a:pt x="39" y="31"/>
                  </a:cubicBezTo>
                  <a:lnTo>
                    <a:pt x="5" y="2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1" name="Freeform 516"/>
            <p:cNvSpPr>
              <a:spLocks noChangeArrowheads="1"/>
            </p:cNvSpPr>
            <p:nvPr/>
          </p:nvSpPr>
          <p:spPr bwMode="auto">
            <a:xfrm>
              <a:off x="7900988" y="3540125"/>
              <a:ext cx="19050" cy="9525"/>
            </a:xfrm>
            <a:custGeom>
              <a:avLst/>
              <a:gdLst/>
              <a:ahLst/>
              <a:cxnLst>
                <a:cxn ang="0">
                  <a:pos x="14" y="24"/>
                </a:cxn>
                <a:cxn ang="0">
                  <a:pos x="2" y="7"/>
                </a:cxn>
                <a:cxn ang="0">
                  <a:pos x="1" y="2"/>
                </a:cxn>
                <a:cxn ang="0">
                  <a:pos x="5" y="0"/>
                </a:cxn>
                <a:cxn ang="0">
                  <a:pos x="48" y="0"/>
                </a:cxn>
                <a:cxn ang="0">
                  <a:pos x="52" y="3"/>
                </a:cxn>
                <a:cxn ang="0">
                  <a:pos x="50" y="9"/>
                </a:cxn>
                <a:cxn ang="0">
                  <a:pos x="20" y="25"/>
                </a:cxn>
                <a:cxn ang="0">
                  <a:pos x="18" y="26"/>
                </a:cxn>
                <a:cxn ang="0">
                  <a:pos x="14" y="24"/>
                </a:cxn>
              </a:cxnLst>
              <a:rect l="0" t="0" r="r" b="b"/>
              <a:pathLst>
                <a:path w="54" h="27">
                  <a:moveTo>
                    <a:pt x="14" y="24"/>
                  </a:moveTo>
                  <a:lnTo>
                    <a:pt x="2" y="7"/>
                  </a:lnTo>
                  <a:cubicBezTo>
                    <a:pt x="1" y="6"/>
                    <a:pt x="0" y="4"/>
                    <a:pt x="1" y="2"/>
                  </a:cubicBezTo>
                  <a:cubicBezTo>
                    <a:pt x="2" y="1"/>
                    <a:pt x="4" y="0"/>
                    <a:pt x="5" y="0"/>
                  </a:cubicBezTo>
                  <a:lnTo>
                    <a:pt x="48" y="0"/>
                  </a:lnTo>
                  <a:cubicBezTo>
                    <a:pt x="50" y="0"/>
                    <a:pt x="52" y="1"/>
                    <a:pt x="52" y="3"/>
                  </a:cubicBezTo>
                  <a:cubicBezTo>
                    <a:pt x="53" y="5"/>
                    <a:pt x="52" y="8"/>
                    <a:pt x="50" y="9"/>
                  </a:cubicBezTo>
                  <a:lnTo>
                    <a:pt x="20" y="25"/>
                  </a:lnTo>
                  <a:cubicBezTo>
                    <a:pt x="20" y="26"/>
                    <a:pt x="19" y="26"/>
                    <a:pt x="18" y="26"/>
                  </a:cubicBezTo>
                  <a:cubicBezTo>
                    <a:pt x="16" y="26"/>
                    <a:pt x="15" y="25"/>
                    <a:pt x="14" y="2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2" name="Freeform 517"/>
            <p:cNvSpPr>
              <a:spLocks noChangeArrowheads="1"/>
            </p:cNvSpPr>
            <p:nvPr/>
          </p:nvSpPr>
          <p:spPr bwMode="auto">
            <a:xfrm>
              <a:off x="7900988" y="3540125"/>
              <a:ext cx="19050" cy="9525"/>
            </a:xfrm>
            <a:custGeom>
              <a:avLst/>
              <a:gdLst/>
              <a:ahLst/>
              <a:cxnLst>
                <a:cxn ang="0">
                  <a:pos x="18" y="26"/>
                </a:cxn>
                <a:cxn ang="0">
                  <a:pos x="14" y="24"/>
                </a:cxn>
                <a:cxn ang="0">
                  <a:pos x="2" y="7"/>
                </a:cxn>
                <a:cxn ang="0">
                  <a:pos x="1" y="2"/>
                </a:cxn>
                <a:cxn ang="0">
                  <a:pos x="5" y="0"/>
                </a:cxn>
                <a:cxn ang="0">
                  <a:pos x="48" y="0"/>
                </a:cxn>
                <a:cxn ang="0">
                  <a:pos x="52" y="3"/>
                </a:cxn>
                <a:cxn ang="0">
                  <a:pos x="50" y="9"/>
                </a:cxn>
                <a:cxn ang="0">
                  <a:pos x="20" y="25"/>
                </a:cxn>
                <a:cxn ang="0">
                  <a:pos x="18" y="26"/>
                </a:cxn>
              </a:cxnLst>
              <a:rect l="0" t="0" r="r" b="b"/>
              <a:pathLst>
                <a:path w="54" h="27">
                  <a:moveTo>
                    <a:pt x="18" y="26"/>
                  </a:moveTo>
                  <a:cubicBezTo>
                    <a:pt x="16" y="26"/>
                    <a:pt x="15" y="25"/>
                    <a:pt x="14" y="24"/>
                  </a:cubicBezTo>
                  <a:lnTo>
                    <a:pt x="2" y="7"/>
                  </a:lnTo>
                  <a:cubicBezTo>
                    <a:pt x="1" y="6"/>
                    <a:pt x="0" y="4"/>
                    <a:pt x="1" y="2"/>
                  </a:cubicBezTo>
                  <a:cubicBezTo>
                    <a:pt x="2" y="1"/>
                    <a:pt x="4" y="0"/>
                    <a:pt x="5" y="0"/>
                  </a:cubicBezTo>
                  <a:lnTo>
                    <a:pt x="48" y="0"/>
                  </a:lnTo>
                  <a:cubicBezTo>
                    <a:pt x="50" y="0"/>
                    <a:pt x="52" y="1"/>
                    <a:pt x="52" y="3"/>
                  </a:cubicBezTo>
                  <a:cubicBezTo>
                    <a:pt x="53" y="5"/>
                    <a:pt x="52" y="8"/>
                    <a:pt x="50" y="9"/>
                  </a:cubicBezTo>
                  <a:lnTo>
                    <a:pt x="20" y="25"/>
                  </a:lnTo>
                  <a:cubicBezTo>
                    <a:pt x="20" y="26"/>
                    <a:pt x="19" y="26"/>
                    <a:pt x="18" y="2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3" name="Freeform 518"/>
            <p:cNvSpPr>
              <a:spLocks noChangeArrowheads="1"/>
            </p:cNvSpPr>
            <p:nvPr/>
          </p:nvSpPr>
          <p:spPr bwMode="auto">
            <a:xfrm>
              <a:off x="7904163" y="3446463"/>
              <a:ext cx="142875" cy="127000"/>
            </a:xfrm>
            <a:custGeom>
              <a:avLst/>
              <a:gdLst/>
              <a:ahLst/>
              <a:cxnLst>
                <a:cxn ang="0">
                  <a:pos x="297" y="349"/>
                </a:cxn>
                <a:cxn ang="0">
                  <a:pos x="257" y="330"/>
                </a:cxn>
                <a:cxn ang="0">
                  <a:pos x="252" y="330"/>
                </a:cxn>
                <a:cxn ang="0">
                  <a:pos x="191" y="289"/>
                </a:cxn>
                <a:cxn ang="0">
                  <a:pos x="174" y="231"/>
                </a:cxn>
                <a:cxn ang="0">
                  <a:pos x="154" y="164"/>
                </a:cxn>
                <a:cxn ang="0">
                  <a:pos x="128" y="199"/>
                </a:cxn>
                <a:cxn ang="0">
                  <a:pos x="124" y="198"/>
                </a:cxn>
                <a:cxn ang="0">
                  <a:pos x="89" y="206"/>
                </a:cxn>
                <a:cxn ang="0">
                  <a:pos x="84" y="208"/>
                </a:cxn>
                <a:cxn ang="0">
                  <a:pos x="77" y="178"/>
                </a:cxn>
                <a:cxn ang="0">
                  <a:pos x="34" y="239"/>
                </a:cxn>
                <a:cxn ang="0">
                  <a:pos x="9" y="242"/>
                </a:cxn>
                <a:cxn ang="0">
                  <a:pos x="0" y="221"/>
                </a:cxn>
                <a:cxn ang="0">
                  <a:pos x="37" y="144"/>
                </a:cxn>
                <a:cxn ang="0">
                  <a:pos x="124" y="86"/>
                </a:cxn>
                <a:cxn ang="0">
                  <a:pos x="129" y="84"/>
                </a:cxn>
                <a:cxn ang="0">
                  <a:pos x="162" y="98"/>
                </a:cxn>
                <a:cxn ang="0">
                  <a:pos x="187" y="128"/>
                </a:cxn>
                <a:cxn ang="0">
                  <a:pos x="200" y="101"/>
                </a:cxn>
                <a:cxn ang="0">
                  <a:pos x="238" y="66"/>
                </a:cxn>
                <a:cxn ang="0">
                  <a:pos x="296" y="59"/>
                </a:cxn>
                <a:cxn ang="0">
                  <a:pos x="294" y="1"/>
                </a:cxn>
                <a:cxn ang="0">
                  <a:pos x="314" y="0"/>
                </a:cxn>
                <a:cxn ang="0">
                  <a:pos x="364" y="48"/>
                </a:cxn>
                <a:cxn ang="0">
                  <a:pos x="373" y="87"/>
                </a:cxn>
                <a:cxn ang="0">
                  <a:pos x="373" y="108"/>
                </a:cxn>
                <a:cxn ang="0">
                  <a:pos x="369" y="285"/>
                </a:cxn>
                <a:cxn ang="0">
                  <a:pos x="365" y="288"/>
                </a:cxn>
                <a:cxn ang="0">
                  <a:pos x="337" y="212"/>
                </a:cxn>
                <a:cxn ang="0">
                  <a:pos x="302" y="261"/>
                </a:cxn>
                <a:cxn ang="0">
                  <a:pos x="327" y="307"/>
                </a:cxn>
                <a:cxn ang="0">
                  <a:pos x="301" y="352"/>
                </a:cxn>
              </a:cxnLst>
              <a:rect l="0" t="0" r="r" b="b"/>
              <a:pathLst>
                <a:path w="396" h="353">
                  <a:moveTo>
                    <a:pt x="301" y="352"/>
                  </a:moveTo>
                  <a:cubicBezTo>
                    <a:pt x="299" y="352"/>
                    <a:pt x="298" y="351"/>
                    <a:pt x="297" y="349"/>
                  </a:cubicBezTo>
                  <a:lnTo>
                    <a:pt x="282" y="316"/>
                  </a:lnTo>
                  <a:lnTo>
                    <a:pt x="257" y="330"/>
                  </a:lnTo>
                  <a:cubicBezTo>
                    <a:pt x="256" y="330"/>
                    <a:pt x="255" y="331"/>
                    <a:pt x="255" y="331"/>
                  </a:cubicBezTo>
                  <a:cubicBezTo>
                    <a:pt x="254" y="331"/>
                    <a:pt x="253" y="330"/>
                    <a:pt x="252" y="330"/>
                  </a:cubicBezTo>
                  <a:lnTo>
                    <a:pt x="193" y="292"/>
                  </a:lnTo>
                  <a:cubicBezTo>
                    <a:pt x="192" y="291"/>
                    <a:pt x="191" y="290"/>
                    <a:pt x="191" y="289"/>
                  </a:cubicBezTo>
                  <a:lnTo>
                    <a:pt x="174" y="234"/>
                  </a:lnTo>
                  <a:cubicBezTo>
                    <a:pt x="174" y="233"/>
                    <a:pt x="174" y="232"/>
                    <a:pt x="174" y="231"/>
                  </a:cubicBezTo>
                  <a:lnTo>
                    <a:pt x="190" y="196"/>
                  </a:lnTo>
                  <a:lnTo>
                    <a:pt x="154" y="164"/>
                  </a:lnTo>
                  <a:lnTo>
                    <a:pt x="132" y="197"/>
                  </a:lnTo>
                  <a:cubicBezTo>
                    <a:pt x="131" y="199"/>
                    <a:pt x="129" y="199"/>
                    <a:pt x="128" y="199"/>
                  </a:cubicBezTo>
                  <a:lnTo>
                    <a:pt x="128" y="199"/>
                  </a:lnTo>
                  <a:cubicBezTo>
                    <a:pt x="126" y="199"/>
                    <a:pt x="125" y="199"/>
                    <a:pt x="124" y="198"/>
                  </a:cubicBezTo>
                  <a:lnTo>
                    <a:pt x="111" y="181"/>
                  </a:lnTo>
                  <a:lnTo>
                    <a:pt x="89" y="206"/>
                  </a:lnTo>
                  <a:cubicBezTo>
                    <a:pt x="88" y="207"/>
                    <a:pt x="87" y="208"/>
                    <a:pt x="85" y="208"/>
                  </a:cubicBezTo>
                  <a:lnTo>
                    <a:pt x="84" y="208"/>
                  </a:lnTo>
                  <a:cubicBezTo>
                    <a:pt x="82" y="207"/>
                    <a:pt x="81" y="206"/>
                    <a:pt x="81" y="204"/>
                  </a:cubicBezTo>
                  <a:lnTo>
                    <a:pt x="77" y="178"/>
                  </a:lnTo>
                  <a:lnTo>
                    <a:pt x="67" y="178"/>
                  </a:lnTo>
                  <a:lnTo>
                    <a:pt x="34" y="239"/>
                  </a:lnTo>
                  <a:cubicBezTo>
                    <a:pt x="34" y="241"/>
                    <a:pt x="32" y="242"/>
                    <a:pt x="30" y="242"/>
                  </a:cubicBezTo>
                  <a:lnTo>
                    <a:pt x="9" y="242"/>
                  </a:lnTo>
                  <a:cubicBezTo>
                    <a:pt x="7" y="242"/>
                    <a:pt x="5" y="240"/>
                    <a:pt x="4" y="238"/>
                  </a:cubicBezTo>
                  <a:lnTo>
                    <a:pt x="0" y="221"/>
                  </a:lnTo>
                  <a:lnTo>
                    <a:pt x="34" y="146"/>
                  </a:lnTo>
                  <a:cubicBezTo>
                    <a:pt x="35" y="145"/>
                    <a:pt x="36" y="144"/>
                    <a:pt x="37" y="144"/>
                  </a:cubicBezTo>
                  <a:lnTo>
                    <a:pt x="84" y="127"/>
                  </a:lnTo>
                  <a:lnTo>
                    <a:pt x="124" y="86"/>
                  </a:lnTo>
                  <a:cubicBezTo>
                    <a:pt x="125" y="85"/>
                    <a:pt x="126" y="84"/>
                    <a:pt x="128" y="84"/>
                  </a:cubicBezTo>
                  <a:cubicBezTo>
                    <a:pt x="128" y="84"/>
                    <a:pt x="128" y="84"/>
                    <a:pt x="129" y="84"/>
                  </a:cubicBezTo>
                  <a:lnTo>
                    <a:pt x="158" y="93"/>
                  </a:lnTo>
                  <a:cubicBezTo>
                    <a:pt x="161" y="94"/>
                    <a:pt x="162" y="96"/>
                    <a:pt x="162" y="98"/>
                  </a:cubicBezTo>
                  <a:lnTo>
                    <a:pt x="158" y="141"/>
                  </a:lnTo>
                  <a:lnTo>
                    <a:pt x="187" y="128"/>
                  </a:lnTo>
                  <a:lnTo>
                    <a:pt x="195" y="104"/>
                  </a:lnTo>
                  <a:cubicBezTo>
                    <a:pt x="196" y="103"/>
                    <a:pt x="198" y="101"/>
                    <a:pt x="200" y="101"/>
                  </a:cubicBezTo>
                  <a:lnTo>
                    <a:pt x="226" y="101"/>
                  </a:lnTo>
                  <a:lnTo>
                    <a:pt x="238" y="66"/>
                  </a:lnTo>
                  <a:cubicBezTo>
                    <a:pt x="238" y="65"/>
                    <a:pt x="240" y="63"/>
                    <a:pt x="242" y="63"/>
                  </a:cubicBezTo>
                  <a:lnTo>
                    <a:pt x="296" y="59"/>
                  </a:lnTo>
                  <a:lnTo>
                    <a:pt x="292" y="5"/>
                  </a:lnTo>
                  <a:cubicBezTo>
                    <a:pt x="292" y="3"/>
                    <a:pt x="293" y="2"/>
                    <a:pt x="294" y="1"/>
                  </a:cubicBezTo>
                  <a:cubicBezTo>
                    <a:pt x="295" y="0"/>
                    <a:pt x="296" y="0"/>
                    <a:pt x="297" y="0"/>
                  </a:cubicBezTo>
                  <a:lnTo>
                    <a:pt x="314" y="0"/>
                  </a:lnTo>
                  <a:cubicBezTo>
                    <a:pt x="315" y="0"/>
                    <a:pt x="317" y="0"/>
                    <a:pt x="317" y="1"/>
                  </a:cubicBezTo>
                  <a:lnTo>
                    <a:pt x="364" y="48"/>
                  </a:lnTo>
                  <a:lnTo>
                    <a:pt x="374" y="84"/>
                  </a:lnTo>
                  <a:cubicBezTo>
                    <a:pt x="374" y="85"/>
                    <a:pt x="374" y="86"/>
                    <a:pt x="373" y="87"/>
                  </a:cubicBezTo>
                  <a:lnTo>
                    <a:pt x="366" y="97"/>
                  </a:lnTo>
                  <a:lnTo>
                    <a:pt x="373" y="108"/>
                  </a:lnTo>
                  <a:lnTo>
                    <a:pt x="395" y="189"/>
                  </a:lnTo>
                  <a:lnTo>
                    <a:pt x="369" y="285"/>
                  </a:lnTo>
                  <a:cubicBezTo>
                    <a:pt x="369" y="287"/>
                    <a:pt x="367" y="288"/>
                    <a:pt x="365" y="288"/>
                  </a:cubicBezTo>
                  <a:lnTo>
                    <a:pt x="365" y="288"/>
                  </a:lnTo>
                  <a:cubicBezTo>
                    <a:pt x="363" y="288"/>
                    <a:pt x="361" y="287"/>
                    <a:pt x="360" y="285"/>
                  </a:cubicBezTo>
                  <a:lnTo>
                    <a:pt x="337" y="212"/>
                  </a:lnTo>
                  <a:lnTo>
                    <a:pt x="305" y="245"/>
                  </a:lnTo>
                  <a:lnTo>
                    <a:pt x="302" y="261"/>
                  </a:lnTo>
                  <a:lnTo>
                    <a:pt x="326" y="302"/>
                  </a:lnTo>
                  <a:cubicBezTo>
                    <a:pt x="327" y="304"/>
                    <a:pt x="327" y="305"/>
                    <a:pt x="327" y="307"/>
                  </a:cubicBezTo>
                  <a:lnTo>
                    <a:pt x="305" y="349"/>
                  </a:lnTo>
                  <a:cubicBezTo>
                    <a:pt x="305" y="351"/>
                    <a:pt x="303" y="352"/>
                    <a:pt x="301" y="352"/>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4" name="Freeform 519"/>
            <p:cNvSpPr>
              <a:spLocks noChangeArrowheads="1"/>
            </p:cNvSpPr>
            <p:nvPr/>
          </p:nvSpPr>
          <p:spPr bwMode="auto">
            <a:xfrm>
              <a:off x="7904163" y="3446463"/>
              <a:ext cx="142875" cy="127000"/>
            </a:xfrm>
            <a:custGeom>
              <a:avLst/>
              <a:gdLst/>
              <a:ahLst/>
              <a:cxnLst>
                <a:cxn ang="0">
                  <a:pos x="297" y="349"/>
                </a:cxn>
                <a:cxn ang="0">
                  <a:pos x="257" y="330"/>
                </a:cxn>
                <a:cxn ang="0">
                  <a:pos x="252" y="330"/>
                </a:cxn>
                <a:cxn ang="0">
                  <a:pos x="191" y="289"/>
                </a:cxn>
                <a:cxn ang="0">
                  <a:pos x="174" y="231"/>
                </a:cxn>
                <a:cxn ang="0">
                  <a:pos x="154" y="164"/>
                </a:cxn>
                <a:cxn ang="0">
                  <a:pos x="128" y="199"/>
                </a:cxn>
                <a:cxn ang="0">
                  <a:pos x="124" y="198"/>
                </a:cxn>
                <a:cxn ang="0">
                  <a:pos x="89" y="206"/>
                </a:cxn>
                <a:cxn ang="0">
                  <a:pos x="84" y="208"/>
                </a:cxn>
                <a:cxn ang="0">
                  <a:pos x="77" y="178"/>
                </a:cxn>
                <a:cxn ang="0">
                  <a:pos x="34" y="239"/>
                </a:cxn>
                <a:cxn ang="0">
                  <a:pos x="9" y="242"/>
                </a:cxn>
                <a:cxn ang="0">
                  <a:pos x="0" y="221"/>
                </a:cxn>
                <a:cxn ang="0">
                  <a:pos x="37" y="144"/>
                </a:cxn>
                <a:cxn ang="0">
                  <a:pos x="124" y="86"/>
                </a:cxn>
                <a:cxn ang="0">
                  <a:pos x="129" y="84"/>
                </a:cxn>
                <a:cxn ang="0">
                  <a:pos x="162" y="98"/>
                </a:cxn>
                <a:cxn ang="0">
                  <a:pos x="187" y="128"/>
                </a:cxn>
                <a:cxn ang="0">
                  <a:pos x="200" y="101"/>
                </a:cxn>
                <a:cxn ang="0">
                  <a:pos x="238" y="66"/>
                </a:cxn>
                <a:cxn ang="0">
                  <a:pos x="296" y="59"/>
                </a:cxn>
                <a:cxn ang="0">
                  <a:pos x="294" y="1"/>
                </a:cxn>
                <a:cxn ang="0">
                  <a:pos x="314" y="0"/>
                </a:cxn>
                <a:cxn ang="0">
                  <a:pos x="364" y="48"/>
                </a:cxn>
                <a:cxn ang="0">
                  <a:pos x="373" y="87"/>
                </a:cxn>
                <a:cxn ang="0">
                  <a:pos x="373" y="108"/>
                </a:cxn>
                <a:cxn ang="0">
                  <a:pos x="369" y="285"/>
                </a:cxn>
                <a:cxn ang="0">
                  <a:pos x="365" y="288"/>
                </a:cxn>
                <a:cxn ang="0">
                  <a:pos x="337" y="212"/>
                </a:cxn>
                <a:cxn ang="0">
                  <a:pos x="302" y="261"/>
                </a:cxn>
                <a:cxn ang="0">
                  <a:pos x="327" y="307"/>
                </a:cxn>
                <a:cxn ang="0">
                  <a:pos x="301" y="352"/>
                </a:cxn>
              </a:cxnLst>
              <a:rect l="0" t="0" r="r" b="b"/>
              <a:pathLst>
                <a:path w="396" h="353">
                  <a:moveTo>
                    <a:pt x="301" y="352"/>
                  </a:moveTo>
                  <a:cubicBezTo>
                    <a:pt x="299" y="352"/>
                    <a:pt x="298" y="351"/>
                    <a:pt x="297" y="349"/>
                  </a:cubicBezTo>
                  <a:lnTo>
                    <a:pt x="282" y="316"/>
                  </a:lnTo>
                  <a:lnTo>
                    <a:pt x="257" y="330"/>
                  </a:lnTo>
                  <a:cubicBezTo>
                    <a:pt x="256" y="330"/>
                    <a:pt x="255" y="331"/>
                    <a:pt x="255" y="331"/>
                  </a:cubicBezTo>
                  <a:cubicBezTo>
                    <a:pt x="254" y="331"/>
                    <a:pt x="253" y="330"/>
                    <a:pt x="252" y="330"/>
                  </a:cubicBezTo>
                  <a:lnTo>
                    <a:pt x="193" y="292"/>
                  </a:lnTo>
                  <a:cubicBezTo>
                    <a:pt x="192" y="291"/>
                    <a:pt x="191" y="290"/>
                    <a:pt x="191" y="289"/>
                  </a:cubicBezTo>
                  <a:lnTo>
                    <a:pt x="174" y="234"/>
                  </a:lnTo>
                  <a:cubicBezTo>
                    <a:pt x="174" y="233"/>
                    <a:pt x="174" y="232"/>
                    <a:pt x="174" y="231"/>
                  </a:cubicBezTo>
                  <a:lnTo>
                    <a:pt x="190" y="196"/>
                  </a:lnTo>
                  <a:lnTo>
                    <a:pt x="154" y="164"/>
                  </a:lnTo>
                  <a:lnTo>
                    <a:pt x="132" y="197"/>
                  </a:lnTo>
                  <a:cubicBezTo>
                    <a:pt x="131" y="199"/>
                    <a:pt x="129" y="199"/>
                    <a:pt x="128" y="199"/>
                  </a:cubicBezTo>
                  <a:lnTo>
                    <a:pt x="128" y="199"/>
                  </a:lnTo>
                  <a:cubicBezTo>
                    <a:pt x="126" y="199"/>
                    <a:pt x="125" y="199"/>
                    <a:pt x="124" y="198"/>
                  </a:cubicBezTo>
                  <a:lnTo>
                    <a:pt x="111" y="181"/>
                  </a:lnTo>
                  <a:lnTo>
                    <a:pt x="89" y="206"/>
                  </a:lnTo>
                  <a:cubicBezTo>
                    <a:pt x="88" y="207"/>
                    <a:pt x="87" y="208"/>
                    <a:pt x="85" y="208"/>
                  </a:cubicBezTo>
                  <a:lnTo>
                    <a:pt x="84" y="208"/>
                  </a:lnTo>
                  <a:cubicBezTo>
                    <a:pt x="82" y="207"/>
                    <a:pt x="81" y="206"/>
                    <a:pt x="81" y="204"/>
                  </a:cubicBezTo>
                  <a:lnTo>
                    <a:pt x="77" y="178"/>
                  </a:lnTo>
                  <a:lnTo>
                    <a:pt x="67" y="178"/>
                  </a:lnTo>
                  <a:lnTo>
                    <a:pt x="34" y="239"/>
                  </a:lnTo>
                  <a:cubicBezTo>
                    <a:pt x="34" y="241"/>
                    <a:pt x="32" y="242"/>
                    <a:pt x="30" y="242"/>
                  </a:cubicBezTo>
                  <a:lnTo>
                    <a:pt x="9" y="242"/>
                  </a:lnTo>
                  <a:cubicBezTo>
                    <a:pt x="7" y="242"/>
                    <a:pt x="5" y="240"/>
                    <a:pt x="4" y="238"/>
                  </a:cubicBezTo>
                  <a:lnTo>
                    <a:pt x="0" y="221"/>
                  </a:lnTo>
                  <a:lnTo>
                    <a:pt x="34" y="146"/>
                  </a:lnTo>
                  <a:cubicBezTo>
                    <a:pt x="35" y="145"/>
                    <a:pt x="36" y="144"/>
                    <a:pt x="37" y="144"/>
                  </a:cubicBezTo>
                  <a:lnTo>
                    <a:pt x="84" y="127"/>
                  </a:lnTo>
                  <a:lnTo>
                    <a:pt x="124" y="86"/>
                  </a:lnTo>
                  <a:cubicBezTo>
                    <a:pt x="125" y="85"/>
                    <a:pt x="126" y="84"/>
                    <a:pt x="128" y="84"/>
                  </a:cubicBezTo>
                  <a:cubicBezTo>
                    <a:pt x="128" y="84"/>
                    <a:pt x="128" y="84"/>
                    <a:pt x="129" y="84"/>
                  </a:cubicBezTo>
                  <a:lnTo>
                    <a:pt x="158" y="93"/>
                  </a:lnTo>
                  <a:cubicBezTo>
                    <a:pt x="161" y="94"/>
                    <a:pt x="162" y="96"/>
                    <a:pt x="162" y="98"/>
                  </a:cubicBezTo>
                  <a:lnTo>
                    <a:pt x="158" y="141"/>
                  </a:lnTo>
                  <a:lnTo>
                    <a:pt x="187" y="128"/>
                  </a:lnTo>
                  <a:lnTo>
                    <a:pt x="195" y="104"/>
                  </a:lnTo>
                  <a:cubicBezTo>
                    <a:pt x="196" y="103"/>
                    <a:pt x="198" y="101"/>
                    <a:pt x="200" y="101"/>
                  </a:cubicBezTo>
                  <a:lnTo>
                    <a:pt x="226" y="101"/>
                  </a:lnTo>
                  <a:lnTo>
                    <a:pt x="238" y="66"/>
                  </a:lnTo>
                  <a:cubicBezTo>
                    <a:pt x="238" y="65"/>
                    <a:pt x="240" y="63"/>
                    <a:pt x="242" y="63"/>
                  </a:cubicBezTo>
                  <a:lnTo>
                    <a:pt x="296" y="59"/>
                  </a:lnTo>
                  <a:lnTo>
                    <a:pt x="292" y="5"/>
                  </a:lnTo>
                  <a:cubicBezTo>
                    <a:pt x="292" y="3"/>
                    <a:pt x="293" y="2"/>
                    <a:pt x="294" y="1"/>
                  </a:cubicBezTo>
                  <a:cubicBezTo>
                    <a:pt x="295" y="0"/>
                    <a:pt x="296" y="0"/>
                    <a:pt x="297" y="0"/>
                  </a:cubicBezTo>
                  <a:lnTo>
                    <a:pt x="314" y="0"/>
                  </a:lnTo>
                  <a:cubicBezTo>
                    <a:pt x="315" y="0"/>
                    <a:pt x="317" y="0"/>
                    <a:pt x="317" y="1"/>
                  </a:cubicBezTo>
                  <a:lnTo>
                    <a:pt x="364" y="48"/>
                  </a:lnTo>
                  <a:lnTo>
                    <a:pt x="374" y="84"/>
                  </a:lnTo>
                  <a:cubicBezTo>
                    <a:pt x="374" y="85"/>
                    <a:pt x="374" y="86"/>
                    <a:pt x="373" y="87"/>
                  </a:cubicBezTo>
                  <a:lnTo>
                    <a:pt x="366" y="97"/>
                  </a:lnTo>
                  <a:lnTo>
                    <a:pt x="373" y="108"/>
                  </a:lnTo>
                  <a:lnTo>
                    <a:pt x="395" y="189"/>
                  </a:lnTo>
                  <a:lnTo>
                    <a:pt x="369" y="285"/>
                  </a:lnTo>
                  <a:cubicBezTo>
                    <a:pt x="369" y="287"/>
                    <a:pt x="367" y="288"/>
                    <a:pt x="365" y="288"/>
                  </a:cubicBezTo>
                  <a:lnTo>
                    <a:pt x="365" y="288"/>
                  </a:lnTo>
                  <a:cubicBezTo>
                    <a:pt x="363" y="288"/>
                    <a:pt x="361" y="287"/>
                    <a:pt x="360" y="285"/>
                  </a:cubicBezTo>
                  <a:lnTo>
                    <a:pt x="337" y="212"/>
                  </a:lnTo>
                  <a:lnTo>
                    <a:pt x="305" y="245"/>
                  </a:lnTo>
                  <a:lnTo>
                    <a:pt x="302" y="261"/>
                  </a:lnTo>
                  <a:lnTo>
                    <a:pt x="326" y="302"/>
                  </a:lnTo>
                  <a:cubicBezTo>
                    <a:pt x="327" y="304"/>
                    <a:pt x="327" y="305"/>
                    <a:pt x="327" y="307"/>
                  </a:cubicBezTo>
                  <a:lnTo>
                    <a:pt x="305" y="349"/>
                  </a:lnTo>
                  <a:cubicBezTo>
                    <a:pt x="305" y="351"/>
                    <a:pt x="303" y="352"/>
                    <a:pt x="301" y="35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5" name="Freeform 520"/>
            <p:cNvSpPr>
              <a:spLocks noChangeArrowheads="1"/>
            </p:cNvSpPr>
            <p:nvPr/>
          </p:nvSpPr>
          <p:spPr bwMode="auto">
            <a:xfrm>
              <a:off x="7962900" y="3433763"/>
              <a:ext cx="26988" cy="20637"/>
            </a:xfrm>
            <a:custGeom>
              <a:avLst/>
              <a:gdLst/>
              <a:ahLst/>
              <a:cxnLst>
                <a:cxn ang="0">
                  <a:pos x="9" y="53"/>
                </a:cxn>
                <a:cxn ang="0">
                  <a:pos x="0" y="31"/>
                </a:cxn>
                <a:cxn ang="0">
                  <a:pos x="2" y="26"/>
                </a:cxn>
                <a:cxn ang="0">
                  <a:pos x="31" y="1"/>
                </a:cxn>
                <a:cxn ang="0">
                  <a:pos x="34" y="0"/>
                </a:cxn>
                <a:cxn ang="0">
                  <a:pos x="69" y="4"/>
                </a:cxn>
                <a:cxn ang="0">
                  <a:pos x="72" y="6"/>
                </a:cxn>
                <a:cxn ang="0">
                  <a:pos x="73" y="10"/>
                </a:cxn>
                <a:cxn ang="0">
                  <a:pos x="64" y="48"/>
                </a:cxn>
                <a:cxn ang="0">
                  <a:pos x="60" y="51"/>
                </a:cxn>
                <a:cxn ang="0">
                  <a:pos x="13" y="55"/>
                </a:cxn>
                <a:cxn ang="0">
                  <a:pos x="9" y="53"/>
                </a:cxn>
              </a:cxnLst>
              <a:rect l="0" t="0" r="r" b="b"/>
              <a:pathLst>
                <a:path w="74" h="56">
                  <a:moveTo>
                    <a:pt x="9" y="53"/>
                  </a:moveTo>
                  <a:lnTo>
                    <a:pt x="0" y="31"/>
                  </a:lnTo>
                  <a:cubicBezTo>
                    <a:pt x="0" y="30"/>
                    <a:pt x="0" y="27"/>
                    <a:pt x="2" y="26"/>
                  </a:cubicBezTo>
                  <a:lnTo>
                    <a:pt x="31" y="1"/>
                  </a:lnTo>
                  <a:cubicBezTo>
                    <a:pt x="32" y="0"/>
                    <a:pt x="33" y="0"/>
                    <a:pt x="34" y="0"/>
                  </a:cubicBezTo>
                  <a:lnTo>
                    <a:pt x="69" y="4"/>
                  </a:lnTo>
                  <a:cubicBezTo>
                    <a:pt x="70" y="4"/>
                    <a:pt x="71" y="5"/>
                    <a:pt x="72" y="6"/>
                  </a:cubicBezTo>
                  <a:cubicBezTo>
                    <a:pt x="73" y="7"/>
                    <a:pt x="73" y="8"/>
                    <a:pt x="73" y="10"/>
                  </a:cubicBezTo>
                  <a:lnTo>
                    <a:pt x="64" y="48"/>
                  </a:lnTo>
                  <a:cubicBezTo>
                    <a:pt x="64" y="50"/>
                    <a:pt x="62" y="51"/>
                    <a:pt x="60" y="51"/>
                  </a:cubicBezTo>
                  <a:lnTo>
                    <a:pt x="13" y="55"/>
                  </a:lnTo>
                  <a:cubicBezTo>
                    <a:pt x="11" y="55"/>
                    <a:pt x="10" y="54"/>
                    <a:pt x="9" y="5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6" name="Freeform 521"/>
            <p:cNvSpPr>
              <a:spLocks noChangeArrowheads="1"/>
            </p:cNvSpPr>
            <p:nvPr/>
          </p:nvSpPr>
          <p:spPr bwMode="auto">
            <a:xfrm>
              <a:off x="7962900" y="3433763"/>
              <a:ext cx="26988" cy="20637"/>
            </a:xfrm>
            <a:custGeom>
              <a:avLst/>
              <a:gdLst/>
              <a:ahLst/>
              <a:cxnLst>
                <a:cxn ang="0">
                  <a:pos x="13" y="55"/>
                </a:cxn>
                <a:cxn ang="0">
                  <a:pos x="9" y="53"/>
                </a:cxn>
                <a:cxn ang="0">
                  <a:pos x="0" y="31"/>
                </a:cxn>
                <a:cxn ang="0">
                  <a:pos x="2" y="26"/>
                </a:cxn>
                <a:cxn ang="0">
                  <a:pos x="31" y="1"/>
                </a:cxn>
                <a:cxn ang="0">
                  <a:pos x="34" y="0"/>
                </a:cxn>
                <a:cxn ang="0">
                  <a:pos x="69" y="4"/>
                </a:cxn>
                <a:cxn ang="0">
                  <a:pos x="72" y="6"/>
                </a:cxn>
                <a:cxn ang="0">
                  <a:pos x="73" y="10"/>
                </a:cxn>
                <a:cxn ang="0">
                  <a:pos x="64" y="48"/>
                </a:cxn>
                <a:cxn ang="0">
                  <a:pos x="60" y="51"/>
                </a:cxn>
                <a:cxn ang="0">
                  <a:pos x="13" y="55"/>
                </a:cxn>
              </a:cxnLst>
              <a:rect l="0" t="0" r="r" b="b"/>
              <a:pathLst>
                <a:path w="74" h="56">
                  <a:moveTo>
                    <a:pt x="13" y="55"/>
                  </a:moveTo>
                  <a:cubicBezTo>
                    <a:pt x="11" y="55"/>
                    <a:pt x="10" y="54"/>
                    <a:pt x="9" y="53"/>
                  </a:cubicBezTo>
                  <a:lnTo>
                    <a:pt x="0" y="31"/>
                  </a:lnTo>
                  <a:cubicBezTo>
                    <a:pt x="0" y="30"/>
                    <a:pt x="0" y="27"/>
                    <a:pt x="2" y="26"/>
                  </a:cubicBezTo>
                  <a:lnTo>
                    <a:pt x="31" y="1"/>
                  </a:lnTo>
                  <a:cubicBezTo>
                    <a:pt x="32" y="0"/>
                    <a:pt x="33" y="0"/>
                    <a:pt x="34" y="0"/>
                  </a:cubicBezTo>
                  <a:lnTo>
                    <a:pt x="69" y="4"/>
                  </a:lnTo>
                  <a:cubicBezTo>
                    <a:pt x="70" y="4"/>
                    <a:pt x="71" y="5"/>
                    <a:pt x="72" y="6"/>
                  </a:cubicBezTo>
                  <a:cubicBezTo>
                    <a:pt x="73" y="7"/>
                    <a:pt x="73" y="8"/>
                    <a:pt x="73" y="10"/>
                  </a:cubicBezTo>
                  <a:lnTo>
                    <a:pt x="64" y="48"/>
                  </a:lnTo>
                  <a:cubicBezTo>
                    <a:pt x="64" y="50"/>
                    <a:pt x="62" y="51"/>
                    <a:pt x="60" y="51"/>
                  </a:cubicBezTo>
                  <a:lnTo>
                    <a:pt x="13" y="5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7" name="Freeform 522"/>
            <p:cNvSpPr>
              <a:spLocks noChangeArrowheads="1"/>
            </p:cNvSpPr>
            <p:nvPr/>
          </p:nvSpPr>
          <p:spPr bwMode="auto">
            <a:xfrm>
              <a:off x="7948613" y="3402013"/>
              <a:ext cx="22225" cy="57150"/>
            </a:xfrm>
            <a:custGeom>
              <a:avLst/>
              <a:gdLst/>
              <a:ahLst/>
              <a:cxnLst>
                <a:cxn ang="0">
                  <a:pos x="0" y="152"/>
                </a:cxn>
                <a:cxn ang="0">
                  <a:pos x="0" y="119"/>
                </a:cxn>
                <a:cxn ang="0">
                  <a:pos x="51" y="3"/>
                </a:cxn>
                <a:cxn ang="0">
                  <a:pos x="55" y="0"/>
                </a:cxn>
                <a:cxn ang="0">
                  <a:pos x="56" y="0"/>
                </a:cxn>
                <a:cxn ang="0">
                  <a:pos x="60" y="4"/>
                </a:cxn>
                <a:cxn ang="0">
                  <a:pos x="60" y="72"/>
                </a:cxn>
                <a:cxn ang="0">
                  <a:pos x="9" y="155"/>
                </a:cxn>
                <a:cxn ang="0">
                  <a:pos x="5" y="157"/>
                </a:cxn>
                <a:cxn ang="0">
                  <a:pos x="3" y="157"/>
                </a:cxn>
                <a:cxn ang="0">
                  <a:pos x="0" y="152"/>
                </a:cxn>
              </a:cxnLst>
              <a:rect l="0" t="0" r="r" b="b"/>
              <a:pathLst>
                <a:path w="61" h="158">
                  <a:moveTo>
                    <a:pt x="0" y="152"/>
                  </a:moveTo>
                  <a:lnTo>
                    <a:pt x="0" y="119"/>
                  </a:lnTo>
                  <a:lnTo>
                    <a:pt x="51" y="3"/>
                  </a:lnTo>
                  <a:cubicBezTo>
                    <a:pt x="52" y="1"/>
                    <a:pt x="54" y="0"/>
                    <a:pt x="55" y="0"/>
                  </a:cubicBezTo>
                  <a:cubicBezTo>
                    <a:pt x="56" y="0"/>
                    <a:pt x="56" y="0"/>
                    <a:pt x="56" y="0"/>
                  </a:cubicBezTo>
                  <a:cubicBezTo>
                    <a:pt x="59" y="0"/>
                    <a:pt x="60" y="2"/>
                    <a:pt x="60" y="4"/>
                  </a:cubicBezTo>
                  <a:lnTo>
                    <a:pt x="60" y="72"/>
                  </a:lnTo>
                  <a:lnTo>
                    <a:pt x="9" y="155"/>
                  </a:lnTo>
                  <a:cubicBezTo>
                    <a:pt x="8" y="156"/>
                    <a:pt x="6" y="157"/>
                    <a:pt x="5" y="157"/>
                  </a:cubicBezTo>
                  <a:cubicBezTo>
                    <a:pt x="5" y="157"/>
                    <a:pt x="4" y="157"/>
                    <a:pt x="3" y="157"/>
                  </a:cubicBezTo>
                  <a:cubicBezTo>
                    <a:pt x="1" y="156"/>
                    <a:pt x="0" y="155"/>
                    <a:pt x="0" y="152"/>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8" name="Freeform 523"/>
            <p:cNvSpPr>
              <a:spLocks noChangeArrowheads="1"/>
            </p:cNvSpPr>
            <p:nvPr/>
          </p:nvSpPr>
          <p:spPr bwMode="auto">
            <a:xfrm>
              <a:off x="7948613" y="3402013"/>
              <a:ext cx="22225" cy="57150"/>
            </a:xfrm>
            <a:custGeom>
              <a:avLst/>
              <a:gdLst/>
              <a:ahLst/>
              <a:cxnLst>
                <a:cxn ang="0">
                  <a:pos x="3" y="157"/>
                </a:cxn>
                <a:cxn ang="0">
                  <a:pos x="0" y="152"/>
                </a:cxn>
                <a:cxn ang="0">
                  <a:pos x="0" y="119"/>
                </a:cxn>
                <a:cxn ang="0">
                  <a:pos x="51" y="3"/>
                </a:cxn>
                <a:cxn ang="0">
                  <a:pos x="55" y="0"/>
                </a:cxn>
                <a:cxn ang="0">
                  <a:pos x="56" y="0"/>
                </a:cxn>
                <a:cxn ang="0">
                  <a:pos x="60" y="4"/>
                </a:cxn>
                <a:cxn ang="0">
                  <a:pos x="60" y="72"/>
                </a:cxn>
                <a:cxn ang="0">
                  <a:pos x="9" y="155"/>
                </a:cxn>
                <a:cxn ang="0">
                  <a:pos x="5" y="157"/>
                </a:cxn>
                <a:cxn ang="0">
                  <a:pos x="3" y="157"/>
                </a:cxn>
              </a:cxnLst>
              <a:rect l="0" t="0" r="r" b="b"/>
              <a:pathLst>
                <a:path w="61" h="158">
                  <a:moveTo>
                    <a:pt x="3" y="157"/>
                  </a:moveTo>
                  <a:cubicBezTo>
                    <a:pt x="1" y="156"/>
                    <a:pt x="0" y="155"/>
                    <a:pt x="0" y="152"/>
                  </a:cubicBezTo>
                  <a:lnTo>
                    <a:pt x="0" y="119"/>
                  </a:lnTo>
                  <a:lnTo>
                    <a:pt x="51" y="3"/>
                  </a:lnTo>
                  <a:cubicBezTo>
                    <a:pt x="52" y="1"/>
                    <a:pt x="54" y="0"/>
                    <a:pt x="55" y="0"/>
                  </a:cubicBezTo>
                  <a:cubicBezTo>
                    <a:pt x="56" y="0"/>
                    <a:pt x="56" y="0"/>
                    <a:pt x="56" y="0"/>
                  </a:cubicBezTo>
                  <a:cubicBezTo>
                    <a:pt x="59" y="0"/>
                    <a:pt x="60" y="2"/>
                    <a:pt x="60" y="4"/>
                  </a:cubicBezTo>
                  <a:lnTo>
                    <a:pt x="60" y="72"/>
                  </a:lnTo>
                  <a:lnTo>
                    <a:pt x="9" y="155"/>
                  </a:lnTo>
                  <a:cubicBezTo>
                    <a:pt x="8" y="156"/>
                    <a:pt x="6" y="157"/>
                    <a:pt x="5" y="157"/>
                  </a:cubicBezTo>
                  <a:cubicBezTo>
                    <a:pt x="5" y="157"/>
                    <a:pt x="4" y="157"/>
                    <a:pt x="3" y="15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29" name="Freeform 524"/>
            <p:cNvSpPr>
              <a:spLocks noChangeArrowheads="1"/>
            </p:cNvSpPr>
            <p:nvPr/>
          </p:nvSpPr>
          <p:spPr bwMode="auto">
            <a:xfrm>
              <a:off x="8012113" y="3425825"/>
              <a:ext cx="7937" cy="20638"/>
            </a:xfrm>
            <a:custGeom>
              <a:avLst/>
              <a:gdLst/>
              <a:ahLst/>
              <a:cxnLst>
                <a:cxn ang="0">
                  <a:pos x="17" y="56"/>
                </a:cxn>
                <a:cxn ang="0">
                  <a:pos x="13" y="54"/>
                </a:cxn>
                <a:cxn ang="0">
                  <a:pos x="0" y="28"/>
                </a:cxn>
                <a:cxn ang="0">
                  <a:pos x="1" y="24"/>
                </a:cxn>
                <a:cxn ang="0">
                  <a:pos x="13" y="3"/>
                </a:cxn>
                <a:cxn ang="0">
                  <a:pos x="17" y="0"/>
                </a:cxn>
                <a:cxn ang="0">
                  <a:pos x="18" y="1"/>
                </a:cxn>
                <a:cxn ang="0">
                  <a:pos x="22" y="5"/>
                </a:cxn>
                <a:cxn ang="0">
                  <a:pos x="22" y="52"/>
                </a:cxn>
                <a:cxn ang="0">
                  <a:pos x="18" y="56"/>
                </a:cxn>
                <a:cxn ang="0">
                  <a:pos x="18" y="56"/>
                </a:cxn>
                <a:cxn ang="0">
                  <a:pos x="17" y="56"/>
                </a:cxn>
              </a:cxnLst>
              <a:rect l="0" t="0" r="r" b="b"/>
              <a:pathLst>
                <a:path w="23" h="57">
                  <a:moveTo>
                    <a:pt x="17" y="56"/>
                  </a:moveTo>
                  <a:cubicBezTo>
                    <a:pt x="16" y="56"/>
                    <a:pt x="14" y="55"/>
                    <a:pt x="13" y="54"/>
                  </a:cubicBezTo>
                  <a:lnTo>
                    <a:pt x="0" y="28"/>
                  </a:lnTo>
                  <a:cubicBezTo>
                    <a:pt x="0" y="27"/>
                    <a:pt x="0" y="25"/>
                    <a:pt x="1" y="24"/>
                  </a:cubicBezTo>
                  <a:lnTo>
                    <a:pt x="13" y="3"/>
                  </a:lnTo>
                  <a:cubicBezTo>
                    <a:pt x="14" y="1"/>
                    <a:pt x="16" y="0"/>
                    <a:pt x="17" y="0"/>
                  </a:cubicBezTo>
                  <a:cubicBezTo>
                    <a:pt x="17" y="0"/>
                    <a:pt x="18" y="0"/>
                    <a:pt x="18" y="1"/>
                  </a:cubicBezTo>
                  <a:cubicBezTo>
                    <a:pt x="21" y="1"/>
                    <a:pt x="22" y="3"/>
                    <a:pt x="22" y="5"/>
                  </a:cubicBezTo>
                  <a:lnTo>
                    <a:pt x="22" y="52"/>
                  </a:lnTo>
                  <a:cubicBezTo>
                    <a:pt x="22" y="54"/>
                    <a:pt x="21" y="56"/>
                    <a:pt x="18" y="56"/>
                  </a:cubicBezTo>
                  <a:lnTo>
                    <a:pt x="18" y="56"/>
                  </a:lnTo>
                  <a:lnTo>
                    <a:pt x="17" y="56"/>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0" name="Freeform 525"/>
            <p:cNvSpPr>
              <a:spLocks noChangeArrowheads="1"/>
            </p:cNvSpPr>
            <p:nvPr/>
          </p:nvSpPr>
          <p:spPr bwMode="auto">
            <a:xfrm>
              <a:off x="8012113" y="3425825"/>
              <a:ext cx="7937" cy="20638"/>
            </a:xfrm>
            <a:custGeom>
              <a:avLst/>
              <a:gdLst/>
              <a:ahLst/>
              <a:cxnLst>
                <a:cxn ang="0">
                  <a:pos x="17" y="56"/>
                </a:cxn>
                <a:cxn ang="0">
                  <a:pos x="13" y="54"/>
                </a:cxn>
                <a:cxn ang="0">
                  <a:pos x="0" y="28"/>
                </a:cxn>
                <a:cxn ang="0">
                  <a:pos x="1" y="24"/>
                </a:cxn>
                <a:cxn ang="0">
                  <a:pos x="13" y="3"/>
                </a:cxn>
                <a:cxn ang="0">
                  <a:pos x="17" y="0"/>
                </a:cxn>
                <a:cxn ang="0">
                  <a:pos x="18" y="1"/>
                </a:cxn>
                <a:cxn ang="0">
                  <a:pos x="22" y="5"/>
                </a:cxn>
                <a:cxn ang="0">
                  <a:pos x="22" y="52"/>
                </a:cxn>
                <a:cxn ang="0">
                  <a:pos x="18" y="56"/>
                </a:cxn>
                <a:cxn ang="0">
                  <a:pos x="18" y="56"/>
                </a:cxn>
              </a:cxnLst>
              <a:rect l="0" t="0" r="r" b="b"/>
              <a:pathLst>
                <a:path w="23" h="57">
                  <a:moveTo>
                    <a:pt x="17" y="56"/>
                  </a:moveTo>
                  <a:cubicBezTo>
                    <a:pt x="16" y="56"/>
                    <a:pt x="14" y="55"/>
                    <a:pt x="13" y="54"/>
                  </a:cubicBezTo>
                  <a:lnTo>
                    <a:pt x="0" y="28"/>
                  </a:lnTo>
                  <a:cubicBezTo>
                    <a:pt x="0" y="27"/>
                    <a:pt x="0" y="25"/>
                    <a:pt x="1" y="24"/>
                  </a:cubicBezTo>
                  <a:lnTo>
                    <a:pt x="13" y="3"/>
                  </a:lnTo>
                  <a:cubicBezTo>
                    <a:pt x="14" y="1"/>
                    <a:pt x="16" y="0"/>
                    <a:pt x="17" y="0"/>
                  </a:cubicBezTo>
                  <a:cubicBezTo>
                    <a:pt x="17" y="0"/>
                    <a:pt x="18" y="0"/>
                    <a:pt x="18" y="1"/>
                  </a:cubicBezTo>
                  <a:cubicBezTo>
                    <a:pt x="21" y="1"/>
                    <a:pt x="22" y="3"/>
                    <a:pt x="22" y="5"/>
                  </a:cubicBezTo>
                  <a:lnTo>
                    <a:pt x="22" y="52"/>
                  </a:lnTo>
                  <a:cubicBezTo>
                    <a:pt x="22" y="54"/>
                    <a:pt x="21" y="56"/>
                    <a:pt x="18" y="56"/>
                  </a:cubicBezTo>
                  <a:lnTo>
                    <a:pt x="18" y="56"/>
                  </a:lnTo>
                </a:path>
              </a:pathLst>
            </a:custGeom>
            <a:noFill/>
            <a:ln w="3600" cap="rnd">
              <a:solidFill>
                <a:srgbClr val="FFFFFF"/>
              </a:solidFill>
              <a:round/>
              <a:headEnd/>
              <a:tailEnd/>
            </a:ln>
            <a:effectLst/>
          </p:spPr>
          <p:txBody>
            <a:bodyPr>
              <a:prstTxWarp prst="textNoShape">
                <a:avLst/>
              </a:prstTxWarp>
            </a:bodyPr>
            <a:lstStyle/>
            <a:p>
              <a:pPr>
                <a:buNone/>
              </a:pPr>
              <a:endParaRPr lang="en-US" dirty="0">
                <a:latin typeface="Arial" pitchFamily="34" charset="0"/>
                <a:cs typeface="Arial" pitchFamily="34" charset="0"/>
              </a:endParaRPr>
            </a:p>
          </p:txBody>
        </p:sp>
        <p:sp>
          <p:nvSpPr>
            <p:cNvPr id="531" name="Freeform 526"/>
            <p:cNvSpPr>
              <a:spLocks noChangeArrowheads="1"/>
            </p:cNvSpPr>
            <p:nvPr/>
          </p:nvSpPr>
          <p:spPr bwMode="auto">
            <a:xfrm>
              <a:off x="7977188" y="3394075"/>
              <a:ext cx="30162" cy="47625"/>
            </a:xfrm>
            <a:custGeom>
              <a:avLst/>
              <a:gdLst/>
              <a:ahLst/>
              <a:cxnLst>
                <a:cxn ang="0">
                  <a:pos x="56" y="132"/>
                </a:cxn>
                <a:cxn ang="0">
                  <a:pos x="52" y="130"/>
                </a:cxn>
                <a:cxn ang="0">
                  <a:pos x="35" y="109"/>
                </a:cxn>
                <a:cxn ang="0">
                  <a:pos x="27" y="57"/>
                </a:cxn>
                <a:cxn ang="0">
                  <a:pos x="15" y="60"/>
                </a:cxn>
                <a:cxn ang="0">
                  <a:pos x="14" y="60"/>
                </a:cxn>
                <a:cxn ang="0">
                  <a:pos x="11" y="59"/>
                </a:cxn>
                <a:cxn ang="0">
                  <a:pos x="9" y="56"/>
                </a:cxn>
                <a:cxn ang="0">
                  <a:pos x="1" y="5"/>
                </a:cxn>
                <a:cxn ang="0">
                  <a:pos x="2" y="0"/>
                </a:cxn>
                <a:cxn ang="0">
                  <a:pos x="5" y="0"/>
                </a:cxn>
                <a:cxn ang="0">
                  <a:pos x="7" y="0"/>
                </a:cxn>
                <a:cxn ang="0">
                  <a:pos x="58" y="25"/>
                </a:cxn>
                <a:cxn ang="0">
                  <a:pos x="61" y="29"/>
                </a:cxn>
                <a:cxn ang="0">
                  <a:pos x="82" y="109"/>
                </a:cxn>
                <a:cxn ang="0">
                  <a:pos x="81" y="113"/>
                </a:cxn>
                <a:cxn ang="0">
                  <a:pos x="77" y="115"/>
                </a:cxn>
                <a:cxn ang="0">
                  <a:pos x="64" y="115"/>
                </a:cxn>
                <a:cxn ang="0">
                  <a:pos x="61" y="128"/>
                </a:cxn>
                <a:cxn ang="0">
                  <a:pos x="57" y="132"/>
                </a:cxn>
                <a:cxn ang="0">
                  <a:pos x="56" y="132"/>
                </a:cxn>
              </a:cxnLst>
              <a:rect l="0" t="0" r="r" b="b"/>
              <a:pathLst>
                <a:path w="83" h="133">
                  <a:moveTo>
                    <a:pt x="56" y="132"/>
                  </a:moveTo>
                  <a:cubicBezTo>
                    <a:pt x="55" y="132"/>
                    <a:pt x="53" y="131"/>
                    <a:pt x="52" y="130"/>
                  </a:cubicBezTo>
                  <a:lnTo>
                    <a:pt x="35" y="109"/>
                  </a:lnTo>
                  <a:lnTo>
                    <a:pt x="27" y="57"/>
                  </a:lnTo>
                  <a:lnTo>
                    <a:pt x="15" y="60"/>
                  </a:lnTo>
                  <a:cubicBezTo>
                    <a:pt x="14" y="60"/>
                    <a:pt x="14" y="60"/>
                    <a:pt x="14" y="60"/>
                  </a:cubicBezTo>
                  <a:cubicBezTo>
                    <a:pt x="13" y="60"/>
                    <a:pt x="12" y="60"/>
                    <a:pt x="11" y="59"/>
                  </a:cubicBezTo>
                  <a:cubicBezTo>
                    <a:pt x="10" y="58"/>
                    <a:pt x="9" y="57"/>
                    <a:pt x="9" y="56"/>
                  </a:cubicBezTo>
                  <a:lnTo>
                    <a:pt x="1" y="5"/>
                  </a:lnTo>
                  <a:cubicBezTo>
                    <a:pt x="0" y="3"/>
                    <a:pt x="1" y="1"/>
                    <a:pt x="2" y="0"/>
                  </a:cubicBezTo>
                  <a:cubicBezTo>
                    <a:pt x="3" y="0"/>
                    <a:pt x="4" y="0"/>
                    <a:pt x="5" y="0"/>
                  </a:cubicBezTo>
                  <a:cubicBezTo>
                    <a:pt x="6" y="0"/>
                    <a:pt x="7" y="0"/>
                    <a:pt x="7" y="0"/>
                  </a:cubicBezTo>
                  <a:lnTo>
                    <a:pt x="58" y="25"/>
                  </a:lnTo>
                  <a:cubicBezTo>
                    <a:pt x="59" y="26"/>
                    <a:pt x="60" y="27"/>
                    <a:pt x="61" y="29"/>
                  </a:cubicBezTo>
                  <a:lnTo>
                    <a:pt x="82" y="109"/>
                  </a:lnTo>
                  <a:cubicBezTo>
                    <a:pt x="82" y="110"/>
                    <a:pt x="82" y="112"/>
                    <a:pt x="81" y="113"/>
                  </a:cubicBezTo>
                  <a:cubicBezTo>
                    <a:pt x="80" y="114"/>
                    <a:pt x="79" y="115"/>
                    <a:pt x="77" y="115"/>
                  </a:cubicBezTo>
                  <a:lnTo>
                    <a:pt x="64" y="115"/>
                  </a:lnTo>
                  <a:lnTo>
                    <a:pt x="61" y="128"/>
                  </a:lnTo>
                  <a:cubicBezTo>
                    <a:pt x="60" y="130"/>
                    <a:pt x="59" y="131"/>
                    <a:pt x="57" y="132"/>
                  </a:cubicBezTo>
                  <a:lnTo>
                    <a:pt x="56" y="132"/>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2" name="Freeform 527"/>
            <p:cNvSpPr>
              <a:spLocks noChangeArrowheads="1"/>
            </p:cNvSpPr>
            <p:nvPr/>
          </p:nvSpPr>
          <p:spPr bwMode="auto">
            <a:xfrm>
              <a:off x="7977188" y="3394075"/>
              <a:ext cx="30162" cy="47625"/>
            </a:xfrm>
            <a:custGeom>
              <a:avLst/>
              <a:gdLst/>
              <a:ahLst/>
              <a:cxnLst>
                <a:cxn ang="0">
                  <a:pos x="56" y="132"/>
                </a:cxn>
                <a:cxn ang="0">
                  <a:pos x="52" y="130"/>
                </a:cxn>
                <a:cxn ang="0">
                  <a:pos x="35" y="109"/>
                </a:cxn>
                <a:cxn ang="0">
                  <a:pos x="27" y="57"/>
                </a:cxn>
                <a:cxn ang="0">
                  <a:pos x="15" y="60"/>
                </a:cxn>
                <a:cxn ang="0">
                  <a:pos x="14" y="60"/>
                </a:cxn>
                <a:cxn ang="0">
                  <a:pos x="11" y="59"/>
                </a:cxn>
                <a:cxn ang="0">
                  <a:pos x="9" y="56"/>
                </a:cxn>
                <a:cxn ang="0">
                  <a:pos x="1" y="5"/>
                </a:cxn>
                <a:cxn ang="0">
                  <a:pos x="2" y="0"/>
                </a:cxn>
                <a:cxn ang="0">
                  <a:pos x="5" y="0"/>
                </a:cxn>
                <a:cxn ang="0">
                  <a:pos x="7" y="0"/>
                </a:cxn>
                <a:cxn ang="0">
                  <a:pos x="58" y="25"/>
                </a:cxn>
                <a:cxn ang="0">
                  <a:pos x="61" y="29"/>
                </a:cxn>
                <a:cxn ang="0">
                  <a:pos x="82" y="109"/>
                </a:cxn>
                <a:cxn ang="0">
                  <a:pos x="81" y="113"/>
                </a:cxn>
                <a:cxn ang="0">
                  <a:pos x="77" y="115"/>
                </a:cxn>
                <a:cxn ang="0">
                  <a:pos x="64" y="115"/>
                </a:cxn>
                <a:cxn ang="0">
                  <a:pos x="61" y="128"/>
                </a:cxn>
                <a:cxn ang="0">
                  <a:pos x="57" y="132"/>
                </a:cxn>
                <a:cxn ang="0">
                  <a:pos x="56" y="132"/>
                </a:cxn>
              </a:cxnLst>
              <a:rect l="0" t="0" r="r" b="b"/>
              <a:pathLst>
                <a:path w="83" h="133">
                  <a:moveTo>
                    <a:pt x="56" y="132"/>
                  </a:moveTo>
                  <a:cubicBezTo>
                    <a:pt x="55" y="132"/>
                    <a:pt x="53" y="131"/>
                    <a:pt x="52" y="130"/>
                  </a:cubicBezTo>
                  <a:lnTo>
                    <a:pt x="35" y="109"/>
                  </a:lnTo>
                  <a:lnTo>
                    <a:pt x="27" y="57"/>
                  </a:lnTo>
                  <a:lnTo>
                    <a:pt x="15" y="60"/>
                  </a:lnTo>
                  <a:cubicBezTo>
                    <a:pt x="14" y="60"/>
                    <a:pt x="14" y="60"/>
                    <a:pt x="14" y="60"/>
                  </a:cubicBezTo>
                  <a:cubicBezTo>
                    <a:pt x="13" y="60"/>
                    <a:pt x="12" y="60"/>
                    <a:pt x="11" y="59"/>
                  </a:cubicBezTo>
                  <a:cubicBezTo>
                    <a:pt x="10" y="58"/>
                    <a:pt x="9" y="57"/>
                    <a:pt x="9" y="56"/>
                  </a:cubicBezTo>
                  <a:lnTo>
                    <a:pt x="1" y="5"/>
                  </a:lnTo>
                  <a:cubicBezTo>
                    <a:pt x="0" y="3"/>
                    <a:pt x="1" y="1"/>
                    <a:pt x="2" y="0"/>
                  </a:cubicBezTo>
                  <a:cubicBezTo>
                    <a:pt x="3" y="0"/>
                    <a:pt x="4" y="0"/>
                    <a:pt x="5" y="0"/>
                  </a:cubicBezTo>
                  <a:cubicBezTo>
                    <a:pt x="6" y="0"/>
                    <a:pt x="7" y="0"/>
                    <a:pt x="7" y="0"/>
                  </a:cubicBezTo>
                  <a:lnTo>
                    <a:pt x="58" y="25"/>
                  </a:lnTo>
                  <a:cubicBezTo>
                    <a:pt x="59" y="26"/>
                    <a:pt x="60" y="27"/>
                    <a:pt x="61" y="29"/>
                  </a:cubicBezTo>
                  <a:lnTo>
                    <a:pt x="82" y="109"/>
                  </a:lnTo>
                  <a:cubicBezTo>
                    <a:pt x="82" y="110"/>
                    <a:pt x="82" y="112"/>
                    <a:pt x="81" y="113"/>
                  </a:cubicBezTo>
                  <a:cubicBezTo>
                    <a:pt x="80" y="114"/>
                    <a:pt x="79" y="115"/>
                    <a:pt x="77" y="115"/>
                  </a:cubicBezTo>
                  <a:lnTo>
                    <a:pt x="64" y="115"/>
                  </a:lnTo>
                  <a:lnTo>
                    <a:pt x="61" y="128"/>
                  </a:lnTo>
                  <a:cubicBezTo>
                    <a:pt x="60" y="130"/>
                    <a:pt x="59" y="131"/>
                    <a:pt x="57" y="132"/>
                  </a:cubicBezTo>
                  <a:lnTo>
                    <a:pt x="56" y="13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3" name="Freeform 528"/>
            <p:cNvSpPr>
              <a:spLocks noChangeArrowheads="1"/>
            </p:cNvSpPr>
            <p:nvPr/>
          </p:nvSpPr>
          <p:spPr bwMode="auto">
            <a:xfrm>
              <a:off x="7920038" y="3408363"/>
              <a:ext cx="36512" cy="63500"/>
            </a:xfrm>
            <a:custGeom>
              <a:avLst/>
              <a:gdLst/>
              <a:ahLst/>
              <a:cxnLst>
                <a:cxn ang="0">
                  <a:pos x="60" y="174"/>
                </a:cxn>
                <a:cxn ang="0">
                  <a:pos x="57" y="173"/>
                </a:cxn>
                <a:cxn ang="0">
                  <a:pos x="2" y="113"/>
                </a:cxn>
                <a:cxn ang="0">
                  <a:pos x="1" y="109"/>
                </a:cxn>
                <a:cxn ang="0">
                  <a:pos x="5" y="88"/>
                </a:cxn>
                <a:cxn ang="0">
                  <a:pos x="8" y="85"/>
                </a:cxn>
                <a:cxn ang="0">
                  <a:pos x="27" y="81"/>
                </a:cxn>
                <a:cxn ang="0">
                  <a:pos x="43" y="12"/>
                </a:cxn>
                <a:cxn ang="0">
                  <a:pos x="45" y="9"/>
                </a:cxn>
                <a:cxn ang="0">
                  <a:pos x="62" y="0"/>
                </a:cxn>
                <a:cxn ang="0">
                  <a:pos x="64" y="0"/>
                </a:cxn>
                <a:cxn ang="0">
                  <a:pos x="66" y="0"/>
                </a:cxn>
                <a:cxn ang="0">
                  <a:pos x="95" y="8"/>
                </a:cxn>
                <a:cxn ang="0">
                  <a:pos x="99" y="13"/>
                </a:cxn>
                <a:cxn ang="0">
                  <a:pos x="99" y="26"/>
                </a:cxn>
                <a:cxn ang="0">
                  <a:pos x="73" y="99"/>
                </a:cxn>
                <a:cxn ang="0">
                  <a:pos x="73" y="157"/>
                </a:cxn>
                <a:cxn ang="0">
                  <a:pos x="64" y="172"/>
                </a:cxn>
                <a:cxn ang="0">
                  <a:pos x="61" y="174"/>
                </a:cxn>
                <a:cxn ang="0">
                  <a:pos x="60" y="174"/>
                </a:cxn>
              </a:cxnLst>
              <a:rect l="0" t="0" r="r" b="b"/>
              <a:pathLst>
                <a:path w="100" h="175">
                  <a:moveTo>
                    <a:pt x="60" y="174"/>
                  </a:moveTo>
                  <a:cubicBezTo>
                    <a:pt x="59" y="174"/>
                    <a:pt x="58" y="174"/>
                    <a:pt x="57" y="173"/>
                  </a:cubicBezTo>
                  <a:lnTo>
                    <a:pt x="2" y="113"/>
                  </a:lnTo>
                  <a:cubicBezTo>
                    <a:pt x="1" y="112"/>
                    <a:pt x="0" y="111"/>
                    <a:pt x="1" y="109"/>
                  </a:cubicBezTo>
                  <a:lnTo>
                    <a:pt x="5" y="88"/>
                  </a:lnTo>
                  <a:cubicBezTo>
                    <a:pt x="5" y="86"/>
                    <a:pt x="7" y="85"/>
                    <a:pt x="8" y="85"/>
                  </a:cubicBezTo>
                  <a:lnTo>
                    <a:pt x="27" y="81"/>
                  </a:lnTo>
                  <a:lnTo>
                    <a:pt x="43" y="12"/>
                  </a:lnTo>
                  <a:cubicBezTo>
                    <a:pt x="43" y="11"/>
                    <a:pt x="44" y="9"/>
                    <a:pt x="45" y="9"/>
                  </a:cubicBezTo>
                  <a:lnTo>
                    <a:pt x="62" y="0"/>
                  </a:lnTo>
                  <a:cubicBezTo>
                    <a:pt x="63" y="0"/>
                    <a:pt x="64" y="0"/>
                    <a:pt x="64" y="0"/>
                  </a:cubicBezTo>
                  <a:cubicBezTo>
                    <a:pt x="65" y="0"/>
                    <a:pt x="65" y="0"/>
                    <a:pt x="66" y="0"/>
                  </a:cubicBezTo>
                  <a:lnTo>
                    <a:pt x="95" y="8"/>
                  </a:lnTo>
                  <a:cubicBezTo>
                    <a:pt x="97" y="9"/>
                    <a:pt x="99" y="11"/>
                    <a:pt x="99" y="13"/>
                  </a:cubicBezTo>
                  <a:lnTo>
                    <a:pt x="99" y="26"/>
                  </a:lnTo>
                  <a:lnTo>
                    <a:pt x="73" y="99"/>
                  </a:lnTo>
                  <a:lnTo>
                    <a:pt x="73" y="157"/>
                  </a:lnTo>
                  <a:lnTo>
                    <a:pt x="64" y="172"/>
                  </a:lnTo>
                  <a:cubicBezTo>
                    <a:pt x="63" y="173"/>
                    <a:pt x="62" y="174"/>
                    <a:pt x="61" y="174"/>
                  </a:cubicBezTo>
                  <a:lnTo>
                    <a:pt x="60" y="174"/>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4" name="Freeform 529"/>
            <p:cNvSpPr>
              <a:spLocks noChangeArrowheads="1"/>
            </p:cNvSpPr>
            <p:nvPr/>
          </p:nvSpPr>
          <p:spPr bwMode="auto">
            <a:xfrm>
              <a:off x="7920038" y="3408363"/>
              <a:ext cx="36512" cy="63500"/>
            </a:xfrm>
            <a:custGeom>
              <a:avLst/>
              <a:gdLst/>
              <a:ahLst/>
              <a:cxnLst>
                <a:cxn ang="0">
                  <a:pos x="60" y="174"/>
                </a:cxn>
                <a:cxn ang="0">
                  <a:pos x="57" y="173"/>
                </a:cxn>
                <a:cxn ang="0">
                  <a:pos x="2" y="113"/>
                </a:cxn>
                <a:cxn ang="0">
                  <a:pos x="1" y="109"/>
                </a:cxn>
                <a:cxn ang="0">
                  <a:pos x="5" y="88"/>
                </a:cxn>
                <a:cxn ang="0">
                  <a:pos x="8" y="85"/>
                </a:cxn>
                <a:cxn ang="0">
                  <a:pos x="27" y="81"/>
                </a:cxn>
                <a:cxn ang="0">
                  <a:pos x="43" y="12"/>
                </a:cxn>
                <a:cxn ang="0">
                  <a:pos x="45" y="9"/>
                </a:cxn>
                <a:cxn ang="0">
                  <a:pos x="62" y="0"/>
                </a:cxn>
                <a:cxn ang="0">
                  <a:pos x="64" y="0"/>
                </a:cxn>
                <a:cxn ang="0">
                  <a:pos x="66" y="0"/>
                </a:cxn>
                <a:cxn ang="0">
                  <a:pos x="95" y="8"/>
                </a:cxn>
                <a:cxn ang="0">
                  <a:pos x="99" y="13"/>
                </a:cxn>
                <a:cxn ang="0">
                  <a:pos x="99" y="26"/>
                </a:cxn>
                <a:cxn ang="0">
                  <a:pos x="73" y="99"/>
                </a:cxn>
                <a:cxn ang="0">
                  <a:pos x="73" y="157"/>
                </a:cxn>
                <a:cxn ang="0">
                  <a:pos x="64" y="172"/>
                </a:cxn>
                <a:cxn ang="0">
                  <a:pos x="61" y="174"/>
                </a:cxn>
                <a:cxn ang="0">
                  <a:pos x="60" y="174"/>
                </a:cxn>
              </a:cxnLst>
              <a:rect l="0" t="0" r="r" b="b"/>
              <a:pathLst>
                <a:path w="100" h="175">
                  <a:moveTo>
                    <a:pt x="60" y="174"/>
                  </a:moveTo>
                  <a:cubicBezTo>
                    <a:pt x="59" y="174"/>
                    <a:pt x="58" y="174"/>
                    <a:pt x="57" y="173"/>
                  </a:cubicBezTo>
                  <a:lnTo>
                    <a:pt x="2" y="113"/>
                  </a:lnTo>
                  <a:cubicBezTo>
                    <a:pt x="1" y="112"/>
                    <a:pt x="0" y="111"/>
                    <a:pt x="1" y="109"/>
                  </a:cubicBezTo>
                  <a:lnTo>
                    <a:pt x="5" y="88"/>
                  </a:lnTo>
                  <a:cubicBezTo>
                    <a:pt x="5" y="86"/>
                    <a:pt x="7" y="85"/>
                    <a:pt x="8" y="85"/>
                  </a:cubicBezTo>
                  <a:lnTo>
                    <a:pt x="27" y="81"/>
                  </a:lnTo>
                  <a:lnTo>
                    <a:pt x="43" y="12"/>
                  </a:lnTo>
                  <a:cubicBezTo>
                    <a:pt x="43" y="11"/>
                    <a:pt x="44" y="9"/>
                    <a:pt x="45" y="9"/>
                  </a:cubicBezTo>
                  <a:lnTo>
                    <a:pt x="62" y="0"/>
                  </a:lnTo>
                  <a:cubicBezTo>
                    <a:pt x="63" y="0"/>
                    <a:pt x="64" y="0"/>
                    <a:pt x="64" y="0"/>
                  </a:cubicBezTo>
                  <a:cubicBezTo>
                    <a:pt x="65" y="0"/>
                    <a:pt x="65" y="0"/>
                    <a:pt x="66" y="0"/>
                  </a:cubicBezTo>
                  <a:lnTo>
                    <a:pt x="95" y="8"/>
                  </a:lnTo>
                  <a:cubicBezTo>
                    <a:pt x="97" y="9"/>
                    <a:pt x="99" y="11"/>
                    <a:pt x="99" y="13"/>
                  </a:cubicBezTo>
                  <a:lnTo>
                    <a:pt x="99" y="26"/>
                  </a:lnTo>
                  <a:lnTo>
                    <a:pt x="73" y="99"/>
                  </a:lnTo>
                  <a:lnTo>
                    <a:pt x="73" y="157"/>
                  </a:lnTo>
                  <a:lnTo>
                    <a:pt x="64" y="172"/>
                  </a:lnTo>
                  <a:cubicBezTo>
                    <a:pt x="63" y="173"/>
                    <a:pt x="62" y="174"/>
                    <a:pt x="61" y="174"/>
                  </a:cubicBezTo>
                  <a:lnTo>
                    <a:pt x="60" y="17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5" name="Freeform 530"/>
            <p:cNvSpPr>
              <a:spLocks noChangeArrowheads="1"/>
            </p:cNvSpPr>
            <p:nvPr/>
          </p:nvSpPr>
          <p:spPr bwMode="auto">
            <a:xfrm>
              <a:off x="7904163" y="3381375"/>
              <a:ext cx="38100" cy="47625"/>
            </a:xfrm>
            <a:custGeom>
              <a:avLst/>
              <a:gdLst/>
              <a:ahLst/>
              <a:cxnLst>
                <a:cxn ang="0">
                  <a:pos x="7" y="131"/>
                </a:cxn>
                <a:cxn ang="0">
                  <a:pos x="4" y="127"/>
                </a:cxn>
                <a:cxn ang="0">
                  <a:pos x="0" y="5"/>
                </a:cxn>
                <a:cxn ang="0">
                  <a:pos x="2" y="1"/>
                </a:cxn>
                <a:cxn ang="0">
                  <a:pos x="5" y="0"/>
                </a:cxn>
                <a:cxn ang="0">
                  <a:pos x="7" y="0"/>
                </a:cxn>
                <a:cxn ang="0">
                  <a:pos x="49" y="21"/>
                </a:cxn>
                <a:cxn ang="0">
                  <a:pos x="103" y="29"/>
                </a:cxn>
                <a:cxn ang="0">
                  <a:pos x="106" y="31"/>
                </a:cxn>
                <a:cxn ang="0">
                  <a:pos x="107" y="35"/>
                </a:cxn>
                <a:cxn ang="0">
                  <a:pos x="98" y="69"/>
                </a:cxn>
                <a:cxn ang="0">
                  <a:pos x="96" y="72"/>
                </a:cxn>
                <a:cxn ang="0">
                  <a:pos x="12" y="131"/>
                </a:cxn>
                <a:cxn ang="0">
                  <a:pos x="9" y="132"/>
                </a:cxn>
                <a:cxn ang="0">
                  <a:pos x="7" y="131"/>
                </a:cxn>
              </a:cxnLst>
              <a:rect l="0" t="0" r="r" b="b"/>
              <a:pathLst>
                <a:path w="108" h="133">
                  <a:moveTo>
                    <a:pt x="7" y="131"/>
                  </a:moveTo>
                  <a:cubicBezTo>
                    <a:pt x="5" y="130"/>
                    <a:pt x="4" y="129"/>
                    <a:pt x="4" y="127"/>
                  </a:cubicBezTo>
                  <a:lnTo>
                    <a:pt x="0" y="5"/>
                  </a:lnTo>
                  <a:cubicBezTo>
                    <a:pt x="0" y="3"/>
                    <a:pt x="1" y="1"/>
                    <a:pt x="2" y="1"/>
                  </a:cubicBezTo>
                  <a:cubicBezTo>
                    <a:pt x="3" y="0"/>
                    <a:pt x="4" y="0"/>
                    <a:pt x="5" y="0"/>
                  </a:cubicBezTo>
                  <a:cubicBezTo>
                    <a:pt x="6" y="0"/>
                    <a:pt x="6" y="0"/>
                    <a:pt x="7" y="0"/>
                  </a:cubicBezTo>
                  <a:lnTo>
                    <a:pt x="49" y="21"/>
                  </a:lnTo>
                  <a:lnTo>
                    <a:pt x="103" y="29"/>
                  </a:lnTo>
                  <a:cubicBezTo>
                    <a:pt x="104" y="30"/>
                    <a:pt x="105" y="30"/>
                    <a:pt x="106" y="31"/>
                  </a:cubicBezTo>
                  <a:cubicBezTo>
                    <a:pt x="107" y="33"/>
                    <a:pt x="107" y="34"/>
                    <a:pt x="107" y="35"/>
                  </a:cubicBezTo>
                  <a:lnTo>
                    <a:pt x="98" y="69"/>
                  </a:lnTo>
                  <a:cubicBezTo>
                    <a:pt x="98" y="70"/>
                    <a:pt x="97" y="71"/>
                    <a:pt x="96" y="72"/>
                  </a:cubicBezTo>
                  <a:lnTo>
                    <a:pt x="12" y="131"/>
                  </a:lnTo>
                  <a:cubicBezTo>
                    <a:pt x="11" y="131"/>
                    <a:pt x="10" y="132"/>
                    <a:pt x="9" y="132"/>
                  </a:cubicBezTo>
                  <a:cubicBezTo>
                    <a:pt x="8" y="132"/>
                    <a:pt x="7" y="132"/>
                    <a:pt x="7" y="131"/>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6" name="Freeform 531"/>
            <p:cNvSpPr>
              <a:spLocks noChangeArrowheads="1"/>
            </p:cNvSpPr>
            <p:nvPr/>
          </p:nvSpPr>
          <p:spPr bwMode="auto">
            <a:xfrm>
              <a:off x="7904163" y="3381375"/>
              <a:ext cx="38100" cy="47625"/>
            </a:xfrm>
            <a:custGeom>
              <a:avLst/>
              <a:gdLst/>
              <a:ahLst/>
              <a:cxnLst>
                <a:cxn ang="0">
                  <a:pos x="9" y="132"/>
                </a:cxn>
                <a:cxn ang="0">
                  <a:pos x="7" y="131"/>
                </a:cxn>
                <a:cxn ang="0">
                  <a:pos x="4" y="127"/>
                </a:cxn>
                <a:cxn ang="0">
                  <a:pos x="0" y="5"/>
                </a:cxn>
                <a:cxn ang="0">
                  <a:pos x="2" y="1"/>
                </a:cxn>
                <a:cxn ang="0">
                  <a:pos x="5" y="0"/>
                </a:cxn>
                <a:cxn ang="0">
                  <a:pos x="7" y="0"/>
                </a:cxn>
                <a:cxn ang="0">
                  <a:pos x="49" y="21"/>
                </a:cxn>
                <a:cxn ang="0">
                  <a:pos x="103" y="29"/>
                </a:cxn>
                <a:cxn ang="0">
                  <a:pos x="106" y="31"/>
                </a:cxn>
                <a:cxn ang="0">
                  <a:pos x="107" y="35"/>
                </a:cxn>
                <a:cxn ang="0">
                  <a:pos x="98" y="69"/>
                </a:cxn>
                <a:cxn ang="0">
                  <a:pos x="96" y="72"/>
                </a:cxn>
                <a:cxn ang="0">
                  <a:pos x="12" y="131"/>
                </a:cxn>
                <a:cxn ang="0">
                  <a:pos x="9" y="132"/>
                </a:cxn>
              </a:cxnLst>
              <a:rect l="0" t="0" r="r" b="b"/>
              <a:pathLst>
                <a:path w="108" h="133">
                  <a:moveTo>
                    <a:pt x="9" y="132"/>
                  </a:moveTo>
                  <a:cubicBezTo>
                    <a:pt x="8" y="132"/>
                    <a:pt x="7" y="132"/>
                    <a:pt x="7" y="131"/>
                  </a:cubicBezTo>
                  <a:cubicBezTo>
                    <a:pt x="5" y="130"/>
                    <a:pt x="4" y="129"/>
                    <a:pt x="4" y="127"/>
                  </a:cubicBezTo>
                  <a:lnTo>
                    <a:pt x="0" y="5"/>
                  </a:lnTo>
                  <a:cubicBezTo>
                    <a:pt x="0" y="3"/>
                    <a:pt x="1" y="1"/>
                    <a:pt x="2" y="1"/>
                  </a:cubicBezTo>
                  <a:cubicBezTo>
                    <a:pt x="3" y="0"/>
                    <a:pt x="4" y="0"/>
                    <a:pt x="5" y="0"/>
                  </a:cubicBezTo>
                  <a:cubicBezTo>
                    <a:pt x="6" y="0"/>
                    <a:pt x="6" y="0"/>
                    <a:pt x="7" y="0"/>
                  </a:cubicBezTo>
                  <a:lnTo>
                    <a:pt x="49" y="21"/>
                  </a:lnTo>
                  <a:lnTo>
                    <a:pt x="103" y="29"/>
                  </a:lnTo>
                  <a:cubicBezTo>
                    <a:pt x="104" y="30"/>
                    <a:pt x="105" y="30"/>
                    <a:pt x="106" y="31"/>
                  </a:cubicBezTo>
                  <a:cubicBezTo>
                    <a:pt x="107" y="33"/>
                    <a:pt x="107" y="34"/>
                    <a:pt x="107" y="35"/>
                  </a:cubicBezTo>
                  <a:lnTo>
                    <a:pt x="98" y="69"/>
                  </a:lnTo>
                  <a:cubicBezTo>
                    <a:pt x="98" y="70"/>
                    <a:pt x="97" y="71"/>
                    <a:pt x="96" y="72"/>
                  </a:cubicBezTo>
                  <a:lnTo>
                    <a:pt x="12" y="131"/>
                  </a:lnTo>
                  <a:cubicBezTo>
                    <a:pt x="11" y="131"/>
                    <a:pt x="10" y="132"/>
                    <a:pt x="9" y="13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7" name="Freeform 532"/>
            <p:cNvSpPr>
              <a:spLocks noChangeArrowheads="1"/>
            </p:cNvSpPr>
            <p:nvPr/>
          </p:nvSpPr>
          <p:spPr bwMode="auto">
            <a:xfrm>
              <a:off x="7977188" y="3362325"/>
              <a:ext cx="46037" cy="49213"/>
            </a:xfrm>
            <a:custGeom>
              <a:avLst/>
              <a:gdLst/>
              <a:ahLst/>
              <a:cxnLst>
                <a:cxn ang="0">
                  <a:pos x="76" y="127"/>
                </a:cxn>
                <a:cxn ang="0">
                  <a:pos x="73" y="125"/>
                </a:cxn>
                <a:cxn ang="0">
                  <a:pos x="1" y="7"/>
                </a:cxn>
                <a:cxn ang="0">
                  <a:pos x="1" y="2"/>
                </a:cxn>
                <a:cxn ang="0">
                  <a:pos x="5" y="0"/>
                </a:cxn>
                <a:cxn ang="0">
                  <a:pos x="77" y="4"/>
                </a:cxn>
                <a:cxn ang="0">
                  <a:pos x="81" y="5"/>
                </a:cxn>
                <a:cxn ang="0">
                  <a:pos x="102" y="26"/>
                </a:cxn>
                <a:cxn ang="0">
                  <a:pos x="103" y="30"/>
                </a:cxn>
                <a:cxn ang="0">
                  <a:pos x="103" y="81"/>
                </a:cxn>
                <a:cxn ang="0">
                  <a:pos x="124" y="129"/>
                </a:cxn>
                <a:cxn ang="0">
                  <a:pos x="123" y="134"/>
                </a:cxn>
                <a:cxn ang="0">
                  <a:pos x="119" y="136"/>
                </a:cxn>
                <a:cxn ang="0">
                  <a:pos x="76" y="127"/>
                </a:cxn>
              </a:cxnLst>
              <a:rect l="0" t="0" r="r" b="b"/>
              <a:pathLst>
                <a:path w="126" h="137">
                  <a:moveTo>
                    <a:pt x="76" y="127"/>
                  </a:moveTo>
                  <a:cubicBezTo>
                    <a:pt x="75" y="127"/>
                    <a:pt x="74" y="126"/>
                    <a:pt x="73" y="125"/>
                  </a:cubicBezTo>
                  <a:lnTo>
                    <a:pt x="1" y="7"/>
                  </a:lnTo>
                  <a:cubicBezTo>
                    <a:pt x="0" y="6"/>
                    <a:pt x="0" y="4"/>
                    <a:pt x="1" y="2"/>
                  </a:cubicBezTo>
                  <a:cubicBezTo>
                    <a:pt x="2" y="1"/>
                    <a:pt x="4" y="0"/>
                    <a:pt x="5" y="0"/>
                  </a:cubicBezTo>
                  <a:lnTo>
                    <a:pt x="77" y="4"/>
                  </a:lnTo>
                  <a:cubicBezTo>
                    <a:pt x="79" y="4"/>
                    <a:pt x="80" y="5"/>
                    <a:pt x="81" y="5"/>
                  </a:cubicBezTo>
                  <a:lnTo>
                    <a:pt x="102" y="26"/>
                  </a:lnTo>
                  <a:cubicBezTo>
                    <a:pt x="102" y="27"/>
                    <a:pt x="103" y="29"/>
                    <a:pt x="103" y="30"/>
                  </a:cubicBezTo>
                  <a:lnTo>
                    <a:pt x="103" y="81"/>
                  </a:lnTo>
                  <a:lnTo>
                    <a:pt x="124" y="129"/>
                  </a:lnTo>
                  <a:cubicBezTo>
                    <a:pt x="125" y="131"/>
                    <a:pt x="124" y="133"/>
                    <a:pt x="123" y="134"/>
                  </a:cubicBezTo>
                  <a:cubicBezTo>
                    <a:pt x="122" y="135"/>
                    <a:pt x="121" y="136"/>
                    <a:pt x="119" y="136"/>
                  </a:cubicBezTo>
                  <a:lnTo>
                    <a:pt x="76" y="127"/>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8" name="Freeform 533"/>
            <p:cNvSpPr>
              <a:spLocks noChangeArrowheads="1"/>
            </p:cNvSpPr>
            <p:nvPr/>
          </p:nvSpPr>
          <p:spPr bwMode="auto">
            <a:xfrm>
              <a:off x="7977188" y="3362325"/>
              <a:ext cx="46037" cy="49213"/>
            </a:xfrm>
            <a:custGeom>
              <a:avLst/>
              <a:gdLst/>
              <a:ahLst/>
              <a:cxnLst>
                <a:cxn ang="0">
                  <a:pos x="76" y="127"/>
                </a:cxn>
                <a:cxn ang="0">
                  <a:pos x="73" y="125"/>
                </a:cxn>
                <a:cxn ang="0">
                  <a:pos x="1" y="7"/>
                </a:cxn>
                <a:cxn ang="0">
                  <a:pos x="1" y="2"/>
                </a:cxn>
                <a:cxn ang="0">
                  <a:pos x="5" y="0"/>
                </a:cxn>
                <a:cxn ang="0">
                  <a:pos x="77" y="4"/>
                </a:cxn>
                <a:cxn ang="0">
                  <a:pos x="81" y="5"/>
                </a:cxn>
                <a:cxn ang="0">
                  <a:pos x="102" y="26"/>
                </a:cxn>
                <a:cxn ang="0">
                  <a:pos x="103" y="30"/>
                </a:cxn>
                <a:cxn ang="0">
                  <a:pos x="103" y="81"/>
                </a:cxn>
                <a:cxn ang="0">
                  <a:pos x="124" y="129"/>
                </a:cxn>
                <a:cxn ang="0">
                  <a:pos x="123" y="134"/>
                </a:cxn>
                <a:cxn ang="0">
                  <a:pos x="119" y="136"/>
                </a:cxn>
                <a:cxn ang="0">
                  <a:pos x="76" y="127"/>
                </a:cxn>
              </a:cxnLst>
              <a:rect l="0" t="0" r="r" b="b"/>
              <a:pathLst>
                <a:path w="126" h="137">
                  <a:moveTo>
                    <a:pt x="76" y="127"/>
                  </a:moveTo>
                  <a:cubicBezTo>
                    <a:pt x="75" y="127"/>
                    <a:pt x="74" y="126"/>
                    <a:pt x="73" y="125"/>
                  </a:cubicBezTo>
                  <a:lnTo>
                    <a:pt x="1" y="7"/>
                  </a:lnTo>
                  <a:cubicBezTo>
                    <a:pt x="0" y="6"/>
                    <a:pt x="0" y="4"/>
                    <a:pt x="1" y="2"/>
                  </a:cubicBezTo>
                  <a:cubicBezTo>
                    <a:pt x="2" y="1"/>
                    <a:pt x="4" y="0"/>
                    <a:pt x="5" y="0"/>
                  </a:cubicBezTo>
                  <a:lnTo>
                    <a:pt x="77" y="4"/>
                  </a:lnTo>
                  <a:cubicBezTo>
                    <a:pt x="79" y="4"/>
                    <a:pt x="80" y="5"/>
                    <a:pt x="81" y="5"/>
                  </a:cubicBezTo>
                  <a:lnTo>
                    <a:pt x="102" y="26"/>
                  </a:lnTo>
                  <a:cubicBezTo>
                    <a:pt x="102" y="27"/>
                    <a:pt x="103" y="29"/>
                    <a:pt x="103" y="30"/>
                  </a:cubicBezTo>
                  <a:lnTo>
                    <a:pt x="103" y="81"/>
                  </a:lnTo>
                  <a:lnTo>
                    <a:pt x="124" y="129"/>
                  </a:lnTo>
                  <a:cubicBezTo>
                    <a:pt x="125" y="131"/>
                    <a:pt x="124" y="133"/>
                    <a:pt x="123" y="134"/>
                  </a:cubicBezTo>
                  <a:cubicBezTo>
                    <a:pt x="122" y="135"/>
                    <a:pt x="121" y="136"/>
                    <a:pt x="119" y="136"/>
                  </a:cubicBezTo>
                  <a:lnTo>
                    <a:pt x="76" y="12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39" name="Freeform 534"/>
            <p:cNvSpPr>
              <a:spLocks noChangeArrowheads="1"/>
            </p:cNvSpPr>
            <p:nvPr/>
          </p:nvSpPr>
          <p:spPr bwMode="auto">
            <a:xfrm>
              <a:off x="7942263" y="3359150"/>
              <a:ext cx="28575" cy="30163"/>
            </a:xfrm>
            <a:custGeom>
              <a:avLst/>
              <a:gdLst/>
              <a:ahLst/>
              <a:cxnLst>
                <a:cxn ang="0">
                  <a:pos x="70" y="81"/>
                </a:cxn>
                <a:cxn ang="0">
                  <a:pos x="30" y="49"/>
                </a:cxn>
                <a:cxn ang="0">
                  <a:pos x="7" y="60"/>
                </a:cxn>
                <a:cxn ang="0">
                  <a:pos x="5" y="60"/>
                </a:cxn>
                <a:cxn ang="0">
                  <a:pos x="2" y="60"/>
                </a:cxn>
                <a:cxn ang="0">
                  <a:pos x="0" y="55"/>
                </a:cxn>
                <a:cxn ang="0">
                  <a:pos x="4" y="5"/>
                </a:cxn>
                <a:cxn ang="0">
                  <a:pos x="7" y="1"/>
                </a:cxn>
                <a:cxn ang="0">
                  <a:pos x="9" y="0"/>
                </a:cxn>
                <a:cxn ang="0">
                  <a:pos x="12" y="1"/>
                </a:cxn>
                <a:cxn ang="0">
                  <a:pos x="71" y="52"/>
                </a:cxn>
                <a:cxn ang="0">
                  <a:pos x="77" y="76"/>
                </a:cxn>
                <a:cxn ang="0">
                  <a:pos x="75" y="81"/>
                </a:cxn>
                <a:cxn ang="0">
                  <a:pos x="73" y="82"/>
                </a:cxn>
                <a:cxn ang="0">
                  <a:pos x="70" y="81"/>
                </a:cxn>
              </a:cxnLst>
              <a:rect l="0" t="0" r="r" b="b"/>
              <a:pathLst>
                <a:path w="79" h="83">
                  <a:moveTo>
                    <a:pt x="70" y="81"/>
                  </a:moveTo>
                  <a:lnTo>
                    <a:pt x="30" y="49"/>
                  </a:lnTo>
                  <a:lnTo>
                    <a:pt x="7" y="60"/>
                  </a:lnTo>
                  <a:cubicBezTo>
                    <a:pt x="6" y="60"/>
                    <a:pt x="6" y="60"/>
                    <a:pt x="5" y="60"/>
                  </a:cubicBezTo>
                  <a:cubicBezTo>
                    <a:pt x="4" y="60"/>
                    <a:pt x="3" y="60"/>
                    <a:pt x="2" y="60"/>
                  </a:cubicBezTo>
                  <a:cubicBezTo>
                    <a:pt x="1" y="59"/>
                    <a:pt x="0" y="57"/>
                    <a:pt x="0" y="55"/>
                  </a:cubicBezTo>
                  <a:lnTo>
                    <a:pt x="4" y="5"/>
                  </a:lnTo>
                  <a:cubicBezTo>
                    <a:pt x="4" y="3"/>
                    <a:pt x="6" y="1"/>
                    <a:pt x="7" y="1"/>
                  </a:cubicBezTo>
                  <a:cubicBezTo>
                    <a:pt x="8" y="0"/>
                    <a:pt x="8" y="0"/>
                    <a:pt x="9" y="0"/>
                  </a:cubicBezTo>
                  <a:cubicBezTo>
                    <a:pt x="10" y="0"/>
                    <a:pt x="11" y="1"/>
                    <a:pt x="12" y="1"/>
                  </a:cubicBezTo>
                  <a:lnTo>
                    <a:pt x="71" y="52"/>
                  </a:lnTo>
                  <a:lnTo>
                    <a:pt x="77" y="76"/>
                  </a:lnTo>
                  <a:cubicBezTo>
                    <a:pt x="78" y="78"/>
                    <a:pt x="77" y="80"/>
                    <a:pt x="75" y="81"/>
                  </a:cubicBezTo>
                  <a:cubicBezTo>
                    <a:pt x="74" y="81"/>
                    <a:pt x="73" y="82"/>
                    <a:pt x="73" y="82"/>
                  </a:cubicBezTo>
                  <a:cubicBezTo>
                    <a:pt x="71" y="82"/>
                    <a:pt x="70" y="81"/>
                    <a:pt x="70" y="81"/>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0" name="Freeform 535"/>
            <p:cNvSpPr>
              <a:spLocks noChangeArrowheads="1"/>
            </p:cNvSpPr>
            <p:nvPr/>
          </p:nvSpPr>
          <p:spPr bwMode="auto">
            <a:xfrm>
              <a:off x="7942263" y="3359150"/>
              <a:ext cx="28575" cy="30163"/>
            </a:xfrm>
            <a:custGeom>
              <a:avLst/>
              <a:gdLst/>
              <a:ahLst/>
              <a:cxnLst>
                <a:cxn ang="0">
                  <a:pos x="73" y="82"/>
                </a:cxn>
                <a:cxn ang="0">
                  <a:pos x="70" y="81"/>
                </a:cxn>
                <a:cxn ang="0">
                  <a:pos x="30" y="49"/>
                </a:cxn>
                <a:cxn ang="0">
                  <a:pos x="7" y="60"/>
                </a:cxn>
                <a:cxn ang="0">
                  <a:pos x="5" y="60"/>
                </a:cxn>
                <a:cxn ang="0">
                  <a:pos x="2" y="60"/>
                </a:cxn>
                <a:cxn ang="0">
                  <a:pos x="0" y="55"/>
                </a:cxn>
                <a:cxn ang="0">
                  <a:pos x="4" y="5"/>
                </a:cxn>
                <a:cxn ang="0">
                  <a:pos x="7" y="1"/>
                </a:cxn>
                <a:cxn ang="0">
                  <a:pos x="9" y="0"/>
                </a:cxn>
                <a:cxn ang="0">
                  <a:pos x="12" y="1"/>
                </a:cxn>
                <a:cxn ang="0">
                  <a:pos x="71" y="52"/>
                </a:cxn>
                <a:cxn ang="0">
                  <a:pos x="77" y="76"/>
                </a:cxn>
                <a:cxn ang="0">
                  <a:pos x="75" y="81"/>
                </a:cxn>
                <a:cxn ang="0">
                  <a:pos x="73" y="82"/>
                </a:cxn>
              </a:cxnLst>
              <a:rect l="0" t="0" r="r" b="b"/>
              <a:pathLst>
                <a:path w="79" h="83">
                  <a:moveTo>
                    <a:pt x="73" y="82"/>
                  </a:moveTo>
                  <a:cubicBezTo>
                    <a:pt x="71" y="82"/>
                    <a:pt x="70" y="81"/>
                    <a:pt x="70" y="81"/>
                  </a:cubicBezTo>
                  <a:lnTo>
                    <a:pt x="30" y="49"/>
                  </a:lnTo>
                  <a:lnTo>
                    <a:pt x="7" y="60"/>
                  </a:lnTo>
                  <a:cubicBezTo>
                    <a:pt x="6" y="60"/>
                    <a:pt x="6" y="60"/>
                    <a:pt x="5" y="60"/>
                  </a:cubicBezTo>
                  <a:cubicBezTo>
                    <a:pt x="4" y="60"/>
                    <a:pt x="3" y="60"/>
                    <a:pt x="2" y="60"/>
                  </a:cubicBezTo>
                  <a:cubicBezTo>
                    <a:pt x="1" y="59"/>
                    <a:pt x="0" y="57"/>
                    <a:pt x="0" y="55"/>
                  </a:cubicBezTo>
                  <a:lnTo>
                    <a:pt x="4" y="5"/>
                  </a:lnTo>
                  <a:cubicBezTo>
                    <a:pt x="4" y="3"/>
                    <a:pt x="6" y="1"/>
                    <a:pt x="7" y="1"/>
                  </a:cubicBezTo>
                  <a:cubicBezTo>
                    <a:pt x="8" y="0"/>
                    <a:pt x="8" y="0"/>
                    <a:pt x="9" y="0"/>
                  </a:cubicBezTo>
                  <a:cubicBezTo>
                    <a:pt x="10" y="0"/>
                    <a:pt x="11" y="1"/>
                    <a:pt x="12" y="1"/>
                  </a:cubicBezTo>
                  <a:lnTo>
                    <a:pt x="71" y="52"/>
                  </a:lnTo>
                  <a:lnTo>
                    <a:pt x="77" y="76"/>
                  </a:lnTo>
                  <a:cubicBezTo>
                    <a:pt x="78" y="78"/>
                    <a:pt x="77" y="80"/>
                    <a:pt x="75" y="81"/>
                  </a:cubicBezTo>
                  <a:cubicBezTo>
                    <a:pt x="74" y="81"/>
                    <a:pt x="73" y="82"/>
                    <a:pt x="73" y="8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1" name="Freeform 536"/>
            <p:cNvSpPr>
              <a:spLocks noChangeArrowheads="1"/>
            </p:cNvSpPr>
            <p:nvPr/>
          </p:nvSpPr>
          <p:spPr bwMode="auto">
            <a:xfrm>
              <a:off x="7905750" y="3359150"/>
              <a:ext cx="7938" cy="17463"/>
            </a:xfrm>
            <a:custGeom>
              <a:avLst/>
              <a:gdLst/>
              <a:ahLst/>
              <a:cxnLst>
                <a:cxn ang="0">
                  <a:pos x="0" y="43"/>
                </a:cxn>
                <a:cxn ang="0">
                  <a:pos x="0" y="18"/>
                </a:cxn>
                <a:cxn ang="0">
                  <a:pos x="2" y="14"/>
                </a:cxn>
                <a:cxn ang="0">
                  <a:pos x="14" y="2"/>
                </a:cxn>
                <a:cxn ang="0">
                  <a:pos x="18" y="0"/>
                </a:cxn>
                <a:cxn ang="0">
                  <a:pos x="20" y="1"/>
                </a:cxn>
                <a:cxn ang="0">
                  <a:pos x="22" y="6"/>
                </a:cxn>
                <a:cxn ang="0">
                  <a:pos x="9" y="44"/>
                </a:cxn>
                <a:cxn ang="0">
                  <a:pos x="5" y="48"/>
                </a:cxn>
                <a:cxn ang="0">
                  <a:pos x="4" y="48"/>
                </a:cxn>
                <a:cxn ang="0">
                  <a:pos x="0" y="43"/>
                </a:cxn>
              </a:cxnLst>
              <a:rect l="0" t="0" r="r" b="b"/>
              <a:pathLst>
                <a:path w="24" h="49">
                  <a:moveTo>
                    <a:pt x="0" y="43"/>
                  </a:moveTo>
                  <a:lnTo>
                    <a:pt x="0" y="18"/>
                  </a:lnTo>
                  <a:cubicBezTo>
                    <a:pt x="0" y="16"/>
                    <a:pt x="1" y="15"/>
                    <a:pt x="2" y="14"/>
                  </a:cubicBezTo>
                  <a:lnTo>
                    <a:pt x="14" y="2"/>
                  </a:lnTo>
                  <a:cubicBezTo>
                    <a:pt x="15" y="1"/>
                    <a:pt x="16" y="0"/>
                    <a:pt x="18" y="0"/>
                  </a:cubicBezTo>
                  <a:cubicBezTo>
                    <a:pt x="19" y="0"/>
                    <a:pt x="20" y="0"/>
                    <a:pt x="20" y="1"/>
                  </a:cubicBezTo>
                  <a:cubicBezTo>
                    <a:pt x="22" y="2"/>
                    <a:pt x="23" y="4"/>
                    <a:pt x="22" y="6"/>
                  </a:cubicBezTo>
                  <a:lnTo>
                    <a:pt x="9" y="44"/>
                  </a:lnTo>
                  <a:cubicBezTo>
                    <a:pt x="9" y="46"/>
                    <a:pt x="7" y="48"/>
                    <a:pt x="5" y="48"/>
                  </a:cubicBezTo>
                  <a:lnTo>
                    <a:pt x="4" y="48"/>
                  </a:lnTo>
                  <a:cubicBezTo>
                    <a:pt x="2" y="47"/>
                    <a:pt x="0" y="45"/>
                    <a:pt x="0" y="4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2" name="Freeform 537"/>
            <p:cNvSpPr>
              <a:spLocks noChangeArrowheads="1"/>
            </p:cNvSpPr>
            <p:nvPr/>
          </p:nvSpPr>
          <p:spPr bwMode="auto">
            <a:xfrm>
              <a:off x="7905750" y="3359150"/>
              <a:ext cx="7938" cy="17463"/>
            </a:xfrm>
            <a:custGeom>
              <a:avLst/>
              <a:gdLst/>
              <a:ahLst/>
              <a:cxnLst>
                <a:cxn ang="0">
                  <a:pos x="4" y="48"/>
                </a:cxn>
                <a:cxn ang="0">
                  <a:pos x="0" y="43"/>
                </a:cxn>
                <a:cxn ang="0">
                  <a:pos x="0" y="18"/>
                </a:cxn>
                <a:cxn ang="0">
                  <a:pos x="2" y="14"/>
                </a:cxn>
                <a:cxn ang="0">
                  <a:pos x="14" y="2"/>
                </a:cxn>
                <a:cxn ang="0">
                  <a:pos x="18" y="0"/>
                </a:cxn>
                <a:cxn ang="0">
                  <a:pos x="20" y="1"/>
                </a:cxn>
                <a:cxn ang="0">
                  <a:pos x="22" y="6"/>
                </a:cxn>
                <a:cxn ang="0">
                  <a:pos x="9" y="44"/>
                </a:cxn>
                <a:cxn ang="0">
                  <a:pos x="5" y="48"/>
                </a:cxn>
                <a:cxn ang="0">
                  <a:pos x="4" y="48"/>
                </a:cxn>
              </a:cxnLst>
              <a:rect l="0" t="0" r="r" b="b"/>
              <a:pathLst>
                <a:path w="24" h="49">
                  <a:moveTo>
                    <a:pt x="4" y="48"/>
                  </a:moveTo>
                  <a:cubicBezTo>
                    <a:pt x="2" y="47"/>
                    <a:pt x="0" y="45"/>
                    <a:pt x="0" y="43"/>
                  </a:cubicBezTo>
                  <a:lnTo>
                    <a:pt x="0" y="18"/>
                  </a:lnTo>
                  <a:cubicBezTo>
                    <a:pt x="0" y="16"/>
                    <a:pt x="1" y="15"/>
                    <a:pt x="2" y="14"/>
                  </a:cubicBezTo>
                  <a:lnTo>
                    <a:pt x="14" y="2"/>
                  </a:lnTo>
                  <a:cubicBezTo>
                    <a:pt x="15" y="1"/>
                    <a:pt x="16" y="0"/>
                    <a:pt x="18" y="0"/>
                  </a:cubicBezTo>
                  <a:cubicBezTo>
                    <a:pt x="19" y="0"/>
                    <a:pt x="20" y="0"/>
                    <a:pt x="20" y="1"/>
                  </a:cubicBezTo>
                  <a:cubicBezTo>
                    <a:pt x="22" y="2"/>
                    <a:pt x="23" y="4"/>
                    <a:pt x="22" y="6"/>
                  </a:cubicBezTo>
                  <a:lnTo>
                    <a:pt x="9" y="44"/>
                  </a:lnTo>
                  <a:cubicBezTo>
                    <a:pt x="9" y="46"/>
                    <a:pt x="7" y="48"/>
                    <a:pt x="5" y="48"/>
                  </a:cubicBezTo>
                  <a:lnTo>
                    <a:pt x="4" y="4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3" name="Freeform 538"/>
            <p:cNvSpPr>
              <a:spLocks noChangeArrowheads="1"/>
            </p:cNvSpPr>
            <p:nvPr/>
          </p:nvSpPr>
          <p:spPr bwMode="auto">
            <a:xfrm>
              <a:off x="7900988" y="3330575"/>
              <a:ext cx="11112" cy="12700"/>
            </a:xfrm>
            <a:custGeom>
              <a:avLst/>
              <a:gdLst/>
              <a:ahLst/>
              <a:cxnLst>
                <a:cxn ang="0">
                  <a:pos x="24" y="34"/>
                </a:cxn>
                <a:cxn ang="0">
                  <a:pos x="7" y="21"/>
                </a:cxn>
                <a:cxn ang="0">
                  <a:pos x="1" y="6"/>
                </a:cxn>
                <a:cxn ang="0">
                  <a:pos x="2" y="2"/>
                </a:cxn>
                <a:cxn ang="0">
                  <a:pos x="5" y="0"/>
                </a:cxn>
                <a:cxn ang="0">
                  <a:pos x="28" y="4"/>
                </a:cxn>
                <a:cxn ang="0">
                  <a:pos x="31" y="9"/>
                </a:cxn>
                <a:cxn ang="0">
                  <a:pos x="31" y="30"/>
                </a:cxn>
                <a:cxn ang="0">
                  <a:pos x="29" y="34"/>
                </a:cxn>
                <a:cxn ang="0">
                  <a:pos x="27" y="35"/>
                </a:cxn>
                <a:cxn ang="0">
                  <a:pos x="24" y="34"/>
                </a:cxn>
              </a:cxnLst>
              <a:rect l="0" t="0" r="r" b="b"/>
              <a:pathLst>
                <a:path w="32" h="36">
                  <a:moveTo>
                    <a:pt x="24" y="34"/>
                  </a:moveTo>
                  <a:lnTo>
                    <a:pt x="7" y="21"/>
                  </a:lnTo>
                  <a:lnTo>
                    <a:pt x="1" y="6"/>
                  </a:lnTo>
                  <a:cubicBezTo>
                    <a:pt x="0" y="5"/>
                    <a:pt x="1" y="3"/>
                    <a:pt x="2" y="2"/>
                  </a:cubicBezTo>
                  <a:cubicBezTo>
                    <a:pt x="3" y="1"/>
                    <a:pt x="4" y="0"/>
                    <a:pt x="5" y="0"/>
                  </a:cubicBezTo>
                  <a:cubicBezTo>
                    <a:pt x="6" y="0"/>
                    <a:pt x="28" y="4"/>
                    <a:pt x="28" y="4"/>
                  </a:cubicBezTo>
                  <a:cubicBezTo>
                    <a:pt x="30" y="5"/>
                    <a:pt x="31" y="7"/>
                    <a:pt x="31" y="9"/>
                  </a:cubicBezTo>
                  <a:lnTo>
                    <a:pt x="31" y="30"/>
                  </a:lnTo>
                  <a:cubicBezTo>
                    <a:pt x="31" y="32"/>
                    <a:pt x="30" y="34"/>
                    <a:pt x="29" y="34"/>
                  </a:cubicBezTo>
                  <a:cubicBezTo>
                    <a:pt x="28" y="35"/>
                    <a:pt x="27" y="35"/>
                    <a:pt x="27" y="35"/>
                  </a:cubicBezTo>
                  <a:cubicBezTo>
                    <a:pt x="25" y="35"/>
                    <a:pt x="24" y="35"/>
                    <a:pt x="24" y="34"/>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4" name="Freeform 539"/>
            <p:cNvSpPr>
              <a:spLocks noChangeArrowheads="1"/>
            </p:cNvSpPr>
            <p:nvPr/>
          </p:nvSpPr>
          <p:spPr bwMode="auto">
            <a:xfrm>
              <a:off x="7900988" y="3330575"/>
              <a:ext cx="11112" cy="12700"/>
            </a:xfrm>
            <a:custGeom>
              <a:avLst/>
              <a:gdLst/>
              <a:ahLst/>
              <a:cxnLst>
                <a:cxn ang="0">
                  <a:pos x="27" y="35"/>
                </a:cxn>
                <a:cxn ang="0">
                  <a:pos x="24" y="34"/>
                </a:cxn>
                <a:cxn ang="0">
                  <a:pos x="7" y="21"/>
                </a:cxn>
                <a:cxn ang="0">
                  <a:pos x="1" y="6"/>
                </a:cxn>
                <a:cxn ang="0">
                  <a:pos x="2" y="2"/>
                </a:cxn>
                <a:cxn ang="0">
                  <a:pos x="5" y="0"/>
                </a:cxn>
                <a:cxn ang="0">
                  <a:pos x="28" y="4"/>
                </a:cxn>
                <a:cxn ang="0">
                  <a:pos x="31" y="9"/>
                </a:cxn>
                <a:cxn ang="0">
                  <a:pos x="31" y="30"/>
                </a:cxn>
                <a:cxn ang="0">
                  <a:pos x="29" y="34"/>
                </a:cxn>
                <a:cxn ang="0">
                  <a:pos x="27" y="35"/>
                </a:cxn>
              </a:cxnLst>
              <a:rect l="0" t="0" r="r" b="b"/>
              <a:pathLst>
                <a:path w="32" h="36">
                  <a:moveTo>
                    <a:pt x="27" y="35"/>
                  </a:moveTo>
                  <a:cubicBezTo>
                    <a:pt x="25" y="35"/>
                    <a:pt x="24" y="35"/>
                    <a:pt x="24" y="34"/>
                  </a:cubicBezTo>
                  <a:lnTo>
                    <a:pt x="7" y="21"/>
                  </a:lnTo>
                  <a:lnTo>
                    <a:pt x="1" y="6"/>
                  </a:lnTo>
                  <a:cubicBezTo>
                    <a:pt x="0" y="5"/>
                    <a:pt x="1" y="3"/>
                    <a:pt x="2" y="2"/>
                  </a:cubicBezTo>
                  <a:cubicBezTo>
                    <a:pt x="3" y="1"/>
                    <a:pt x="4" y="0"/>
                    <a:pt x="5" y="0"/>
                  </a:cubicBezTo>
                  <a:cubicBezTo>
                    <a:pt x="6" y="0"/>
                    <a:pt x="28" y="4"/>
                    <a:pt x="28" y="4"/>
                  </a:cubicBezTo>
                  <a:cubicBezTo>
                    <a:pt x="30" y="5"/>
                    <a:pt x="31" y="7"/>
                    <a:pt x="31" y="9"/>
                  </a:cubicBezTo>
                  <a:lnTo>
                    <a:pt x="31" y="30"/>
                  </a:lnTo>
                  <a:cubicBezTo>
                    <a:pt x="31" y="32"/>
                    <a:pt x="30" y="34"/>
                    <a:pt x="29" y="34"/>
                  </a:cubicBezTo>
                  <a:cubicBezTo>
                    <a:pt x="28" y="35"/>
                    <a:pt x="27" y="35"/>
                    <a:pt x="27" y="3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5" name="Freeform 540"/>
            <p:cNvSpPr>
              <a:spLocks noChangeArrowheads="1"/>
            </p:cNvSpPr>
            <p:nvPr/>
          </p:nvSpPr>
          <p:spPr bwMode="auto">
            <a:xfrm>
              <a:off x="7902575" y="3282950"/>
              <a:ext cx="6350" cy="15875"/>
            </a:xfrm>
            <a:custGeom>
              <a:avLst/>
              <a:gdLst/>
              <a:ahLst/>
              <a:cxnLst>
                <a:cxn ang="0">
                  <a:pos x="9" y="40"/>
                </a:cxn>
                <a:cxn ang="0">
                  <a:pos x="0" y="14"/>
                </a:cxn>
                <a:cxn ang="0">
                  <a:pos x="1" y="10"/>
                </a:cxn>
                <a:cxn ang="0">
                  <a:pos x="10" y="1"/>
                </a:cxn>
                <a:cxn ang="0">
                  <a:pos x="13" y="0"/>
                </a:cxn>
                <a:cxn ang="0">
                  <a:pos x="15" y="0"/>
                </a:cxn>
                <a:cxn ang="0">
                  <a:pos x="18" y="4"/>
                </a:cxn>
                <a:cxn ang="0">
                  <a:pos x="18" y="38"/>
                </a:cxn>
                <a:cxn ang="0">
                  <a:pos x="14" y="43"/>
                </a:cxn>
                <a:cxn ang="0">
                  <a:pos x="13" y="43"/>
                </a:cxn>
                <a:cxn ang="0">
                  <a:pos x="9" y="40"/>
                </a:cxn>
              </a:cxnLst>
              <a:rect l="0" t="0" r="r" b="b"/>
              <a:pathLst>
                <a:path w="19" h="44">
                  <a:moveTo>
                    <a:pt x="9" y="40"/>
                  </a:moveTo>
                  <a:lnTo>
                    <a:pt x="0" y="14"/>
                  </a:lnTo>
                  <a:cubicBezTo>
                    <a:pt x="0" y="13"/>
                    <a:pt x="0" y="11"/>
                    <a:pt x="1" y="10"/>
                  </a:cubicBezTo>
                  <a:lnTo>
                    <a:pt x="10" y="1"/>
                  </a:lnTo>
                  <a:cubicBezTo>
                    <a:pt x="11" y="0"/>
                    <a:pt x="12" y="0"/>
                    <a:pt x="13" y="0"/>
                  </a:cubicBezTo>
                  <a:cubicBezTo>
                    <a:pt x="14" y="0"/>
                    <a:pt x="14" y="0"/>
                    <a:pt x="15" y="0"/>
                  </a:cubicBezTo>
                  <a:cubicBezTo>
                    <a:pt x="17" y="1"/>
                    <a:pt x="18" y="2"/>
                    <a:pt x="18" y="4"/>
                  </a:cubicBezTo>
                  <a:lnTo>
                    <a:pt x="18" y="38"/>
                  </a:lnTo>
                  <a:cubicBezTo>
                    <a:pt x="18" y="41"/>
                    <a:pt x="16" y="43"/>
                    <a:pt x="14" y="43"/>
                  </a:cubicBezTo>
                  <a:lnTo>
                    <a:pt x="13" y="43"/>
                  </a:lnTo>
                  <a:cubicBezTo>
                    <a:pt x="11" y="43"/>
                    <a:pt x="9" y="42"/>
                    <a:pt x="9" y="4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6" name="Freeform 541"/>
            <p:cNvSpPr>
              <a:spLocks noChangeArrowheads="1"/>
            </p:cNvSpPr>
            <p:nvPr/>
          </p:nvSpPr>
          <p:spPr bwMode="auto">
            <a:xfrm>
              <a:off x="7902575" y="3282950"/>
              <a:ext cx="6350" cy="15875"/>
            </a:xfrm>
            <a:custGeom>
              <a:avLst/>
              <a:gdLst/>
              <a:ahLst/>
              <a:cxnLst>
                <a:cxn ang="0">
                  <a:pos x="13" y="43"/>
                </a:cxn>
                <a:cxn ang="0">
                  <a:pos x="9" y="40"/>
                </a:cxn>
                <a:cxn ang="0">
                  <a:pos x="0" y="14"/>
                </a:cxn>
                <a:cxn ang="0">
                  <a:pos x="1" y="10"/>
                </a:cxn>
                <a:cxn ang="0">
                  <a:pos x="10" y="1"/>
                </a:cxn>
                <a:cxn ang="0">
                  <a:pos x="13" y="0"/>
                </a:cxn>
                <a:cxn ang="0">
                  <a:pos x="15" y="0"/>
                </a:cxn>
                <a:cxn ang="0">
                  <a:pos x="18" y="4"/>
                </a:cxn>
                <a:cxn ang="0">
                  <a:pos x="18" y="38"/>
                </a:cxn>
                <a:cxn ang="0">
                  <a:pos x="14" y="43"/>
                </a:cxn>
                <a:cxn ang="0">
                  <a:pos x="13" y="43"/>
                </a:cxn>
              </a:cxnLst>
              <a:rect l="0" t="0" r="r" b="b"/>
              <a:pathLst>
                <a:path w="19" h="44">
                  <a:moveTo>
                    <a:pt x="13" y="43"/>
                  </a:moveTo>
                  <a:cubicBezTo>
                    <a:pt x="11" y="43"/>
                    <a:pt x="9" y="42"/>
                    <a:pt x="9" y="40"/>
                  </a:cubicBezTo>
                  <a:lnTo>
                    <a:pt x="0" y="14"/>
                  </a:lnTo>
                  <a:cubicBezTo>
                    <a:pt x="0" y="13"/>
                    <a:pt x="0" y="11"/>
                    <a:pt x="1" y="10"/>
                  </a:cubicBezTo>
                  <a:lnTo>
                    <a:pt x="10" y="1"/>
                  </a:lnTo>
                  <a:cubicBezTo>
                    <a:pt x="11" y="0"/>
                    <a:pt x="12" y="0"/>
                    <a:pt x="13" y="0"/>
                  </a:cubicBezTo>
                  <a:cubicBezTo>
                    <a:pt x="14" y="0"/>
                    <a:pt x="14" y="0"/>
                    <a:pt x="15" y="0"/>
                  </a:cubicBezTo>
                  <a:cubicBezTo>
                    <a:pt x="17" y="1"/>
                    <a:pt x="18" y="2"/>
                    <a:pt x="18" y="4"/>
                  </a:cubicBezTo>
                  <a:lnTo>
                    <a:pt x="18" y="38"/>
                  </a:lnTo>
                  <a:cubicBezTo>
                    <a:pt x="18" y="41"/>
                    <a:pt x="16" y="43"/>
                    <a:pt x="14" y="43"/>
                  </a:cubicBezTo>
                  <a:lnTo>
                    <a:pt x="13" y="4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7" name="Freeform 542"/>
            <p:cNvSpPr>
              <a:spLocks noChangeArrowheads="1"/>
            </p:cNvSpPr>
            <p:nvPr/>
          </p:nvSpPr>
          <p:spPr bwMode="auto">
            <a:xfrm>
              <a:off x="7840663" y="3173413"/>
              <a:ext cx="133350" cy="192087"/>
            </a:xfrm>
            <a:custGeom>
              <a:avLst/>
              <a:gdLst/>
              <a:ahLst/>
              <a:cxnLst>
                <a:cxn ang="0">
                  <a:pos x="340" y="511"/>
                </a:cxn>
                <a:cxn ang="0">
                  <a:pos x="344" y="501"/>
                </a:cxn>
                <a:cxn ang="0">
                  <a:pos x="243" y="418"/>
                </a:cxn>
                <a:cxn ang="0">
                  <a:pos x="251" y="469"/>
                </a:cxn>
                <a:cxn ang="0">
                  <a:pos x="246" y="475"/>
                </a:cxn>
                <a:cxn ang="0">
                  <a:pos x="181" y="416"/>
                </a:cxn>
                <a:cxn ang="0">
                  <a:pos x="140" y="435"/>
                </a:cxn>
                <a:cxn ang="0">
                  <a:pos x="80" y="428"/>
                </a:cxn>
                <a:cxn ang="0">
                  <a:pos x="72" y="390"/>
                </a:cxn>
                <a:cxn ang="0">
                  <a:pos x="77" y="345"/>
                </a:cxn>
                <a:cxn ang="0">
                  <a:pos x="69" y="373"/>
                </a:cxn>
                <a:cxn ang="0">
                  <a:pos x="65" y="371"/>
                </a:cxn>
                <a:cxn ang="0">
                  <a:pos x="0" y="218"/>
                </a:cxn>
                <a:cxn ang="0">
                  <a:pos x="5" y="212"/>
                </a:cxn>
                <a:cxn ang="0">
                  <a:pos x="68" y="13"/>
                </a:cxn>
                <a:cxn ang="0">
                  <a:pos x="81" y="0"/>
                </a:cxn>
                <a:cxn ang="0">
                  <a:pos x="163" y="26"/>
                </a:cxn>
                <a:cxn ang="0">
                  <a:pos x="191" y="7"/>
                </a:cxn>
                <a:cxn ang="0">
                  <a:pos x="195" y="4"/>
                </a:cxn>
                <a:cxn ang="0">
                  <a:pos x="211" y="14"/>
                </a:cxn>
                <a:cxn ang="0">
                  <a:pos x="209" y="102"/>
                </a:cxn>
                <a:cxn ang="0">
                  <a:pos x="234" y="155"/>
                </a:cxn>
                <a:cxn ang="0">
                  <a:pos x="168" y="246"/>
                </a:cxn>
                <a:cxn ang="0">
                  <a:pos x="162" y="368"/>
                </a:cxn>
                <a:cxn ang="0">
                  <a:pos x="204" y="403"/>
                </a:cxn>
                <a:cxn ang="0">
                  <a:pos x="207" y="381"/>
                </a:cxn>
                <a:cxn ang="0">
                  <a:pos x="247" y="368"/>
                </a:cxn>
                <a:cxn ang="0">
                  <a:pos x="283" y="418"/>
                </a:cxn>
                <a:cxn ang="0">
                  <a:pos x="291" y="398"/>
                </a:cxn>
                <a:cxn ang="0">
                  <a:pos x="295" y="398"/>
                </a:cxn>
                <a:cxn ang="0">
                  <a:pos x="349" y="423"/>
                </a:cxn>
                <a:cxn ang="0">
                  <a:pos x="329" y="438"/>
                </a:cxn>
                <a:cxn ang="0">
                  <a:pos x="348" y="476"/>
                </a:cxn>
                <a:cxn ang="0">
                  <a:pos x="370" y="492"/>
                </a:cxn>
                <a:cxn ang="0">
                  <a:pos x="357" y="534"/>
                </a:cxn>
                <a:cxn ang="0">
                  <a:pos x="352" y="532"/>
                </a:cxn>
              </a:cxnLst>
              <a:rect l="0" t="0" r="r" b="b"/>
              <a:pathLst>
                <a:path w="371" h="535">
                  <a:moveTo>
                    <a:pt x="352" y="532"/>
                  </a:moveTo>
                  <a:lnTo>
                    <a:pt x="340" y="511"/>
                  </a:lnTo>
                  <a:cubicBezTo>
                    <a:pt x="339" y="509"/>
                    <a:pt x="339" y="506"/>
                    <a:pt x="341" y="505"/>
                  </a:cubicBezTo>
                  <a:lnTo>
                    <a:pt x="344" y="501"/>
                  </a:lnTo>
                  <a:lnTo>
                    <a:pt x="300" y="483"/>
                  </a:lnTo>
                  <a:lnTo>
                    <a:pt x="243" y="418"/>
                  </a:lnTo>
                  <a:lnTo>
                    <a:pt x="236" y="417"/>
                  </a:lnTo>
                  <a:lnTo>
                    <a:pt x="251" y="469"/>
                  </a:lnTo>
                  <a:cubicBezTo>
                    <a:pt x="252" y="471"/>
                    <a:pt x="251" y="473"/>
                    <a:pt x="249" y="474"/>
                  </a:cubicBezTo>
                  <a:cubicBezTo>
                    <a:pt x="248" y="475"/>
                    <a:pt x="247" y="475"/>
                    <a:pt x="246" y="475"/>
                  </a:cubicBezTo>
                  <a:cubicBezTo>
                    <a:pt x="245" y="475"/>
                    <a:pt x="244" y="474"/>
                    <a:pt x="243" y="474"/>
                  </a:cubicBezTo>
                  <a:lnTo>
                    <a:pt x="181" y="416"/>
                  </a:lnTo>
                  <a:lnTo>
                    <a:pt x="159" y="416"/>
                  </a:lnTo>
                  <a:lnTo>
                    <a:pt x="140" y="435"/>
                  </a:lnTo>
                  <a:cubicBezTo>
                    <a:pt x="139" y="436"/>
                    <a:pt x="137" y="437"/>
                    <a:pt x="136" y="437"/>
                  </a:cubicBezTo>
                  <a:lnTo>
                    <a:pt x="80" y="428"/>
                  </a:lnTo>
                  <a:cubicBezTo>
                    <a:pt x="78" y="428"/>
                    <a:pt x="77" y="426"/>
                    <a:pt x="77" y="424"/>
                  </a:cubicBezTo>
                  <a:lnTo>
                    <a:pt x="72" y="390"/>
                  </a:lnTo>
                  <a:lnTo>
                    <a:pt x="92" y="350"/>
                  </a:lnTo>
                  <a:lnTo>
                    <a:pt x="77" y="345"/>
                  </a:lnTo>
                  <a:lnTo>
                    <a:pt x="73" y="369"/>
                  </a:lnTo>
                  <a:cubicBezTo>
                    <a:pt x="73" y="371"/>
                    <a:pt x="71" y="373"/>
                    <a:pt x="69" y="373"/>
                  </a:cubicBezTo>
                  <a:lnTo>
                    <a:pt x="68" y="373"/>
                  </a:lnTo>
                  <a:cubicBezTo>
                    <a:pt x="67" y="373"/>
                    <a:pt x="65" y="373"/>
                    <a:pt x="65" y="371"/>
                  </a:cubicBezTo>
                  <a:lnTo>
                    <a:pt x="26" y="312"/>
                  </a:lnTo>
                  <a:lnTo>
                    <a:pt x="0" y="218"/>
                  </a:lnTo>
                  <a:cubicBezTo>
                    <a:pt x="0" y="216"/>
                    <a:pt x="0" y="214"/>
                    <a:pt x="1" y="213"/>
                  </a:cubicBezTo>
                  <a:cubicBezTo>
                    <a:pt x="2" y="212"/>
                    <a:pt x="4" y="212"/>
                    <a:pt x="5" y="212"/>
                  </a:cubicBezTo>
                  <a:lnTo>
                    <a:pt x="47" y="215"/>
                  </a:lnTo>
                  <a:lnTo>
                    <a:pt x="68" y="13"/>
                  </a:lnTo>
                  <a:lnTo>
                    <a:pt x="78" y="1"/>
                  </a:lnTo>
                  <a:cubicBezTo>
                    <a:pt x="79" y="1"/>
                    <a:pt x="80" y="0"/>
                    <a:pt x="81" y="0"/>
                  </a:cubicBezTo>
                  <a:cubicBezTo>
                    <a:pt x="82" y="0"/>
                    <a:pt x="82" y="0"/>
                    <a:pt x="83" y="0"/>
                  </a:cubicBezTo>
                  <a:lnTo>
                    <a:pt x="163" y="26"/>
                  </a:lnTo>
                  <a:lnTo>
                    <a:pt x="184" y="22"/>
                  </a:lnTo>
                  <a:lnTo>
                    <a:pt x="191" y="7"/>
                  </a:lnTo>
                  <a:cubicBezTo>
                    <a:pt x="192" y="6"/>
                    <a:pt x="193" y="5"/>
                    <a:pt x="194" y="4"/>
                  </a:cubicBezTo>
                  <a:cubicBezTo>
                    <a:pt x="195" y="4"/>
                    <a:pt x="195" y="4"/>
                    <a:pt x="195" y="4"/>
                  </a:cubicBezTo>
                  <a:cubicBezTo>
                    <a:pt x="197" y="4"/>
                    <a:pt x="197" y="5"/>
                    <a:pt x="198" y="5"/>
                  </a:cubicBezTo>
                  <a:lnTo>
                    <a:pt x="211" y="14"/>
                  </a:lnTo>
                  <a:cubicBezTo>
                    <a:pt x="212" y="14"/>
                    <a:pt x="213" y="16"/>
                    <a:pt x="213" y="18"/>
                  </a:cubicBezTo>
                  <a:lnTo>
                    <a:pt x="209" y="102"/>
                  </a:lnTo>
                  <a:lnTo>
                    <a:pt x="234" y="151"/>
                  </a:lnTo>
                  <a:cubicBezTo>
                    <a:pt x="234" y="152"/>
                    <a:pt x="234" y="153"/>
                    <a:pt x="234" y="155"/>
                  </a:cubicBezTo>
                  <a:lnTo>
                    <a:pt x="204" y="223"/>
                  </a:lnTo>
                  <a:lnTo>
                    <a:pt x="168" y="246"/>
                  </a:lnTo>
                  <a:lnTo>
                    <a:pt x="146" y="289"/>
                  </a:lnTo>
                  <a:lnTo>
                    <a:pt x="162" y="368"/>
                  </a:lnTo>
                  <a:lnTo>
                    <a:pt x="189" y="406"/>
                  </a:lnTo>
                  <a:lnTo>
                    <a:pt x="204" y="403"/>
                  </a:lnTo>
                  <a:lnTo>
                    <a:pt x="204" y="386"/>
                  </a:lnTo>
                  <a:cubicBezTo>
                    <a:pt x="204" y="383"/>
                    <a:pt x="205" y="382"/>
                    <a:pt x="207" y="381"/>
                  </a:cubicBezTo>
                  <a:lnTo>
                    <a:pt x="245" y="368"/>
                  </a:lnTo>
                  <a:cubicBezTo>
                    <a:pt x="246" y="368"/>
                    <a:pt x="246" y="368"/>
                    <a:pt x="247" y="368"/>
                  </a:cubicBezTo>
                  <a:cubicBezTo>
                    <a:pt x="248" y="368"/>
                    <a:pt x="250" y="369"/>
                    <a:pt x="250" y="370"/>
                  </a:cubicBezTo>
                  <a:lnTo>
                    <a:pt x="283" y="418"/>
                  </a:lnTo>
                  <a:lnTo>
                    <a:pt x="289" y="401"/>
                  </a:lnTo>
                  <a:cubicBezTo>
                    <a:pt x="289" y="400"/>
                    <a:pt x="290" y="399"/>
                    <a:pt x="291" y="398"/>
                  </a:cubicBezTo>
                  <a:cubicBezTo>
                    <a:pt x="292" y="398"/>
                    <a:pt x="292" y="398"/>
                    <a:pt x="293" y="398"/>
                  </a:cubicBezTo>
                  <a:cubicBezTo>
                    <a:pt x="294" y="398"/>
                    <a:pt x="294" y="398"/>
                    <a:pt x="295" y="398"/>
                  </a:cubicBezTo>
                  <a:lnTo>
                    <a:pt x="346" y="419"/>
                  </a:lnTo>
                  <a:cubicBezTo>
                    <a:pt x="347" y="420"/>
                    <a:pt x="348" y="422"/>
                    <a:pt x="349" y="423"/>
                  </a:cubicBezTo>
                  <a:cubicBezTo>
                    <a:pt x="349" y="425"/>
                    <a:pt x="348" y="427"/>
                    <a:pt x="346" y="428"/>
                  </a:cubicBezTo>
                  <a:lnTo>
                    <a:pt x="329" y="438"/>
                  </a:lnTo>
                  <a:lnTo>
                    <a:pt x="348" y="463"/>
                  </a:lnTo>
                  <a:lnTo>
                    <a:pt x="348" y="476"/>
                  </a:lnTo>
                  <a:lnTo>
                    <a:pt x="368" y="487"/>
                  </a:lnTo>
                  <a:cubicBezTo>
                    <a:pt x="369" y="488"/>
                    <a:pt x="370" y="490"/>
                    <a:pt x="370" y="492"/>
                  </a:cubicBezTo>
                  <a:lnTo>
                    <a:pt x="361" y="530"/>
                  </a:lnTo>
                  <a:cubicBezTo>
                    <a:pt x="361" y="532"/>
                    <a:pt x="359" y="534"/>
                    <a:pt x="357" y="534"/>
                  </a:cubicBezTo>
                  <a:lnTo>
                    <a:pt x="357" y="534"/>
                  </a:lnTo>
                  <a:cubicBezTo>
                    <a:pt x="355" y="534"/>
                    <a:pt x="353" y="533"/>
                    <a:pt x="352" y="532"/>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8" name="Freeform 543"/>
            <p:cNvSpPr>
              <a:spLocks noChangeArrowheads="1"/>
            </p:cNvSpPr>
            <p:nvPr/>
          </p:nvSpPr>
          <p:spPr bwMode="auto">
            <a:xfrm>
              <a:off x="7840663" y="3173413"/>
              <a:ext cx="133350" cy="192087"/>
            </a:xfrm>
            <a:custGeom>
              <a:avLst/>
              <a:gdLst/>
              <a:ahLst/>
              <a:cxnLst>
                <a:cxn ang="0">
                  <a:pos x="352" y="532"/>
                </a:cxn>
                <a:cxn ang="0">
                  <a:pos x="341" y="505"/>
                </a:cxn>
                <a:cxn ang="0">
                  <a:pos x="300" y="483"/>
                </a:cxn>
                <a:cxn ang="0">
                  <a:pos x="236" y="417"/>
                </a:cxn>
                <a:cxn ang="0">
                  <a:pos x="249" y="474"/>
                </a:cxn>
                <a:cxn ang="0">
                  <a:pos x="243" y="474"/>
                </a:cxn>
                <a:cxn ang="0">
                  <a:pos x="159" y="416"/>
                </a:cxn>
                <a:cxn ang="0">
                  <a:pos x="136" y="437"/>
                </a:cxn>
                <a:cxn ang="0">
                  <a:pos x="77" y="424"/>
                </a:cxn>
                <a:cxn ang="0">
                  <a:pos x="92" y="350"/>
                </a:cxn>
                <a:cxn ang="0">
                  <a:pos x="73" y="369"/>
                </a:cxn>
                <a:cxn ang="0">
                  <a:pos x="68" y="373"/>
                </a:cxn>
                <a:cxn ang="0">
                  <a:pos x="26" y="312"/>
                </a:cxn>
                <a:cxn ang="0">
                  <a:pos x="1" y="213"/>
                </a:cxn>
                <a:cxn ang="0">
                  <a:pos x="47" y="215"/>
                </a:cxn>
                <a:cxn ang="0">
                  <a:pos x="78" y="1"/>
                </a:cxn>
                <a:cxn ang="0">
                  <a:pos x="83" y="0"/>
                </a:cxn>
                <a:cxn ang="0">
                  <a:pos x="184" y="22"/>
                </a:cxn>
                <a:cxn ang="0">
                  <a:pos x="194" y="4"/>
                </a:cxn>
                <a:cxn ang="0">
                  <a:pos x="198" y="5"/>
                </a:cxn>
                <a:cxn ang="0">
                  <a:pos x="213" y="18"/>
                </a:cxn>
                <a:cxn ang="0">
                  <a:pos x="234" y="151"/>
                </a:cxn>
                <a:cxn ang="0">
                  <a:pos x="204" y="223"/>
                </a:cxn>
                <a:cxn ang="0">
                  <a:pos x="146" y="289"/>
                </a:cxn>
                <a:cxn ang="0">
                  <a:pos x="189" y="406"/>
                </a:cxn>
                <a:cxn ang="0">
                  <a:pos x="204" y="386"/>
                </a:cxn>
                <a:cxn ang="0">
                  <a:pos x="245" y="368"/>
                </a:cxn>
                <a:cxn ang="0">
                  <a:pos x="250" y="370"/>
                </a:cxn>
                <a:cxn ang="0">
                  <a:pos x="289" y="401"/>
                </a:cxn>
                <a:cxn ang="0">
                  <a:pos x="293" y="398"/>
                </a:cxn>
                <a:cxn ang="0">
                  <a:pos x="346" y="419"/>
                </a:cxn>
                <a:cxn ang="0">
                  <a:pos x="346" y="428"/>
                </a:cxn>
                <a:cxn ang="0">
                  <a:pos x="348" y="463"/>
                </a:cxn>
                <a:cxn ang="0">
                  <a:pos x="368" y="487"/>
                </a:cxn>
                <a:cxn ang="0">
                  <a:pos x="361" y="530"/>
                </a:cxn>
              </a:cxnLst>
              <a:rect l="0" t="0" r="r" b="b"/>
              <a:pathLst>
                <a:path w="371" h="535">
                  <a:moveTo>
                    <a:pt x="357" y="534"/>
                  </a:moveTo>
                  <a:cubicBezTo>
                    <a:pt x="355" y="534"/>
                    <a:pt x="353" y="533"/>
                    <a:pt x="352" y="532"/>
                  </a:cubicBezTo>
                  <a:lnTo>
                    <a:pt x="340" y="511"/>
                  </a:lnTo>
                  <a:cubicBezTo>
                    <a:pt x="339" y="509"/>
                    <a:pt x="339" y="506"/>
                    <a:pt x="341" y="505"/>
                  </a:cubicBezTo>
                  <a:lnTo>
                    <a:pt x="344" y="501"/>
                  </a:lnTo>
                  <a:lnTo>
                    <a:pt x="300" y="483"/>
                  </a:lnTo>
                  <a:lnTo>
                    <a:pt x="243" y="418"/>
                  </a:lnTo>
                  <a:lnTo>
                    <a:pt x="236" y="417"/>
                  </a:lnTo>
                  <a:lnTo>
                    <a:pt x="251" y="469"/>
                  </a:lnTo>
                  <a:cubicBezTo>
                    <a:pt x="252" y="471"/>
                    <a:pt x="251" y="473"/>
                    <a:pt x="249" y="474"/>
                  </a:cubicBezTo>
                  <a:cubicBezTo>
                    <a:pt x="248" y="475"/>
                    <a:pt x="247" y="475"/>
                    <a:pt x="246" y="475"/>
                  </a:cubicBezTo>
                  <a:cubicBezTo>
                    <a:pt x="245" y="475"/>
                    <a:pt x="244" y="474"/>
                    <a:pt x="243" y="474"/>
                  </a:cubicBezTo>
                  <a:lnTo>
                    <a:pt x="181" y="416"/>
                  </a:lnTo>
                  <a:lnTo>
                    <a:pt x="159" y="416"/>
                  </a:lnTo>
                  <a:lnTo>
                    <a:pt x="140" y="435"/>
                  </a:lnTo>
                  <a:cubicBezTo>
                    <a:pt x="139" y="436"/>
                    <a:pt x="137" y="437"/>
                    <a:pt x="136" y="437"/>
                  </a:cubicBezTo>
                  <a:lnTo>
                    <a:pt x="80" y="428"/>
                  </a:lnTo>
                  <a:cubicBezTo>
                    <a:pt x="78" y="428"/>
                    <a:pt x="77" y="426"/>
                    <a:pt x="77" y="424"/>
                  </a:cubicBezTo>
                  <a:lnTo>
                    <a:pt x="72" y="390"/>
                  </a:lnTo>
                  <a:lnTo>
                    <a:pt x="92" y="350"/>
                  </a:lnTo>
                  <a:lnTo>
                    <a:pt x="77" y="345"/>
                  </a:lnTo>
                  <a:lnTo>
                    <a:pt x="73" y="369"/>
                  </a:lnTo>
                  <a:cubicBezTo>
                    <a:pt x="73" y="371"/>
                    <a:pt x="71" y="373"/>
                    <a:pt x="69" y="373"/>
                  </a:cubicBezTo>
                  <a:lnTo>
                    <a:pt x="68" y="373"/>
                  </a:lnTo>
                  <a:cubicBezTo>
                    <a:pt x="67" y="373"/>
                    <a:pt x="65" y="373"/>
                    <a:pt x="65" y="371"/>
                  </a:cubicBezTo>
                  <a:lnTo>
                    <a:pt x="26" y="312"/>
                  </a:lnTo>
                  <a:lnTo>
                    <a:pt x="0" y="218"/>
                  </a:lnTo>
                  <a:cubicBezTo>
                    <a:pt x="0" y="216"/>
                    <a:pt x="0" y="214"/>
                    <a:pt x="1" y="213"/>
                  </a:cubicBezTo>
                  <a:cubicBezTo>
                    <a:pt x="2" y="212"/>
                    <a:pt x="4" y="212"/>
                    <a:pt x="5" y="212"/>
                  </a:cubicBezTo>
                  <a:lnTo>
                    <a:pt x="47" y="215"/>
                  </a:lnTo>
                  <a:lnTo>
                    <a:pt x="68" y="13"/>
                  </a:lnTo>
                  <a:lnTo>
                    <a:pt x="78" y="1"/>
                  </a:lnTo>
                  <a:cubicBezTo>
                    <a:pt x="79" y="1"/>
                    <a:pt x="80" y="0"/>
                    <a:pt x="81" y="0"/>
                  </a:cubicBezTo>
                  <a:cubicBezTo>
                    <a:pt x="82" y="0"/>
                    <a:pt x="82" y="0"/>
                    <a:pt x="83" y="0"/>
                  </a:cubicBezTo>
                  <a:lnTo>
                    <a:pt x="163" y="26"/>
                  </a:lnTo>
                  <a:lnTo>
                    <a:pt x="184" y="22"/>
                  </a:lnTo>
                  <a:lnTo>
                    <a:pt x="191" y="7"/>
                  </a:lnTo>
                  <a:cubicBezTo>
                    <a:pt x="192" y="6"/>
                    <a:pt x="193" y="5"/>
                    <a:pt x="194" y="4"/>
                  </a:cubicBezTo>
                  <a:cubicBezTo>
                    <a:pt x="195" y="4"/>
                    <a:pt x="195" y="4"/>
                    <a:pt x="195" y="4"/>
                  </a:cubicBezTo>
                  <a:cubicBezTo>
                    <a:pt x="197" y="4"/>
                    <a:pt x="197" y="5"/>
                    <a:pt x="198" y="5"/>
                  </a:cubicBezTo>
                  <a:lnTo>
                    <a:pt x="211" y="14"/>
                  </a:lnTo>
                  <a:cubicBezTo>
                    <a:pt x="212" y="14"/>
                    <a:pt x="213" y="16"/>
                    <a:pt x="213" y="18"/>
                  </a:cubicBezTo>
                  <a:lnTo>
                    <a:pt x="209" y="102"/>
                  </a:lnTo>
                  <a:lnTo>
                    <a:pt x="234" y="151"/>
                  </a:lnTo>
                  <a:cubicBezTo>
                    <a:pt x="234" y="152"/>
                    <a:pt x="234" y="153"/>
                    <a:pt x="234" y="155"/>
                  </a:cubicBezTo>
                  <a:lnTo>
                    <a:pt x="204" y="223"/>
                  </a:lnTo>
                  <a:lnTo>
                    <a:pt x="168" y="246"/>
                  </a:lnTo>
                  <a:lnTo>
                    <a:pt x="146" y="289"/>
                  </a:lnTo>
                  <a:lnTo>
                    <a:pt x="162" y="368"/>
                  </a:lnTo>
                  <a:lnTo>
                    <a:pt x="189" y="406"/>
                  </a:lnTo>
                  <a:lnTo>
                    <a:pt x="204" y="403"/>
                  </a:lnTo>
                  <a:lnTo>
                    <a:pt x="204" y="386"/>
                  </a:lnTo>
                  <a:cubicBezTo>
                    <a:pt x="204" y="383"/>
                    <a:pt x="205" y="382"/>
                    <a:pt x="207" y="381"/>
                  </a:cubicBezTo>
                  <a:lnTo>
                    <a:pt x="245" y="368"/>
                  </a:lnTo>
                  <a:cubicBezTo>
                    <a:pt x="246" y="368"/>
                    <a:pt x="246" y="368"/>
                    <a:pt x="247" y="368"/>
                  </a:cubicBezTo>
                  <a:cubicBezTo>
                    <a:pt x="248" y="368"/>
                    <a:pt x="250" y="369"/>
                    <a:pt x="250" y="370"/>
                  </a:cubicBezTo>
                  <a:lnTo>
                    <a:pt x="283" y="418"/>
                  </a:lnTo>
                  <a:lnTo>
                    <a:pt x="289" y="401"/>
                  </a:lnTo>
                  <a:cubicBezTo>
                    <a:pt x="289" y="400"/>
                    <a:pt x="290" y="399"/>
                    <a:pt x="291" y="398"/>
                  </a:cubicBezTo>
                  <a:cubicBezTo>
                    <a:pt x="292" y="398"/>
                    <a:pt x="292" y="398"/>
                    <a:pt x="293" y="398"/>
                  </a:cubicBezTo>
                  <a:cubicBezTo>
                    <a:pt x="294" y="398"/>
                    <a:pt x="294" y="398"/>
                    <a:pt x="295" y="398"/>
                  </a:cubicBezTo>
                  <a:lnTo>
                    <a:pt x="346" y="419"/>
                  </a:lnTo>
                  <a:cubicBezTo>
                    <a:pt x="347" y="420"/>
                    <a:pt x="348" y="422"/>
                    <a:pt x="349" y="423"/>
                  </a:cubicBezTo>
                  <a:cubicBezTo>
                    <a:pt x="349" y="425"/>
                    <a:pt x="348" y="427"/>
                    <a:pt x="346" y="428"/>
                  </a:cubicBezTo>
                  <a:lnTo>
                    <a:pt x="329" y="438"/>
                  </a:lnTo>
                  <a:lnTo>
                    <a:pt x="348" y="463"/>
                  </a:lnTo>
                  <a:lnTo>
                    <a:pt x="348" y="476"/>
                  </a:lnTo>
                  <a:lnTo>
                    <a:pt x="368" y="487"/>
                  </a:lnTo>
                  <a:cubicBezTo>
                    <a:pt x="369" y="488"/>
                    <a:pt x="370" y="490"/>
                    <a:pt x="370" y="492"/>
                  </a:cubicBezTo>
                  <a:lnTo>
                    <a:pt x="361" y="530"/>
                  </a:lnTo>
                  <a:cubicBezTo>
                    <a:pt x="361" y="532"/>
                    <a:pt x="359" y="534"/>
                    <a:pt x="357" y="53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49" name="Freeform 544"/>
            <p:cNvSpPr>
              <a:spLocks noChangeArrowheads="1"/>
            </p:cNvSpPr>
            <p:nvPr/>
          </p:nvSpPr>
          <p:spPr bwMode="auto">
            <a:xfrm>
              <a:off x="7856538" y="3332163"/>
              <a:ext cx="38100" cy="42862"/>
            </a:xfrm>
            <a:custGeom>
              <a:avLst/>
              <a:gdLst/>
              <a:ahLst/>
              <a:cxnLst>
                <a:cxn ang="0">
                  <a:pos x="73" y="113"/>
                </a:cxn>
                <a:cxn ang="0">
                  <a:pos x="27" y="29"/>
                </a:cxn>
                <a:cxn ang="0">
                  <a:pos x="3" y="13"/>
                </a:cxn>
                <a:cxn ang="0">
                  <a:pos x="1" y="8"/>
                </a:cxn>
                <a:cxn ang="0">
                  <a:pos x="5" y="5"/>
                </a:cxn>
                <a:cxn ang="0">
                  <a:pos x="65" y="0"/>
                </a:cxn>
                <a:cxn ang="0">
                  <a:pos x="68" y="1"/>
                </a:cxn>
                <a:cxn ang="0">
                  <a:pos x="102" y="27"/>
                </a:cxn>
                <a:cxn ang="0">
                  <a:pos x="103" y="30"/>
                </a:cxn>
                <a:cxn ang="0">
                  <a:pos x="103" y="98"/>
                </a:cxn>
                <a:cxn ang="0">
                  <a:pos x="101" y="102"/>
                </a:cxn>
                <a:cxn ang="0">
                  <a:pos x="80" y="115"/>
                </a:cxn>
                <a:cxn ang="0">
                  <a:pos x="78" y="116"/>
                </a:cxn>
                <a:cxn ang="0">
                  <a:pos x="76" y="115"/>
                </a:cxn>
                <a:cxn ang="0">
                  <a:pos x="73" y="113"/>
                </a:cxn>
              </a:cxnLst>
              <a:rect l="0" t="0" r="r" b="b"/>
              <a:pathLst>
                <a:path w="104" h="117">
                  <a:moveTo>
                    <a:pt x="73" y="113"/>
                  </a:moveTo>
                  <a:lnTo>
                    <a:pt x="27" y="29"/>
                  </a:lnTo>
                  <a:lnTo>
                    <a:pt x="3" y="13"/>
                  </a:lnTo>
                  <a:cubicBezTo>
                    <a:pt x="1" y="12"/>
                    <a:pt x="0" y="10"/>
                    <a:pt x="1" y="8"/>
                  </a:cubicBezTo>
                  <a:cubicBezTo>
                    <a:pt x="1" y="6"/>
                    <a:pt x="3" y="5"/>
                    <a:pt x="5" y="5"/>
                  </a:cubicBezTo>
                  <a:lnTo>
                    <a:pt x="65" y="0"/>
                  </a:lnTo>
                  <a:cubicBezTo>
                    <a:pt x="66" y="0"/>
                    <a:pt x="67" y="1"/>
                    <a:pt x="68" y="1"/>
                  </a:cubicBezTo>
                  <a:lnTo>
                    <a:pt x="102" y="27"/>
                  </a:lnTo>
                  <a:cubicBezTo>
                    <a:pt x="103" y="28"/>
                    <a:pt x="103" y="29"/>
                    <a:pt x="103" y="30"/>
                  </a:cubicBezTo>
                  <a:lnTo>
                    <a:pt x="103" y="98"/>
                  </a:lnTo>
                  <a:cubicBezTo>
                    <a:pt x="103" y="100"/>
                    <a:pt x="102" y="101"/>
                    <a:pt x="101" y="102"/>
                  </a:cubicBezTo>
                  <a:lnTo>
                    <a:pt x="80" y="115"/>
                  </a:lnTo>
                  <a:cubicBezTo>
                    <a:pt x="79" y="115"/>
                    <a:pt x="78" y="116"/>
                    <a:pt x="78" y="116"/>
                  </a:cubicBezTo>
                  <a:cubicBezTo>
                    <a:pt x="77" y="115"/>
                    <a:pt x="77" y="115"/>
                    <a:pt x="76" y="115"/>
                  </a:cubicBezTo>
                  <a:cubicBezTo>
                    <a:pt x="75" y="115"/>
                    <a:pt x="74" y="114"/>
                    <a:pt x="73" y="11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0" name="Freeform 545"/>
            <p:cNvSpPr>
              <a:spLocks noChangeArrowheads="1"/>
            </p:cNvSpPr>
            <p:nvPr/>
          </p:nvSpPr>
          <p:spPr bwMode="auto">
            <a:xfrm>
              <a:off x="7856538" y="3332163"/>
              <a:ext cx="38100" cy="42862"/>
            </a:xfrm>
            <a:custGeom>
              <a:avLst/>
              <a:gdLst/>
              <a:ahLst/>
              <a:cxnLst>
                <a:cxn ang="0">
                  <a:pos x="76" y="115"/>
                </a:cxn>
                <a:cxn ang="0">
                  <a:pos x="73" y="113"/>
                </a:cxn>
                <a:cxn ang="0">
                  <a:pos x="27" y="29"/>
                </a:cxn>
                <a:cxn ang="0">
                  <a:pos x="3" y="13"/>
                </a:cxn>
                <a:cxn ang="0">
                  <a:pos x="1" y="8"/>
                </a:cxn>
                <a:cxn ang="0">
                  <a:pos x="5" y="5"/>
                </a:cxn>
                <a:cxn ang="0">
                  <a:pos x="65" y="0"/>
                </a:cxn>
                <a:cxn ang="0">
                  <a:pos x="68" y="1"/>
                </a:cxn>
                <a:cxn ang="0">
                  <a:pos x="102" y="27"/>
                </a:cxn>
                <a:cxn ang="0">
                  <a:pos x="103" y="30"/>
                </a:cxn>
                <a:cxn ang="0">
                  <a:pos x="103" y="98"/>
                </a:cxn>
                <a:cxn ang="0">
                  <a:pos x="101" y="102"/>
                </a:cxn>
                <a:cxn ang="0">
                  <a:pos x="80" y="115"/>
                </a:cxn>
                <a:cxn ang="0">
                  <a:pos x="78" y="116"/>
                </a:cxn>
                <a:cxn ang="0">
                  <a:pos x="76" y="115"/>
                </a:cxn>
              </a:cxnLst>
              <a:rect l="0" t="0" r="r" b="b"/>
              <a:pathLst>
                <a:path w="104" h="117">
                  <a:moveTo>
                    <a:pt x="76" y="115"/>
                  </a:moveTo>
                  <a:cubicBezTo>
                    <a:pt x="75" y="115"/>
                    <a:pt x="74" y="114"/>
                    <a:pt x="73" y="113"/>
                  </a:cubicBezTo>
                  <a:lnTo>
                    <a:pt x="27" y="29"/>
                  </a:lnTo>
                  <a:lnTo>
                    <a:pt x="3" y="13"/>
                  </a:lnTo>
                  <a:cubicBezTo>
                    <a:pt x="1" y="12"/>
                    <a:pt x="0" y="10"/>
                    <a:pt x="1" y="8"/>
                  </a:cubicBezTo>
                  <a:cubicBezTo>
                    <a:pt x="1" y="6"/>
                    <a:pt x="3" y="5"/>
                    <a:pt x="5" y="5"/>
                  </a:cubicBezTo>
                  <a:lnTo>
                    <a:pt x="65" y="0"/>
                  </a:lnTo>
                  <a:cubicBezTo>
                    <a:pt x="66" y="0"/>
                    <a:pt x="67" y="1"/>
                    <a:pt x="68" y="1"/>
                  </a:cubicBezTo>
                  <a:lnTo>
                    <a:pt x="102" y="27"/>
                  </a:lnTo>
                  <a:cubicBezTo>
                    <a:pt x="103" y="28"/>
                    <a:pt x="103" y="29"/>
                    <a:pt x="103" y="30"/>
                  </a:cubicBezTo>
                  <a:lnTo>
                    <a:pt x="103" y="98"/>
                  </a:lnTo>
                  <a:cubicBezTo>
                    <a:pt x="103" y="100"/>
                    <a:pt x="102" y="101"/>
                    <a:pt x="101" y="102"/>
                  </a:cubicBezTo>
                  <a:lnTo>
                    <a:pt x="80" y="115"/>
                  </a:lnTo>
                  <a:cubicBezTo>
                    <a:pt x="79" y="115"/>
                    <a:pt x="78" y="116"/>
                    <a:pt x="78" y="116"/>
                  </a:cubicBezTo>
                  <a:cubicBezTo>
                    <a:pt x="77" y="115"/>
                    <a:pt x="77" y="115"/>
                    <a:pt x="76" y="11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1" name="Freeform 546"/>
            <p:cNvSpPr>
              <a:spLocks noChangeArrowheads="1"/>
            </p:cNvSpPr>
            <p:nvPr/>
          </p:nvSpPr>
          <p:spPr bwMode="auto">
            <a:xfrm>
              <a:off x="6880225" y="2914650"/>
              <a:ext cx="147638" cy="185738"/>
            </a:xfrm>
            <a:custGeom>
              <a:avLst/>
              <a:gdLst/>
              <a:ahLst/>
              <a:cxnLst>
                <a:cxn ang="0">
                  <a:pos x="331" y="395"/>
                </a:cxn>
                <a:cxn ang="0">
                  <a:pos x="268" y="356"/>
                </a:cxn>
                <a:cxn ang="0">
                  <a:pos x="229" y="363"/>
                </a:cxn>
                <a:cxn ang="0">
                  <a:pos x="204" y="435"/>
                </a:cxn>
                <a:cxn ang="0">
                  <a:pos x="200" y="437"/>
                </a:cxn>
                <a:cxn ang="0">
                  <a:pos x="179" y="418"/>
                </a:cxn>
                <a:cxn ang="0">
                  <a:pos x="153" y="441"/>
                </a:cxn>
                <a:cxn ang="0">
                  <a:pos x="149" y="438"/>
                </a:cxn>
                <a:cxn ang="0">
                  <a:pos x="91" y="453"/>
                </a:cxn>
                <a:cxn ang="0">
                  <a:pos x="87" y="453"/>
                </a:cxn>
                <a:cxn ang="0">
                  <a:pos x="47" y="268"/>
                </a:cxn>
                <a:cxn ang="0">
                  <a:pos x="2" y="169"/>
                </a:cxn>
                <a:cxn ang="0">
                  <a:pos x="31" y="121"/>
                </a:cxn>
                <a:cxn ang="0">
                  <a:pos x="63" y="119"/>
                </a:cxn>
                <a:cxn ang="0">
                  <a:pos x="30" y="94"/>
                </a:cxn>
                <a:cxn ang="0">
                  <a:pos x="17" y="66"/>
                </a:cxn>
                <a:cxn ang="0">
                  <a:pos x="47" y="3"/>
                </a:cxn>
                <a:cxn ang="0">
                  <a:pos x="52" y="0"/>
                </a:cxn>
                <a:cxn ang="0">
                  <a:pos x="77" y="34"/>
                </a:cxn>
                <a:cxn ang="0">
                  <a:pos x="94" y="9"/>
                </a:cxn>
                <a:cxn ang="0">
                  <a:pos x="98" y="11"/>
                </a:cxn>
                <a:cxn ang="0">
                  <a:pos x="129" y="47"/>
                </a:cxn>
                <a:cxn ang="0">
                  <a:pos x="141" y="25"/>
                </a:cxn>
                <a:cxn ang="0">
                  <a:pos x="145" y="29"/>
                </a:cxn>
                <a:cxn ang="0">
                  <a:pos x="186" y="111"/>
                </a:cxn>
                <a:cxn ang="0">
                  <a:pos x="374" y="134"/>
                </a:cxn>
                <a:cxn ang="0">
                  <a:pos x="273" y="243"/>
                </a:cxn>
                <a:cxn ang="0">
                  <a:pos x="317" y="315"/>
                </a:cxn>
                <a:cxn ang="0">
                  <a:pos x="361" y="254"/>
                </a:cxn>
                <a:cxn ang="0">
                  <a:pos x="365" y="257"/>
                </a:cxn>
                <a:cxn ang="0">
                  <a:pos x="408" y="474"/>
                </a:cxn>
                <a:cxn ang="0">
                  <a:pos x="378" y="479"/>
                </a:cxn>
                <a:cxn ang="0">
                  <a:pos x="374" y="517"/>
                </a:cxn>
                <a:cxn ang="0">
                  <a:pos x="369" y="514"/>
                </a:cxn>
              </a:cxnLst>
              <a:rect l="0" t="0" r="r" b="b"/>
              <a:pathLst>
                <a:path w="409" h="518">
                  <a:moveTo>
                    <a:pt x="369" y="514"/>
                  </a:moveTo>
                  <a:lnTo>
                    <a:pt x="331" y="395"/>
                  </a:lnTo>
                  <a:lnTo>
                    <a:pt x="315" y="356"/>
                  </a:lnTo>
                  <a:lnTo>
                    <a:pt x="268" y="356"/>
                  </a:lnTo>
                  <a:lnTo>
                    <a:pt x="247" y="341"/>
                  </a:lnTo>
                  <a:lnTo>
                    <a:pt x="229" y="363"/>
                  </a:lnTo>
                  <a:lnTo>
                    <a:pt x="230" y="394"/>
                  </a:lnTo>
                  <a:lnTo>
                    <a:pt x="204" y="435"/>
                  </a:lnTo>
                  <a:cubicBezTo>
                    <a:pt x="203" y="436"/>
                    <a:pt x="202" y="437"/>
                    <a:pt x="200" y="437"/>
                  </a:cubicBezTo>
                  <a:lnTo>
                    <a:pt x="200" y="437"/>
                  </a:lnTo>
                  <a:cubicBezTo>
                    <a:pt x="199" y="437"/>
                    <a:pt x="197" y="436"/>
                    <a:pt x="197" y="435"/>
                  </a:cubicBezTo>
                  <a:lnTo>
                    <a:pt x="179" y="418"/>
                  </a:lnTo>
                  <a:lnTo>
                    <a:pt x="157" y="440"/>
                  </a:lnTo>
                  <a:cubicBezTo>
                    <a:pt x="156" y="441"/>
                    <a:pt x="155" y="441"/>
                    <a:pt x="153" y="441"/>
                  </a:cubicBezTo>
                  <a:lnTo>
                    <a:pt x="152" y="441"/>
                  </a:lnTo>
                  <a:cubicBezTo>
                    <a:pt x="151" y="441"/>
                    <a:pt x="150" y="440"/>
                    <a:pt x="149" y="438"/>
                  </a:cubicBezTo>
                  <a:lnTo>
                    <a:pt x="147" y="434"/>
                  </a:lnTo>
                  <a:lnTo>
                    <a:pt x="91" y="453"/>
                  </a:lnTo>
                  <a:cubicBezTo>
                    <a:pt x="91" y="454"/>
                    <a:pt x="90" y="454"/>
                    <a:pt x="90" y="454"/>
                  </a:cubicBezTo>
                  <a:cubicBezTo>
                    <a:pt x="89" y="454"/>
                    <a:pt x="88" y="454"/>
                    <a:pt x="87" y="453"/>
                  </a:cubicBezTo>
                  <a:cubicBezTo>
                    <a:pt x="86" y="452"/>
                    <a:pt x="85" y="451"/>
                    <a:pt x="85" y="450"/>
                  </a:cubicBezTo>
                  <a:lnTo>
                    <a:pt x="47" y="268"/>
                  </a:lnTo>
                  <a:lnTo>
                    <a:pt x="51" y="210"/>
                  </a:lnTo>
                  <a:lnTo>
                    <a:pt x="2" y="169"/>
                  </a:lnTo>
                  <a:cubicBezTo>
                    <a:pt x="0" y="168"/>
                    <a:pt x="0" y="165"/>
                    <a:pt x="1" y="163"/>
                  </a:cubicBezTo>
                  <a:lnTo>
                    <a:pt x="31" y="121"/>
                  </a:lnTo>
                  <a:cubicBezTo>
                    <a:pt x="32" y="119"/>
                    <a:pt x="33" y="119"/>
                    <a:pt x="35" y="119"/>
                  </a:cubicBezTo>
                  <a:lnTo>
                    <a:pt x="63" y="119"/>
                  </a:lnTo>
                  <a:lnTo>
                    <a:pt x="60" y="98"/>
                  </a:lnTo>
                  <a:lnTo>
                    <a:pt x="30" y="94"/>
                  </a:lnTo>
                  <a:cubicBezTo>
                    <a:pt x="28" y="94"/>
                    <a:pt x="27" y="93"/>
                    <a:pt x="26" y="91"/>
                  </a:cubicBezTo>
                  <a:lnTo>
                    <a:pt x="17" y="66"/>
                  </a:lnTo>
                  <a:cubicBezTo>
                    <a:pt x="17" y="64"/>
                    <a:pt x="17" y="63"/>
                    <a:pt x="18" y="62"/>
                  </a:cubicBezTo>
                  <a:lnTo>
                    <a:pt x="47" y="3"/>
                  </a:lnTo>
                  <a:cubicBezTo>
                    <a:pt x="48" y="1"/>
                    <a:pt x="50" y="0"/>
                    <a:pt x="51" y="0"/>
                  </a:cubicBezTo>
                  <a:lnTo>
                    <a:pt x="52" y="0"/>
                  </a:lnTo>
                  <a:cubicBezTo>
                    <a:pt x="53" y="0"/>
                    <a:pt x="55" y="1"/>
                    <a:pt x="56" y="2"/>
                  </a:cubicBezTo>
                  <a:lnTo>
                    <a:pt x="77" y="34"/>
                  </a:lnTo>
                  <a:lnTo>
                    <a:pt x="90" y="11"/>
                  </a:lnTo>
                  <a:cubicBezTo>
                    <a:pt x="91" y="9"/>
                    <a:pt x="92" y="9"/>
                    <a:pt x="94" y="9"/>
                  </a:cubicBezTo>
                  <a:lnTo>
                    <a:pt x="94" y="9"/>
                  </a:lnTo>
                  <a:cubicBezTo>
                    <a:pt x="96" y="9"/>
                    <a:pt x="98" y="10"/>
                    <a:pt x="98" y="11"/>
                  </a:cubicBezTo>
                  <a:lnTo>
                    <a:pt x="114" y="47"/>
                  </a:lnTo>
                  <a:lnTo>
                    <a:pt x="129" y="47"/>
                  </a:lnTo>
                  <a:lnTo>
                    <a:pt x="136" y="29"/>
                  </a:lnTo>
                  <a:cubicBezTo>
                    <a:pt x="137" y="27"/>
                    <a:pt x="139" y="25"/>
                    <a:pt x="141" y="25"/>
                  </a:cubicBezTo>
                  <a:lnTo>
                    <a:pt x="141" y="25"/>
                  </a:lnTo>
                  <a:cubicBezTo>
                    <a:pt x="143" y="26"/>
                    <a:pt x="144" y="27"/>
                    <a:pt x="145" y="29"/>
                  </a:cubicBezTo>
                  <a:lnTo>
                    <a:pt x="162" y="93"/>
                  </a:lnTo>
                  <a:lnTo>
                    <a:pt x="186" y="111"/>
                  </a:lnTo>
                  <a:lnTo>
                    <a:pt x="370" y="131"/>
                  </a:lnTo>
                  <a:cubicBezTo>
                    <a:pt x="372" y="132"/>
                    <a:pt x="373" y="133"/>
                    <a:pt x="374" y="134"/>
                  </a:cubicBezTo>
                  <a:cubicBezTo>
                    <a:pt x="374" y="136"/>
                    <a:pt x="374" y="138"/>
                    <a:pt x="373" y="139"/>
                  </a:cubicBezTo>
                  <a:lnTo>
                    <a:pt x="273" y="243"/>
                  </a:lnTo>
                  <a:lnTo>
                    <a:pt x="289" y="295"/>
                  </a:lnTo>
                  <a:lnTo>
                    <a:pt x="317" y="315"/>
                  </a:lnTo>
                  <a:lnTo>
                    <a:pt x="357" y="256"/>
                  </a:lnTo>
                  <a:cubicBezTo>
                    <a:pt x="358" y="255"/>
                    <a:pt x="359" y="254"/>
                    <a:pt x="361" y="254"/>
                  </a:cubicBezTo>
                  <a:lnTo>
                    <a:pt x="362" y="254"/>
                  </a:lnTo>
                  <a:cubicBezTo>
                    <a:pt x="363" y="254"/>
                    <a:pt x="365" y="256"/>
                    <a:pt x="365" y="257"/>
                  </a:cubicBezTo>
                  <a:lnTo>
                    <a:pt x="408" y="422"/>
                  </a:lnTo>
                  <a:lnTo>
                    <a:pt x="408" y="474"/>
                  </a:lnTo>
                  <a:cubicBezTo>
                    <a:pt x="408" y="477"/>
                    <a:pt x="406" y="479"/>
                    <a:pt x="403" y="479"/>
                  </a:cubicBezTo>
                  <a:lnTo>
                    <a:pt x="378" y="479"/>
                  </a:lnTo>
                  <a:lnTo>
                    <a:pt x="378" y="513"/>
                  </a:lnTo>
                  <a:cubicBezTo>
                    <a:pt x="378" y="515"/>
                    <a:pt x="377" y="517"/>
                    <a:pt x="374" y="517"/>
                  </a:cubicBezTo>
                  <a:lnTo>
                    <a:pt x="373" y="517"/>
                  </a:lnTo>
                  <a:cubicBezTo>
                    <a:pt x="372" y="517"/>
                    <a:pt x="370" y="516"/>
                    <a:pt x="369" y="514"/>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2" name="Freeform 547"/>
            <p:cNvSpPr>
              <a:spLocks noChangeArrowheads="1"/>
            </p:cNvSpPr>
            <p:nvPr/>
          </p:nvSpPr>
          <p:spPr bwMode="auto">
            <a:xfrm>
              <a:off x="6880225" y="2914650"/>
              <a:ext cx="147638" cy="185738"/>
            </a:xfrm>
            <a:custGeom>
              <a:avLst/>
              <a:gdLst/>
              <a:ahLst/>
              <a:cxnLst>
                <a:cxn ang="0">
                  <a:pos x="369" y="514"/>
                </a:cxn>
                <a:cxn ang="0">
                  <a:pos x="315" y="356"/>
                </a:cxn>
                <a:cxn ang="0">
                  <a:pos x="247" y="341"/>
                </a:cxn>
                <a:cxn ang="0">
                  <a:pos x="230" y="394"/>
                </a:cxn>
                <a:cxn ang="0">
                  <a:pos x="200" y="437"/>
                </a:cxn>
                <a:cxn ang="0">
                  <a:pos x="197" y="435"/>
                </a:cxn>
                <a:cxn ang="0">
                  <a:pos x="157" y="440"/>
                </a:cxn>
                <a:cxn ang="0">
                  <a:pos x="152" y="441"/>
                </a:cxn>
                <a:cxn ang="0">
                  <a:pos x="147" y="434"/>
                </a:cxn>
                <a:cxn ang="0">
                  <a:pos x="90" y="454"/>
                </a:cxn>
                <a:cxn ang="0">
                  <a:pos x="85" y="450"/>
                </a:cxn>
                <a:cxn ang="0">
                  <a:pos x="51" y="210"/>
                </a:cxn>
                <a:cxn ang="0">
                  <a:pos x="1" y="163"/>
                </a:cxn>
                <a:cxn ang="0">
                  <a:pos x="35" y="119"/>
                </a:cxn>
                <a:cxn ang="0">
                  <a:pos x="60" y="98"/>
                </a:cxn>
                <a:cxn ang="0">
                  <a:pos x="26" y="91"/>
                </a:cxn>
                <a:cxn ang="0">
                  <a:pos x="18" y="62"/>
                </a:cxn>
                <a:cxn ang="0">
                  <a:pos x="51" y="0"/>
                </a:cxn>
                <a:cxn ang="0">
                  <a:pos x="56" y="2"/>
                </a:cxn>
                <a:cxn ang="0">
                  <a:pos x="90" y="11"/>
                </a:cxn>
                <a:cxn ang="0">
                  <a:pos x="94" y="9"/>
                </a:cxn>
                <a:cxn ang="0">
                  <a:pos x="114" y="47"/>
                </a:cxn>
                <a:cxn ang="0">
                  <a:pos x="136" y="29"/>
                </a:cxn>
                <a:cxn ang="0">
                  <a:pos x="141" y="25"/>
                </a:cxn>
                <a:cxn ang="0">
                  <a:pos x="162" y="93"/>
                </a:cxn>
                <a:cxn ang="0">
                  <a:pos x="370" y="131"/>
                </a:cxn>
                <a:cxn ang="0">
                  <a:pos x="373" y="139"/>
                </a:cxn>
                <a:cxn ang="0">
                  <a:pos x="289" y="295"/>
                </a:cxn>
                <a:cxn ang="0">
                  <a:pos x="357" y="256"/>
                </a:cxn>
                <a:cxn ang="0">
                  <a:pos x="362" y="254"/>
                </a:cxn>
                <a:cxn ang="0">
                  <a:pos x="408" y="422"/>
                </a:cxn>
                <a:cxn ang="0">
                  <a:pos x="403" y="479"/>
                </a:cxn>
                <a:cxn ang="0">
                  <a:pos x="378" y="513"/>
                </a:cxn>
                <a:cxn ang="0">
                  <a:pos x="373" y="517"/>
                </a:cxn>
              </a:cxnLst>
              <a:rect l="0" t="0" r="r" b="b"/>
              <a:pathLst>
                <a:path w="409" h="518">
                  <a:moveTo>
                    <a:pt x="373" y="517"/>
                  </a:moveTo>
                  <a:cubicBezTo>
                    <a:pt x="372" y="517"/>
                    <a:pt x="370" y="516"/>
                    <a:pt x="369" y="514"/>
                  </a:cubicBezTo>
                  <a:lnTo>
                    <a:pt x="331" y="395"/>
                  </a:lnTo>
                  <a:lnTo>
                    <a:pt x="315" y="356"/>
                  </a:lnTo>
                  <a:lnTo>
                    <a:pt x="268" y="356"/>
                  </a:lnTo>
                  <a:lnTo>
                    <a:pt x="247" y="341"/>
                  </a:lnTo>
                  <a:lnTo>
                    <a:pt x="229" y="363"/>
                  </a:lnTo>
                  <a:lnTo>
                    <a:pt x="230" y="394"/>
                  </a:lnTo>
                  <a:lnTo>
                    <a:pt x="204" y="435"/>
                  </a:lnTo>
                  <a:cubicBezTo>
                    <a:pt x="203" y="436"/>
                    <a:pt x="202" y="437"/>
                    <a:pt x="200" y="437"/>
                  </a:cubicBezTo>
                  <a:lnTo>
                    <a:pt x="200" y="437"/>
                  </a:lnTo>
                  <a:cubicBezTo>
                    <a:pt x="199" y="437"/>
                    <a:pt x="197" y="436"/>
                    <a:pt x="197" y="435"/>
                  </a:cubicBezTo>
                  <a:lnTo>
                    <a:pt x="179" y="418"/>
                  </a:lnTo>
                  <a:lnTo>
                    <a:pt x="157" y="440"/>
                  </a:lnTo>
                  <a:cubicBezTo>
                    <a:pt x="156" y="441"/>
                    <a:pt x="155" y="441"/>
                    <a:pt x="153" y="441"/>
                  </a:cubicBezTo>
                  <a:lnTo>
                    <a:pt x="152" y="441"/>
                  </a:lnTo>
                  <a:cubicBezTo>
                    <a:pt x="151" y="441"/>
                    <a:pt x="150" y="440"/>
                    <a:pt x="149" y="438"/>
                  </a:cubicBezTo>
                  <a:lnTo>
                    <a:pt x="147" y="434"/>
                  </a:lnTo>
                  <a:lnTo>
                    <a:pt x="91" y="453"/>
                  </a:lnTo>
                  <a:cubicBezTo>
                    <a:pt x="91" y="454"/>
                    <a:pt x="90" y="454"/>
                    <a:pt x="90" y="454"/>
                  </a:cubicBezTo>
                  <a:cubicBezTo>
                    <a:pt x="89" y="454"/>
                    <a:pt x="88" y="454"/>
                    <a:pt x="87" y="453"/>
                  </a:cubicBezTo>
                  <a:cubicBezTo>
                    <a:pt x="86" y="452"/>
                    <a:pt x="85" y="451"/>
                    <a:pt x="85" y="450"/>
                  </a:cubicBezTo>
                  <a:lnTo>
                    <a:pt x="47" y="268"/>
                  </a:lnTo>
                  <a:lnTo>
                    <a:pt x="51" y="210"/>
                  </a:lnTo>
                  <a:lnTo>
                    <a:pt x="2" y="169"/>
                  </a:lnTo>
                  <a:cubicBezTo>
                    <a:pt x="0" y="168"/>
                    <a:pt x="0" y="165"/>
                    <a:pt x="1" y="163"/>
                  </a:cubicBezTo>
                  <a:lnTo>
                    <a:pt x="31" y="121"/>
                  </a:lnTo>
                  <a:cubicBezTo>
                    <a:pt x="32" y="119"/>
                    <a:pt x="33" y="119"/>
                    <a:pt x="35" y="119"/>
                  </a:cubicBezTo>
                  <a:lnTo>
                    <a:pt x="63" y="119"/>
                  </a:lnTo>
                  <a:lnTo>
                    <a:pt x="60" y="98"/>
                  </a:lnTo>
                  <a:lnTo>
                    <a:pt x="30" y="94"/>
                  </a:lnTo>
                  <a:cubicBezTo>
                    <a:pt x="28" y="94"/>
                    <a:pt x="27" y="93"/>
                    <a:pt x="26" y="91"/>
                  </a:cubicBezTo>
                  <a:lnTo>
                    <a:pt x="17" y="66"/>
                  </a:lnTo>
                  <a:cubicBezTo>
                    <a:pt x="17" y="64"/>
                    <a:pt x="17" y="63"/>
                    <a:pt x="18" y="62"/>
                  </a:cubicBezTo>
                  <a:lnTo>
                    <a:pt x="47" y="3"/>
                  </a:lnTo>
                  <a:cubicBezTo>
                    <a:pt x="48" y="1"/>
                    <a:pt x="50" y="0"/>
                    <a:pt x="51" y="0"/>
                  </a:cubicBezTo>
                  <a:lnTo>
                    <a:pt x="52" y="0"/>
                  </a:lnTo>
                  <a:cubicBezTo>
                    <a:pt x="53" y="0"/>
                    <a:pt x="55" y="1"/>
                    <a:pt x="56" y="2"/>
                  </a:cubicBezTo>
                  <a:lnTo>
                    <a:pt x="77" y="34"/>
                  </a:lnTo>
                  <a:lnTo>
                    <a:pt x="90" y="11"/>
                  </a:lnTo>
                  <a:cubicBezTo>
                    <a:pt x="91" y="9"/>
                    <a:pt x="92" y="9"/>
                    <a:pt x="94" y="9"/>
                  </a:cubicBezTo>
                  <a:lnTo>
                    <a:pt x="94" y="9"/>
                  </a:lnTo>
                  <a:cubicBezTo>
                    <a:pt x="96" y="9"/>
                    <a:pt x="98" y="10"/>
                    <a:pt x="98" y="11"/>
                  </a:cubicBezTo>
                  <a:lnTo>
                    <a:pt x="114" y="47"/>
                  </a:lnTo>
                  <a:lnTo>
                    <a:pt x="129" y="47"/>
                  </a:lnTo>
                  <a:lnTo>
                    <a:pt x="136" y="29"/>
                  </a:lnTo>
                  <a:cubicBezTo>
                    <a:pt x="137" y="27"/>
                    <a:pt x="139" y="25"/>
                    <a:pt x="141" y="25"/>
                  </a:cubicBezTo>
                  <a:lnTo>
                    <a:pt x="141" y="25"/>
                  </a:lnTo>
                  <a:cubicBezTo>
                    <a:pt x="143" y="26"/>
                    <a:pt x="144" y="27"/>
                    <a:pt x="145" y="29"/>
                  </a:cubicBezTo>
                  <a:lnTo>
                    <a:pt x="162" y="93"/>
                  </a:lnTo>
                  <a:lnTo>
                    <a:pt x="186" y="111"/>
                  </a:lnTo>
                  <a:lnTo>
                    <a:pt x="370" y="131"/>
                  </a:lnTo>
                  <a:cubicBezTo>
                    <a:pt x="372" y="132"/>
                    <a:pt x="373" y="133"/>
                    <a:pt x="374" y="134"/>
                  </a:cubicBezTo>
                  <a:cubicBezTo>
                    <a:pt x="374" y="136"/>
                    <a:pt x="374" y="138"/>
                    <a:pt x="373" y="139"/>
                  </a:cubicBezTo>
                  <a:lnTo>
                    <a:pt x="273" y="243"/>
                  </a:lnTo>
                  <a:lnTo>
                    <a:pt x="289" y="295"/>
                  </a:lnTo>
                  <a:lnTo>
                    <a:pt x="317" y="315"/>
                  </a:lnTo>
                  <a:lnTo>
                    <a:pt x="357" y="256"/>
                  </a:lnTo>
                  <a:cubicBezTo>
                    <a:pt x="358" y="255"/>
                    <a:pt x="359" y="254"/>
                    <a:pt x="361" y="254"/>
                  </a:cubicBezTo>
                  <a:lnTo>
                    <a:pt x="362" y="254"/>
                  </a:lnTo>
                  <a:cubicBezTo>
                    <a:pt x="363" y="254"/>
                    <a:pt x="365" y="256"/>
                    <a:pt x="365" y="257"/>
                  </a:cubicBezTo>
                  <a:lnTo>
                    <a:pt x="408" y="422"/>
                  </a:lnTo>
                  <a:lnTo>
                    <a:pt x="408" y="474"/>
                  </a:lnTo>
                  <a:cubicBezTo>
                    <a:pt x="408" y="477"/>
                    <a:pt x="406" y="479"/>
                    <a:pt x="403" y="479"/>
                  </a:cubicBezTo>
                  <a:lnTo>
                    <a:pt x="378" y="479"/>
                  </a:lnTo>
                  <a:lnTo>
                    <a:pt x="378" y="513"/>
                  </a:lnTo>
                  <a:cubicBezTo>
                    <a:pt x="378" y="515"/>
                    <a:pt x="377" y="517"/>
                    <a:pt x="374" y="517"/>
                  </a:cubicBezTo>
                  <a:lnTo>
                    <a:pt x="373" y="51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3" name="Freeform 548"/>
            <p:cNvSpPr>
              <a:spLocks noChangeArrowheads="1"/>
            </p:cNvSpPr>
            <p:nvPr/>
          </p:nvSpPr>
          <p:spPr bwMode="auto">
            <a:xfrm>
              <a:off x="6962775" y="3040063"/>
              <a:ext cx="7938" cy="17462"/>
            </a:xfrm>
            <a:custGeom>
              <a:avLst/>
              <a:gdLst/>
              <a:ahLst/>
              <a:cxnLst>
                <a:cxn ang="0">
                  <a:pos x="11" y="47"/>
                </a:cxn>
                <a:cxn ang="0">
                  <a:pos x="3" y="43"/>
                </a:cxn>
                <a:cxn ang="0">
                  <a:pos x="0" y="39"/>
                </a:cxn>
                <a:cxn ang="0">
                  <a:pos x="0" y="5"/>
                </a:cxn>
                <a:cxn ang="0">
                  <a:pos x="3" y="0"/>
                </a:cxn>
                <a:cxn ang="0">
                  <a:pos x="5" y="0"/>
                </a:cxn>
                <a:cxn ang="0">
                  <a:pos x="8" y="1"/>
                </a:cxn>
                <a:cxn ang="0">
                  <a:pos x="21" y="14"/>
                </a:cxn>
                <a:cxn ang="0">
                  <a:pos x="22" y="18"/>
                </a:cxn>
                <a:cxn ang="0">
                  <a:pos x="18" y="44"/>
                </a:cxn>
                <a:cxn ang="0">
                  <a:pos x="16" y="47"/>
                </a:cxn>
                <a:cxn ang="0">
                  <a:pos x="13" y="48"/>
                </a:cxn>
                <a:cxn ang="0">
                  <a:pos x="11" y="47"/>
                </a:cxn>
              </a:cxnLst>
              <a:rect l="0" t="0" r="r" b="b"/>
              <a:pathLst>
                <a:path w="24" h="49">
                  <a:moveTo>
                    <a:pt x="11" y="47"/>
                  </a:moveTo>
                  <a:lnTo>
                    <a:pt x="3" y="43"/>
                  </a:lnTo>
                  <a:cubicBezTo>
                    <a:pt x="1" y="42"/>
                    <a:pt x="0" y="40"/>
                    <a:pt x="0" y="39"/>
                  </a:cubicBezTo>
                  <a:lnTo>
                    <a:pt x="0" y="5"/>
                  </a:lnTo>
                  <a:cubicBezTo>
                    <a:pt x="0" y="3"/>
                    <a:pt x="1" y="1"/>
                    <a:pt x="3" y="0"/>
                  </a:cubicBezTo>
                  <a:cubicBezTo>
                    <a:pt x="4" y="0"/>
                    <a:pt x="4" y="0"/>
                    <a:pt x="5" y="0"/>
                  </a:cubicBezTo>
                  <a:cubicBezTo>
                    <a:pt x="6" y="0"/>
                    <a:pt x="7" y="1"/>
                    <a:pt x="8" y="1"/>
                  </a:cubicBezTo>
                  <a:lnTo>
                    <a:pt x="21" y="14"/>
                  </a:lnTo>
                  <a:cubicBezTo>
                    <a:pt x="22" y="15"/>
                    <a:pt x="23" y="17"/>
                    <a:pt x="22" y="18"/>
                  </a:cubicBezTo>
                  <a:lnTo>
                    <a:pt x="18" y="44"/>
                  </a:lnTo>
                  <a:cubicBezTo>
                    <a:pt x="18" y="45"/>
                    <a:pt x="17" y="46"/>
                    <a:pt x="16" y="47"/>
                  </a:cubicBezTo>
                  <a:cubicBezTo>
                    <a:pt x="15" y="47"/>
                    <a:pt x="14" y="48"/>
                    <a:pt x="13" y="48"/>
                  </a:cubicBezTo>
                  <a:cubicBezTo>
                    <a:pt x="13" y="48"/>
                    <a:pt x="12" y="47"/>
                    <a:pt x="11" y="4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4" name="Freeform 549"/>
            <p:cNvSpPr>
              <a:spLocks noChangeArrowheads="1"/>
            </p:cNvSpPr>
            <p:nvPr/>
          </p:nvSpPr>
          <p:spPr bwMode="auto">
            <a:xfrm>
              <a:off x="6962775" y="3040063"/>
              <a:ext cx="7938" cy="17462"/>
            </a:xfrm>
            <a:custGeom>
              <a:avLst/>
              <a:gdLst/>
              <a:ahLst/>
              <a:cxnLst>
                <a:cxn ang="0">
                  <a:pos x="13" y="48"/>
                </a:cxn>
                <a:cxn ang="0">
                  <a:pos x="11" y="47"/>
                </a:cxn>
                <a:cxn ang="0">
                  <a:pos x="3" y="43"/>
                </a:cxn>
                <a:cxn ang="0">
                  <a:pos x="0" y="39"/>
                </a:cxn>
                <a:cxn ang="0">
                  <a:pos x="0" y="5"/>
                </a:cxn>
                <a:cxn ang="0">
                  <a:pos x="3" y="0"/>
                </a:cxn>
                <a:cxn ang="0">
                  <a:pos x="5" y="0"/>
                </a:cxn>
                <a:cxn ang="0">
                  <a:pos x="8" y="1"/>
                </a:cxn>
                <a:cxn ang="0">
                  <a:pos x="21" y="14"/>
                </a:cxn>
                <a:cxn ang="0">
                  <a:pos x="22" y="18"/>
                </a:cxn>
                <a:cxn ang="0">
                  <a:pos x="18" y="44"/>
                </a:cxn>
                <a:cxn ang="0">
                  <a:pos x="16" y="47"/>
                </a:cxn>
                <a:cxn ang="0">
                  <a:pos x="13" y="48"/>
                </a:cxn>
              </a:cxnLst>
              <a:rect l="0" t="0" r="r" b="b"/>
              <a:pathLst>
                <a:path w="24" h="49">
                  <a:moveTo>
                    <a:pt x="13" y="48"/>
                  </a:moveTo>
                  <a:cubicBezTo>
                    <a:pt x="13" y="48"/>
                    <a:pt x="12" y="47"/>
                    <a:pt x="11" y="47"/>
                  </a:cubicBezTo>
                  <a:lnTo>
                    <a:pt x="3" y="43"/>
                  </a:lnTo>
                  <a:cubicBezTo>
                    <a:pt x="1" y="42"/>
                    <a:pt x="0" y="40"/>
                    <a:pt x="0" y="39"/>
                  </a:cubicBezTo>
                  <a:lnTo>
                    <a:pt x="0" y="5"/>
                  </a:lnTo>
                  <a:cubicBezTo>
                    <a:pt x="0" y="3"/>
                    <a:pt x="1" y="1"/>
                    <a:pt x="3" y="0"/>
                  </a:cubicBezTo>
                  <a:cubicBezTo>
                    <a:pt x="4" y="0"/>
                    <a:pt x="4" y="0"/>
                    <a:pt x="5" y="0"/>
                  </a:cubicBezTo>
                  <a:cubicBezTo>
                    <a:pt x="6" y="0"/>
                    <a:pt x="7" y="1"/>
                    <a:pt x="8" y="1"/>
                  </a:cubicBezTo>
                  <a:lnTo>
                    <a:pt x="21" y="14"/>
                  </a:lnTo>
                  <a:cubicBezTo>
                    <a:pt x="22" y="15"/>
                    <a:pt x="23" y="17"/>
                    <a:pt x="22" y="18"/>
                  </a:cubicBezTo>
                  <a:lnTo>
                    <a:pt x="18" y="44"/>
                  </a:lnTo>
                  <a:cubicBezTo>
                    <a:pt x="18" y="45"/>
                    <a:pt x="17" y="46"/>
                    <a:pt x="16" y="47"/>
                  </a:cubicBezTo>
                  <a:cubicBezTo>
                    <a:pt x="15" y="47"/>
                    <a:pt x="14" y="48"/>
                    <a:pt x="13" y="4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5" name="Freeform 550"/>
            <p:cNvSpPr>
              <a:spLocks noChangeArrowheads="1"/>
            </p:cNvSpPr>
            <p:nvPr/>
          </p:nvSpPr>
          <p:spPr bwMode="auto">
            <a:xfrm>
              <a:off x="6905625" y="2855913"/>
              <a:ext cx="107950" cy="57150"/>
            </a:xfrm>
            <a:custGeom>
              <a:avLst/>
              <a:gdLst/>
              <a:ahLst/>
              <a:cxnLst>
                <a:cxn ang="0">
                  <a:pos x="17" y="141"/>
                </a:cxn>
                <a:cxn ang="0">
                  <a:pos x="14" y="138"/>
                </a:cxn>
                <a:cxn ang="0">
                  <a:pos x="1" y="113"/>
                </a:cxn>
                <a:cxn ang="0">
                  <a:pos x="2" y="107"/>
                </a:cxn>
                <a:cxn ang="0">
                  <a:pos x="19" y="90"/>
                </a:cxn>
                <a:cxn ang="0">
                  <a:pos x="103" y="2"/>
                </a:cxn>
                <a:cxn ang="0">
                  <a:pos x="107" y="0"/>
                </a:cxn>
                <a:cxn ang="0">
                  <a:pos x="108" y="0"/>
                </a:cxn>
                <a:cxn ang="0">
                  <a:pos x="231" y="30"/>
                </a:cxn>
                <a:cxn ang="0">
                  <a:pos x="257" y="47"/>
                </a:cxn>
                <a:cxn ang="0">
                  <a:pos x="260" y="51"/>
                </a:cxn>
                <a:cxn ang="0">
                  <a:pos x="260" y="74"/>
                </a:cxn>
                <a:cxn ang="0">
                  <a:pos x="295" y="89"/>
                </a:cxn>
                <a:cxn ang="0">
                  <a:pos x="297" y="96"/>
                </a:cxn>
                <a:cxn ang="0">
                  <a:pos x="280" y="134"/>
                </a:cxn>
                <a:cxn ang="0">
                  <a:pos x="277" y="137"/>
                </a:cxn>
                <a:cxn ang="0">
                  <a:pos x="81" y="158"/>
                </a:cxn>
                <a:cxn ang="0">
                  <a:pos x="80" y="157"/>
                </a:cxn>
                <a:cxn ang="0">
                  <a:pos x="17" y="141"/>
                </a:cxn>
              </a:cxnLst>
              <a:rect l="0" t="0" r="r" b="b"/>
              <a:pathLst>
                <a:path w="299" h="159">
                  <a:moveTo>
                    <a:pt x="17" y="141"/>
                  </a:moveTo>
                  <a:cubicBezTo>
                    <a:pt x="15" y="140"/>
                    <a:pt x="14" y="139"/>
                    <a:pt x="14" y="138"/>
                  </a:cubicBezTo>
                  <a:lnTo>
                    <a:pt x="1" y="113"/>
                  </a:lnTo>
                  <a:cubicBezTo>
                    <a:pt x="0" y="111"/>
                    <a:pt x="0" y="109"/>
                    <a:pt x="2" y="107"/>
                  </a:cubicBezTo>
                  <a:lnTo>
                    <a:pt x="19" y="90"/>
                  </a:lnTo>
                  <a:lnTo>
                    <a:pt x="103" y="2"/>
                  </a:lnTo>
                  <a:cubicBezTo>
                    <a:pt x="104" y="1"/>
                    <a:pt x="105" y="0"/>
                    <a:pt x="107" y="0"/>
                  </a:cubicBezTo>
                  <a:cubicBezTo>
                    <a:pt x="107" y="0"/>
                    <a:pt x="107" y="0"/>
                    <a:pt x="108" y="0"/>
                  </a:cubicBezTo>
                  <a:lnTo>
                    <a:pt x="231" y="30"/>
                  </a:lnTo>
                  <a:lnTo>
                    <a:pt x="257" y="47"/>
                  </a:lnTo>
                  <a:cubicBezTo>
                    <a:pt x="259" y="48"/>
                    <a:pt x="260" y="50"/>
                    <a:pt x="260" y="51"/>
                  </a:cubicBezTo>
                  <a:lnTo>
                    <a:pt x="260" y="74"/>
                  </a:lnTo>
                  <a:lnTo>
                    <a:pt x="295" y="89"/>
                  </a:lnTo>
                  <a:cubicBezTo>
                    <a:pt x="297" y="90"/>
                    <a:pt x="298" y="93"/>
                    <a:pt x="297" y="96"/>
                  </a:cubicBezTo>
                  <a:lnTo>
                    <a:pt x="280" y="134"/>
                  </a:lnTo>
                  <a:cubicBezTo>
                    <a:pt x="280" y="135"/>
                    <a:pt x="278" y="136"/>
                    <a:pt x="277" y="137"/>
                  </a:cubicBezTo>
                  <a:lnTo>
                    <a:pt x="81" y="158"/>
                  </a:lnTo>
                  <a:lnTo>
                    <a:pt x="80" y="157"/>
                  </a:lnTo>
                  <a:lnTo>
                    <a:pt x="17" y="14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6" name="Freeform 551"/>
            <p:cNvSpPr>
              <a:spLocks noChangeArrowheads="1"/>
            </p:cNvSpPr>
            <p:nvPr/>
          </p:nvSpPr>
          <p:spPr bwMode="auto">
            <a:xfrm>
              <a:off x="6905625" y="2855913"/>
              <a:ext cx="107950" cy="57150"/>
            </a:xfrm>
            <a:custGeom>
              <a:avLst/>
              <a:gdLst/>
              <a:ahLst/>
              <a:cxnLst>
                <a:cxn ang="0">
                  <a:pos x="80" y="157"/>
                </a:cxn>
                <a:cxn ang="0">
                  <a:pos x="17" y="141"/>
                </a:cxn>
                <a:cxn ang="0">
                  <a:pos x="14" y="138"/>
                </a:cxn>
                <a:cxn ang="0">
                  <a:pos x="1" y="113"/>
                </a:cxn>
                <a:cxn ang="0">
                  <a:pos x="2" y="107"/>
                </a:cxn>
                <a:cxn ang="0">
                  <a:pos x="19" y="90"/>
                </a:cxn>
                <a:cxn ang="0">
                  <a:pos x="103" y="2"/>
                </a:cxn>
                <a:cxn ang="0">
                  <a:pos x="107" y="0"/>
                </a:cxn>
                <a:cxn ang="0">
                  <a:pos x="108" y="0"/>
                </a:cxn>
                <a:cxn ang="0">
                  <a:pos x="231" y="30"/>
                </a:cxn>
                <a:cxn ang="0">
                  <a:pos x="257" y="47"/>
                </a:cxn>
                <a:cxn ang="0">
                  <a:pos x="260" y="51"/>
                </a:cxn>
                <a:cxn ang="0">
                  <a:pos x="260" y="74"/>
                </a:cxn>
                <a:cxn ang="0">
                  <a:pos x="295" y="89"/>
                </a:cxn>
                <a:cxn ang="0">
                  <a:pos x="297" y="96"/>
                </a:cxn>
                <a:cxn ang="0">
                  <a:pos x="280" y="134"/>
                </a:cxn>
                <a:cxn ang="0">
                  <a:pos x="277" y="137"/>
                </a:cxn>
                <a:cxn ang="0">
                  <a:pos x="81" y="158"/>
                </a:cxn>
                <a:cxn ang="0">
                  <a:pos x="80" y="157"/>
                </a:cxn>
              </a:cxnLst>
              <a:rect l="0" t="0" r="r" b="b"/>
              <a:pathLst>
                <a:path w="299" h="159">
                  <a:moveTo>
                    <a:pt x="80" y="157"/>
                  </a:moveTo>
                  <a:lnTo>
                    <a:pt x="17" y="141"/>
                  </a:lnTo>
                  <a:cubicBezTo>
                    <a:pt x="15" y="140"/>
                    <a:pt x="14" y="139"/>
                    <a:pt x="14" y="138"/>
                  </a:cubicBezTo>
                  <a:lnTo>
                    <a:pt x="1" y="113"/>
                  </a:lnTo>
                  <a:cubicBezTo>
                    <a:pt x="0" y="111"/>
                    <a:pt x="0" y="109"/>
                    <a:pt x="2" y="107"/>
                  </a:cubicBezTo>
                  <a:lnTo>
                    <a:pt x="19" y="90"/>
                  </a:lnTo>
                  <a:lnTo>
                    <a:pt x="103" y="2"/>
                  </a:lnTo>
                  <a:cubicBezTo>
                    <a:pt x="104" y="1"/>
                    <a:pt x="105" y="0"/>
                    <a:pt x="107" y="0"/>
                  </a:cubicBezTo>
                  <a:cubicBezTo>
                    <a:pt x="107" y="0"/>
                    <a:pt x="107" y="0"/>
                    <a:pt x="108" y="0"/>
                  </a:cubicBezTo>
                  <a:lnTo>
                    <a:pt x="231" y="30"/>
                  </a:lnTo>
                  <a:lnTo>
                    <a:pt x="257" y="47"/>
                  </a:lnTo>
                  <a:cubicBezTo>
                    <a:pt x="259" y="48"/>
                    <a:pt x="260" y="50"/>
                    <a:pt x="260" y="51"/>
                  </a:cubicBezTo>
                  <a:lnTo>
                    <a:pt x="260" y="74"/>
                  </a:lnTo>
                  <a:lnTo>
                    <a:pt x="295" y="89"/>
                  </a:lnTo>
                  <a:cubicBezTo>
                    <a:pt x="297" y="90"/>
                    <a:pt x="298" y="93"/>
                    <a:pt x="297" y="96"/>
                  </a:cubicBezTo>
                  <a:lnTo>
                    <a:pt x="280" y="134"/>
                  </a:lnTo>
                  <a:cubicBezTo>
                    <a:pt x="280" y="135"/>
                    <a:pt x="278" y="136"/>
                    <a:pt x="277" y="137"/>
                  </a:cubicBezTo>
                  <a:lnTo>
                    <a:pt x="81" y="158"/>
                  </a:lnTo>
                  <a:lnTo>
                    <a:pt x="80" y="15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7" name="Freeform 552"/>
            <p:cNvSpPr>
              <a:spLocks noChangeArrowheads="1"/>
            </p:cNvSpPr>
            <p:nvPr/>
          </p:nvSpPr>
          <p:spPr bwMode="auto">
            <a:xfrm>
              <a:off x="7011988" y="2855913"/>
              <a:ext cx="271462" cy="579437"/>
            </a:xfrm>
            <a:custGeom>
              <a:avLst/>
              <a:gdLst/>
              <a:ahLst/>
              <a:cxnLst>
                <a:cxn ang="0">
                  <a:pos x="527" y="1595"/>
                </a:cxn>
                <a:cxn ang="0">
                  <a:pos x="550" y="1475"/>
                </a:cxn>
                <a:cxn ang="0">
                  <a:pos x="525" y="1456"/>
                </a:cxn>
                <a:cxn ang="0">
                  <a:pos x="538" y="1442"/>
                </a:cxn>
                <a:cxn ang="0">
                  <a:pos x="511" y="1312"/>
                </a:cxn>
                <a:cxn ang="0">
                  <a:pos x="504" y="1317"/>
                </a:cxn>
                <a:cxn ang="0">
                  <a:pos x="500" y="1314"/>
                </a:cxn>
                <a:cxn ang="0">
                  <a:pos x="458" y="1066"/>
                </a:cxn>
                <a:cxn ang="0">
                  <a:pos x="386" y="1034"/>
                </a:cxn>
                <a:cxn ang="0">
                  <a:pos x="378" y="1050"/>
                </a:cxn>
                <a:cxn ang="0">
                  <a:pos x="261" y="1130"/>
                </a:cxn>
                <a:cxn ang="0">
                  <a:pos x="195" y="1122"/>
                </a:cxn>
                <a:cxn ang="0">
                  <a:pos x="191" y="1103"/>
                </a:cxn>
                <a:cxn ang="0">
                  <a:pos x="170" y="1110"/>
                </a:cxn>
                <a:cxn ang="0">
                  <a:pos x="165" y="1104"/>
                </a:cxn>
                <a:cxn ang="0">
                  <a:pos x="174" y="907"/>
                </a:cxn>
                <a:cxn ang="0">
                  <a:pos x="140" y="853"/>
                </a:cxn>
                <a:cxn ang="0">
                  <a:pos x="136" y="856"/>
                </a:cxn>
                <a:cxn ang="0">
                  <a:pos x="107" y="829"/>
                </a:cxn>
                <a:cxn ang="0">
                  <a:pos x="115" y="807"/>
                </a:cxn>
                <a:cxn ang="0">
                  <a:pos x="119" y="804"/>
                </a:cxn>
                <a:cxn ang="0">
                  <a:pos x="124" y="807"/>
                </a:cxn>
                <a:cxn ang="0">
                  <a:pos x="58" y="758"/>
                </a:cxn>
                <a:cxn ang="0">
                  <a:pos x="0" y="639"/>
                </a:cxn>
                <a:cxn ang="0">
                  <a:pos x="30" y="635"/>
                </a:cxn>
                <a:cxn ang="0">
                  <a:pos x="32" y="584"/>
                </a:cxn>
                <a:cxn ang="0">
                  <a:pos x="60" y="518"/>
                </a:cxn>
                <a:cxn ang="0">
                  <a:pos x="67" y="499"/>
                </a:cxn>
                <a:cxn ang="0">
                  <a:pos x="89" y="423"/>
                </a:cxn>
                <a:cxn ang="0">
                  <a:pos x="162" y="399"/>
                </a:cxn>
                <a:cxn ang="0">
                  <a:pos x="247" y="235"/>
                </a:cxn>
                <a:cxn ang="0">
                  <a:pos x="252" y="170"/>
                </a:cxn>
                <a:cxn ang="0">
                  <a:pos x="395" y="102"/>
                </a:cxn>
                <a:cxn ang="0">
                  <a:pos x="405" y="47"/>
                </a:cxn>
                <a:cxn ang="0">
                  <a:pos x="424" y="17"/>
                </a:cxn>
                <a:cxn ang="0">
                  <a:pos x="447" y="1"/>
                </a:cxn>
                <a:cxn ang="0">
                  <a:pos x="452" y="1"/>
                </a:cxn>
                <a:cxn ang="0">
                  <a:pos x="512" y="72"/>
                </a:cxn>
                <a:cxn ang="0">
                  <a:pos x="535" y="76"/>
                </a:cxn>
                <a:cxn ang="0">
                  <a:pos x="548" y="212"/>
                </a:cxn>
                <a:cxn ang="0">
                  <a:pos x="456" y="411"/>
                </a:cxn>
                <a:cxn ang="0">
                  <a:pos x="555" y="385"/>
                </a:cxn>
                <a:cxn ang="0">
                  <a:pos x="573" y="459"/>
                </a:cxn>
                <a:cxn ang="0">
                  <a:pos x="615" y="493"/>
                </a:cxn>
                <a:cxn ang="0">
                  <a:pos x="646" y="572"/>
                </a:cxn>
                <a:cxn ang="0">
                  <a:pos x="727" y="593"/>
                </a:cxn>
                <a:cxn ang="0">
                  <a:pos x="732" y="593"/>
                </a:cxn>
                <a:cxn ang="0">
                  <a:pos x="751" y="609"/>
                </a:cxn>
                <a:cxn ang="0">
                  <a:pos x="678" y="697"/>
                </a:cxn>
                <a:cxn ang="0">
                  <a:pos x="558" y="791"/>
                </a:cxn>
                <a:cxn ang="0">
                  <a:pos x="463" y="899"/>
                </a:cxn>
                <a:cxn ang="0">
                  <a:pos x="529" y="1008"/>
                </a:cxn>
                <a:cxn ang="0">
                  <a:pos x="535" y="1077"/>
                </a:cxn>
                <a:cxn ang="0">
                  <a:pos x="556" y="1098"/>
                </a:cxn>
                <a:cxn ang="0">
                  <a:pos x="518" y="1230"/>
                </a:cxn>
                <a:cxn ang="0">
                  <a:pos x="577" y="1282"/>
                </a:cxn>
                <a:cxn ang="0">
                  <a:pos x="624" y="1458"/>
                </a:cxn>
                <a:cxn ang="0">
                  <a:pos x="564" y="1547"/>
                </a:cxn>
                <a:cxn ang="0">
                  <a:pos x="549" y="1608"/>
                </a:cxn>
                <a:cxn ang="0">
                  <a:pos x="544" y="1608"/>
                </a:cxn>
              </a:cxnLst>
              <a:rect l="0" t="0" r="r" b="b"/>
              <a:pathLst>
                <a:path w="752" h="1610">
                  <a:moveTo>
                    <a:pt x="544" y="1608"/>
                  </a:moveTo>
                  <a:lnTo>
                    <a:pt x="527" y="1595"/>
                  </a:lnTo>
                  <a:cubicBezTo>
                    <a:pt x="526" y="1594"/>
                    <a:pt x="525" y="1592"/>
                    <a:pt x="525" y="1590"/>
                  </a:cubicBezTo>
                  <a:lnTo>
                    <a:pt x="550" y="1475"/>
                  </a:lnTo>
                  <a:lnTo>
                    <a:pt x="527" y="1460"/>
                  </a:lnTo>
                  <a:cubicBezTo>
                    <a:pt x="526" y="1459"/>
                    <a:pt x="525" y="1458"/>
                    <a:pt x="525" y="1456"/>
                  </a:cubicBezTo>
                  <a:cubicBezTo>
                    <a:pt x="525" y="1455"/>
                    <a:pt x="526" y="1454"/>
                    <a:pt x="527" y="1453"/>
                  </a:cubicBezTo>
                  <a:lnTo>
                    <a:pt x="538" y="1442"/>
                  </a:lnTo>
                  <a:lnTo>
                    <a:pt x="530" y="1372"/>
                  </a:lnTo>
                  <a:lnTo>
                    <a:pt x="511" y="1312"/>
                  </a:lnTo>
                  <a:lnTo>
                    <a:pt x="508" y="1315"/>
                  </a:lnTo>
                  <a:cubicBezTo>
                    <a:pt x="507" y="1316"/>
                    <a:pt x="506" y="1317"/>
                    <a:pt x="504" y="1317"/>
                  </a:cubicBezTo>
                  <a:cubicBezTo>
                    <a:pt x="504" y="1317"/>
                    <a:pt x="504" y="1317"/>
                    <a:pt x="503" y="1317"/>
                  </a:cubicBezTo>
                  <a:cubicBezTo>
                    <a:pt x="502" y="1316"/>
                    <a:pt x="500" y="1315"/>
                    <a:pt x="500" y="1314"/>
                  </a:cubicBezTo>
                  <a:lnTo>
                    <a:pt x="466" y="1199"/>
                  </a:lnTo>
                  <a:lnTo>
                    <a:pt x="458" y="1066"/>
                  </a:lnTo>
                  <a:lnTo>
                    <a:pt x="388" y="1037"/>
                  </a:lnTo>
                  <a:cubicBezTo>
                    <a:pt x="387" y="1037"/>
                    <a:pt x="386" y="1035"/>
                    <a:pt x="386" y="1034"/>
                  </a:cubicBezTo>
                  <a:lnTo>
                    <a:pt x="380" y="1013"/>
                  </a:lnTo>
                  <a:lnTo>
                    <a:pt x="378" y="1050"/>
                  </a:lnTo>
                  <a:cubicBezTo>
                    <a:pt x="378" y="1052"/>
                    <a:pt x="377" y="1053"/>
                    <a:pt x="376" y="1054"/>
                  </a:cubicBezTo>
                  <a:lnTo>
                    <a:pt x="261" y="1130"/>
                  </a:lnTo>
                  <a:cubicBezTo>
                    <a:pt x="261" y="1130"/>
                    <a:pt x="260" y="1131"/>
                    <a:pt x="259" y="1131"/>
                  </a:cubicBezTo>
                  <a:lnTo>
                    <a:pt x="195" y="1122"/>
                  </a:lnTo>
                  <a:cubicBezTo>
                    <a:pt x="192" y="1122"/>
                    <a:pt x="191" y="1120"/>
                    <a:pt x="191" y="1117"/>
                  </a:cubicBezTo>
                  <a:lnTo>
                    <a:pt x="191" y="1103"/>
                  </a:lnTo>
                  <a:lnTo>
                    <a:pt x="171" y="1109"/>
                  </a:lnTo>
                  <a:cubicBezTo>
                    <a:pt x="171" y="1110"/>
                    <a:pt x="170" y="1110"/>
                    <a:pt x="170" y="1110"/>
                  </a:cubicBezTo>
                  <a:cubicBezTo>
                    <a:pt x="169" y="1110"/>
                    <a:pt x="168" y="1109"/>
                    <a:pt x="167" y="1108"/>
                  </a:cubicBezTo>
                  <a:cubicBezTo>
                    <a:pt x="166" y="1107"/>
                    <a:pt x="165" y="1105"/>
                    <a:pt x="165" y="1104"/>
                  </a:cubicBezTo>
                  <a:lnTo>
                    <a:pt x="191" y="1006"/>
                  </a:lnTo>
                  <a:lnTo>
                    <a:pt x="174" y="907"/>
                  </a:lnTo>
                  <a:lnTo>
                    <a:pt x="144" y="848"/>
                  </a:lnTo>
                  <a:lnTo>
                    <a:pt x="140" y="853"/>
                  </a:lnTo>
                  <a:cubicBezTo>
                    <a:pt x="139" y="855"/>
                    <a:pt x="138" y="856"/>
                    <a:pt x="137" y="856"/>
                  </a:cubicBezTo>
                  <a:lnTo>
                    <a:pt x="136" y="856"/>
                  </a:lnTo>
                  <a:cubicBezTo>
                    <a:pt x="135" y="856"/>
                    <a:pt x="134" y="855"/>
                    <a:pt x="133" y="854"/>
                  </a:cubicBezTo>
                  <a:lnTo>
                    <a:pt x="107" y="829"/>
                  </a:lnTo>
                  <a:cubicBezTo>
                    <a:pt x="106" y="827"/>
                    <a:pt x="105" y="825"/>
                    <a:pt x="106" y="824"/>
                  </a:cubicBezTo>
                  <a:lnTo>
                    <a:pt x="115" y="807"/>
                  </a:lnTo>
                  <a:cubicBezTo>
                    <a:pt x="115" y="805"/>
                    <a:pt x="117" y="804"/>
                    <a:pt x="118" y="804"/>
                  </a:cubicBezTo>
                  <a:lnTo>
                    <a:pt x="119" y="804"/>
                  </a:lnTo>
                  <a:cubicBezTo>
                    <a:pt x="120" y="804"/>
                    <a:pt x="121" y="804"/>
                    <a:pt x="122" y="805"/>
                  </a:cubicBezTo>
                  <a:lnTo>
                    <a:pt x="124" y="807"/>
                  </a:lnTo>
                  <a:lnTo>
                    <a:pt x="119" y="787"/>
                  </a:lnTo>
                  <a:lnTo>
                    <a:pt x="58" y="758"/>
                  </a:lnTo>
                  <a:lnTo>
                    <a:pt x="1" y="680"/>
                  </a:lnTo>
                  <a:lnTo>
                    <a:pt x="0" y="639"/>
                  </a:lnTo>
                  <a:cubicBezTo>
                    <a:pt x="0" y="637"/>
                    <a:pt x="2" y="635"/>
                    <a:pt x="5" y="635"/>
                  </a:cubicBezTo>
                  <a:lnTo>
                    <a:pt x="30" y="635"/>
                  </a:lnTo>
                  <a:lnTo>
                    <a:pt x="30" y="589"/>
                  </a:lnTo>
                  <a:cubicBezTo>
                    <a:pt x="30" y="587"/>
                    <a:pt x="31" y="585"/>
                    <a:pt x="32" y="584"/>
                  </a:cubicBezTo>
                  <a:lnTo>
                    <a:pt x="71" y="565"/>
                  </a:lnTo>
                  <a:lnTo>
                    <a:pt x="60" y="518"/>
                  </a:lnTo>
                  <a:lnTo>
                    <a:pt x="64" y="503"/>
                  </a:lnTo>
                  <a:cubicBezTo>
                    <a:pt x="64" y="501"/>
                    <a:pt x="66" y="500"/>
                    <a:pt x="67" y="499"/>
                  </a:cubicBezTo>
                  <a:lnTo>
                    <a:pt x="85" y="496"/>
                  </a:lnTo>
                  <a:lnTo>
                    <a:pt x="89" y="423"/>
                  </a:lnTo>
                  <a:cubicBezTo>
                    <a:pt x="89" y="421"/>
                    <a:pt x="90" y="420"/>
                    <a:pt x="92" y="419"/>
                  </a:cubicBezTo>
                  <a:lnTo>
                    <a:pt x="162" y="399"/>
                  </a:lnTo>
                  <a:lnTo>
                    <a:pt x="204" y="291"/>
                  </a:lnTo>
                  <a:lnTo>
                    <a:pt x="247" y="235"/>
                  </a:lnTo>
                  <a:lnTo>
                    <a:pt x="250" y="174"/>
                  </a:lnTo>
                  <a:cubicBezTo>
                    <a:pt x="250" y="172"/>
                    <a:pt x="251" y="171"/>
                    <a:pt x="252" y="170"/>
                  </a:cubicBezTo>
                  <a:lnTo>
                    <a:pt x="328" y="107"/>
                  </a:lnTo>
                  <a:lnTo>
                    <a:pt x="395" y="102"/>
                  </a:lnTo>
                  <a:lnTo>
                    <a:pt x="403" y="51"/>
                  </a:lnTo>
                  <a:cubicBezTo>
                    <a:pt x="403" y="49"/>
                    <a:pt x="404" y="48"/>
                    <a:pt x="405" y="47"/>
                  </a:cubicBezTo>
                  <a:lnTo>
                    <a:pt x="424" y="36"/>
                  </a:lnTo>
                  <a:lnTo>
                    <a:pt x="424" y="17"/>
                  </a:lnTo>
                  <a:cubicBezTo>
                    <a:pt x="424" y="16"/>
                    <a:pt x="425" y="14"/>
                    <a:pt x="426" y="14"/>
                  </a:cubicBezTo>
                  <a:lnTo>
                    <a:pt x="447" y="1"/>
                  </a:lnTo>
                  <a:cubicBezTo>
                    <a:pt x="448" y="0"/>
                    <a:pt x="449" y="0"/>
                    <a:pt x="450" y="0"/>
                  </a:cubicBezTo>
                  <a:cubicBezTo>
                    <a:pt x="450" y="0"/>
                    <a:pt x="451" y="0"/>
                    <a:pt x="452" y="1"/>
                  </a:cubicBezTo>
                  <a:lnTo>
                    <a:pt x="477" y="13"/>
                  </a:lnTo>
                  <a:lnTo>
                    <a:pt x="512" y="72"/>
                  </a:lnTo>
                  <a:lnTo>
                    <a:pt x="530" y="72"/>
                  </a:lnTo>
                  <a:cubicBezTo>
                    <a:pt x="532" y="72"/>
                    <a:pt x="534" y="74"/>
                    <a:pt x="535" y="76"/>
                  </a:cubicBezTo>
                  <a:lnTo>
                    <a:pt x="552" y="152"/>
                  </a:lnTo>
                  <a:lnTo>
                    <a:pt x="548" y="212"/>
                  </a:lnTo>
                  <a:lnTo>
                    <a:pt x="479" y="308"/>
                  </a:lnTo>
                  <a:lnTo>
                    <a:pt x="456" y="411"/>
                  </a:lnTo>
                  <a:lnTo>
                    <a:pt x="516" y="386"/>
                  </a:lnTo>
                  <a:lnTo>
                    <a:pt x="555" y="385"/>
                  </a:lnTo>
                  <a:cubicBezTo>
                    <a:pt x="558" y="385"/>
                    <a:pt x="560" y="387"/>
                    <a:pt x="560" y="389"/>
                  </a:cubicBezTo>
                  <a:lnTo>
                    <a:pt x="573" y="459"/>
                  </a:lnTo>
                  <a:lnTo>
                    <a:pt x="613" y="488"/>
                  </a:lnTo>
                  <a:cubicBezTo>
                    <a:pt x="615" y="489"/>
                    <a:pt x="616" y="491"/>
                    <a:pt x="615" y="493"/>
                  </a:cubicBezTo>
                  <a:lnTo>
                    <a:pt x="599" y="556"/>
                  </a:lnTo>
                  <a:lnTo>
                    <a:pt x="646" y="572"/>
                  </a:lnTo>
                  <a:lnTo>
                    <a:pt x="676" y="613"/>
                  </a:lnTo>
                  <a:lnTo>
                    <a:pt x="727" y="593"/>
                  </a:lnTo>
                  <a:cubicBezTo>
                    <a:pt x="728" y="593"/>
                    <a:pt x="729" y="593"/>
                    <a:pt x="729" y="593"/>
                  </a:cubicBezTo>
                  <a:cubicBezTo>
                    <a:pt x="730" y="593"/>
                    <a:pt x="731" y="593"/>
                    <a:pt x="732" y="593"/>
                  </a:cubicBezTo>
                  <a:lnTo>
                    <a:pt x="749" y="606"/>
                  </a:lnTo>
                  <a:cubicBezTo>
                    <a:pt x="750" y="607"/>
                    <a:pt x="751" y="608"/>
                    <a:pt x="751" y="609"/>
                  </a:cubicBezTo>
                  <a:cubicBezTo>
                    <a:pt x="751" y="611"/>
                    <a:pt x="751" y="612"/>
                    <a:pt x="750" y="613"/>
                  </a:cubicBezTo>
                  <a:lnTo>
                    <a:pt x="678" y="697"/>
                  </a:lnTo>
                  <a:lnTo>
                    <a:pt x="648" y="731"/>
                  </a:lnTo>
                  <a:lnTo>
                    <a:pt x="558" y="791"/>
                  </a:lnTo>
                  <a:lnTo>
                    <a:pt x="491" y="800"/>
                  </a:lnTo>
                  <a:lnTo>
                    <a:pt x="463" y="899"/>
                  </a:lnTo>
                  <a:lnTo>
                    <a:pt x="488" y="968"/>
                  </a:lnTo>
                  <a:lnTo>
                    <a:pt x="529" y="1008"/>
                  </a:lnTo>
                  <a:cubicBezTo>
                    <a:pt x="530" y="1009"/>
                    <a:pt x="531" y="1010"/>
                    <a:pt x="531" y="1011"/>
                  </a:cubicBezTo>
                  <a:lnTo>
                    <a:pt x="535" y="1077"/>
                  </a:lnTo>
                  <a:lnTo>
                    <a:pt x="554" y="1093"/>
                  </a:lnTo>
                  <a:cubicBezTo>
                    <a:pt x="556" y="1094"/>
                    <a:pt x="557" y="1096"/>
                    <a:pt x="556" y="1098"/>
                  </a:cubicBezTo>
                  <a:lnTo>
                    <a:pt x="510" y="1207"/>
                  </a:lnTo>
                  <a:lnTo>
                    <a:pt x="518" y="1230"/>
                  </a:lnTo>
                  <a:lnTo>
                    <a:pt x="576" y="1279"/>
                  </a:lnTo>
                  <a:cubicBezTo>
                    <a:pt x="577" y="1280"/>
                    <a:pt x="577" y="1281"/>
                    <a:pt x="577" y="1282"/>
                  </a:cubicBezTo>
                  <a:lnTo>
                    <a:pt x="581" y="1354"/>
                  </a:lnTo>
                  <a:lnTo>
                    <a:pt x="624" y="1458"/>
                  </a:lnTo>
                  <a:cubicBezTo>
                    <a:pt x="624" y="1460"/>
                    <a:pt x="624" y="1462"/>
                    <a:pt x="623" y="1463"/>
                  </a:cubicBezTo>
                  <a:lnTo>
                    <a:pt x="564" y="1547"/>
                  </a:lnTo>
                  <a:lnTo>
                    <a:pt x="552" y="1605"/>
                  </a:lnTo>
                  <a:cubicBezTo>
                    <a:pt x="552" y="1607"/>
                    <a:pt x="550" y="1608"/>
                    <a:pt x="549" y="1608"/>
                  </a:cubicBezTo>
                  <a:cubicBezTo>
                    <a:pt x="548" y="1609"/>
                    <a:pt x="547" y="1609"/>
                    <a:pt x="547" y="1609"/>
                  </a:cubicBezTo>
                  <a:cubicBezTo>
                    <a:pt x="546" y="1609"/>
                    <a:pt x="545" y="1608"/>
                    <a:pt x="544" y="1608"/>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8" name="Freeform 553"/>
            <p:cNvSpPr>
              <a:spLocks noChangeArrowheads="1"/>
            </p:cNvSpPr>
            <p:nvPr/>
          </p:nvSpPr>
          <p:spPr bwMode="auto">
            <a:xfrm>
              <a:off x="7011988" y="2855913"/>
              <a:ext cx="271462" cy="579437"/>
            </a:xfrm>
            <a:custGeom>
              <a:avLst/>
              <a:gdLst/>
              <a:ahLst/>
              <a:cxnLst>
                <a:cxn ang="0">
                  <a:pos x="544" y="1608"/>
                </a:cxn>
                <a:cxn ang="0">
                  <a:pos x="525" y="1590"/>
                </a:cxn>
                <a:cxn ang="0">
                  <a:pos x="527" y="1460"/>
                </a:cxn>
                <a:cxn ang="0">
                  <a:pos x="527" y="1453"/>
                </a:cxn>
                <a:cxn ang="0">
                  <a:pos x="530" y="1372"/>
                </a:cxn>
                <a:cxn ang="0">
                  <a:pos x="508" y="1315"/>
                </a:cxn>
                <a:cxn ang="0">
                  <a:pos x="503" y="1317"/>
                </a:cxn>
                <a:cxn ang="0">
                  <a:pos x="466" y="1199"/>
                </a:cxn>
                <a:cxn ang="0">
                  <a:pos x="388" y="1037"/>
                </a:cxn>
                <a:cxn ang="0">
                  <a:pos x="380" y="1013"/>
                </a:cxn>
                <a:cxn ang="0">
                  <a:pos x="376" y="1054"/>
                </a:cxn>
                <a:cxn ang="0">
                  <a:pos x="259" y="1131"/>
                </a:cxn>
                <a:cxn ang="0">
                  <a:pos x="191" y="1117"/>
                </a:cxn>
                <a:cxn ang="0">
                  <a:pos x="171" y="1109"/>
                </a:cxn>
                <a:cxn ang="0">
                  <a:pos x="167" y="1108"/>
                </a:cxn>
                <a:cxn ang="0">
                  <a:pos x="191" y="1006"/>
                </a:cxn>
                <a:cxn ang="0">
                  <a:pos x="144" y="848"/>
                </a:cxn>
                <a:cxn ang="0">
                  <a:pos x="137" y="856"/>
                </a:cxn>
                <a:cxn ang="0">
                  <a:pos x="133" y="854"/>
                </a:cxn>
                <a:cxn ang="0">
                  <a:pos x="106" y="824"/>
                </a:cxn>
                <a:cxn ang="0">
                  <a:pos x="118" y="804"/>
                </a:cxn>
                <a:cxn ang="0">
                  <a:pos x="122" y="805"/>
                </a:cxn>
                <a:cxn ang="0">
                  <a:pos x="119" y="787"/>
                </a:cxn>
                <a:cxn ang="0">
                  <a:pos x="1" y="680"/>
                </a:cxn>
                <a:cxn ang="0">
                  <a:pos x="5" y="635"/>
                </a:cxn>
                <a:cxn ang="0">
                  <a:pos x="30" y="589"/>
                </a:cxn>
                <a:cxn ang="0">
                  <a:pos x="71" y="565"/>
                </a:cxn>
                <a:cxn ang="0">
                  <a:pos x="64" y="503"/>
                </a:cxn>
                <a:cxn ang="0">
                  <a:pos x="85" y="496"/>
                </a:cxn>
                <a:cxn ang="0">
                  <a:pos x="92" y="419"/>
                </a:cxn>
                <a:cxn ang="0">
                  <a:pos x="204" y="291"/>
                </a:cxn>
                <a:cxn ang="0">
                  <a:pos x="250" y="174"/>
                </a:cxn>
                <a:cxn ang="0">
                  <a:pos x="328" y="107"/>
                </a:cxn>
                <a:cxn ang="0">
                  <a:pos x="403" y="51"/>
                </a:cxn>
                <a:cxn ang="0">
                  <a:pos x="424" y="36"/>
                </a:cxn>
                <a:cxn ang="0">
                  <a:pos x="426" y="14"/>
                </a:cxn>
                <a:cxn ang="0">
                  <a:pos x="450" y="0"/>
                </a:cxn>
                <a:cxn ang="0">
                  <a:pos x="477" y="13"/>
                </a:cxn>
                <a:cxn ang="0">
                  <a:pos x="530" y="72"/>
                </a:cxn>
                <a:cxn ang="0">
                  <a:pos x="552" y="152"/>
                </a:cxn>
                <a:cxn ang="0">
                  <a:pos x="479" y="308"/>
                </a:cxn>
                <a:cxn ang="0">
                  <a:pos x="516" y="386"/>
                </a:cxn>
                <a:cxn ang="0">
                  <a:pos x="560" y="389"/>
                </a:cxn>
                <a:cxn ang="0">
                  <a:pos x="613" y="488"/>
                </a:cxn>
                <a:cxn ang="0">
                  <a:pos x="599" y="556"/>
                </a:cxn>
                <a:cxn ang="0">
                  <a:pos x="676" y="613"/>
                </a:cxn>
                <a:cxn ang="0">
                  <a:pos x="729" y="593"/>
                </a:cxn>
                <a:cxn ang="0">
                  <a:pos x="749" y="606"/>
                </a:cxn>
                <a:cxn ang="0">
                  <a:pos x="750" y="613"/>
                </a:cxn>
                <a:cxn ang="0">
                  <a:pos x="648" y="731"/>
                </a:cxn>
                <a:cxn ang="0">
                  <a:pos x="491" y="800"/>
                </a:cxn>
                <a:cxn ang="0">
                  <a:pos x="488" y="968"/>
                </a:cxn>
                <a:cxn ang="0">
                  <a:pos x="531" y="1011"/>
                </a:cxn>
                <a:cxn ang="0">
                  <a:pos x="554" y="1093"/>
                </a:cxn>
                <a:cxn ang="0">
                  <a:pos x="510" y="1207"/>
                </a:cxn>
                <a:cxn ang="0">
                  <a:pos x="576" y="1279"/>
                </a:cxn>
                <a:cxn ang="0">
                  <a:pos x="581" y="1354"/>
                </a:cxn>
                <a:cxn ang="0">
                  <a:pos x="623" y="1463"/>
                </a:cxn>
                <a:cxn ang="0">
                  <a:pos x="552" y="1605"/>
                </a:cxn>
                <a:cxn ang="0">
                  <a:pos x="547" y="1609"/>
                </a:cxn>
              </a:cxnLst>
              <a:rect l="0" t="0" r="r" b="b"/>
              <a:pathLst>
                <a:path w="752" h="1610">
                  <a:moveTo>
                    <a:pt x="547" y="1609"/>
                  </a:moveTo>
                  <a:cubicBezTo>
                    <a:pt x="546" y="1609"/>
                    <a:pt x="545" y="1608"/>
                    <a:pt x="544" y="1608"/>
                  </a:cubicBezTo>
                  <a:lnTo>
                    <a:pt x="527" y="1595"/>
                  </a:lnTo>
                  <a:cubicBezTo>
                    <a:pt x="526" y="1594"/>
                    <a:pt x="525" y="1592"/>
                    <a:pt x="525" y="1590"/>
                  </a:cubicBezTo>
                  <a:lnTo>
                    <a:pt x="550" y="1475"/>
                  </a:lnTo>
                  <a:lnTo>
                    <a:pt x="527" y="1460"/>
                  </a:lnTo>
                  <a:cubicBezTo>
                    <a:pt x="526" y="1459"/>
                    <a:pt x="525" y="1458"/>
                    <a:pt x="525" y="1456"/>
                  </a:cubicBezTo>
                  <a:cubicBezTo>
                    <a:pt x="525" y="1455"/>
                    <a:pt x="526" y="1454"/>
                    <a:pt x="527" y="1453"/>
                  </a:cubicBezTo>
                  <a:lnTo>
                    <a:pt x="538" y="1442"/>
                  </a:lnTo>
                  <a:lnTo>
                    <a:pt x="530" y="1372"/>
                  </a:lnTo>
                  <a:lnTo>
                    <a:pt x="511" y="1312"/>
                  </a:lnTo>
                  <a:lnTo>
                    <a:pt x="508" y="1315"/>
                  </a:lnTo>
                  <a:cubicBezTo>
                    <a:pt x="507" y="1316"/>
                    <a:pt x="506" y="1317"/>
                    <a:pt x="504" y="1317"/>
                  </a:cubicBezTo>
                  <a:cubicBezTo>
                    <a:pt x="504" y="1317"/>
                    <a:pt x="504" y="1317"/>
                    <a:pt x="503" y="1317"/>
                  </a:cubicBezTo>
                  <a:cubicBezTo>
                    <a:pt x="502" y="1316"/>
                    <a:pt x="500" y="1315"/>
                    <a:pt x="500" y="1314"/>
                  </a:cubicBezTo>
                  <a:lnTo>
                    <a:pt x="466" y="1199"/>
                  </a:lnTo>
                  <a:lnTo>
                    <a:pt x="458" y="1066"/>
                  </a:lnTo>
                  <a:lnTo>
                    <a:pt x="388" y="1037"/>
                  </a:lnTo>
                  <a:cubicBezTo>
                    <a:pt x="387" y="1037"/>
                    <a:pt x="386" y="1035"/>
                    <a:pt x="386" y="1034"/>
                  </a:cubicBezTo>
                  <a:lnTo>
                    <a:pt x="380" y="1013"/>
                  </a:lnTo>
                  <a:lnTo>
                    <a:pt x="378" y="1050"/>
                  </a:lnTo>
                  <a:cubicBezTo>
                    <a:pt x="378" y="1052"/>
                    <a:pt x="377" y="1053"/>
                    <a:pt x="376" y="1054"/>
                  </a:cubicBezTo>
                  <a:lnTo>
                    <a:pt x="261" y="1130"/>
                  </a:lnTo>
                  <a:cubicBezTo>
                    <a:pt x="261" y="1130"/>
                    <a:pt x="260" y="1131"/>
                    <a:pt x="259" y="1131"/>
                  </a:cubicBezTo>
                  <a:lnTo>
                    <a:pt x="195" y="1122"/>
                  </a:lnTo>
                  <a:cubicBezTo>
                    <a:pt x="192" y="1122"/>
                    <a:pt x="191" y="1120"/>
                    <a:pt x="191" y="1117"/>
                  </a:cubicBezTo>
                  <a:lnTo>
                    <a:pt x="191" y="1103"/>
                  </a:lnTo>
                  <a:lnTo>
                    <a:pt x="171" y="1109"/>
                  </a:lnTo>
                  <a:cubicBezTo>
                    <a:pt x="171" y="1110"/>
                    <a:pt x="170" y="1110"/>
                    <a:pt x="170" y="1110"/>
                  </a:cubicBezTo>
                  <a:cubicBezTo>
                    <a:pt x="169" y="1110"/>
                    <a:pt x="168" y="1109"/>
                    <a:pt x="167" y="1108"/>
                  </a:cubicBezTo>
                  <a:cubicBezTo>
                    <a:pt x="166" y="1107"/>
                    <a:pt x="165" y="1105"/>
                    <a:pt x="165" y="1104"/>
                  </a:cubicBezTo>
                  <a:lnTo>
                    <a:pt x="191" y="1006"/>
                  </a:lnTo>
                  <a:lnTo>
                    <a:pt x="174" y="907"/>
                  </a:lnTo>
                  <a:lnTo>
                    <a:pt x="144" y="848"/>
                  </a:lnTo>
                  <a:lnTo>
                    <a:pt x="140" y="853"/>
                  </a:lnTo>
                  <a:cubicBezTo>
                    <a:pt x="139" y="855"/>
                    <a:pt x="138" y="856"/>
                    <a:pt x="137" y="856"/>
                  </a:cubicBezTo>
                  <a:lnTo>
                    <a:pt x="136" y="856"/>
                  </a:lnTo>
                  <a:cubicBezTo>
                    <a:pt x="135" y="856"/>
                    <a:pt x="134" y="855"/>
                    <a:pt x="133" y="854"/>
                  </a:cubicBezTo>
                  <a:lnTo>
                    <a:pt x="107" y="829"/>
                  </a:lnTo>
                  <a:cubicBezTo>
                    <a:pt x="106" y="827"/>
                    <a:pt x="105" y="825"/>
                    <a:pt x="106" y="824"/>
                  </a:cubicBezTo>
                  <a:lnTo>
                    <a:pt x="115" y="807"/>
                  </a:lnTo>
                  <a:cubicBezTo>
                    <a:pt x="115" y="805"/>
                    <a:pt x="117" y="804"/>
                    <a:pt x="118" y="804"/>
                  </a:cubicBezTo>
                  <a:lnTo>
                    <a:pt x="119" y="804"/>
                  </a:lnTo>
                  <a:cubicBezTo>
                    <a:pt x="120" y="804"/>
                    <a:pt x="121" y="804"/>
                    <a:pt x="122" y="805"/>
                  </a:cubicBezTo>
                  <a:lnTo>
                    <a:pt x="124" y="807"/>
                  </a:lnTo>
                  <a:lnTo>
                    <a:pt x="119" y="787"/>
                  </a:lnTo>
                  <a:lnTo>
                    <a:pt x="58" y="758"/>
                  </a:lnTo>
                  <a:lnTo>
                    <a:pt x="1" y="680"/>
                  </a:lnTo>
                  <a:lnTo>
                    <a:pt x="0" y="639"/>
                  </a:lnTo>
                  <a:cubicBezTo>
                    <a:pt x="0" y="637"/>
                    <a:pt x="2" y="635"/>
                    <a:pt x="5" y="635"/>
                  </a:cubicBezTo>
                  <a:lnTo>
                    <a:pt x="30" y="635"/>
                  </a:lnTo>
                  <a:lnTo>
                    <a:pt x="30" y="589"/>
                  </a:lnTo>
                  <a:cubicBezTo>
                    <a:pt x="30" y="587"/>
                    <a:pt x="31" y="585"/>
                    <a:pt x="32" y="584"/>
                  </a:cubicBezTo>
                  <a:lnTo>
                    <a:pt x="71" y="565"/>
                  </a:lnTo>
                  <a:lnTo>
                    <a:pt x="60" y="518"/>
                  </a:lnTo>
                  <a:lnTo>
                    <a:pt x="64" y="503"/>
                  </a:lnTo>
                  <a:cubicBezTo>
                    <a:pt x="64" y="501"/>
                    <a:pt x="66" y="500"/>
                    <a:pt x="67" y="499"/>
                  </a:cubicBezTo>
                  <a:lnTo>
                    <a:pt x="85" y="496"/>
                  </a:lnTo>
                  <a:lnTo>
                    <a:pt x="89" y="423"/>
                  </a:lnTo>
                  <a:cubicBezTo>
                    <a:pt x="89" y="421"/>
                    <a:pt x="90" y="420"/>
                    <a:pt x="92" y="419"/>
                  </a:cubicBezTo>
                  <a:lnTo>
                    <a:pt x="162" y="399"/>
                  </a:lnTo>
                  <a:lnTo>
                    <a:pt x="204" y="291"/>
                  </a:lnTo>
                  <a:lnTo>
                    <a:pt x="247" y="235"/>
                  </a:lnTo>
                  <a:lnTo>
                    <a:pt x="250" y="174"/>
                  </a:lnTo>
                  <a:cubicBezTo>
                    <a:pt x="250" y="172"/>
                    <a:pt x="251" y="171"/>
                    <a:pt x="252" y="170"/>
                  </a:cubicBezTo>
                  <a:lnTo>
                    <a:pt x="328" y="107"/>
                  </a:lnTo>
                  <a:lnTo>
                    <a:pt x="395" y="102"/>
                  </a:lnTo>
                  <a:lnTo>
                    <a:pt x="403" y="51"/>
                  </a:lnTo>
                  <a:cubicBezTo>
                    <a:pt x="403" y="49"/>
                    <a:pt x="404" y="48"/>
                    <a:pt x="405" y="47"/>
                  </a:cubicBezTo>
                  <a:lnTo>
                    <a:pt x="424" y="36"/>
                  </a:lnTo>
                  <a:lnTo>
                    <a:pt x="424" y="17"/>
                  </a:lnTo>
                  <a:cubicBezTo>
                    <a:pt x="424" y="16"/>
                    <a:pt x="425" y="14"/>
                    <a:pt x="426" y="14"/>
                  </a:cubicBezTo>
                  <a:lnTo>
                    <a:pt x="447" y="1"/>
                  </a:lnTo>
                  <a:cubicBezTo>
                    <a:pt x="448" y="0"/>
                    <a:pt x="449" y="0"/>
                    <a:pt x="450" y="0"/>
                  </a:cubicBezTo>
                  <a:cubicBezTo>
                    <a:pt x="450" y="0"/>
                    <a:pt x="451" y="0"/>
                    <a:pt x="452" y="1"/>
                  </a:cubicBezTo>
                  <a:lnTo>
                    <a:pt x="477" y="13"/>
                  </a:lnTo>
                  <a:lnTo>
                    <a:pt x="512" y="72"/>
                  </a:lnTo>
                  <a:lnTo>
                    <a:pt x="530" y="72"/>
                  </a:lnTo>
                  <a:cubicBezTo>
                    <a:pt x="532" y="72"/>
                    <a:pt x="534" y="74"/>
                    <a:pt x="535" y="76"/>
                  </a:cubicBezTo>
                  <a:lnTo>
                    <a:pt x="552" y="152"/>
                  </a:lnTo>
                  <a:lnTo>
                    <a:pt x="548" y="212"/>
                  </a:lnTo>
                  <a:lnTo>
                    <a:pt x="479" y="308"/>
                  </a:lnTo>
                  <a:lnTo>
                    <a:pt x="456" y="411"/>
                  </a:lnTo>
                  <a:lnTo>
                    <a:pt x="516" y="386"/>
                  </a:lnTo>
                  <a:lnTo>
                    <a:pt x="555" y="385"/>
                  </a:lnTo>
                  <a:cubicBezTo>
                    <a:pt x="558" y="385"/>
                    <a:pt x="560" y="387"/>
                    <a:pt x="560" y="389"/>
                  </a:cubicBezTo>
                  <a:lnTo>
                    <a:pt x="573" y="459"/>
                  </a:lnTo>
                  <a:lnTo>
                    <a:pt x="613" y="488"/>
                  </a:lnTo>
                  <a:cubicBezTo>
                    <a:pt x="615" y="489"/>
                    <a:pt x="616" y="491"/>
                    <a:pt x="615" y="493"/>
                  </a:cubicBezTo>
                  <a:lnTo>
                    <a:pt x="599" y="556"/>
                  </a:lnTo>
                  <a:lnTo>
                    <a:pt x="646" y="572"/>
                  </a:lnTo>
                  <a:lnTo>
                    <a:pt x="676" y="613"/>
                  </a:lnTo>
                  <a:lnTo>
                    <a:pt x="727" y="593"/>
                  </a:lnTo>
                  <a:cubicBezTo>
                    <a:pt x="728" y="593"/>
                    <a:pt x="729" y="593"/>
                    <a:pt x="729" y="593"/>
                  </a:cubicBezTo>
                  <a:cubicBezTo>
                    <a:pt x="730" y="593"/>
                    <a:pt x="731" y="593"/>
                    <a:pt x="732" y="593"/>
                  </a:cubicBezTo>
                  <a:lnTo>
                    <a:pt x="749" y="606"/>
                  </a:lnTo>
                  <a:cubicBezTo>
                    <a:pt x="750" y="607"/>
                    <a:pt x="751" y="608"/>
                    <a:pt x="751" y="609"/>
                  </a:cubicBezTo>
                  <a:cubicBezTo>
                    <a:pt x="751" y="611"/>
                    <a:pt x="751" y="612"/>
                    <a:pt x="750" y="613"/>
                  </a:cubicBezTo>
                  <a:lnTo>
                    <a:pt x="678" y="697"/>
                  </a:lnTo>
                  <a:lnTo>
                    <a:pt x="648" y="731"/>
                  </a:lnTo>
                  <a:lnTo>
                    <a:pt x="558" y="791"/>
                  </a:lnTo>
                  <a:lnTo>
                    <a:pt x="491" y="800"/>
                  </a:lnTo>
                  <a:lnTo>
                    <a:pt x="463" y="899"/>
                  </a:lnTo>
                  <a:lnTo>
                    <a:pt x="488" y="968"/>
                  </a:lnTo>
                  <a:lnTo>
                    <a:pt x="529" y="1008"/>
                  </a:lnTo>
                  <a:cubicBezTo>
                    <a:pt x="530" y="1009"/>
                    <a:pt x="531" y="1010"/>
                    <a:pt x="531" y="1011"/>
                  </a:cubicBezTo>
                  <a:lnTo>
                    <a:pt x="535" y="1077"/>
                  </a:lnTo>
                  <a:lnTo>
                    <a:pt x="554" y="1093"/>
                  </a:lnTo>
                  <a:cubicBezTo>
                    <a:pt x="556" y="1094"/>
                    <a:pt x="557" y="1096"/>
                    <a:pt x="556" y="1098"/>
                  </a:cubicBezTo>
                  <a:lnTo>
                    <a:pt x="510" y="1207"/>
                  </a:lnTo>
                  <a:lnTo>
                    <a:pt x="518" y="1230"/>
                  </a:lnTo>
                  <a:lnTo>
                    <a:pt x="576" y="1279"/>
                  </a:lnTo>
                  <a:cubicBezTo>
                    <a:pt x="577" y="1280"/>
                    <a:pt x="577" y="1281"/>
                    <a:pt x="577" y="1282"/>
                  </a:cubicBezTo>
                  <a:lnTo>
                    <a:pt x="581" y="1354"/>
                  </a:lnTo>
                  <a:lnTo>
                    <a:pt x="624" y="1458"/>
                  </a:lnTo>
                  <a:cubicBezTo>
                    <a:pt x="624" y="1460"/>
                    <a:pt x="624" y="1462"/>
                    <a:pt x="623" y="1463"/>
                  </a:cubicBezTo>
                  <a:lnTo>
                    <a:pt x="564" y="1547"/>
                  </a:lnTo>
                  <a:lnTo>
                    <a:pt x="552" y="1605"/>
                  </a:lnTo>
                  <a:cubicBezTo>
                    <a:pt x="552" y="1607"/>
                    <a:pt x="550" y="1608"/>
                    <a:pt x="549" y="1608"/>
                  </a:cubicBezTo>
                  <a:cubicBezTo>
                    <a:pt x="548" y="1609"/>
                    <a:pt x="547" y="1609"/>
                    <a:pt x="547" y="160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59" name="Freeform 554"/>
            <p:cNvSpPr>
              <a:spLocks noChangeArrowheads="1"/>
            </p:cNvSpPr>
            <p:nvPr/>
          </p:nvSpPr>
          <p:spPr bwMode="auto">
            <a:xfrm>
              <a:off x="7194550" y="3381375"/>
              <a:ext cx="11113" cy="11113"/>
            </a:xfrm>
            <a:custGeom>
              <a:avLst/>
              <a:gdLst/>
              <a:ahLst/>
              <a:cxnLst>
                <a:cxn ang="0">
                  <a:pos x="4" y="26"/>
                </a:cxn>
                <a:cxn ang="0">
                  <a:pos x="0" y="23"/>
                </a:cxn>
                <a:cxn ang="0">
                  <a:pos x="1" y="18"/>
                </a:cxn>
                <a:cxn ang="0">
                  <a:pos x="18" y="1"/>
                </a:cxn>
                <a:cxn ang="0">
                  <a:pos x="22" y="0"/>
                </a:cxn>
                <a:cxn ang="0">
                  <a:pos x="23" y="0"/>
                </a:cxn>
                <a:cxn ang="0">
                  <a:pos x="26" y="4"/>
                </a:cxn>
                <a:cxn ang="0">
                  <a:pos x="30" y="25"/>
                </a:cxn>
                <a:cxn ang="0">
                  <a:pos x="29" y="29"/>
                </a:cxn>
                <a:cxn ang="0">
                  <a:pos x="26" y="30"/>
                </a:cxn>
                <a:cxn ang="0">
                  <a:pos x="4" y="26"/>
                </a:cxn>
              </a:cxnLst>
              <a:rect l="0" t="0" r="r" b="b"/>
              <a:pathLst>
                <a:path w="32" h="31">
                  <a:moveTo>
                    <a:pt x="4" y="26"/>
                  </a:moveTo>
                  <a:cubicBezTo>
                    <a:pt x="2" y="26"/>
                    <a:pt x="1" y="24"/>
                    <a:pt x="0" y="23"/>
                  </a:cubicBezTo>
                  <a:cubicBezTo>
                    <a:pt x="0" y="21"/>
                    <a:pt x="0" y="19"/>
                    <a:pt x="1" y="18"/>
                  </a:cubicBezTo>
                  <a:lnTo>
                    <a:pt x="18" y="1"/>
                  </a:lnTo>
                  <a:cubicBezTo>
                    <a:pt x="19" y="0"/>
                    <a:pt x="20" y="0"/>
                    <a:pt x="22" y="0"/>
                  </a:cubicBezTo>
                  <a:lnTo>
                    <a:pt x="23" y="0"/>
                  </a:lnTo>
                  <a:cubicBezTo>
                    <a:pt x="25" y="0"/>
                    <a:pt x="26" y="2"/>
                    <a:pt x="26" y="4"/>
                  </a:cubicBezTo>
                  <a:lnTo>
                    <a:pt x="30" y="25"/>
                  </a:lnTo>
                  <a:cubicBezTo>
                    <a:pt x="31" y="26"/>
                    <a:pt x="30" y="28"/>
                    <a:pt x="29" y="29"/>
                  </a:cubicBezTo>
                  <a:cubicBezTo>
                    <a:pt x="28" y="30"/>
                    <a:pt x="27" y="30"/>
                    <a:pt x="26" y="30"/>
                  </a:cubicBezTo>
                  <a:lnTo>
                    <a:pt x="4" y="2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0" name="Freeform 555"/>
            <p:cNvSpPr>
              <a:spLocks noChangeArrowheads="1"/>
            </p:cNvSpPr>
            <p:nvPr/>
          </p:nvSpPr>
          <p:spPr bwMode="auto">
            <a:xfrm>
              <a:off x="7194550" y="3381375"/>
              <a:ext cx="11113" cy="11113"/>
            </a:xfrm>
            <a:custGeom>
              <a:avLst/>
              <a:gdLst/>
              <a:ahLst/>
              <a:cxnLst>
                <a:cxn ang="0">
                  <a:pos x="4" y="26"/>
                </a:cxn>
                <a:cxn ang="0">
                  <a:pos x="0" y="23"/>
                </a:cxn>
                <a:cxn ang="0">
                  <a:pos x="1" y="18"/>
                </a:cxn>
                <a:cxn ang="0">
                  <a:pos x="18" y="1"/>
                </a:cxn>
                <a:cxn ang="0">
                  <a:pos x="22" y="0"/>
                </a:cxn>
                <a:cxn ang="0">
                  <a:pos x="23" y="0"/>
                </a:cxn>
                <a:cxn ang="0">
                  <a:pos x="26" y="4"/>
                </a:cxn>
                <a:cxn ang="0">
                  <a:pos x="30" y="25"/>
                </a:cxn>
                <a:cxn ang="0">
                  <a:pos x="29" y="29"/>
                </a:cxn>
                <a:cxn ang="0">
                  <a:pos x="26" y="30"/>
                </a:cxn>
                <a:cxn ang="0">
                  <a:pos x="4" y="26"/>
                </a:cxn>
              </a:cxnLst>
              <a:rect l="0" t="0" r="r" b="b"/>
              <a:pathLst>
                <a:path w="32" h="31">
                  <a:moveTo>
                    <a:pt x="4" y="26"/>
                  </a:moveTo>
                  <a:cubicBezTo>
                    <a:pt x="2" y="26"/>
                    <a:pt x="1" y="24"/>
                    <a:pt x="0" y="23"/>
                  </a:cubicBezTo>
                  <a:cubicBezTo>
                    <a:pt x="0" y="21"/>
                    <a:pt x="0" y="19"/>
                    <a:pt x="1" y="18"/>
                  </a:cubicBezTo>
                  <a:lnTo>
                    <a:pt x="18" y="1"/>
                  </a:lnTo>
                  <a:cubicBezTo>
                    <a:pt x="19" y="0"/>
                    <a:pt x="20" y="0"/>
                    <a:pt x="22" y="0"/>
                  </a:cubicBezTo>
                  <a:lnTo>
                    <a:pt x="23" y="0"/>
                  </a:lnTo>
                  <a:cubicBezTo>
                    <a:pt x="25" y="0"/>
                    <a:pt x="26" y="2"/>
                    <a:pt x="26" y="4"/>
                  </a:cubicBezTo>
                  <a:lnTo>
                    <a:pt x="30" y="25"/>
                  </a:lnTo>
                  <a:cubicBezTo>
                    <a:pt x="31" y="26"/>
                    <a:pt x="30" y="28"/>
                    <a:pt x="29" y="29"/>
                  </a:cubicBezTo>
                  <a:cubicBezTo>
                    <a:pt x="28" y="30"/>
                    <a:pt x="27" y="30"/>
                    <a:pt x="26" y="30"/>
                  </a:cubicBezTo>
                  <a:lnTo>
                    <a:pt x="4" y="2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1" name="Freeform 556"/>
            <p:cNvSpPr>
              <a:spLocks noChangeArrowheads="1"/>
            </p:cNvSpPr>
            <p:nvPr/>
          </p:nvSpPr>
          <p:spPr bwMode="auto">
            <a:xfrm>
              <a:off x="7315200" y="3292475"/>
              <a:ext cx="160338" cy="133350"/>
            </a:xfrm>
            <a:custGeom>
              <a:avLst/>
              <a:gdLst/>
              <a:ahLst/>
              <a:cxnLst>
                <a:cxn ang="0">
                  <a:pos x="114" y="361"/>
                </a:cxn>
                <a:cxn ang="0">
                  <a:pos x="110" y="356"/>
                </a:cxn>
                <a:cxn ang="0">
                  <a:pos x="110" y="321"/>
                </a:cxn>
                <a:cxn ang="0">
                  <a:pos x="78" y="335"/>
                </a:cxn>
                <a:cxn ang="0">
                  <a:pos x="76" y="335"/>
                </a:cxn>
                <a:cxn ang="0">
                  <a:pos x="75" y="335"/>
                </a:cxn>
                <a:cxn ang="0">
                  <a:pos x="72" y="332"/>
                </a:cxn>
                <a:cxn ang="0">
                  <a:pos x="51" y="269"/>
                </a:cxn>
                <a:cxn ang="0">
                  <a:pos x="46" y="221"/>
                </a:cxn>
                <a:cxn ang="0">
                  <a:pos x="13" y="186"/>
                </a:cxn>
                <a:cxn ang="0">
                  <a:pos x="0" y="137"/>
                </a:cxn>
                <a:cxn ang="0">
                  <a:pos x="21" y="79"/>
                </a:cxn>
                <a:cxn ang="0">
                  <a:pos x="82" y="27"/>
                </a:cxn>
                <a:cxn ang="0">
                  <a:pos x="85" y="26"/>
                </a:cxn>
                <a:cxn ang="0">
                  <a:pos x="246" y="34"/>
                </a:cxn>
                <a:cxn ang="0">
                  <a:pos x="304" y="63"/>
                </a:cxn>
                <a:cxn ang="0">
                  <a:pos x="340" y="23"/>
                </a:cxn>
                <a:cxn ang="0">
                  <a:pos x="343" y="21"/>
                </a:cxn>
                <a:cxn ang="0">
                  <a:pos x="393" y="30"/>
                </a:cxn>
                <a:cxn ang="0">
                  <a:pos x="429" y="1"/>
                </a:cxn>
                <a:cxn ang="0">
                  <a:pos x="432" y="0"/>
                </a:cxn>
                <a:cxn ang="0">
                  <a:pos x="434" y="1"/>
                </a:cxn>
                <a:cxn ang="0">
                  <a:pos x="437" y="5"/>
                </a:cxn>
                <a:cxn ang="0">
                  <a:pos x="445" y="199"/>
                </a:cxn>
                <a:cxn ang="0">
                  <a:pos x="443" y="204"/>
                </a:cxn>
                <a:cxn ang="0">
                  <a:pos x="356" y="245"/>
                </a:cxn>
                <a:cxn ang="0">
                  <a:pos x="352" y="260"/>
                </a:cxn>
                <a:cxn ang="0">
                  <a:pos x="348" y="263"/>
                </a:cxn>
                <a:cxn ang="0">
                  <a:pos x="310" y="267"/>
                </a:cxn>
                <a:cxn ang="0">
                  <a:pos x="310" y="310"/>
                </a:cxn>
                <a:cxn ang="0">
                  <a:pos x="306" y="314"/>
                </a:cxn>
                <a:cxn ang="0">
                  <a:pos x="232" y="335"/>
                </a:cxn>
                <a:cxn ang="0">
                  <a:pos x="225" y="354"/>
                </a:cxn>
                <a:cxn ang="0">
                  <a:pos x="222" y="356"/>
                </a:cxn>
                <a:cxn ang="0">
                  <a:pos x="188" y="369"/>
                </a:cxn>
                <a:cxn ang="0">
                  <a:pos x="186" y="369"/>
                </a:cxn>
                <a:cxn ang="0">
                  <a:pos x="114" y="361"/>
                </a:cxn>
              </a:cxnLst>
              <a:rect l="0" t="0" r="r" b="b"/>
              <a:pathLst>
                <a:path w="447" h="370">
                  <a:moveTo>
                    <a:pt x="114" y="361"/>
                  </a:moveTo>
                  <a:cubicBezTo>
                    <a:pt x="112" y="361"/>
                    <a:pt x="110" y="359"/>
                    <a:pt x="110" y="356"/>
                  </a:cubicBezTo>
                  <a:lnTo>
                    <a:pt x="110" y="321"/>
                  </a:lnTo>
                  <a:lnTo>
                    <a:pt x="78" y="335"/>
                  </a:lnTo>
                  <a:cubicBezTo>
                    <a:pt x="78" y="335"/>
                    <a:pt x="77" y="335"/>
                    <a:pt x="76" y="335"/>
                  </a:cubicBezTo>
                  <a:lnTo>
                    <a:pt x="75" y="335"/>
                  </a:lnTo>
                  <a:cubicBezTo>
                    <a:pt x="73" y="334"/>
                    <a:pt x="72" y="333"/>
                    <a:pt x="72" y="332"/>
                  </a:cubicBezTo>
                  <a:lnTo>
                    <a:pt x="51" y="269"/>
                  </a:lnTo>
                  <a:lnTo>
                    <a:pt x="46" y="221"/>
                  </a:lnTo>
                  <a:lnTo>
                    <a:pt x="13" y="186"/>
                  </a:lnTo>
                  <a:lnTo>
                    <a:pt x="0" y="137"/>
                  </a:lnTo>
                  <a:lnTo>
                    <a:pt x="21" y="79"/>
                  </a:lnTo>
                  <a:lnTo>
                    <a:pt x="82" y="27"/>
                  </a:lnTo>
                  <a:cubicBezTo>
                    <a:pt x="82" y="26"/>
                    <a:pt x="84" y="26"/>
                    <a:pt x="85" y="26"/>
                  </a:cubicBezTo>
                  <a:lnTo>
                    <a:pt x="246" y="34"/>
                  </a:lnTo>
                  <a:lnTo>
                    <a:pt x="304" y="63"/>
                  </a:lnTo>
                  <a:lnTo>
                    <a:pt x="340" y="23"/>
                  </a:lnTo>
                  <a:cubicBezTo>
                    <a:pt x="341" y="22"/>
                    <a:pt x="342" y="21"/>
                    <a:pt x="343" y="21"/>
                  </a:cubicBezTo>
                  <a:lnTo>
                    <a:pt x="393" y="30"/>
                  </a:lnTo>
                  <a:lnTo>
                    <a:pt x="429" y="1"/>
                  </a:lnTo>
                  <a:cubicBezTo>
                    <a:pt x="430" y="1"/>
                    <a:pt x="431" y="0"/>
                    <a:pt x="432" y="0"/>
                  </a:cubicBezTo>
                  <a:cubicBezTo>
                    <a:pt x="433" y="0"/>
                    <a:pt x="434" y="0"/>
                    <a:pt x="434" y="1"/>
                  </a:cubicBezTo>
                  <a:cubicBezTo>
                    <a:pt x="436" y="1"/>
                    <a:pt x="437" y="3"/>
                    <a:pt x="437" y="5"/>
                  </a:cubicBezTo>
                  <a:lnTo>
                    <a:pt x="445" y="199"/>
                  </a:lnTo>
                  <a:cubicBezTo>
                    <a:pt x="446" y="201"/>
                    <a:pt x="444" y="203"/>
                    <a:pt x="443" y="204"/>
                  </a:cubicBezTo>
                  <a:lnTo>
                    <a:pt x="356" y="245"/>
                  </a:lnTo>
                  <a:lnTo>
                    <a:pt x="352" y="260"/>
                  </a:lnTo>
                  <a:cubicBezTo>
                    <a:pt x="352" y="262"/>
                    <a:pt x="350" y="263"/>
                    <a:pt x="348" y="263"/>
                  </a:cubicBezTo>
                  <a:lnTo>
                    <a:pt x="310" y="267"/>
                  </a:lnTo>
                  <a:lnTo>
                    <a:pt x="310" y="310"/>
                  </a:lnTo>
                  <a:cubicBezTo>
                    <a:pt x="310" y="312"/>
                    <a:pt x="308" y="314"/>
                    <a:pt x="306" y="314"/>
                  </a:cubicBezTo>
                  <a:lnTo>
                    <a:pt x="232" y="335"/>
                  </a:lnTo>
                  <a:lnTo>
                    <a:pt x="225" y="354"/>
                  </a:lnTo>
                  <a:cubicBezTo>
                    <a:pt x="224" y="355"/>
                    <a:pt x="223" y="356"/>
                    <a:pt x="222" y="356"/>
                  </a:cubicBezTo>
                  <a:lnTo>
                    <a:pt x="188" y="369"/>
                  </a:lnTo>
                  <a:cubicBezTo>
                    <a:pt x="188" y="369"/>
                    <a:pt x="187" y="369"/>
                    <a:pt x="186" y="369"/>
                  </a:cubicBezTo>
                  <a:lnTo>
                    <a:pt x="114" y="361"/>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2" name="Freeform 557"/>
            <p:cNvSpPr>
              <a:spLocks noChangeArrowheads="1"/>
            </p:cNvSpPr>
            <p:nvPr/>
          </p:nvSpPr>
          <p:spPr bwMode="auto">
            <a:xfrm>
              <a:off x="7315200" y="3292475"/>
              <a:ext cx="160338" cy="133350"/>
            </a:xfrm>
            <a:custGeom>
              <a:avLst/>
              <a:gdLst/>
              <a:ahLst/>
              <a:cxnLst>
                <a:cxn ang="0">
                  <a:pos x="114" y="361"/>
                </a:cxn>
                <a:cxn ang="0">
                  <a:pos x="110" y="356"/>
                </a:cxn>
                <a:cxn ang="0">
                  <a:pos x="110" y="321"/>
                </a:cxn>
                <a:cxn ang="0">
                  <a:pos x="78" y="335"/>
                </a:cxn>
                <a:cxn ang="0">
                  <a:pos x="76" y="335"/>
                </a:cxn>
                <a:cxn ang="0">
                  <a:pos x="75" y="335"/>
                </a:cxn>
                <a:cxn ang="0">
                  <a:pos x="72" y="332"/>
                </a:cxn>
                <a:cxn ang="0">
                  <a:pos x="51" y="269"/>
                </a:cxn>
                <a:cxn ang="0">
                  <a:pos x="46" y="221"/>
                </a:cxn>
                <a:cxn ang="0">
                  <a:pos x="13" y="186"/>
                </a:cxn>
                <a:cxn ang="0">
                  <a:pos x="0" y="137"/>
                </a:cxn>
                <a:cxn ang="0">
                  <a:pos x="21" y="79"/>
                </a:cxn>
                <a:cxn ang="0">
                  <a:pos x="82" y="27"/>
                </a:cxn>
                <a:cxn ang="0">
                  <a:pos x="85" y="26"/>
                </a:cxn>
                <a:cxn ang="0">
                  <a:pos x="246" y="34"/>
                </a:cxn>
                <a:cxn ang="0">
                  <a:pos x="304" y="63"/>
                </a:cxn>
                <a:cxn ang="0">
                  <a:pos x="340" y="23"/>
                </a:cxn>
                <a:cxn ang="0">
                  <a:pos x="343" y="21"/>
                </a:cxn>
                <a:cxn ang="0">
                  <a:pos x="393" y="30"/>
                </a:cxn>
                <a:cxn ang="0">
                  <a:pos x="429" y="1"/>
                </a:cxn>
                <a:cxn ang="0">
                  <a:pos x="432" y="0"/>
                </a:cxn>
                <a:cxn ang="0">
                  <a:pos x="434" y="1"/>
                </a:cxn>
                <a:cxn ang="0">
                  <a:pos x="437" y="5"/>
                </a:cxn>
                <a:cxn ang="0">
                  <a:pos x="445" y="199"/>
                </a:cxn>
                <a:cxn ang="0">
                  <a:pos x="443" y="204"/>
                </a:cxn>
                <a:cxn ang="0">
                  <a:pos x="356" y="245"/>
                </a:cxn>
                <a:cxn ang="0">
                  <a:pos x="352" y="260"/>
                </a:cxn>
                <a:cxn ang="0">
                  <a:pos x="348" y="263"/>
                </a:cxn>
                <a:cxn ang="0">
                  <a:pos x="310" y="267"/>
                </a:cxn>
                <a:cxn ang="0">
                  <a:pos x="310" y="310"/>
                </a:cxn>
                <a:cxn ang="0">
                  <a:pos x="306" y="314"/>
                </a:cxn>
                <a:cxn ang="0">
                  <a:pos x="232" y="335"/>
                </a:cxn>
                <a:cxn ang="0">
                  <a:pos x="225" y="354"/>
                </a:cxn>
                <a:cxn ang="0">
                  <a:pos x="222" y="356"/>
                </a:cxn>
                <a:cxn ang="0">
                  <a:pos x="188" y="369"/>
                </a:cxn>
                <a:cxn ang="0">
                  <a:pos x="186" y="369"/>
                </a:cxn>
                <a:cxn ang="0">
                  <a:pos x="114" y="361"/>
                </a:cxn>
              </a:cxnLst>
              <a:rect l="0" t="0" r="r" b="b"/>
              <a:pathLst>
                <a:path w="447" h="370">
                  <a:moveTo>
                    <a:pt x="114" y="361"/>
                  </a:moveTo>
                  <a:cubicBezTo>
                    <a:pt x="112" y="361"/>
                    <a:pt x="110" y="359"/>
                    <a:pt x="110" y="356"/>
                  </a:cubicBezTo>
                  <a:lnTo>
                    <a:pt x="110" y="321"/>
                  </a:lnTo>
                  <a:lnTo>
                    <a:pt x="78" y="335"/>
                  </a:lnTo>
                  <a:cubicBezTo>
                    <a:pt x="78" y="335"/>
                    <a:pt x="77" y="335"/>
                    <a:pt x="76" y="335"/>
                  </a:cubicBezTo>
                  <a:lnTo>
                    <a:pt x="75" y="335"/>
                  </a:lnTo>
                  <a:cubicBezTo>
                    <a:pt x="73" y="334"/>
                    <a:pt x="72" y="333"/>
                    <a:pt x="72" y="332"/>
                  </a:cubicBezTo>
                  <a:lnTo>
                    <a:pt x="51" y="269"/>
                  </a:lnTo>
                  <a:lnTo>
                    <a:pt x="46" y="221"/>
                  </a:lnTo>
                  <a:lnTo>
                    <a:pt x="13" y="186"/>
                  </a:lnTo>
                  <a:lnTo>
                    <a:pt x="0" y="137"/>
                  </a:lnTo>
                  <a:lnTo>
                    <a:pt x="21" y="79"/>
                  </a:lnTo>
                  <a:lnTo>
                    <a:pt x="82" y="27"/>
                  </a:lnTo>
                  <a:cubicBezTo>
                    <a:pt x="82" y="26"/>
                    <a:pt x="84" y="26"/>
                    <a:pt x="85" y="26"/>
                  </a:cubicBezTo>
                  <a:lnTo>
                    <a:pt x="246" y="34"/>
                  </a:lnTo>
                  <a:lnTo>
                    <a:pt x="304" y="63"/>
                  </a:lnTo>
                  <a:lnTo>
                    <a:pt x="340" y="23"/>
                  </a:lnTo>
                  <a:cubicBezTo>
                    <a:pt x="341" y="22"/>
                    <a:pt x="342" y="21"/>
                    <a:pt x="343" y="21"/>
                  </a:cubicBezTo>
                  <a:lnTo>
                    <a:pt x="393" y="30"/>
                  </a:lnTo>
                  <a:lnTo>
                    <a:pt x="429" y="1"/>
                  </a:lnTo>
                  <a:cubicBezTo>
                    <a:pt x="430" y="1"/>
                    <a:pt x="431" y="0"/>
                    <a:pt x="432" y="0"/>
                  </a:cubicBezTo>
                  <a:cubicBezTo>
                    <a:pt x="433" y="0"/>
                    <a:pt x="434" y="0"/>
                    <a:pt x="434" y="1"/>
                  </a:cubicBezTo>
                  <a:cubicBezTo>
                    <a:pt x="436" y="1"/>
                    <a:pt x="437" y="3"/>
                    <a:pt x="437" y="5"/>
                  </a:cubicBezTo>
                  <a:lnTo>
                    <a:pt x="445" y="199"/>
                  </a:lnTo>
                  <a:cubicBezTo>
                    <a:pt x="446" y="201"/>
                    <a:pt x="444" y="203"/>
                    <a:pt x="443" y="204"/>
                  </a:cubicBezTo>
                  <a:lnTo>
                    <a:pt x="356" y="245"/>
                  </a:lnTo>
                  <a:lnTo>
                    <a:pt x="352" y="260"/>
                  </a:lnTo>
                  <a:cubicBezTo>
                    <a:pt x="352" y="262"/>
                    <a:pt x="350" y="263"/>
                    <a:pt x="348" y="263"/>
                  </a:cubicBezTo>
                  <a:lnTo>
                    <a:pt x="310" y="267"/>
                  </a:lnTo>
                  <a:lnTo>
                    <a:pt x="310" y="310"/>
                  </a:lnTo>
                  <a:cubicBezTo>
                    <a:pt x="310" y="312"/>
                    <a:pt x="308" y="314"/>
                    <a:pt x="306" y="314"/>
                  </a:cubicBezTo>
                  <a:lnTo>
                    <a:pt x="232" y="335"/>
                  </a:lnTo>
                  <a:lnTo>
                    <a:pt x="225" y="354"/>
                  </a:lnTo>
                  <a:cubicBezTo>
                    <a:pt x="224" y="355"/>
                    <a:pt x="223" y="356"/>
                    <a:pt x="222" y="356"/>
                  </a:cubicBezTo>
                  <a:lnTo>
                    <a:pt x="188" y="369"/>
                  </a:lnTo>
                  <a:cubicBezTo>
                    <a:pt x="188" y="369"/>
                    <a:pt x="187" y="369"/>
                    <a:pt x="186" y="369"/>
                  </a:cubicBezTo>
                  <a:lnTo>
                    <a:pt x="114" y="36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3" name="Freeform 558"/>
            <p:cNvSpPr>
              <a:spLocks noChangeArrowheads="1"/>
            </p:cNvSpPr>
            <p:nvPr/>
          </p:nvSpPr>
          <p:spPr bwMode="auto">
            <a:xfrm>
              <a:off x="6453188" y="1839913"/>
              <a:ext cx="1843087" cy="1282700"/>
            </a:xfrm>
            <a:custGeom>
              <a:avLst/>
              <a:gdLst/>
              <a:ahLst/>
              <a:cxnLst>
                <a:cxn ang="0">
                  <a:pos x="2898" y="3456"/>
                </a:cxn>
                <a:cxn ang="0">
                  <a:pos x="2817" y="3445"/>
                </a:cxn>
                <a:cxn ang="0">
                  <a:pos x="2464" y="3360"/>
                </a:cxn>
                <a:cxn ang="0">
                  <a:pos x="2344" y="3371"/>
                </a:cxn>
                <a:cxn ang="0">
                  <a:pos x="2283" y="3424"/>
                </a:cxn>
                <a:cxn ang="0">
                  <a:pos x="2120" y="3288"/>
                </a:cxn>
                <a:cxn ang="0">
                  <a:pos x="2025" y="3126"/>
                </a:cxn>
                <a:cxn ang="0">
                  <a:pos x="1986" y="2843"/>
                </a:cxn>
                <a:cxn ang="0">
                  <a:pos x="1886" y="2761"/>
                </a:cxn>
                <a:cxn ang="0">
                  <a:pos x="1485" y="2860"/>
                </a:cxn>
                <a:cxn ang="0">
                  <a:pos x="1214" y="2869"/>
                </a:cxn>
                <a:cxn ang="0">
                  <a:pos x="961" y="2801"/>
                </a:cxn>
                <a:cxn ang="0">
                  <a:pos x="731" y="2657"/>
                </a:cxn>
                <a:cxn ang="0">
                  <a:pos x="450" y="2573"/>
                </a:cxn>
                <a:cxn ang="0">
                  <a:pos x="429" y="2399"/>
                </a:cxn>
                <a:cxn ang="0">
                  <a:pos x="445" y="2268"/>
                </a:cxn>
                <a:cxn ang="0">
                  <a:pos x="536" y="2133"/>
                </a:cxn>
                <a:cxn ang="0">
                  <a:pos x="244" y="2083"/>
                </a:cxn>
                <a:cxn ang="0">
                  <a:pos x="149" y="1998"/>
                </a:cxn>
                <a:cxn ang="0">
                  <a:pos x="93" y="1816"/>
                </a:cxn>
                <a:cxn ang="0">
                  <a:pos x="28" y="1638"/>
                </a:cxn>
                <a:cxn ang="0">
                  <a:pos x="543" y="1423"/>
                </a:cxn>
                <a:cxn ang="0">
                  <a:pos x="720" y="965"/>
                </a:cxn>
                <a:cxn ang="0">
                  <a:pos x="1021" y="664"/>
                </a:cxn>
                <a:cxn ang="0">
                  <a:pos x="1184" y="593"/>
                </a:cxn>
                <a:cxn ang="0">
                  <a:pos x="1441" y="995"/>
                </a:cxn>
                <a:cxn ang="0">
                  <a:pos x="2409" y="1401"/>
                </a:cxn>
                <a:cxn ang="0">
                  <a:pos x="3199" y="1082"/>
                </a:cxn>
                <a:cxn ang="0">
                  <a:pos x="3607" y="890"/>
                </a:cxn>
                <a:cxn ang="0">
                  <a:pos x="3508" y="759"/>
                </a:cxn>
                <a:cxn ang="0">
                  <a:pos x="3813" y="406"/>
                </a:cxn>
                <a:cxn ang="0">
                  <a:pos x="3945" y="36"/>
                </a:cxn>
                <a:cxn ang="0">
                  <a:pos x="4478" y="350"/>
                </a:cxn>
                <a:cxn ang="0">
                  <a:pos x="4885" y="753"/>
                </a:cxn>
                <a:cxn ang="0">
                  <a:pos x="5075" y="812"/>
                </a:cxn>
                <a:cxn ang="0">
                  <a:pos x="4822" y="1179"/>
                </a:cxn>
                <a:cxn ang="0">
                  <a:pos x="4721" y="1328"/>
                </a:cxn>
                <a:cxn ang="0">
                  <a:pos x="4372" y="1561"/>
                </a:cxn>
                <a:cxn ang="0">
                  <a:pos x="3973" y="1786"/>
                </a:cxn>
                <a:cxn ang="0">
                  <a:pos x="4058" y="1599"/>
                </a:cxn>
                <a:cxn ang="0">
                  <a:pos x="3686" y="1789"/>
                </a:cxn>
                <a:cxn ang="0">
                  <a:pos x="3952" y="1884"/>
                </a:cxn>
                <a:cxn ang="0">
                  <a:pos x="4068" y="1996"/>
                </a:cxn>
                <a:cxn ang="0">
                  <a:pos x="3932" y="2070"/>
                </a:cxn>
                <a:cxn ang="0">
                  <a:pos x="3958" y="2402"/>
                </a:cxn>
                <a:cxn ang="0">
                  <a:pos x="3977" y="2505"/>
                </a:cxn>
                <a:cxn ang="0">
                  <a:pos x="4044" y="2670"/>
                </a:cxn>
                <a:cxn ang="0">
                  <a:pos x="4034" y="2738"/>
                </a:cxn>
                <a:cxn ang="0">
                  <a:pos x="3968" y="2837"/>
                </a:cxn>
                <a:cxn ang="0">
                  <a:pos x="3856" y="3014"/>
                </a:cxn>
                <a:cxn ang="0">
                  <a:pos x="3716" y="3181"/>
                </a:cxn>
                <a:cxn ang="0">
                  <a:pos x="3624" y="3267"/>
                </a:cxn>
                <a:cxn ang="0">
                  <a:pos x="3439" y="3351"/>
                </a:cxn>
                <a:cxn ang="0">
                  <a:pos x="3401" y="3359"/>
                </a:cxn>
                <a:cxn ang="0">
                  <a:pos x="3337" y="3381"/>
                </a:cxn>
                <a:cxn ang="0">
                  <a:pos x="3081" y="3544"/>
                </a:cxn>
              </a:cxnLst>
              <a:rect l="0" t="0" r="r" b="b"/>
              <a:pathLst>
                <a:path w="5120" h="3564">
                  <a:moveTo>
                    <a:pt x="3042" y="3561"/>
                  </a:moveTo>
                  <a:lnTo>
                    <a:pt x="3009" y="3502"/>
                  </a:lnTo>
                  <a:lnTo>
                    <a:pt x="3008" y="3447"/>
                  </a:lnTo>
                  <a:lnTo>
                    <a:pt x="2972" y="3462"/>
                  </a:lnTo>
                  <a:cubicBezTo>
                    <a:pt x="2971" y="3462"/>
                    <a:pt x="2971" y="3462"/>
                    <a:pt x="2970" y="3462"/>
                  </a:cubicBezTo>
                  <a:cubicBezTo>
                    <a:pt x="2969" y="3462"/>
                    <a:pt x="2968" y="3462"/>
                    <a:pt x="2968" y="3461"/>
                  </a:cubicBezTo>
                  <a:lnTo>
                    <a:pt x="2920" y="3430"/>
                  </a:lnTo>
                  <a:lnTo>
                    <a:pt x="2898" y="3456"/>
                  </a:lnTo>
                  <a:cubicBezTo>
                    <a:pt x="2897" y="3457"/>
                    <a:pt x="2895" y="3458"/>
                    <a:pt x="2894" y="3458"/>
                  </a:cubicBezTo>
                  <a:lnTo>
                    <a:pt x="2893" y="3458"/>
                  </a:lnTo>
                  <a:cubicBezTo>
                    <a:pt x="2891" y="3457"/>
                    <a:pt x="2890" y="3456"/>
                    <a:pt x="2889" y="3454"/>
                  </a:cubicBezTo>
                  <a:lnTo>
                    <a:pt x="2887" y="3444"/>
                  </a:lnTo>
                  <a:lnTo>
                    <a:pt x="2872" y="3457"/>
                  </a:lnTo>
                  <a:cubicBezTo>
                    <a:pt x="2871" y="3457"/>
                    <a:pt x="2870" y="3458"/>
                    <a:pt x="2869" y="3458"/>
                  </a:cubicBezTo>
                  <a:cubicBezTo>
                    <a:pt x="2868" y="3458"/>
                    <a:pt x="2868" y="3458"/>
                    <a:pt x="2867" y="3458"/>
                  </a:cubicBezTo>
                  <a:lnTo>
                    <a:pt x="2817" y="3445"/>
                  </a:lnTo>
                  <a:lnTo>
                    <a:pt x="2773" y="3415"/>
                  </a:lnTo>
                  <a:lnTo>
                    <a:pt x="2746" y="3338"/>
                  </a:lnTo>
                  <a:lnTo>
                    <a:pt x="2640" y="3297"/>
                  </a:lnTo>
                  <a:lnTo>
                    <a:pt x="2528" y="3356"/>
                  </a:lnTo>
                  <a:cubicBezTo>
                    <a:pt x="2527" y="3356"/>
                    <a:pt x="2526" y="3356"/>
                    <a:pt x="2525" y="3356"/>
                  </a:cubicBezTo>
                  <a:lnTo>
                    <a:pt x="2524" y="3356"/>
                  </a:lnTo>
                  <a:lnTo>
                    <a:pt x="2492" y="3344"/>
                  </a:lnTo>
                  <a:lnTo>
                    <a:pt x="2464" y="3360"/>
                  </a:lnTo>
                  <a:cubicBezTo>
                    <a:pt x="2463" y="3360"/>
                    <a:pt x="2463" y="3360"/>
                    <a:pt x="2462" y="3360"/>
                  </a:cubicBezTo>
                  <a:cubicBezTo>
                    <a:pt x="2461" y="3360"/>
                    <a:pt x="2461" y="3360"/>
                    <a:pt x="2460" y="3360"/>
                  </a:cubicBezTo>
                  <a:lnTo>
                    <a:pt x="2413" y="3341"/>
                  </a:lnTo>
                  <a:lnTo>
                    <a:pt x="2398" y="3370"/>
                  </a:lnTo>
                  <a:cubicBezTo>
                    <a:pt x="2398" y="3372"/>
                    <a:pt x="2396" y="3373"/>
                    <a:pt x="2394" y="3373"/>
                  </a:cubicBezTo>
                  <a:lnTo>
                    <a:pt x="2393" y="3373"/>
                  </a:lnTo>
                  <a:lnTo>
                    <a:pt x="2357" y="3361"/>
                  </a:lnTo>
                  <a:lnTo>
                    <a:pt x="2344" y="3371"/>
                  </a:lnTo>
                  <a:lnTo>
                    <a:pt x="2348" y="3461"/>
                  </a:lnTo>
                  <a:cubicBezTo>
                    <a:pt x="2348" y="3463"/>
                    <a:pt x="2347" y="3465"/>
                    <a:pt x="2345" y="3466"/>
                  </a:cubicBezTo>
                  <a:lnTo>
                    <a:pt x="2316" y="3478"/>
                  </a:lnTo>
                  <a:cubicBezTo>
                    <a:pt x="2315" y="3479"/>
                    <a:pt x="2314" y="3479"/>
                    <a:pt x="2314" y="3479"/>
                  </a:cubicBezTo>
                  <a:cubicBezTo>
                    <a:pt x="2313" y="3479"/>
                    <a:pt x="2312" y="3479"/>
                    <a:pt x="2312" y="3478"/>
                  </a:cubicBezTo>
                  <a:cubicBezTo>
                    <a:pt x="2311" y="3478"/>
                    <a:pt x="2310" y="3477"/>
                    <a:pt x="2309" y="3475"/>
                  </a:cubicBezTo>
                  <a:lnTo>
                    <a:pt x="2297" y="3433"/>
                  </a:lnTo>
                  <a:lnTo>
                    <a:pt x="2283" y="3424"/>
                  </a:lnTo>
                  <a:lnTo>
                    <a:pt x="2231" y="3445"/>
                  </a:lnTo>
                  <a:cubicBezTo>
                    <a:pt x="2230" y="3445"/>
                    <a:pt x="2229" y="3445"/>
                    <a:pt x="2229" y="3445"/>
                  </a:cubicBezTo>
                  <a:cubicBezTo>
                    <a:pt x="2227" y="3445"/>
                    <a:pt x="2226" y="3444"/>
                    <a:pt x="2225" y="3443"/>
                  </a:cubicBezTo>
                  <a:lnTo>
                    <a:pt x="2195" y="3401"/>
                  </a:lnTo>
                  <a:lnTo>
                    <a:pt x="2147" y="3385"/>
                  </a:lnTo>
                  <a:cubicBezTo>
                    <a:pt x="2145" y="3385"/>
                    <a:pt x="2143" y="3382"/>
                    <a:pt x="2144" y="3380"/>
                  </a:cubicBezTo>
                  <a:lnTo>
                    <a:pt x="2160" y="3315"/>
                  </a:lnTo>
                  <a:lnTo>
                    <a:pt x="2120" y="3288"/>
                  </a:lnTo>
                  <a:cubicBezTo>
                    <a:pt x="2119" y="3287"/>
                    <a:pt x="2119" y="3286"/>
                    <a:pt x="2118" y="3285"/>
                  </a:cubicBezTo>
                  <a:lnTo>
                    <a:pt x="2106" y="3217"/>
                  </a:lnTo>
                  <a:lnTo>
                    <a:pt x="2072" y="3217"/>
                  </a:lnTo>
                  <a:lnTo>
                    <a:pt x="2006" y="3246"/>
                  </a:lnTo>
                  <a:cubicBezTo>
                    <a:pt x="2006" y="3246"/>
                    <a:pt x="2005" y="3246"/>
                    <a:pt x="2004" y="3246"/>
                  </a:cubicBezTo>
                  <a:cubicBezTo>
                    <a:pt x="2003" y="3246"/>
                    <a:pt x="2002" y="3246"/>
                    <a:pt x="2001" y="3245"/>
                  </a:cubicBezTo>
                  <a:cubicBezTo>
                    <a:pt x="2000" y="3244"/>
                    <a:pt x="1999" y="3242"/>
                    <a:pt x="2000" y="3240"/>
                  </a:cubicBezTo>
                  <a:lnTo>
                    <a:pt x="2025" y="3126"/>
                  </a:lnTo>
                  <a:lnTo>
                    <a:pt x="2094" y="3031"/>
                  </a:lnTo>
                  <a:lnTo>
                    <a:pt x="2097" y="2975"/>
                  </a:lnTo>
                  <a:lnTo>
                    <a:pt x="2081" y="2903"/>
                  </a:lnTo>
                  <a:lnTo>
                    <a:pt x="2064" y="2903"/>
                  </a:lnTo>
                  <a:cubicBezTo>
                    <a:pt x="2062" y="2903"/>
                    <a:pt x="2060" y="2903"/>
                    <a:pt x="2060" y="2901"/>
                  </a:cubicBezTo>
                  <a:lnTo>
                    <a:pt x="2026" y="2842"/>
                  </a:lnTo>
                  <a:lnTo>
                    <a:pt x="2005" y="2832"/>
                  </a:lnTo>
                  <a:lnTo>
                    <a:pt x="1986" y="2843"/>
                  </a:lnTo>
                  <a:cubicBezTo>
                    <a:pt x="1985" y="2844"/>
                    <a:pt x="1984" y="2844"/>
                    <a:pt x="1983" y="2844"/>
                  </a:cubicBezTo>
                  <a:cubicBezTo>
                    <a:pt x="1982" y="2844"/>
                    <a:pt x="1981" y="2844"/>
                    <a:pt x="1980" y="2843"/>
                  </a:cubicBezTo>
                  <a:lnTo>
                    <a:pt x="1959" y="2822"/>
                  </a:lnTo>
                  <a:lnTo>
                    <a:pt x="1898" y="2810"/>
                  </a:lnTo>
                  <a:cubicBezTo>
                    <a:pt x="1895" y="2810"/>
                    <a:pt x="1894" y="2808"/>
                    <a:pt x="1894" y="2805"/>
                  </a:cubicBezTo>
                  <a:lnTo>
                    <a:pt x="1898" y="2767"/>
                  </a:lnTo>
                  <a:lnTo>
                    <a:pt x="1889" y="2763"/>
                  </a:lnTo>
                  <a:cubicBezTo>
                    <a:pt x="1887" y="2763"/>
                    <a:pt x="1886" y="2762"/>
                    <a:pt x="1886" y="2761"/>
                  </a:cubicBezTo>
                  <a:lnTo>
                    <a:pt x="1870" y="2719"/>
                  </a:lnTo>
                  <a:lnTo>
                    <a:pt x="1811" y="2742"/>
                  </a:lnTo>
                  <a:lnTo>
                    <a:pt x="1752" y="2739"/>
                  </a:lnTo>
                  <a:lnTo>
                    <a:pt x="1626" y="2835"/>
                  </a:lnTo>
                  <a:lnTo>
                    <a:pt x="1515" y="2878"/>
                  </a:lnTo>
                  <a:cubicBezTo>
                    <a:pt x="1514" y="2878"/>
                    <a:pt x="1514" y="2878"/>
                    <a:pt x="1513" y="2878"/>
                  </a:cubicBezTo>
                  <a:cubicBezTo>
                    <a:pt x="1512" y="2878"/>
                    <a:pt x="1511" y="2878"/>
                    <a:pt x="1510" y="2877"/>
                  </a:cubicBezTo>
                  <a:lnTo>
                    <a:pt x="1485" y="2860"/>
                  </a:lnTo>
                  <a:lnTo>
                    <a:pt x="1366" y="2832"/>
                  </a:lnTo>
                  <a:lnTo>
                    <a:pt x="1283" y="2919"/>
                  </a:lnTo>
                  <a:cubicBezTo>
                    <a:pt x="1282" y="2920"/>
                    <a:pt x="1281" y="2920"/>
                    <a:pt x="1280" y="2920"/>
                  </a:cubicBezTo>
                  <a:cubicBezTo>
                    <a:pt x="1279" y="2920"/>
                    <a:pt x="1279" y="2920"/>
                    <a:pt x="1278" y="2920"/>
                  </a:cubicBezTo>
                  <a:lnTo>
                    <a:pt x="1261" y="2911"/>
                  </a:lnTo>
                  <a:cubicBezTo>
                    <a:pt x="1259" y="2911"/>
                    <a:pt x="1258" y="2909"/>
                    <a:pt x="1258" y="2907"/>
                  </a:cubicBezTo>
                  <a:lnTo>
                    <a:pt x="1258" y="2854"/>
                  </a:lnTo>
                  <a:lnTo>
                    <a:pt x="1214" y="2869"/>
                  </a:lnTo>
                  <a:lnTo>
                    <a:pt x="1149" y="2878"/>
                  </a:lnTo>
                  <a:lnTo>
                    <a:pt x="1088" y="2861"/>
                  </a:lnTo>
                  <a:lnTo>
                    <a:pt x="1030" y="2870"/>
                  </a:lnTo>
                  <a:cubicBezTo>
                    <a:pt x="1029" y="2870"/>
                    <a:pt x="1027" y="2869"/>
                    <a:pt x="1026" y="2868"/>
                  </a:cubicBezTo>
                  <a:lnTo>
                    <a:pt x="1005" y="2842"/>
                  </a:lnTo>
                  <a:lnTo>
                    <a:pt x="961" y="2827"/>
                  </a:lnTo>
                  <a:cubicBezTo>
                    <a:pt x="958" y="2826"/>
                    <a:pt x="957" y="2824"/>
                    <a:pt x="958" y="2822"/>
                  </a:cubicBezTo>
                  <a:lnTo>
                    <a:pt x="961" y="2801"/>
                  </a:lnTo>
                  <a:lnTo>
                    <a:pt x="881" y="2785"/>
                  </a:lnTo>
                  <a:cubicBezTo>
                    <a:pt x="878" y="2784"/>
                    <a:pt x="877" y="2782"/>
                    <a:pt x="877" y="2780"/>
                  </a:cubicBezTo>
                  <a:lnTo>
                    <a:pt x="881" y="2741"/>
                  </a:lnTo>
                  <a:lnTo>
                    <a:pt x="833" y="2759"/>
                  </a:lnTo>
                  <a:cubicBezTo>
                    <a:pt x="832" y="2759"/>
                    <a:pt x="832" y="2760"/>
                    <a:pt x="831" y="2760"/>
                  </a:cubicBezTo>
                  <a:cubicBezTo>
                    <a:pt x="829" y="2760"/>
                    <a:pt x="828" y="2759"/>
                    <a:pt x="827" y="2757"/>
                  </a:cubicBezTo>
                  <a:lnTo>
                    <a:pt x="797" y="2706"/>
                  </a:lnTo>
                  <a:lnTo>
                    <a:pt x="731" y="2657"/>
                  </a:lnTo>
                  <a:lnTo>
                    <a:pt x="653" y="2642"/>
                  </a:lnTo>
                  <a:lnTo>
                    <a:pt x="649" y="2663"/>
                  </a:lnTo>
                  <a:cubicBezTo>
                    <a:pt x="649" y="2664"/>
                    <a:pt x="648" y="2666"/>
                    <a:pt x="646" y="2666"/>
                  </a:cubicBezTo>
                  <a:cubicBezTo>
                    <a:pt x="646" y="2666"/>
                    <a:pt x="645" y="2667"/>
                    <a:pt x="644" y="2667"/>
                  </a:cubicBezTo>
                  <a:cubicBezTo>
                    <a:pt x="643" y="2667"/>
                    <a:pt x="642" y="2666"/>
                    <a:pt x="642" y="2665"/>
                  </a:cubicBezTo>
                  <a:lnTo>
                    <a:pt x="620" y="2649"/>
                  </a:lnTo>
                  <a:lnTo>
                    <a:pt x="489" y="2568"/>
                  </a:lnTo>
                  <a:lnTo>
                    <a:pt x="450" y="2573"/>
                  </a:lnTo>
                  <a:cubicBezTo>
                    <a:pt x="448" y="2573"/>
                    <a:pt x="446" y="2573"/>
                    <a:pt x="445" y="2571"/>
                  </a:cubicBezTo>
                  <a:lnTo>
                    <a:pt x="424" y="2529"/>
                  </a:lnTo>
                  <a:lnTo>
                    <a:pt x="428" y="2475"/>
                  </a:lnTo>
                  <a:lnTo>
                    <a:pt x="403" y="2423"/>
                  </a:lnTo>
                  <a:cubicBezTo>
                    <a:pt x="402" y="2421"/>
                    <a:pt x="403" y="2418"/>
                    <a:pt x="404" y="2417"/>
                  </a:cubicBezTo>
                  <a:lnTo>
                    <a:pt x="426" y="2400"/>
                  </a:lnTo>
                  <a:cubicBezTo>
                    <a:pt x="426" y="2399"/>
                    <a:pt x="427" y="2399"/>
                    <a:pt x="428" y="2399"/>
                  </a:cubicBezTo>
                  <a:lnTo>
                    <a:pt x="429" y="2399"/>
                  </a:lnTo>
                  <a:cubicBezTo>
                    <a:pt x="431" y="2399"/>
                    <a:pt x="432" y="2400"/>
                    <a:pt x="432" y="2401"/>
                  </a:cubicBezTo>
                  <a:lnTo>
                    <a:pt x="451" y="2431"/>
                  </a:lnTo>
                  <a:lnTo>
                    <a:pt x="495" y="2398"/>
                  </a:lnTo>
                  <a:lnTo>
                    <a:pt x="484" y="2360"/>
                  </a:lnTo>
                  <a:lnTo>
                    <a:pt x="447" y="2340"/>
                  </a:lnTo>
                  <a:cubicBezTo>
                    <a:pt x="446" y="2339"/>
                    <a:pt x="445" y="2338"/>
                    <a:pt x="445" y="2336"/>
                  </a:cubicBezTo>
                  <a:lnTo>
                    <a:pt x="441" y="2273"/>
                  </a:lnTo>
                  <a:cubicBezTo>
                    <a:pt x="441" y="2271"/>
                    <a:pt x="442" y="2268"/>
                    <a:pt x="445" y="2268"/>
                  </a:cubicBezTo>
                  <a:lnTo>
                    <a:pt x="492" y="2260"/>
                  </a:lnTo>
                  <a:lnTo>
                    <a:pt x="496" y="2230"/>
                  </a:lnTo>
                  <a:cubicBezTo>
                    <a:pt x="496" y="2229"/>
                    <a:pt x="497" y="2228"/>
                    <a:pt x="497" y="2227"/>
                  </a:cubicBezTo>
                  <a:lnTo>
                    <a:pt x="535" y="2193"/>
                  </a:lnTo>
                  <a:lnTo>
                    <a:pt x="557" y="2128"/>
                  </a:lnTo>
                  <a:lnTo>
                    <a:pt x="540" y="2133"/>
                  </a:lnTo>
                  <a:lnTo>
                    <a:pt x="539" y="2133"/>
                  </a:lnTo>
                  <a:cubicBezTo>
                    <a:pt x="538" y="2133"/>
                    <a:pt x="537" y="2133"/>
                    <a:pt x="536" y="2133"/>
                  </a:cubicBezTo>
                  <a:cubicBezTo>
                    <a:pt x="535" y="2132"/>
                    <a:pt x="534" y="2131"/>
                    <a:pt x="534" y="2130"/>
                  </a:cubicBezTo>
                  <a:lnTo>
                    <a:pt x="530" y="2111"/>
                  </a:lnTo>
                  <a:lnTo>
                    <a:pt x="475" y="2075"/>
                  </a:lnTo>
                  <a:lnTo>
                    <a:pt x="337" y="2129"/>
                  </a:lnTo>
                  <a:cubicBezTo>
                    <a:pt x="337" y="2129"/>
                    <a:pt x="336" y="2129"/>
                    <a:pt x="335" y="2129"/>
                  </a:cubicBezTo>
                  <a:lnTo>
                    <a:pt x="334" y="2129"/>
                  </a:lnTo>
                  <a:lnTo>
                    <a:pt x="262" y="2104"/>
                  </a:lnTo>
                  <a:lnTo>
                    <a:pt x="244" y="2083"/>
                  </a:lnTo>
                  <a:lnTo>
                    <a:pt x="217" y="2087"/>
                  </a:lnTo>
                  <a:cubicBezTo>
                    <a:pt x="215" y="2087"/>
                    <a:pt x="214" y="2086"/>
                    <a:pt x="213" y="2086"/>
                  </a:cubicBezTo>
                  <a:lnTo>
                    <a:pt x="192" y="2064"/>
                  </a:lnTo>
                  <a:cubicBezTo>
                    <a:pt x="191" y="2063"/>
                    <a:pt x="191" y="2062"/>
                    <a:pt x="191" y="2061"/>
                  </a:cubicBezTo>
                  <a:lnTo>
                    <a:pt x="195" y="2020"/>
                  </a:lnTo>
                  <a:lnTo>
                    <a:pt x="181" y="2002"/>
                  </a:lnTo>
                  <a:lnTo>
                    <a:pt x="153" y="2002"/>
                  </a:lnTo>
                  <a:cubicBezTo>
                    <a:pt x="151" y="2002"/>
                    <a:pt x="149" y="2001"/>
                    <a:pt x="149" y="1998"/>
                  </a:cubicBezTo>
                  <a:lnTo>
                    <a:pt x="145" y="1976"/>
                  </a:lnTo>
                  <a:lnTo>
                    <a:pt x="89" y="1964"/>
                  </a:lnTo>
                  <a:lnTo>
                    <a:pt x="71" y="1955"/>
                  </a:lnTo>
                  <a:cubicBezTo>
                    <a:pt x="69" y="1954"/>
                    <a:pt x="68" y="1953"/>
                    <a:pt x="68" y="1951"/>
                  </a:cubicBezTo>
                  <a:cubicBezTo>
                    <a:pt x="68" y="1949"/>
                    <a:pt x="69" y="1948"/>
                    <a:pt x="71" y="1947"/>
                  </a:cubicBezTo>
                  <a:lnTo>
                    <a:pt x="96" y="1934"/>
                  </a:lnTo>
                  <a:lnTo>
                    <a:pt x="110" y="1934"/>
                  </a:lnTo>
                  <a:lnTo>
                    <a:pt x="93" y="1816"/>
                  </a:lnTo>
                  <a:lnTo>
                    <a:pt x="87" y="1808"/>
                  </a:lnTo>
                  <a:lnTo>
                    <a:pt x="30" y="1812"/>
                  </a:lnTo>
                  <a:cubicBezTo>
                    <a:pt x="29" y="1812"/>
                    <a:pt x="27" y="1811"/>
                    <a:pt x="26" y="1810"/>
                  </a:cubicBezTo>
                  <a:lnTo>
                    <a:pt x="1" y="1772"/>
                  </a:lnTo>
                  <a:cubicBezTo>
                    <a:pt x="0" y="1771"/>
                    <a:pt x="0" y="1769"/>
                    <a:pt x="0" y="1768"/>
                  </a:cubicBezTo>
                  <a:lnTo>
                    <a:pt x="17" y="1692"/>
                  </a:lnTo>
                  <a:lnTo>
                    <a:pt x="26" y="1641"/>
                  </a:lnTo>
                  <a:cubicBezTo>
                    <a:pt x="26" y="1640"/>
                    <a:pt x="27" y="1639"/>
                    <a:pt x="28" y="1638"/>
                  </a:cubicBezTo>
                  <a:lnTo>
                    <a:pt x="96" y="1608"/>
                  </a:lnTo>
                  <a:lnTo>
                    <a:pt x="107" y="1589"/>
                  </a:lnTo>
                  <a:cubicBezTo>
                    <a:pt x="108" y="1588"/>
                    <a:pt x="109" y="1587"/>
                    <a:pt x="111" y="1587"/>
                  </a:cubicBezTo>
                  <a:lnTo>
                    <a:pt x="223" y="1599"/>
                  </a:lnTo>
                  <a:lnTo>
                    <a:pt x="273" y="1546"/>
                  </a:lnTo>
                  <a:lnTo>
                    <a:pt x="383" y="1524"/>
                  </a:lnTo>
                  <a:lnTo>
                    <a:pt x="416" y="1483"/>
                  </a:lnTo>
                  <a:lnTo>
                    <a:pt x="543" y="1423"/>
                  </a:lnTo>
                  <a:lnTo>
                    <a:pt x="560" y="1374"/>
                  </a:lnTo>
                  <a:lnTo>
                    <a:pt x="585" y="1273"/>
                  </a:lnTo>
                  <a:lnTo>
                    <a:pt x="551" y="1131"/>
                  </a:lnTo>
                  <a:lnTo>
                    <a:pt x="526" y="1099"/>
                  </a:lnTo>
                  <a:cubicBezTo>
                    <a:pt x="525" y="1098"/>
                    <a:pt x="525" y="1096"/>
                    <a:pt x="526" y="1095"/>
                  </a:cubicBezTo>
                  <a:cubicBezTo>
                    <a:pt x="526" y="1093"/>
                    <a:pt x="528" y="1092"/>
                    <a:pt x="529" y="1092"/>
                  </a:cubicBezTo>
                  <a:lnTo>
                    <a:pt x="724" y="1046"/>
                  </a:lnTo>
                  <a:lnTo>
                    <a:pt x="720" y="965"/>
                  </a:lnTo>
                  <a:lnTo>
                    <a:pt x="780" y="815"/>
                  </a:lnTo>
                  <a:cubicBezTo>
                    <a:pt x="781" y="814"/>
                    <a:pt x="782" y="813"/>
                    <a:pt x="784" y="813"/>
                  </a:cubicBezTo>
                  <a:lnTo>
                    <a:pt x="916" y="829"/>
                  </a:lnTo>
                  <a:lnTo>
                    <a:pt x="942" y="854"/>
                  </a:lnTo>
                  <a:lnTo>
                    <a:pt x="996" y="827"/>
                  </a:lnTo>
                  <a:lnTo>
                    <a:pt x="996" y="741"/>
                  </a:lnTo>
                  <a:lnTo>
                    <a:pt x="1017" y="668"/>
                  </a:lnTo>
                  <a:cubicBezTo>
                    <a:pt x="1018" y="666"/>
                    <a:pt x="1019" y="665"/>
                    <a:pt x="1021" y="664"/>
                  </a:cubicBezTo>
                  <a:lnTo>
                    <a:pt x="1078" y="660"/>
                  </a:lnTo>
                  <a:lnTo>
                    <a:pt x="1111" y="603"/>
                  </a:lnTo>
                  <a:cubicBezTo>
                    <a:pt x="1111" y="602"/>
                    <a:pt x="1113" y="601"/>
                    <a:pt x="1115" y="601"/>
                  </a:cubicBezTo>
                  <a:lnTo>
                    <a:pt x="1116" y="601"/>
                  </a:lnTo>
                  <a:lnTo>
                    <a:pt x="1152" y="613"/>
                  </a:lnTo>
                  <a:lnTo>
                    <a:pt x="1180" y="593"/>
                  </a:lnTo>
                  <a:cubicBezTo>
                    <a:pt x="1181" y="593"/>
                    <a:pt x="1182" y="592"/>
                    <a:pt x="1183" y="592"/>
                  </a:cubicBezTo>
                  <a:cubicBezTo>
                    <a:pt x="1183" y="592"/>
                    <a:pt x="1183" y="593"/>
                    <a:pt x="1184" y="593"/>
                  </a:cubicBezTo>
                  <a:cubicBezTo>
                    <a:pt x="1185" y="593"/>
                    <a:pt x="1186" y="594"/>
                    <a:pt x="1187" y="595"/>
                  </a:cubicBezTo>
                  <a:lnTo>
                    <a:pt x="1212" y="655"/>
                  </a:lnTo>
                  <a:lnTo>
                    <a:pt x="1271" y="721"/>
                  </a:lnTo>
                  <a:lnTo>
                    <a:pt x="1378" y="741"/>
                  </a:lnTo>
                  <a:cubicBezTo>
                    <a:pt x="1380" y="741"/>
                    <a:pt x="1381" y="742"/>
                    <a:pt x="1382" y="743"/>
                  </a:cubicBezTo>
                  <a:lnTo>
                    <a:pt x="1394" y="769"/>
                  </a:lnTo>
                  <a:lnTo>
                    <a:pt x="1437" y="892"/>
                  </a:lnTo>
                  <a:lnTo>
                    <a:pt x="1441" y="995"/>
                  </a:lnTo>
                  <a:lnTo>
                    <a:pt x="1430" y="1038"/>
                  </a:lnTo>
                  <a:lnTo>
                    <a:pt x="1561" y="1079"/>
                  </a:lnTo>
                  <a:lnTo>
                    <a:pt x="1614" y="1075"/>
                  </a:lnTo>
                  <a:lnTo>
                    <a:pt x="1811" y="1160"/>
                  </a:lnTo>
                  <a:lnTo>
                    <a:pt x="1877" y="1263"/>
                  </a:lnTo>
                  <a:lnTo>
                    <a:pt x="1959" y="1341"/>
                  </a:lnTo>
                  <a:lnTo>
                    <a:pt x="2271" y="1329"/>
                  </a:lnTo>
                  <a:lnTo>
                    <a:pt x="2409" y="1401"/>
                  </a:lnTo>
                  <a:lnTo>
                    <a:pt x="2612" y="1464"/>
                  </a:lnTo>
                  <a:lnTo>
                    <a:pt x="2842" y="1376"/>
                  </a:lnTo>
                  <a:lnTo>
                    <a:pt x="2954" y="1379"/>
                  </a:lnTo>
                  <a:lnTo>
                    <a:pt x="3045" y="1354"/>
                  </a:lnTo>
                  <a:lnTo>
                    <a:pt x="3197" y="1222"/>
                  </a:lnTo>
                  <a:lnTo>
                    <a:pt x="3161" y="1167"/>
                  </a:lnTo>
                  <a:cubicBezTo>
                    <a:pt x="3160" y="1165"/>
                    <a:pt x="3160" y="1164"/>
                    <a:pt x="3161" y="1162"/>
                  </a:cubicBezTo>
                  <a:lnTo>
                    <a:pt x="3199" y="1082"/>
                  </a:lnTo>
                  <a:cubicBezTo>
                    <a:pt x="3200" y="1081"/>
                    <a:pt x="3200" y="1080"/>
                    <a:pt x="3201" y="1079"/>
                  </a:cubicBezTo>
                  <a:lnTo>
                    <a:pt x="3231" y="1067"/>
                  </a:lnTo>
                  <a:cubicBezTo>
                    <a:pt x="3232" y="1067"/>
                    <a:pt x="3232" y="1066"/>
                    <a:pt x="3233" y="1066"/>
                  </a:cubicBezTo>
                  <a:cubicBezTo>
                    <a:pt x="3233" y="1066"/>
                    <a:pt x="3234" y="1067"/>
                    <a:pt x="3235" y="1067"/>
                  </a:cubicBezTo>
                  <a:lnTo>
                    <a:pt x="3334" y="1104"/>
                  </a:lnTo>
                  <a:lnTo>
                    <a:pt x="3437" y="1017"/>
                  </a:lnTo>
                  <a:lnTo>
                    <a:pt x="3507" y="995"/>
                  </a:lnTo>
                  <a:lnTo>
                    <a:pt x="3607" y="890"/>
                  </a:lnTo>
                  <a:cubicBezTo>
                    <a:pt x="3607" y="889"/>
                    <a:pt x="3608" y="889"/>
                    <a:pt x="3610" y="889"/>
                  </a:cubicBezTo>
                  <a:lnTo>
                    <a:pt x="3821" y="872"/>
                  </a:lnTo>
                  <a:lnTo>
                    <a:pt x="3801" y="845"/>
                  </a:lnTo>
                  <a:lnTo>
                    <a:pt x="3796" y="792"/>
                  </a:lnTo>
                  <a:lnTo>
                    <a:pt x="3724" y="717"/>
                  </a:lnTo>
                  <a:lnTo>
                    <a:pt x="3625" y="775"/>
                  </a:lnTo>
                  <a:lnTo>
                    <a:pt x="3512" y="763"/>
                  </a:lnTo>
                  <a:cubicBezTo>
                    <a:pt x="3510" y="763"/>
                    <a:pt x="3508" y="761"/>
                    <a:pt x="3508" y="759"/>
                  </a:cubicBezTo>
                  <a:lnTo>
                    <a:pt x="3495" y="708"/>
                  </a:lnTo>
                  <a:lnTo>
                    <a:pt x="3504" y="572"/>
                  </a:lnTo>
                  <a:lnTo>
                    <a:pt x="3568" y="468"/>
                  </a:lnTo>
                  <a:cubicBezTo>
                    <a:pt x="3569" y="466"/>
                    <a:pt x="3570" y="466"/>
                    <a:pt x="3572" y="466"/>
                  </a:cubicBezTo>
                  <a:cubicBezTo>
                    <a:pt x="3573" y="466"/>
                    <a:pt x="3573" y="466"/>
                    <a:pt x="3574" y="466"/>
                  </a:cubicBezTo>
                  <a:lnTo>
                    <a:pt x="3694" y="516"/>
                  </a:lnTo>
                  <a:lnTo>
                    <a:pt x="3805" y="451"/>
                  </a:lnTo>
                  <a:lnTo>
                    <a:pt x="3813" y="406"/>
                  </a:lnTo>
                  <a:lnTo>
                    <a:pt x="3864" y="261"/>
                  </a:lnTo>
                  <a:lnTo>
                    <a:pt x="3931" y="202"/>
                  </a:lnTo>
                  <a:lnTo>
                    <a:pt x="3928" y="145"/>
                  </a:lnTo>
                  <a:lnTo>
                    <a:pt x="3873" y="145"/>
                  </a:lnTo>
                  <a:cubicBezTo>
                    <a:pt x="3871" y="145"/>
                    <a:pt x="3870" y="144"/>
                    <a:pt x="3869" y="143"/>
                  </a:cubicBezTo>
                  <a:cubicBezTo>
                    <a:pt x="3868" y="142"/>
                    <a:pt x="3868" y="140"/>
                    <a:pt x="3868" y="139"/>
                  </a:cubicBezTo>
                  <a:lnTo>
                    <a:pt x="3877" y="114"/>
                  </a:lnTo>
                  <a:lnTo>
                    <a:pt x="3945" y="36"/>
                  </a:lnTo>
                  <a:cubicBezTo>
                    <a:pt x="3945" y="36"/>
                    <a:pt x="4177" y="0"/>
                    <a:pt x="4178" y="0"/>
                  </a:cubicBezTo>
                  <a:cubicBezTo>
                    <a:pt x="4179" y="0"/>
                    <a:pt x="4180" y="1"/>
                    <a:pt x="4180" y="1"/>
                  </a:cubicBezTo>
                  <a:lnTo>
                    <a:pt x="4248" y="48"/>
                  </a:lnTo>
                  <a:lnTo>
                    <a:pt x="4348" y="68"/>
                  </a:lnTo>
                  <a:cubicBezTo>
                    <a:pt x="4349" y="68"/>
                    <a:pt x="4350" y="69"/>
                    <a:pt x="4351" y="70"/>
                  </a:cubicBezTo>
                  <a:lnTo>
                    <a:pt x="4414" y="159"/>
                  </a:lnTo>
                  <a:lnTo>
                    <a:pt x="4428" y="237"/>
                  </a:lnTo>
                  <a:lnTo>
                    <a:pt x="4478" y="350"/>
                  </a:lnTo>
                  <a:lnTo>
                    <a:pt x="4508" y="509"/>
                  </a:lnTo>
                  <a:lnTo>
                    <a:pt x="4645" y="533"/>
                  </a:lnTo>
                  <a:lnTo>
                    <a:pt x="4760" y="597"/>
                  </a:lnTo>
                  <a:cubicBezTo>
                    <a:pt x="4761" y="598"/>
                    <a:pt x="4762" y="599"/>
                    <a:pt x="4762" y="600"/>
                  </a:cubicBezTo>
                  <a:lnTo>
                    <a:pt x="4784" y="659"/>
                  </a:lnTo>
                  <a:lnTo>
                    <a:pt x="4784" y="712"/>
                  </a:lnTo>
                  <a:lnTo>
                    <a:pt x="4807" y="749"/>
                  </a:lnTo>
                  <a:lnTo>
                    <a:pt x="4885" y="753"/>
                  </a:lnTo>
                  <a:lnTo>
                    <a:pt x="5112" y="656"/>
                  </a:lnTo>
                  <a:cubicBezTo>
                    <a:pt x="5113" y="656"/>
                    <a:pt x="5113" y="656"/>
                    <a:pt x="5114" y="656"/>
                  </a:cubicBezTo>
                  <a:cubicBezTo>
                    <a:pt x="5115" y="656"/>
                    <a:pt x="5116" y="657"/>
                    <a:pt x="5117" y="657"/>
                  </a:cubicBezTo>
                  <a:cubicBezTo>
                    <a:pt x="5119" y="659"/>
                    <a:pt x="5119" y="661"/>
                    <a:pt x="5118" y="663"/>
                  </a:cubicBezTo>
                  <a:lnTo>
                    <a:pt x="5105" y="688"/>
                  </a:lnTo>
                  <a:lnTo>
                    <a:pt x="5114" y="770"/>
                  </a:lnTo>
                  <a:cubicBezTo>
                    <a:pt x="5115" y="772"/>
                    <a:pt x="5114" y="773"/>
                    <a:pt x="5113" y="774"/>
                  </a:cubicBezTo>
                  <a:lnTo>
                    <a:pt x="5075" y="812"/>
                  </a:lnTo>
                  <a:lnTo>
                    <a:pt x="5034" y="954"/>
                  </a:lnTo>
                  <a:lnTo>
                    <a:pt x="4978" y="1069"/>
                  </a:lnTo>
                  <a:lnTo>
                    <a:pt x="4956" y="1087"/>
                  </a:lnTo>
                  <a:cubicBezTo>
                    <a:pt x="4955" y="1088"/>
                    <a:pt x="4954" y="1088"/>
                    <a:pt x="4953" y="1088"/>
                  </a:cubicBezTo>
                  <a:cubicBezTo>
                    <a:pt x="4952" y="1088"/>
                    <a:pt x="4952" y="1088"/>
                    <a:pt x="4951" y="1088"/>
                  </a:cubicBezTo>
                  <a:lnTo>
                    <a:pt x="4869" y="1059"/>
                  </a:lnTo>
                  <a:lnTo>
                    <a:pt x="4802" y="1123"/>
                  </a:lnTo>
                  <a:lnTo>
                    <a:pt x="4822" y="1179"/>
                  </a:lnTo>
                  <a:lnTo>
                    <a:pt x="4822" y="1274"/>
                  </a:lnTo>
                  <a:cubicBezTo>
                    <a:pt x="4822" y="1275"/>
                    <a:pt x="4822" y="1276"/>
                    <a:pt x="4821" y="1277"/>
                  </a:cubicBezTo>
                  <a:lnTo>
                    <a:pt x="4767" y="1339"/>
                  </a:lnTo>
                  <a:lnTo>
                    <a:pt x="4767" y="1363"/>
                  </a:lnTo>
                  <a:cubicBezTo>
                    <a:pt x="4767" y="1365"/>
                    <a:pt x="4766" y="1367"/>
                    <a:pt x="4764" y="1367"/>
                  </a:cubicBezTo>
                  <a:cubicBezTo>
                    <a:pt x="4764" y="1368"/>
                    <a:pt x="4763" y="1368"/>
                    <a:pt x="4762" y="1368"/>
                  </a:cubicBezTo>
                  <a:cubicBezTo>
                    <a:pt x="4761" y="1368"/>
                    <a:pt x="4760" y="1367"/>
                    <a:pt x="4759" y="1366"/>
                  </a:cubicBezTo>
                  <a:lnTo>
                    <a:pt x="4721" y="1328"/>
                  </a:lnTo>
                  <a:lnTo>
                    <a:pt x="4682" y="1391"/>
                  </a:lnTo>
                  <a:lnTo>
                    <a:pt x="4634" y="1430"/>
                  </a:lnTo>
                  <a:lnTo>
                    <a:pt x="4568" y="1435"/>
                  </a:lnTo>
                  <a:lnTo>
                    <a:pt x="4572" y="1494"/>
                  </a:lnTo>
                  <a:cubicBezTo>
                    <a:pt x="4572" y="1496"/>
                    <a:pt x="4571" y="1498"/>
                    <a:pt x="4568" y="1499"/>
                  </a:cubicBezTo>
                  <a:lnTo>
                    <a:pt x="4505" y="1507"/>
                  </a:lnTo>
                  <a:lnTo>
                    <a:pt x="4454" y="1483"/>
                  </a:lnTo>
                  <a:lnTo>
                    <a:pt x="4372" y="1561"/>
                  </a:lnTo>
                  <a:lnTo>
                    <a:pt x="4290" y="1604"/>
                  </a:lnTo>
                  <a:lnTo>
                    <a:pt x="4249" y="1662"/>
                  </a:lnTo>
                  <a:cubicBezTo>
                    <a:pt x="4249" y="1663"/>
                    <a:pt x="4248" y="1664"/>
                    <a:pt x="4246" y="1664"/>
                  </a:cubicBezTo>
                  <a:lnTo>
                    <a:pt x="4162" y="1681"/>
                  </a:lnTo>
                  <a:lnTo>
                    <a:pt x="3990" y="1790"/>
                  </a:lnTo>
                  <a:cubicBezTo>
                    <a:pt x="3989" y="1791"/>
                    <a:pt x="3988" y="1791"/>
                    <a:pt x="3987" y="1791"/>
                  </a:cubicBezTo>
                  <a:lnTo>
                    <a:pt x="3986" y="1791"/>
                  </a:lnTo>
                  <a:lnTo>
                    <a:pt x="3973" y="1786"/>
                  </a:lnTo>
                  <a:cubicBezTo>
                    <a:pt x="3971" y="1786"/>
                    <a:pt x="3970" y="1784"/>
                    <a:pt x="3970" y="1783"/>
                  </a:cubicBezTo>
                  <a:cubicBezTo>
                    <a:pt x="3969" y="1781"/>
                    <a:pt x="3970" y="1779"/>
                    <a:pt x="3972" y="1778"/>
                  </a:cubicBezTo>
                  <a:lnTo>
                    <a:pt x="4008" y="1754"/>
                  </a:lnTo>
                  <a:lnTo>
                    <a:pt x="4016" y="1725"/>
                  </a:lnTo>
                  <a:lnTo>
                    <a:pt x="3985" y="1705"/>
                  </a:lnTo>
                  <a:cubicBezTo>
                    <a:pt x="3984" y="1705"/>
                    <a:pt x="3983" y="1704"/>
                    <a:pt x="3982" y="1702"/>
                  </a:cubicBezTo>
                  <a:cubicBezTo>
                    <a:pt x="3982" y="1701"/>
                    <a:pt x="3982" y="1700"/>
                    <a:pt x="3983" y="1699"/>
                  </a:cubicBezTo>
                  <a:lnTo>
                    <a:pt x="4058" y="1599"/>
                  </a:lnTo>
                  <a:lnTo>
                    <a:pt x="4031" y="1542"/>
                  </a:lnTo>
                  <a:lnTo>
                    <a:pt x="3976" y="1558"/>
                  </a:lnTo>
                  <a:lnTo>
                    <a:pt x="3919" y="1637"/>
                  </a:lnTo>
                  <a:lnTo>
                    <a:pt x="3841" y="1680"/>
                  </a:lnTo>
                  <a:lnTo>
                    <a:pt x="3809" y="1729"/>
                  </a:lnTo>
                  <a:lnTo>
                    <a:pt x="3756" y="1752"/>
                  </a:lnTo>
                  <a:lnTo>
                    <a:pt x="3714" y="1745"/>
                  </a:lnTo>
                  <a:lnTo>
                    <a:pt x="3686" y="1789"/>
                  </a:lnTo>
                  <a:lnTo>
                    <a:pt x="3683" y="1810"/>
                  </a:lnTo>
                  <a:lnTo>
                    <a:pt x="3720" y="1851"/>
                  </a:lnTo>
                  <a:lnTo>
                    <a:pt x="3778" y="1883"/>
                  </a:lnTo>
                  <a:lnTo>
                    <a:pt x="3800" y="1939"/>
                  </a:lnTo>
                  <a:lnTo>
                    <a:pt x="3838" y="1954"/>
                  </a:lnTo>
                  <a:lnTo>
                    <a:pt x="3946" y="1884"/>
                  </a:lnTo>
                  <a:cubicBezTo>
                    <a:pt x="3947" y="1883"/>
                    <a:pt x="3948" y="1883"/>
                    <a:pt x="3949" y="1883"/>
                  </a:cubicBezTo>
                  <a:cubicBezTo>
                    <a:pt x="3950" y="1883"/>
                    <a:pt x="3951" y="1883"/>
                    <a:pt x="3952" y="1884"/>
                  </a:cubicBezTo>
                  <a:lnTo>
                    <a:pt x="4011" y="1922"/>
                  </a:lnTo>
                  <a:lnTo>
                    <a:pt x="4098" y="1929"/>
                  </a:lnTo>
                  <a:cubicBezTo>
                    <a:pt x="4099" y="1930"/>
                    <a:pt x="4101" y="1930"/>
                    <a:pt x="4101" y="1932"/>
                  </a:cubicBezTo>
                  <a:cubicBezTo>
                    <a:pt x="4102" y="1933"/>
                    <a:pt x="4102" y="1935"/>
                    <a:pt x="4102" y="1936"/>
                  </a:cubicBezTo>
                  <a:lnTo>
                    <a:pt x="4076" y="1995"/>
                  </a:lnTo>
                  <a:cubicBezTo>
                    <a:pt x="4075" y="1997"/>
                    <a:pt x="4074" y="1998"/>
                    <a:pt x="4072" y="1998"/>
                  </a:cubicBezTo>
                  <a:lnTo>
                    <a:pt x="4072" y="1998"/>
                  </a:lnTo>
                  <a:cubicBezTo>
                    <a:pt x="4070" y="1998"/>
                    <a:pt x="4069" y="1997"/>
                    <a:pt x="4068" y="1996"/>
                  </a:cubicBezTo>
                  <a:lnTo>
                    <a:pt x="4056" y="1977"/>
                  </a:lnTo>
                  <a:lnTo>
                    <a:pt x="4040" y="1977"/>
                  </a:lnTo>
                  <a:lnTo>
                    <a:pt x="4020" y="2001"/>
                  </a:lnTo>
                  <a:lnTo>
                    <a:pt x="3955" y="2014"/>
                  </a:lnTo>
                  <a:lnTo>
                    <a:pt x="3958" y="2026"/>
                  </a:lnTo>
                  <a:cubicBezTo>
                    <a:pt x="3958" y="2027"/>
                    <a:pt x="3958" y="2028"/>
                    <a:pt x="3957" y="2029"/>
                  </a:cubicBezTo>
                  <a:lnTo>
                    <a:pt x="3936" y="2068"/>
                  </a:lnTo>
                  <a:cubicBezTo>
                    <a:pt x="3935" y="2069"/>
                    <a:pt x="3934" y="2070"/>
                    <a:pt x="3932" y="2070"/>
                  </a:cubicBezTo>
                  <a:lnTo>
                    <a:pt x="3931" y="2070"/>
                  </a:lnTo>
                  <a:lnTo>
                    <a:pt x="3898" y="2059"/>
                  </a:lnTo>
                  <a:lnTo>
                    <a:pt x="3894" y="2087"/>
                  </a:lnTo>
                  <a:cubicBezTo>
                    <a:pt x="3894" y="2088"/>
                    <a:pt x="3894" y="2089"/>
                    <a:pt x="3893" y="2090"/>
                  </a:cubicBezTo>
                  <a:lnTo>
                    <a:pt x="3855" y="2124"/>
                  </a:lnTo>
                  <a:lnTo>
                    <a:pt x="3816" y="2186"/>
                  </a:lnTo>
                  <a:lnTo>
                    <a:pt x="3896" y="2235"/>
                  </a:lnTo>
                  <a:lnTo>
                    <a:pt x="3958" y="2402"/>
                  </a:lnTo>
                  <a:lnTo>
                    <a:pt x="4041" y="2498"/>
                  </a:lnTo>
                  <a:cubicBezTo>
                    <a:pt x="4043" y="2500"/>
                    <a:pt x="4043" y="2502"/>
                    <a:pt x="4042" y="2504"/>
                  </a:cubicBezTo>
                  <a:cubicBezTo>
                    <a:pt x="4041" y="2505"/>
                    <a:pt x="4039" y="2506"/>
                    <a:pt x="4038" y="2506"/>
                  </a:cubicBezTo>
                  <a:cubicBezTo>
                    <a:pt x="4037" y="2506"/>
                    <a:pt x="4037" y="2506"/>
                    <a:pt x="4036" y="2505"/>
                  </a:cubicBezTo>
                  <a:lnTo>
                    <a:pt x="3926" y="2472"/>
                  </a:lnTo>
                  <a:lnTo>
                    <a:pt x="3917" y="2474"/>
                  </a:lnTo>
                  <a:lnTo>
                    <a:pt x="3928" y="2475"/>
                  </a:lnTo>
                  <a:lnTo>
                    <a:pt x="3977" y="2505"/>
                  </a:lnTo>
                  <a:lnTo>
                    <a:pt x="4041" y="2570"/>
                  </a:lnTo>
                  <a:cubicBezTo>
                    <a:pt x="4042" y="2571"/>
                    <a:pt x="4043" y="2572"/>
                    <a:pt x="4043" y="2574"/>
                  </a:cubicBezTo>
                  <a:cubicBezTo>
                    <a:pt x="4042" y="2575"/>
                    <a:pt x="4041" y="2576"/>
                    <a:pt x="4040" y="2577"/>
                  </a:cubicBezTo>
                  <a:lnTo>
                    <a:pt x="3923" y="2642"/>
                  </a:lnTo>
                  <a:lnTo>
                    <a:pt x="3973" y="2632"/>
                  </a:lnTo>
                  <a:cubicBezTo>
                    <a:pt x="3974" y="2632"/>
                    <a:pt x="3974" y="2632"/>
                    <a:pt x="3974" y="2632"/>
                  </a:cubicBezTo>
                  <a:cubicBezTo>
                    <a:pt x="3975" y="2632"/>
                    <a:pt x="3976" y="2632"/>
                    <a:pt x="3977" y="2632"/>
                  </a:cubicBezTo>
                  <a:lnTo>
                    <a:pt x="4044" y="2670"/>
                  </a:lnTo>
                  <a:cubicBezTo>
                    <a:pt x="4046" y="2671"/>
                    <a:pt x="4047" y="2672"/>
                    <a:pt x="4047" y="2674"/>
                  </a:cubicBezTo>
                  <a:cubicBezTo>
                    <a:pt x="4047" y="2676"/>
                    <a:pt x="4046" y="2677"/>
                    <a:pt x="4045" y="2678"/>
                  </a:cubicBezTo>
                  <a:lnTo>
                    <a:pt x="4024" y="2697"/>
                  </a:lnTo>
                  <a:lnTo>
                    <a:pt x="4028" y="2695"/>
                  </a:lnTo>
                  <a:lnTo>
                    <a:pt x="4029" y="2695"/>
                  </a:lnTo>
                  <a:cubicBezTo>
                    <a:pt x="4030" y="2695"/>
                    <a:pt x="4031" y="2695"/>
                    <a:pt x="4032" y="2696"/>
                  </a:cubicBezTo>
                  <a:cubicBezTo>
                    <a:pt x="4033" y="2697"/>
                    <a:pt x="4034" y="2698"/>
                    <a:pt x="4034" y="2700"/>
                  </a:cubicBezTo>
                  <a:lnTo>
                    <a:pt x="4034" y="2738"/>
                  </a:lnTo>
                  <a:cubicBezTo>
                    <a:pt x="4034" y="2740"/>
                    <a:pt x="4032" y="2742"/>
                    <a:pt x="4030" y="2743"/>
                  </a:cubicBezTo>
                  <a:lnTo>
                    <a:pt x="4006" y="2746"/>
                  </a:lnTo>
                  <a:lnTo>
                    <a:pt x="4013" y="2761"/>
                  </a:lnTo>
                  <a:lnTo>
                    <a:pt x="3992" y="2841"/>
                  </a:lnTo>
                  <a:cubicBezTo>
                    <a:pt x="3991" y="2842"/>
                    <a:pt x="3990" y="2843"/>
                    <a:pt x="3989" y="2844"/>
                  </a:cubicBezTo>
                  <a:cubicBezTo>
                    <a:pt x="3989" y="2844"/>
                    <a:pt x="3988" y="2844"/>
                    <a:pt x="3987" y="2844"/>
                  </a:cubicBezTo>
                  <a:cubicBezTo>
                    <a:pt x="3986" y="2844"/>
                    <a:pt x="3986" y="2844"/>
                    <a:pt x="3985" y="2844"/>
                  </a:cubicBezTo>
                  <a:lnTo>
                    <a:pt x="3968" y="2837"/>
                  </a:lnTo>
                  <a:lnTo>
                    <a:pt x="3872" y="2994"/>
                  </a:lnTo>
                  <a:cubicBezTo>
                    <a:pt x="3872" y="2995"/>
                    <a:pt x="3870" y="2996"/>
                    <a:pt x="3868" y="2996"/>
                  </a:cubicBezTo>
                  <a:lnTo>
                    <a:pt x="3868" y="2996"/>
                  </a:lnTo>
                  <a:cubicBezTo>
                    <a:pt x="3866" y="2996"/>
                    <a:pt x="3864" y="2994"/>
                    <a:pt x="3864" y="2992"/>
                  </a:cubicBezTo>
                  <a:lnTo>
                    <a:pt x="3861" y="2974"/>
                  </a:lnTo>
                  <a:lnTo>
                    <a:pt x="3845" y="2985"/>
                  </a:lnTo>
                  <a:lnTo>
                    <a:pt x="3856" y="3011"/>
                  </a:lnTo>
                  <a:cubicBezTo>
                    <a:pt x="3856" y="3012"/>
                    <a:pt x="3856" y="3013"/>
                    <a:pt x="3856" y="3014"/>
                  </a:cubicBezTo>
                  <a:lnTo>
                    <a:pt x="3831" y="3095"/>
                  </a:lnTo>
                  <a:cubicBezTo>
                    <a:pt x="3830" y="3096"/>
                    <a:pt x="3829" y="3097"/>
                    <a:pt x="3828" y="3098"/>
                  </a:cubicBezTo>
                  <a:cubicBezTo>
                    <a:pt x="3827" y="3098"/>
                    <a:pt x="3827" y="3098"/>
                    <a:pt x="3826" y="3098"/>
                  </a:cubicBezTo>
                  <a:cubicBezTo>
                    <a:pt x="3825" y="3098"/>
                    <a:pt x="3825" y="3098"/>
                    <a:pt x="3824" y="3097"/>
                  </a:cubicBezTo>
                  <a:lnTo>
                    <a:pt x="3811" y="3091"/>
                  </a:lnTo>
                  <a:lnTo>
                    <a:pt x="3762" y="3168"/>
                  </a:lnTo>
                  <a:cubicBezTo>
                    <a:pt x="3762" y="3169"/>
                    <a:pt x="3761" y="3169"/>
                    <a:pt x="3760" y="3170"/>
                  </a:cubicBezTo>
                  <a:lnTo>
                    <a:pt x="3716" y="3181"/>
                  </a:lnTo>
                  <a:lnTo>
                    <a:pt x="3716" y="3207"/>
                  </a:lnTo>
                  <a:cubicBezTo>
                    <a:pt x="3716" y="3209"/>
                    <a:pt x="3716" y="3210"/>
                    <a:pt x="3715" y="3211"/>
                  </a:cubicBezTo>
                  <a:lnTo>
                    <a:pt x="3677" y="3249"/>
                  </a:lnTo>
                  <a:cubicBezTo>
                    <a:pt x="3676" y="3250"/>
                    <a:pt x="3675" y="3250"/>
                    <a:pt x="3674" y="3250"/>
                  </a:cubicBezTo>
                  <a:cubicBezTo>
                    <a:pt x="3673" y="3250"/>
                    <a:pt x="3672" y="3250"/>
                    <a:pt x="3672" y="3250"/>
                  </a:cubicBezTo>
                  <a:cubicBezTo>
                    <a:pt x="3671" y="3250"/>
                    <a:pt x="3671" y="3250"/>
                    <a:pt x="3671" y="3250"/>
                  </a:cubicBezTo>
                  <a:lnTo>
                    <a:pt x="3669" y="3252"/>
                  </a:lnTo>
                  <a:lnTo>
                    <a:pt x="3624" y="3267"/>
                  </a:lnTo>
                  <a:lnTo>
                    <a:pt x="3575" y="3317"/>
                  </a:lnTo>
                  <a:lnTo>
                    <a:pt x="3497" y="3343"/>
                  </a:lnTo>
                  <a:lnTo>
                    <a:pt x="3496" y="3343"/>
                  </a:lnTo>
                  <a:cubicBezTo>
                    <a:pt x="3495" y="3343"/>
                    <a:pt x="3494" y="3343"/>
                    <a:pt x="3494" y="3343"/>
                  </a:cubicBezTo>
                  <a:lnTo>
                    <a:pt x="3471" y="3331"/>
                  </a:lnTo>
                  <a:lnTo>
                    <a:pt x="3443" y="3351"/>
                  </a:lnTo>
                  <a:cubicBezTo>
                    <a:pt x="3443" y="3351"/>
                    <a:pt x="3442" y="3352"/>
                    <a:pt x="3441" y="3352"/>
                  </a:cubicBezTo>
                  <a:cubicBezTo>
                    <a:pt x="3440" y="3352"/>
                    <a:pt x="3440" y="3352"/>
                    <a:pt x="3439" y="3351"/>
                  </a:cubicBezTo>
                  <a:cubicBezTo>
                    <a:pt x="3438" y="3351"/>
                    <a:pt x="3437" y="3350"/>
                    <a:pt x="3436" y="3349"/>
                  </a:cubicBezTo>
                  <a:lnTo>
                    <a:pt x="3435" y="3344"/>
                  </a:lnTo>
                  <a:lnTo>
                    <a:pt x="3428" y="3354"/>
                  </a:lnTo>
                  <a:lnTo>
                    <a:pt x="3419" y="3367"/>
                  </a:lnTo>
                  <a:cubicBezTo>
                    <a:pt x="3418" y="3368"/>
                    <a:pt x="3417" y="3369"/>
                    <a:pt x="3416" y="3369"/>
                  </a:cubicBezTo>
                  <a:lnTo>
                    <a:pt x="3415" y="3369"/>
                  </a:lnTo>
                  <a:cubicBezTo>
                    <a:pt x="3414" y="3369"/>
                    <a:pt x="3413" y="3369"/>
                    <a:pt x="3412" y="3368"/>
                  </a:cubicBezTo>
                  <a:lnTo>
                    <a:pt x="3401" y="3359"/>
                  </a:lnTo>
                  <a:lnTo>
                    <a:pt x="3403" y="3367"/>
                  </a:lnTo>
                  <a:cubicBezTo>
                    <a:pt x="3403" y="3369"/>
                    <a:pt x="3403" y="3370"/>
                    <a:pt x="3402" y="3371"/>
                  </a:cubicBezTo>
                  <a:cubicBezTo>
                    <a:pt x="3401" y="3372"/>
                    <a:pt x="3400" y="3373"/>
                    <a:pt x="3399" y="3373"/>
                  </a:cubicBezTo>
                  <a:lnTo>
                    <a:pt x="3373" y="3377"/>
                  </a:lnTo>
                  <a:cubicBezTo>
                    <a:pt x="3371" y="3377"/>
                    <a:pt x="3370" y="3377"/>
                    <a:pt x="3369" y="3376"/>
                  </a:cubicBezTo>
                  <a:lnTo>
                    <a:pt x="3339" y="3339"/>
                  </a:lnTo>
                  <a:lnTo>
                    <a:pt x="3339" y="3377"/>
                  </a:lnTo>
                  <a:cubicBezTo>
                    <a:pt x="3339" y="3379"/>
                    <a:pt x="3338" y="3380"/>
                    <a:pt x="3337" y="3381"/>
                  </a:cubicBezTo>
                  <a:cubicBezTo>
                    <a:pt x="3336" y="3381"/>
                    <a:pt x="3335" y="3382"/>
                    <a:pt x="3334" y="3382"/>
                  </a:cubicBezTo>
                  <a:lnTo>
                    <a:pt x="3332" y="3381"/>
                  </a:lnTo>
                  <a:lnTo>
                    <a:pt x="3300" y="3356"/>
                  </a:lnTo>
                  <a:lnTo>
                    <a:pt x="3288" y="3412"/>
                  </a:lnTo>
                  <a:cubicBezTo>
                    <a:pt x="3288" y="3413"/>
                    <a:pt x="3287" y="3415"/>
                    <a:pt x="3285" y="3415"/>
                  </a:cubicBezTo>
                  <a:lnTo>
                    <a:pt x="3079" y="3461"/>
                  </a:lnTo>
                  <a:lnTo>
                    <a:pt x="3060" y="3500"/>
                  </a:lnTo>
                  <a:lnTo>
                    <a:pt x="3081" y="3544"/>
                  </a:lnTo>
                  <a:cubicBezTo>
                    <a:pt x="3081" y="3545"/>
                    <a:pt x="3081" y="3547"/>
                    <a:pt x="3081" y="3548"/>
                  </a:cubicBezTo>
                  <a:cubicBezTo>
                    <a:pt x="3080" y="3549"/>
                    <a:pt x="3079" y="3550"/>
                    <a:pt x="3078" y="3550"/>
                  </a:cubicBezTo>
                  <a:lnTo>
                    <a:pt x="3048" y="3563"/>
                  </a:lnTo>
                  <a:cubicBezTo>
                    <a:pt x="3048" y="3563"/>
                    <a:pt x="3047" y="3563"/>
                    <a:pt x="3046" y="3563"/>
                  </a:cubicBezTo>
                  <a:cubicBezTo>
                    <a:pt x="3045" y="3563"/>
                    <a:pt x="3043" y="3563"/>
                    <a:pt x="3042" y="3561"/>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4" name="Freeform 559"/>
            <p:cNvSpPr>
              <a:spLocks noChangeArrowheads="1"/>
            </p:cNvSpPr>
            <p:nvPr/>
          </p:nvSpPr>
          <p:spPr bwMode="auto">
            <a:xfrm>
              <a:off x="6453188" y="1839913"/>
              <a:ext cx="1843087" cy="1282700"/>
            </a:xfrm>
            <a:custGeom>
              <a:avLst/>
              <a:gdLst/>
              <a:ahLst/>
              <a:cxnLst>
                <a:cxn ang="0">
                  <a:pos x="2920" y="3430"/>
                </a:cxn>
                <a:cxn ang="0">
                  <a:pos x="2867" y="3458"/>
                </a:cxn>
                <a:cxn ang="0">
                  <a:pos x="2492" y="3344"/>
                </a:cxn>
                <a:cxn ang="0">
                  <a:pos x="2357" y="3361"/>
                </a:cxn>
                <a:cxn ang="0">
                  <a:pos x="2297" y="3433"/>
                </a:cxn>
                <a:cxn ang="0">
                  <a:pos x="2160" y="3315"/>
                </a:cxn>
                <a:cxn ang="0">
                  <a:pos x="2000" y="3240"/>
                </a:cxn>
                <a:cxn ang="0">
                  <a:pos x="2005" y="2832"/>
                </a:cxn>
                <a:cxn ang="0">
                  <a:pos x="1889" y="2763"/>
                </a:cxn>
                <a:cxn ang="0">
                  <a:pos x="1510" y="2877"/>
                </a:cxn>
                <a:cxn ang="0">
                  <a:pos x="1258" y="2854"/>
                </a:cxn>
                <a:cxn ang="0">
                  <a:pos x="958" y="2822"/>
                </a:cxn>
                <a:cxn ang="0">
                  <a:pos x="797" y="2706"/>
                </a:cxn>
                <a:cxn ang="0">
                  <a:pos x="489" y="2568"/>
                </a:cxn>
                <a:cxn ang="0">
                  <a:pos x="428" y="2399"/>
                </a:cxn>
                <a:cxn ang="0">
                  <a:pos x="441" y="2273"/>
                </a:cxn>
                <a:cxn ang="0">
                  <a:pos x="539" y="2133"/>
                </a:cxn>
                <a:cxn ang="0">
                  <a:pos x="262" y="2104"/>
                </a:cxn>
                <a:cxn ang="0">
                  <a:pos x="153" y="2002"/>
                </a:cxn>
                <a:cxn ang="0">
                  <a:pos x="110" y="1934"/>
                </a:cxn>
                <a:cxn ang="0">
                  <a:pos x="26" y="1641"/>
                </a:cxn>
                <a:cxn ang="0">
                  <a:pos x="416" y="1483"/>
                </a:cxn>
                <a:cxn ang="0">
                  <a:pos x="724" y="1046"/>
                </a:cxn>
                <a:cxn ang="0">
                  <a:pos x="1017" y="668"/>
                </a:cxn>
                <a:cxn ang="0">
                  <a:pos x="1183" y="592"/>
                </a:cxn>
                <a:cxn ang="0">
                  <a:pos x="1437" y="892"/>
                </a:cxn>
                <a:cxn ang="0">
                  <a:pos x="2271" y="1329"/>
                </a:cxn>
                <a:cxn ang="0">
                  <a:pos x="3161" y="1162"/>
                </a:cxn>
                <a:cxn ang="0">
                  <a:pos x="3507" y="995"/>
                </a:cxn>
                <a:cxn ang="0">
                  <a:pos x="3512" y="763"/>
                </a:cxn>
                <a:cxn ang="0">
                  <a:pos x="3805" y="451"/>
                </a:cxn>
                <a:cxn ang="0">
                  <a:pos x="3877" y="114"/>
                </a:cxn>
                <a:cxn ang="0">
                  <a:pos x="4428" y="237"/>
                </a:cxn>
                <a:cxn ang="0">
                  <a:pos x="4807" y="749"/>
                </a:cxn>
                <a:cxn ang="0">
                  <a:pos x="5113" y="774"/>
                </a:cxn>
                <a:cxn ang="0">
                  <a:pos x="4802" y="1123"/>
                </a:cxn>
                <a:cxn ang="0">
                  <a:pos x="4759" y="1366"/>
                </a:cxn>
                <a:cxn ang="0">
                  <a:pos x="4454" y="1483"/>
                </a:cxn>
                <a:cxn ang="0">
                  <a:pos x="3986" y="1791"/>
                </a:cxn>
                <a:cxn ang="0">
                  <a:pos x="3983" y="1699"/>
                </a:cxn>
                <a:cxn ang="0">
                  <a:pos x="3714" y="1745"/>
                </a:cxn>
                <a:cxn ang="0">
                  <a:pos x="3949" y="1883"/>
                </a:cxn>
                <a:cxn ang="0">
                  <a:pos x="4072" y="1998"/>
                </a:cxn>
                <a:cxn ang="0">
                  <a:pos x="3936" y="2068"/>
                </a:cxn>
                <a:cxn ang="0">
                  <a:pos x="3896" y="2235"/>
                </a:cxn>
                <a:cxn ang="0">
                  <a:pos x="3928" y="2475"/>
                </a:cxn>
                <a:cxn ang="0">
                  <a:pos x="3977" y="2632"/>
                </a:cxn>
                <a:cxn ang="0">
                  <a:pos x="4034" y="2700"/>
                </a:cxn>
                <a:cxn ang="0">
                  <a:pos x="3985" y="2844"/>
                </a:cxn>
                <a:cxn ang="0">
                  <a:pos x="3856" y="3011"/>
                </a:cxn>
                <a:cxn ang="0">
                  <a:pos x="3760" y="3170"/>
                </a:cxn>
                <a:cxn ang="0">
                  <a:pos x="3669" y="3252"/>
                </a:cxn>
                <a:cxn ang="0">
                  <a:pos x="3441" y="3352"/>
                </a:cxn>
                <a:cxn ang="0">
                  <a:pos x="3412" y="3368"/>
                </a:cxn>
                <a:cxn ang="0">
                  <a:pos x="3339" y="3377"/>
                </a:cxn>
                <a:cxn ang="0">
                  <a:pos x="3060" y="3500"/>
                </a:cxn>
              </a:cxnLst>
              <a:rect l="0" t="0" r="r" b="b"/>
              <a:pathLst>
                <a:path w="5120" h="3564">
                  <a:moveTo>
                    <a:pt x="3046" y="3563"/>
                  </a:moveTo>
                  <a:cubicBezTo>
                    <a:pt x="3045" y="3563"/>
                    <a:pt x="3043" y="3563"/>
                    <a:pt x="3042" y="3561"/>
                  </a:cubicBezTo>
                  <a:lnTo>
                    <a:pt x="3009" y="3502"/>
                  </a:lnTo>
                  <a:lnTo>
                    <a:pt x="3008" y="3447"/>
                  </a:lnTo>
                  <a:lnTo>
                    <a:pt x="2972" y="3462"/>
                  </a:lnTo>
                  <a:cubicBezTo>
                    <a:pt x="2971" y="3462"/>
                    <a:pt x="2971" y="3462"/>
                    <a:pt x="2970" y="3462"/>
                  </a:cubicBezTo>
                  <a:cubicBezTo>
                    <a:pt x="2969" y="3462"/>
                    <a:pt x="2968" y="3462"/>
                    <a:pt x="2968" y="3461"/>
                  </a:cubicBezTo>
                  <a:lnTo>
                    <a:pt x="2920" y="3430"/>
                  </a:lnTo>
                  <a:lnTo>
                    <a:pt x="2898" y="3456"/>
                  </a:lnTo>
                  <a:cubicBezTo>
                    <a:pt x="2897" y="3457"/>
                    <a:pt x="2895" y="3458"/>
                    <a:pt x="2894" y="3458"/>
                  </a:cubicBezTo>
                  <a:lnTo>
                    <a:pt x="2893" y="3458"/>
                  </a:lnTo>
                  <a:cubicBezTo>
                    <a:pt x="2891" y="3457"/>
                    <a:pt x="2890" y="3456"/>
                    <a:pt x="2889" y="3454"/>
                  </a:cubicBezTo>
                  <a:lnTo>
                    <a:pt x="2887" y="3444"/>
                  </a:lnTo>
                  <a:lnTo>
                    <a:pt x="2872" y="3457"/>
                  </a:lnTo>
                  <a:cubicBezTo>
                    <a:pt x="2871" y="3457"/>
                    <a:pt x="2870" y="3458"/>
                    <a:pt x="2869" y="3458"/>
                  </a:cubicBezTo>
                  <a:cubicBezTo>
                    <a:pt x="2868" y="3458"/>
                    <a:pt x="2868" y="3458"/>
                    <a:pt x="2867" y="3458"/>
                  </a:cubicBezTo>
                  <a:lnTo>
                    <a:pt x="2817" y="3445"/>
                  </a:lnTo>
                  <a:lnTo>
                    <a:pt x="2773" y="3415"/>
                  </a:lnTo>
                  <a:lnTo>
                    <a:pt x="2746" y="3338"/>
                  </a:lnTo>
                  <a:lnTo>
                    <a:pt x="2640" y="3297"/>
                  </a:lnTo>
                  <a:lnTo>
                    <a:pt x="2528" y="3356"/>
                  </a:lnTo>
                  <a:cubicBezTo>
                    <a:pt x="2527" y="3356"/>
                    <a:pt x="2526" y="3356"/>
                    <a:pt x="2525" y="3356"/>
                  </a:cubicBezTo>
                  <a:lnTo>
                    <a:pt x="2524" y="3356"/>
                  </a:lnTo>
                  <a:lnTo>
                    <a:pt x="2492" y="3344"/>
                  </a:lnTo>
                  <a:lnTo>
                    <a:pt x="2464" y="3360"/>
                  </a:lnTo>
                  <a:cubicBezTo>
                    <a:pt x="2463" y="3360"/>
                    <a:pt x="2463" y="3360"/>
                    <a:pt x="2462" y="3360"/>
                  </a:cubicBezTo>
                  <a:cubicBezTo>
                    <a:pt x="2461" y="3360"/>
                    <a:pt x="2461" y="3360"/>
                    <a:pt x="2460" y="3360"/>
                  </a:cubicBezTo>
                  <a:lnTo>
                    <a:pt x="2413" y="3341"/>
                  </a:lnTo>
                  <a:lnTo>
                    <a:pt x="2398" y="3370"/>
                  </a:lnTo>
                  <a:cubicBezTo>
                    <a:pt x="2398" y="3372"/>
                    <a:pt x="2396" y="3373"/>
                    <a:pt x="2394" y="3373"/>
                  </a:cubicBezTo>
                  <a:lnTo>
                    <a:pt x="2393" y="3373"/>
                  </a:lnTo>
                  <a:lnTo>
                    <a:pt x="2357" y="3361"/>
                  </a:lnTo>
                  <a:lnTo>
                    <a:pt x="2344" y="3371"/>
                  </a:lnTo>
                  <a:lnTo>
                    <a:pt x="2348" y="3461"/>
                  </a:lnTo>
                  <a:cubicBezTo>
                    <a:pt x="2348" y="3463"/>
                    <a:pt x="2347" y="3465"/>
                    <a:pt x="2345" y="3466"/>
                  </a:cubicBezTo>
                  <a:lnTo>
                    <a:pt x="2316" y="3478"/>
                  </a:lnTo>
                  <a:cubicBezTo>
                    <a:pt x="2315" y="3479"/>
                    <a:pt x="2314" y="3479"/>
                    <a:pt x="2314" y="3479"/>
                  </a:cubicBezTo>
                  <a:cubicBezTo>
                    <a:pt x="2313" y="3479"/>
                    <a:pt x="2312" y="3479"/>
                    <a:pt x="2312" y="3478"/>
                  </a:cubicBezTo>
                  <a:cubicBezTo>
                    <a:pt x="2311" y="3478"/>
                    <a:pt x="2310" y="3477"/>
                    <a:pt x="2309" y="3475"/>
                  </a:cubicBezTo>
                  <a:lnTo>
                    <a:pt x="2297" y="3433"/>
                  </a:lnTo>
                  <a:lnTo>
                    <a:pt x="2283" y="3424"/>
                  </a:lnTo>
                  <a:lnTo>
                    <a:pt x="2231" y="3445"/>
                  </a:lnTo>
                  <a:cubicBezTo>
                    <a:pt x="2230" y="3445"/>
                    <a:pt x="2229" y="3445"/>
                    <a:pt x="2229" y="3445"/>
                  </a:cubicBezTo>
                  <a:cubicBezTo>
                    <a:pt x="2227" y="3445"/>
                    <a:pt x="2226" y="3444"/>
                    <a:pt x="2225" y="3443"/>
                  </a:cubicBezTo>
                  <a:lnTo>
                    <a:pt x="2195" y="3401"/>
                  </a:lnTo>
                  <a:lnTo>
                    <a:pt x="2147" y="3385"/>
                  </a:lnTo>
                  <a:cubicBezTo>
                    <a:pt x="2145" y="3385"/>
                    <a:pt x="2143" y="3382"/>
                    <a:pt x="2144" y="3380"/>
                  </a:cubicBezTo>
                  <a:lnTo>
                    <a:pt x="2160" y="3315"/>
                  </a:lnTo>
                  <a:lnTo>
                    <a:pt x="2120" y="3288"/>
                  </a:lnTo>
                  <a:cubicBezTo>
                    <a:pt x="2119" y="3287"/>
                    <a:pt x="2119" y="3286"/>
                    <a:pt x="2118" y="3285"/>
                  </a:cubicBezTo>
                  <a:lnTo>
                    <a:pt x="2106" y="3217"/>
                  </a:lnTo>
                  <a:lnTo>
                    <a:pt x="2072" y="3217"/>
                  </a:lnTo>
                  <a:lnTo>
                    <a:pt x="2006" y="3246"/>
                  </a:lnTo>
                  <a:cubicBezTo>
                    <a:pt x="2006" y="3246"/>
                    <a:pt x="2005" y="3246"/>
                    <a:pt x="2004" y="3246"/>
                  </a:cubicBezTo>
                  <a:cubicBezTo>
                    <a:pt x="2003" y="3246"/>
                    <a:pt x="2002" y="3246"/>
                    <a:pt x="2001" y="3245"/>
                  </a:cubicBezTo>
                  <a:cubicBezTo>
                    <a:pt x="2000" y="3244"/>
                    <a:pt x="1999" y="3242"/>
                    <a:pt x="2000" y="3240"/>
                  </a:cubicBezTo>
                  <a:lnTo>
                    <a:pt x="2025" y="3126"/>
                  </a:lnTo>
                  <a:lnTo>
                    <a:pt x="2094" y="3031"/>
                  </a:lnTo>
                  <a:lnTo>
                    <a:pt x="2097" y="2975"/>
                  </a:lnTo>
                  <a:lnTo>
                    <a:pt x="2081" y="2903"/>
                  </a:lnTo>
                  <a:lnTo>
                    <a:pt x="2064" y="2903"/>
                  </a:lnTo>
                  <a:cubicBezTo>
                    <a:pt x="2062" y="2903"/>
                    <a:pt x="2060" y="2903"/>
                    <a:pt x="2060" y="2901"/>
                  </a:cubicBezTo>
                  <a:lnTo>
                    <a:pt x="2026" y="2842"/>
                  </a:lnTo>
                  <a:lnTo>
                    <a:pt x="2005" y="2832"/>
                  </a:lnTo>
                  <a:lnTo>
                    <a:pt x="1986" y="2843"/>
                  </a:lnTo>
                  <a:cubicBezTo>
                    <a:pt x="1985" y="2844"/>
                    <a:pt x="1984" y="2844"/>
                    <a:pt x="1983" y="2844"/>
                  </a:cubicBezTo>
                  <a:cubicBezTo>
                    <a:pt x="1982" y="2844"/>
                    <a:pt x="1981" y="2844"/>
                    <a:pt x="1980" y="2843"/>
                  </a:cubicBezTo>
                  <a:lnTo>
                    <a:pt x="1959" y="2822"/>
                  </a:lnTo>
                  <a:lnTo>
                    <a:pt x="1898" y="2810"/>
                  </a:lnTo>
                  <a:cubicBezTo>
                    <a:pt x="1895" y="2810"/>
                    <a:pt x="1894" y="2808"/>
                    <a:pt x="1894" y="2805"/>
                  </a:cubicBezTo>
                  <a:lnTo>
                    <a:pt x="1898" y="2767"/>
                  </a:lnTo>
                  <a:lnTo>
                    <a:pt x="1889" y="2763"/>
                  </a:lnTo>
                  <a:cubicBezTo>
                    <a:pt x="1887" y="2763"/>
                    <a:pt x="1886" y="2762"/>
                    <a:pt x="1886" y="2761"/>
                  </a:cubicBezTo>
                  <a:lnTo>
                    <a:pt x="1870" y="2719"/>
                  </a:lnTo>
                  <a:lnTo>
                    <a:pt x="1811" y="2742"/>
                  </a:lnTo>
                  <a:lnTo>
                    <a:pt x="1752" y="2739"/>
                  </a:lnTo>
                  <a:lnTo>
                    <a:pt x="1626" y="2835"/>
                  </a:lnTo>
                  <a:lnTo>
                    <a:pt x="1515" y="2878"/>
                  </a:lnTo>
                  <a:cubicBezTo>
                    <a:pt x="1514" y="2878"/>
                    <a:pt x="1514" y="2878"/>
                    <a:pt x="1513" y="2878"/>
                  </a:cubicBezTo>
                  <a:cubicBezTo>
                    <a:pt x="1512" y="2878"/>
                    <a:pt x="1511" y="2878"/>
                    <a:pt x="1510" y="2877"/>
                  </a:cubicBezTo>
                  <a:lnTo>
                    <a:pt x="1485" y="2860"/>
                  </a:lnTo>
                  <a:lnTo>
                    <a:pt x="1366" y="2832"/>
                  </a:lnTo>
                  <a:lnTo>
                    <a:pt x="1283" y="2919"/>
                  </a:lnTo>
                  <a:cubicBezTo>
                    <a:pt x="1282" y="2920"/>
                    <a:pt x="1281" y="2920"/>
                    <a:pt x="1280" y="2920"/>
                  </a:cubicBezTo>
                  <a:cubicBezTo>
                    <a:pt x="1279" y="2920"/>
                    <a:pt x="1279" y="2920"/>
                    <a:pt x="1278" y="2920"/>
                  </a:cubicBezTo>
                  <a:lnTo>
                    <a:pt x="1261" y="2911"/>
                  </a:lnTo>
                  <a:cubicBezTo>
                    <a:pt x="1259" y="2911"/>
                    <a:pt x="1258" y="2909"/>
                    <a:pt x="1258" y="2907"/>
                  </a:cubicBezTo>
                  <a:lnTo>
                    <a:pt x="1258" y="2854"/>
                  </a:lnTo>
                  <a:lnTo>
                    <a:pt x="1214" y="2869"/>
                  </a:lnTo>
                  <a:lnTo>
                    <a:pt x="1149" y="2878"/>
                  </a:lnTo>
                  <a:lnTo>
                    <a:pt x="1088" y="2861"/>
                  </a:lnTo>
                  <a:lnTo>
                    <a:pt x="1030" y="2870"/>
                  </a:lnTo>
                  <a:cubicBezTo>
                    <a:pt x="1029" y="2870"/>
                    <a:pt x="1027" y="2869"/>
                    <a:pt x="1026" y="2868"/>
                  </a:cubicBezTo>
                  <a:lnTo>
                    <a:pt x="1005" y="2842"/>
                  </a:lnTo>
                  <a:lnTo>
                    <a:pt x="961" y="2827"/>
                  </a:lnTo>
                  <a:cubicBezTo>
                    <a:pt x="958" y="2826"/>
                    <a:pt x="957" y="2824"/>
                    <a:pt x="958" y="2822"/>
                  </a:cubicBezTo>
                  <a:lnTo>
                    <a:pt x="961" y="2801"/>
                  </a:lnTo>
                  <a:lnTo>
                    <a:pt x="881" y="2785"/>
                  </a:lnTo>
                  <a:cubicBezTo>
                    <a:pt x="878" y="2784"/>
                    <a:pt x="877" y="2782"/>
                    <a:pt x="877" y="2780"/>
                  </a:cubicBezTo>
                  <a:lnTo>
                    <a:pt x="881" y="2741"/>
                  </a:lnTo>
                  <a:lnTo>
                    <a:pt x="833" y="2759"/>
                  </a:lnTo>
                  <a:cubicBezTo>
                    <a:pt x="832" y="2759"/>
                    <a:pt x="832" y="2760"/>
                    <a:pt x="831" y="2760"/>
                  </a:cubicBezTo>
                  <a:cubicBezTo>
                    <a:pt x="829" y="2760"/>
                    <a:pt x="828" y="2759"/>
                    <a:pt x="827" y="2757"/>
                  </a:cubicBezTo>
                  <a:lnTo>
                    <a:pt x="797" y="2706"/>
                  </a:lnTo>
                  <a:lnTo>
                    <a:pt x="731" y="2657"/>
                  </a:lnTo>
                  <a:lnTo>
                    <a:pt x="653" y="2642"/>
                  </a:lnTo>
                  <a:lnTo>
                    <a:pt x="649" y="2663"/>
                  </a:lnTo>
                  <a:cubicBezTo>
                    <a:pt x="649" y="2664"/>
                    <a:pt x="648" y="2666"/>
                    <a:pt x="646" y="2666"/>
                  </a:cubicBezTo>
                  <a:cubicBezTo>
                    <a:pt x="646" y="2666"/>
                    <a:pt x="645" y="2667"/>
                    <a:pt x="644" y="2667"/>
                  </a:cubicBezTo>
                  <a:cubicBezTo>
                    <a:pt x="643" y="2667"/>
                    <a:pt x="642" y="2666"/>
                    <a:pt x="642" y="2665"/>
                  </a:cubicBezTo>
                  <a:lnTo>
                    <a:pt x="620" y="2649"/>
                  </a:lnTo>
                  <a:lnTo>
                    <a:pt x="489" y="2568"/>
                  </a:lnTo>
                  <a:lnTo>
                    <a:pt x="450" y="2573"/>
                  </a:lnTo>
                  <a:cubicBezTo>
                    <a:pt x="448" y="2573"/>
                    <a:pt x="446" y="2573"/>
                    <a:pt x="445" y="2571"/>
                  </a:cubicBezTo>
                  <a:lnTo>
                    <a:pt x="424" y="2529"/>
                  </a:lnTo>
                  <a:lnTo>
                    <a:pt x="428" y="2475"/>
                  </a:lnTo>
                  <a:lnTo>
                    <a:pt x="403" y="2423"/>
                  </a:lnTo>
                  <a:cubicBezTo>
                    <a:pt x="402" y="2421"/>
                    <a:pt x="403" y="2418"/>
                    <a:pt x="404" y="2417"/>
                  </a:cubicBezTo>
                  <a:lnTo>
                    <a:pt x="426" y="2400"/>
                  </a:lnTo>
                  <a:cubicBezTo>
                    <a:pt x="426" y="2399"/>
                    <a:pt x="427" y="2399"/>
                    <a:pt x="428" y="2399"/>
                  </a:cubicBezTo>
                  <a:lnTo>
                    <a:pt x="429" y="2399"/>
                  </a:lnTo>
                  <a:cubicBezTo>
                    <a:pt x="431" y="2399"/>
                    <a:pt x="432" y="2400"/>
                    <a:pt x="432" y="2401"/>
                  </a:cubicBezTo>
                  <a:lnTo>
                    <a:pt x="451" y="2431"/>
                  </a:lnTo>
                  <a:lnTo>
                    <a:pt x="495" y="2398"/>
                  </a:lnTo>
                  <a:lnTo>
                    <a:pt x="484" y="2360"/>
                  </a:lnTo>
                  <a:lnTo>
                    <a:pt x="447" y="2340"/>
                  </a:lnTo>
                  <a:cubicBezTo>
                    <a:pt x="446" y="2339"/>
                    <a:pt x="445" y="2338"/>
                    <a:pt x="445" y="2336"/>
                  </a:cubicBezTo>
                  <a:lnTo>
                    <a:pt x="441" y="2273"/>
                  </a:lnTo>
                  <a:cubicBezTo>
                    <a:pt x="441" y="2271"/>
                    <a:pt x="442" y="2268"/>
                    <a:pt x="445" y="2268"/>
                  </a:cubicBezTo>
                  <a:lnTo>
                    <a:pt x="492" y="2260"/>
                  </a:lnTo>
                  <a:lnTo>
                    <a:pt x="496" y="2230"/>
                  </a:lnTo>
                  <a:cubicBezTo>
                    <a:pt x="496" y="2229"/>
                    <a:pt x="497" y="2228"/>
                    <a:pt x="497" y="2227"/>
                  </a:cubicBezTo>
                  <a:lnTo>
                    <a:pt x="535" y="2193"/>
                  </a:lnTo>
                  <a:lnTo>
                    <a:pt x="557" y="2128"/>
                  </a:lnTo>
                  <a:lnTo>
                    <a:pt x="540" y="2133"/>
                  </a:lnTo>
                  <a:lnTo>
                    <a:pt x="539" y="2133"/>
                  </a:lnTo>
                  <a:cubicBezTo>
                    <a:pt x="538" y="2133"/>
                    <a:pt x="537" y="2133"/>
                    <a:pt x="536" y="2133"/>
                  </a:cubicBezTo>
                  <a:cubicBezTo>
                    <a:pt x="535" y="2132"/>
                    <a:pt x="534" y="2131"/>
                    <a:pt x="534" y="2130"/>
                  </a:cubicBezTo>
                  <a:lnTo>
                    <a:pt x="530" y="2111"/>
                  </a:lnTo>
                  <a:lnTo>
                    <a:pt x="475" y="2075"/>
                  </a:lnTo>
                  <a:lnTo>
                    <a:pt x="337" y="2129"/>
                  </a:lnTo>
                  <a:cubicBezTo>
                    <a:pt x="337" y="2129"/>
                    <a:pt x="336" y="2129"/>
                    <a:pt x="335" y="2129"/>
                  </a:cubicBezTo>
                  <a:lnTo>
                    <a:pt x="334" y="2129"/>
                  </a:lnTo>
                  <a:lnTo>
                    <a:pt x="262" y="2104"/>
                  </a:lnTo>
                  <a:lnTo>
                    <a:pt x="244" y="2083"/>
                  </a:lnTo>
                  <a:lnTo>
                    <a:pt x="217" y="2087"/>
                  </a:lnTo>
                  <a:cubicBezTo>
                    <a:pt x="215" y="2087"/>
                    <a:pt x="214" y="2086"/>
                    <a:pt x="213" y="2086"/>
                  </a:cubicBezTo>
                  <a:lnTo>
                    <a:pt x="192" y="2064"/>
                  </a:lnTo>
                  <a:cubicBezTo>
                    <a:pt x="191" y="2063"/>
                    <a:pt x="191" y="2062"/>
                    <a:pt x="191" y="2061"/>
                  </a:cubicBezTo>
                  <a:lnTo>
                    <a:pt x="195" y="2020"/>
                  </a:lnTo>
                  <a:lnTo>
                    <a:pt x="181" y="2002"/>
                  </a:lnTo>
                  <a:lnTo>
                    <a:pt x="153" y="2002"/>
                  </a:lnTo>
                  <a:cubicBezTo>
                    <a:pt x="151" y="2002"/>
                    <a:pt x="149" y="2001"/>
                    <a:pt x="149" y="1998"/>
                  </a:cubicBezTo>
                  <a:lnTo>
                    <a:pt x="145" y="1976"/>
                  </a:lnTo>
                  <a:lnTo>
                    <a:pt x="89" y="1964"/>
                  </a:lnTo>
                  <a:lnTo>
                    <a:pt x="71" y="1955"/>
                  </a:lnTo>
                  <a:cubicBezTo>
                    <a:pt x="69" y="1954"/>
                    <a:pt x="68" y="1953"/>
                    <a:pt x="68" y="1951"/>
                  </a:cubicBezTo>
                  <a:cubicBezTo>
                    <a:pt x="68" y="1949"/>
                    <a:pt x="69" y="1948"/>
                    <a:pt x="71" y="1947"/>
                  </a:cubicBezTo>
                  <a:lnTo>
                    <a:pt x="96" y="1934"/>
                  </a:lnTo>
                  <a:lnTo>
                    <a:pt x="110" y="1934"/>
                  </a:lnTo>
                  <a:lnTo>
                    <a:pt x="93" y="1816"/>
                  </a:lnTo>
                  <a:lnTo>
                    <a:pt x="87" y="1808"/>
                  </a:lnTo>
                  <a:lnTo>
                    <a:pt x="30" y="1812"/>
                  </a:lnTo>
                  <a:cubicBezTo>
                    <a:pt x="29" y="1812"/>
                    <a:pt x="27" y="1811"/>
                    <a:pt x="26" y="1810"/>
                  </a:cubicBezTo>
                  <a:lnTo>
                    <a:pt x="1" y="1772"/>
                  </a:lnTo>
                  <a:cubicBezTo>
                    <a:pt x="0" y="1771"/>
                    <a:pt x="0" y="1769"/>
                    <a:pt x="0" y="1768"/>
                  </a:cubicBezTo>
                  <a:lnTo>
                    <a:pt x="17" y="1692"/>
                  </a:lnTo>
                  <a:lnTo>
                    <a:pt x="26" y="1641"/>
                  </a:lnTo>
                  <a:cubicBezTo>
                    <a:pt x="26" y="1640"/>
                    <a:pt x="27" y="1639"/>
                    <a:pt x="28" y="1638"/>
                  </a:cubicBezTo>
                  <a:lnTo>
                    <a:pt x="96" y="1608"/>
                  </a:lnTo>
                  <a:lnTo>
                    <a:pt x="107" y="1589"/>
                  </a:lnTo>
                  <a:cubicBezTo>
                    <a:pt x="108" y="1588"/>
                    <a:pt x="109" y="1587"/>
                    <a:pt x="111" y="1587"/>
                  </a:cubicBezTo>
                  <a:lnTo>
                    <a:pt x="223" y="1599"/>
                  </a:lnTo>
                  <a:lnTo>
                    <a:pt x="273" y="1546"/>
                  </a:lnTo>
                  <a:lnTo>
                    <a:pt x="383" y="1524"/>
                  </a:lnTo>
                  <a:lnTo>
                    <a:pt x="416" y="1483"/>
                  </a:lnTo>
                  <a:lnTo>
                    <a:pt x="543" y="1423"/>
                  </a:lnTo>
                  <a:lnTo>
                    <a:pt x="560" y="1374"/>
                  </a:lnTo>
                  <a:lnTo>
                    <a:pt x="585" y="1273"/>
                  </a:lnTo>
                  <a:lnTo>
                    <a:pt x="551" y="1131"/>
                  </a:lnTo>
                  <a:lnTo>
                    <a:pt x="526" y="1099"/>
                  </a:lnTo>
                  <a:cubicBezTo>
                    <a:pt x="525" y="1098"/>
                    <a:pt x="525" y="1096"/>
                    <a:pt x="526" y="1095"/>
                  </a:cubicBezTo>
                  <a:cubicBezTo>
                    <a:pt x="526" y="1093"/>
                    <a:pt x="528" y="1092"/>
                    <a:pt x="529" y="1092"/>
                  </a:cubicBezTo>
                  <a:lnTo>
                    <a:pt x="724" y="1046"/>
                  </a:lnTo>
                  <a:lnTo>
                    <a:pt x="720" y="965"/>
                  </a:lnTo>
                  <a:lnTo>
                    <a:pt x="780" y="815"/>
                  </a:lnTo>
                  <a:cubicBezTo>
                    <a:pt x="781" y="814"/>
                    <a:pt x="782" y="813"/>
                    <a:pt x="784" y="813"/>
                  </a:cubicBezTo>
                  <a:lnTo>
                    <a:pt x="916" y="829"/>
                  </a:lnTo>
                  <a:lnTo>
                    <a:pt x="942" y="854"/>
                  </a:lnTo>
                  <a:lnTo>
                    <a:pt x="996" y="827"/>
                  </a:lnTo>
                  <a:lnTo>
                    <a:pt x="996" y="741"/>
                  </a:lnTo>
                  <a:lnTo>
                    <a:pt x="1017" y="668"/>
                  </a:lnTo>
                  <a:cubicBezTo>
                    <a:pt x="1018" y="666"/>
                    <a:pt x="1019" y="665"/>
                    <a:pt x="1021" y="664"/>
                  </a:cubicBezTo>
                  <a:lnTo>
                    <a:pt x="1078" y="660"/>
                  </a:lnTo>
                  <a:lnTo>
                    <a:pt x="1111" y="603"/>
                  </a:lnTo>
                  <a:cubicBezTo>
                    <a:pt x="1111" y="602"/>
                    <a:pt x="1113" y="601"/>
                    <a:pt x="1115" y="601"/>
                  </a:cubicBezTo>
                  <a:lnTo>
                    <a:pt x="1116" y="601"/>
                  </a:lnTo>
                  <a:lnTo>
                    <a:pt x="1152" y="613"/>
                  </a:lnTo>
                  <a:lnTo>
                    <a:pt x="1180" y="593"/>
                  </a:lnTo>
                  <a:cubicBezTo>
                    <a:pt x="1181" y="593"/>
                    <a:pt x="1182" y="592"/>
                    <a:pt x="1183" y="592"/>
                  </a:cubicBezTo>
                  <a:cubicBezTo>
                    <a:pt x="1183" y="592"/>
                    <a:pt x="1183" y="593"/>
                    <a:pt x="1184" y="593"/>
                  </a:cubicBezTo>
                  <a:cubicBezTo>
                    <a:pt x="1185" y="593"/>
                    <a:pt x="1186" y="594"/>
                    <a:pt x="1187" y="595"/>
                  </a:cubicBezTo>
                  <a:lnTo>
                    <a:pt x="1212" y="655"/>
                  </a:lnTo>
                  <a:lnTo>
                    <a:pt x="1271" y="721"/>
                  </a:lnTo>
                  <a:lnTo>
                    <a:pt x="1378" y="741"/>
                  </a:lnTo>
                  <a:cubicBezTo>
                    <a:pt x="1380" y="741"/>
                    <a:pt x="1381" y="742"/>
                    <a:pt x="1382" y="743"/>
                  </a:cubicBezTo>
                  <a:lnTo>
                    <a:pt x="1394" y="769"/>
                  </a:lnTo>
                  <a:lnTo>
                    <a:pt x="1437" y="892"/>
                  </a:lnTo>
                  <a:lnTo>
                    <a:pt x="1441" y="995"/>
                  </a:lnTo>
                  <a:lnTo>
                    <a:pt x="1430" y="1038"/>
                  </a:lnTo>
                  <a:lnTo>
                    <a:pt x="1561" y="1079"/>
                  </a:lnTo>
                  <a:lnTo>
                    <a:pt x="1614" y="1075"/>
                  </a:lnTo>
                  <a:lnTo>
                    <a:pt x="1811" y="1160"/>
                  </a:lnTo>
                  <a:lnTo>
                    <a:pt x="1877" y="1263"/>
                  </a:lnTo>
                  <a:lnTo>
                    <a:pt x="1959" y="1341"/>
                  </a:lnTo>
                  <a:lnTo>
                    <a:pt x="2271" y="1329"/>
                  </a:lnTo>
                  <a:lnTo>
                    <a:pt x="2409" y="1401"/>
                  </a:lnTo>
                  <a:lnTo>
                    <a:pt x="2612" y="1464"/>
                  </a:lnTo>
                  <a:lnTo>
                    <a:pt x="2842" y="1376"/>
                  </a:lnTo>
                  <a:lnTo>
                    <a:pt x="2954" y="1379"/>
                  </a:lnTo>
                  <a:lnTo>
                    <a:pt x="3045" y="1354"/>
                  </a:lnTo>
                  <a:lnTo>
                    <a:pt x="3197" y="1222"/>
                  </a:lnTo>
                  <a:lnTo>
                    <a:pt x="3161" y="1167"/>
                  </a:lnTo>
                  <a:cubicBezTo>
                    <a:pt x="3160" y="1165"/>
                    <a:pt x="3160" y="1164"/>
                    <a:pt x="3161" y="1162"/>
                  </a:cubicBezTo>
                  <a:lnTo>
                    <a:pt x="3199" y="1082"/>
                  </a:lnTo>
                  <a:cubicBezTo>
                    <a:pt x="3200" y="1081"/>
                    <a:pt x="3200" y="1080"/>
                    <a:pt x="3201" y="1079"/>
                  </a:cubicBezTo>
                  <a:lnTo>
                    <a:pt x="3231" y="1067"/>
                  </a:lnTo>
                  <a:cubicBezTo>
                    <a:pt x="3232" y="1067"/>
                    <a:pt x="3232" y="1066"/>
                    <a:pt x="3233" y="1066"/>
                  </a:cubicBezTo>
                  <a:cubicBezTo>
                    <a:pt x="3233" y="1066"/>
                    <a:pt x="3234" y="1067"/>
                    <a:pt x="3235" y="1067"/>
                  </a:cubicBezTo>
                  <a:lnTo>
                    <a:pt x="3334" y="1104"/>
                  </a:lnTo>
                  <a:lnTo>
                    <a:pt x="3437" y="1017"/>
                  </a:lnTo>
                  <a:lnTo>
                    <a:pt x="3507" y="995"/>
                  </a:lnTo>
                  <a:lnTo>
                    <a:pt x="3607" y="890"/>
                  </a:lnTo>
                  <a:cubicBezTo>
                    <a:pt x="3607" y="889"/>
                    <a:pt x="3608" y="889"/>
                    <a:pt x="3610" y="889"/>
                  </a:cubicBezTo>
                  <a:lnTo>
                    <a:pt x="3821" y="872"/>
                  </a:lnTo>
                  <a:lnTo>
                    <a:pt x="3801" y="845"/>
                  </a:lnTo>
                  <a:lnTo>
                    <a:pt x="3796" y="792"/>
                  </a:lnTo>
                  <a:lnTo>
                    <a:pt x="3724" y="717"/>
                  </a:lnTo>
                  <a:lnTo>
                    <a:pt x="3625" y="775"/>
                  </a:lnTo>
                  <a:lnTo>
                    <a:pt x="3512" y="763"/>
                  </a:lnTo>
                  <a:cubicBezTo>
                    <a:pt x="3510" y="763"/>
                    <a:pt x="3508" y="761"/>
                    <a:pt x="3508" y="759"/>
                  </a:cubicBezTo>
                  <a:lnTo>
                    <a:pt x="3495" y="708"/>
                  </a:lnTo>
                  <a:lnTo>
                    <a:pt x="3504" y="572"/>
                  </a:lnTo>
                  <a:lnTo>
                    <a:pt x="3568" y="468"/>
                  </a:lnTo>
                  <a:cubicBezTo>
                    <a:pt x="3569" y="466"/>
                    <a:pt x="3570" y="466"/>
                    <a:pt x="3572" y="466"/>
                  </a:cubicBezTo>
                  <a:cubicBezTo>
                    <a:pt x="3573" y="466"/>
                    <a:pt x="3573" y="466"/>
                    <a:pt x="3574" y="466"/>
                  </a:cubicBezTo>
                  <a:lnTo>
                    <a:pt x="3694" y="516"/>
                  </a:lnTo>
                  <a:lnTo>
                    <a:pt x="3805" y="451"/>
                  </a:lnTo>
                  <a:lnTo>
                    <a:pt x="3813" y="406"/>
                  </a:lnTo>
                  <a:lnTo>
                    <a:pt x="3864" y="261"/>
                  </a:lnTo>
                  <a:lnTo>
                    <a:pt x="3931" y="202"/>
                  </a:lnTo>
                  <a:lnTo>
                    <a:pt x="3928" y="145"/>
                  </a:lnTo>
                  <a:lnTo>
                    <a:pt x="3873" y="145"/>
                  </a:lnTo>
                  <a:cubicBezTo>
                    <a:pt x="3871" y="145"/>
                    <a:pt x="3870" y="144"/>
                    <a:pt x="3869" y="143"/>
                  </a:cubicBezTo>
                  <a:cubicBezTo>
                    <a:pt x="3868" y="142"/>
                    <a:pt x="3868" y="140"/>
                    <a:pt x="3868" y="139"/>
                  </a:cubicBezTo>
                  <a:lnTo>
                    <a:pt x="3877" y="114"/>
                  </a:lnTo>
                  <a:lnTo>
                    <a:pt x="3945" y="36"/>
                  </a:lnTo>
                  <a:cubicBezTo>
                    <a:pt x="3945" y="36"/>
                    <a:pt x="4177" y="0"/>
                    <a:pt x="4178" y="0"/>
                  </a:cubicBezTo>
                  <a:cubicBezTo>
                    <a:pt x="4179" y="0"/>
                    <a:pt x="4180" y="1"/>
                    <a:pt x="4180" y="1"/>
                  </a:cubicBezTo>
                  <a:lnTo>
                    <a:pt x="4248" y="48"/>
                  </a:lnTo>
                  <a:lnTo>
                    <a:pt x="4348" y="68"/>
                  </a:lnTo>
                  <a:cubicBezTo>
                    <a:pt x="4349" y="68"/>
                    <a:pt x="4350" y="69"/>
                    <a:pt x="4351" y="70"/>
                  </a:cubicBezTo>
                  <a:lnTo>
                    <a:pt x="4414" y="159"/>
                  </a:lnTo>
                  <a:lnTo>
                    <a:pt x="4428" y="237"/>
                  </a:lnTo>
                  <a:lnTo>
                    <a:pt x="4478" y="350"/>
                  </a:lnTo>
                  <a:lnTo>
                    <a:pt x="4508" y="509"/>
                  </a:lnTo>
                  <a:lnTo>
                    <a:pt x="4645" y="533"/>
                  </a:lnTo>
                  <a:lnTo>
                    <a:pt x="4760" y="597"/>
                  </a:lnTo>
                  <a:cubicBezTo>
                    <a:pt x="4761" y="598"/>
                    <a:pt x="4762" y="599"/>
                    <a:pt x="4762" y="600"/>
                  </a:cubicBezTo>
                  <a:lnTo>
                    <a:pt x="4784" y="659"/>
                  </a:lnTo>
                  <a:lnTo>
                    <a:pt x="4784" y="712"/>
                  </a:lnTo>
                  <a:lnTo>
                    <a:pt x="4807" y="749"/>
                  </a:lnTo>
                  <a:lnTo>
                    <a:pt x="4885" y="753"/>
                  </a:lnTo>
                  <a:lnTo>
                    <a:pt x="5112" y="656"/>
                  </a:lnTo>
                  <a:cubicBezTo>
                    <a:pt x="5113" y="656"/>
                    <a:pt x="5113" y="656"/>
                    <a:pt x="5114" y="656"/>
                  </a:cubicBezTo>
                  <a:cubicBezTo>
                    <a:pt x="5115" y="656"/>
                    <a:pt x="5116" y="657"/>
                    <a:pt x="5117" y="657"/>
                  </a:cubicBezTo>
                  <a:cubicBezTo>
                    <a:pt x="5119" y="659"/>
                    <a:pt x="5119" y="661"/>
                    <a:pt x="5118" y="663"/>
                  </a:cubicBezTo>
                  <a:lnTo>
                    <a:pt x="5105" y="688"/>
                  </a:lnTo>
                  <a:lnTo>
                    <a:pt x="5114" y="770"/>
                  </a:lnTo>
                  <a:cubicBezTo>
                    <a:pt x="5115" y="772"/>
                    <a:pt x="5114" y="773"/>
                    <a:pt x="5113" y="774"/>
                  </a:cubicBezTo>
                  <a:lnTo>
                    <a:pt x="5075" y="812"/>
                  </a:lnTo>
                  <a:lnTo>
                    <a:pt x="5034" y="954"/>
                  </a:lnTo>
                  <a:lnTo>
                    <a:pt x="4978" y="1069"/>
                  </a:lnTo>
                  <a:lnTo>
                    <a:pt x="4956" y="1087"/>
                  </a:lnTo>
                  <a:cubicBezTo>
                    <a:pt x="4955" y="1088"/>
                    <a:pt x="4954" y="1088"/>
                    <a:pt x="4953" y="1088"/>
                  </a:cubicBezTo>
                  <a:cubicBezTo>
                    <a:pt x="4952" y="1088"/>
                    <a:pt x="4952" y="1088"/>
                    <a:pt x="4951" y="1088"/>
                  </a:cubicBezTo>
                  <a:lnTo>
                    <a:pt x="4869" y="1059"/>
                  </a:lnTo>
                  <a:lnTo>
                    <a:pt x="4802" y="1123"/>
                  </a:lnTo>
                  <a:lnTo>
                    <a:pt x="4822" y="1179"/>
                  </a:lnTo>
                  <a:lnTo>
                    <a:pt x="4822" y="1274"/>
                  </a:lnTo>
                  <a:cubicBezTo>
                    <a:pt x="4822" y="1275"/>
                    <a:pt x="4822" y="1276"/>
                    <a:pt x="4821" y="1277"/>
                  </a:cubicBezTo>
                  <a:lnTo>
                    <a:pt x="4767" y="1339"/>
                  </a:lnTo>
                  <a:lnTo>
                    <a:pt x="4767" y="1363"/>
                  </a:lnTo>
                  <a:cubicBezTo>
                    <a:pt x="4767" y="1365"/>
                    <a:pt x="4766" y="1367"/>
                    <a:pt x="4764" y="1367"/>
                  </a:cubicBezTo>
                  <a:cubicBezTo>
                    <a:pt x="4764" y="1368"/>
                    <a:pt x="4763" y="1368"/>
                    <a:pt x="4762" y="1368"/>
                  </a:cubicBezTo>
                  <a:cubicBezTo>
                    <a:pt x="4761" y="1368"/>
                    <a:pt x="4760" y="1367"/>
                    <a:pt x="4759" y="1366"/>
                  </a:cubicBezTo>
                  <a:lnTo>
                    <a:pt x="4721" y="1328"/>
                  </a:lnTo>
                  <a:lnTo>
                    <a:pt x="4682" y="1391"/>
                  </a:lnTo>
                  <a:lnTo>
                    <a:pt x="4634" y="1430"/>
                  </a:lnTo>
                  <a:lnTo>
                    <a:pt x="4568" y="1435"/>
                  </a:lnTo>
                  <a:lnTo>
                    <a:pt x="4572" y="1494"/>
                  </a:lnTo>
                  <a:cubicBezTo>
                    <a:pt x="4572" y="1496"/>
                    <a:pt x="4571" y="1498"/>
                    <a:pt x="4568" y="1499"/>
                  </a:cubicBezTo>
                  <a:lnTo>
                    <a:pt x="4505" y="1507"/>
                  </a:lnTo>
                  <a:lnTo>
                    <a:pt x="4454" y="1483"/>
                  </a:lnTo>
                  <a:lnTo>
                    <a:pt x="4372" y="1561"/>
                  </a:lnTo>
                  <a:lnTo>
                    <a:pt x="4290" y="1604"/>
                  </a:lnTo>
                  <a:lnTo>
                    <a:pt x="4249" y="1662"/>
                  </a:lnTo>
                  <a:cubicBezTo>
                    <a:pt x="4249" y="1663"/>
                    <a:pt x="4248" y="1664"/>
                    <a:pt x="4246" y="1664"/>
                  </a:cubicBezTo>
                  <a:lnTo>
                    <a:pt x="4162" y="1681"/>
                  </a:lnTo>
                  <a:lnTo>
                    <a:pt x="3990" y="1790"/>
                  </a:lnTo>
                  <a:cubicBezTo>
                    <a:pt x="3989" y="1791"/>
                    <a:pt x="3988" y="1791"/>
                    <a:pt x="3987" y="1791"/>
                  </a:cubicBezTo>
                  <a:lnTo>
                    <a:pt x="3986" y="1791"/>
                  </a:lnTo>
                  <a:lnTo>
                    <a:pt x="3973" y="1786"/>
                  </a:lnTo>
                  <a:cubicBezTo>
                    <a:pt x="3971" y="1786"/>
                    <a:pt x="3970" y="1784"/>
                    <a:pt x="3970" y="1783"/>
                  </a:cubicBezTo>
                  <a:cubicBezTo>
                    <a:pt x="3969" y="1781"/>
                    <a:pt x="3970" y="1779"/>
                    <a:pt x="3972" y="1778"/>
                  </a:cubicBezTo>
                  <a:lnTo>
                    <a:pt x="4008" y="1754"/>
                  </a:lnTo>
                  <a:lnTo>
                    <a:pt x="4016" y="1725"/>
                  </a:lnTo>
                  <a:lnTo>
                    <a:pt x="3985" y="1705"/>
                  </a:lnTo>
                  <a:cubicBezTo>
                    <a:pt x="3984" y="1705"/>
                    <a:pt x="3983" y="1704"/>
                    <a:pt x="3982" y="1702"/>
                  </a:cubicBezTo>
                  <a:cubicBezTo>
                    <a:pt x="3982" y="1701"/>
                    <a:pt x="3982" y="1700"/>
                    <a:pt x="3983" y="1699"/>
                  </a:cubicBezTo>
                  <a:lnTo>
                    <a:pt x="4058" y="1599"/>
                  </a:lnTo>
                  <a:lnTo>
                    <a:pt x="4031" y="1542"/>
                  </a:lnTo>
                  <a:lnTo>
                    <a:pt x="3976" y="1558"/>
                  </a:lnTo>
                  <a:lnTo>
                    <a:pt x="3919" y="1637"/>
                  </a:lnTo>
                  <a:lnTo>
                    <a:pt x="3841" y="1680"/>
                  </a:lnTo>
                  <a:lnTo>
                    <a:pt x="3809" y="1729"/>
                  </a:lnTo>
                  <a:lnTo>
                    <a:pt x="3756" y="1752"/>
                  </a:lnTo>
                  <a:lnTo>
                    <a:pt x="3714" y="1745"/>
                  </a:lnTo>
                  <a:lnTo>
                    <a:pt x="3686" y="1789"/>
                  </a:lnTo>
                  <a:lnTo>
                    <a:pt x="3683" y="1810"/>
                  </a:lnTo>
                  <a:lnTo>
                    <a:pt x="3720" y="1851"/>
                  </a:lnTo>
                  <a:lnTo>
                    <a:pt x="3778" y="1883"/>
                  </a:lnTo>
                  <a:lnTo>
                    <a:pt x="3800" y="1939"/>
                  </a:lnTo>
                  <a:lnTo>
                    <a:pt x="3838" y="1954"/>
                  </a:lnTo>
                  <a:lnTo>
                    <a:pt x="3946" y="1884"/>
                  </a:lnTo>
                  <a:cubicBezTo>
                    <a:pt x="3947" y="1883"/>
                    <a:pt x="3948" y="1883"/>
                    <a:pt x="3949" y="1883"/>
                  </a:cubicBezTo>
                  <a:cubicBezTo>
                    <a:pt x="3950" y="1883"/>
                    <a:pt x="3951" y="1883"/>
                    <a:pt x="3952" y="1884"/>
                  </a:cubicBezTo>
                  <a:lnTo>
                    <a:pt x="4011" y="1922"/>
                  </a:lnTo>
                  <a:lnTo>
                    <a:pt x="4098" y="1929"/>
                  </a:lnTo>
                  <a:cubicBezTo>
                    <a:pt x="4099" y="1930"/>
                    <a:pt x="4101" y="1930"/>
                    <a:pt x="4101" y="1932"/>
                  </a:cubicBezTo>
                  <a:cubicBezTo>
                    <a:pt x="4102" y="1933"/>
                    <a:pt x="4102" y="1935"/>
                    <a:pt x="4102" y="1936"/>
                  </a:cubicBezTo>
                  <a:lnTo>
                    <a:pt x="4076" y="1995"/>
                  </a:lnTo>
                  <a:cubicBezTo>
                    <a:pt x="4075" y="1997"/>
                    <a:pt x="4074" y="1998"/>
                    <a:pt x="4072" y="1998"/>
                  </a:cubicBezTo>
                  <a:lnTo>
                    <a:pt x="4072" y="1998"/>
                  </a:lnTo>
                  <a:cubicBezTo>
                    <a:pt x="4070" y="1998"/>
                    <a:pt x="4069" y="1997"/>
                    <a:pt x="4068" y="1996"/>
                  </a:cubicBezTo>
                  <a:lnTo>
                    <a:pt x="4056" y="1977"/>
                  </a:lnTo>
                  <a:lnTo>
                    <a:pt x="4040" y="1977"/>
                  </a:lnTo>
                  <a:lnTo>
                    <a:pt x="4020" y="2001"/>
                  </a:lnTo>
                  <a:lnTo>
                    <a:pt x="3955" y="2014"/>
                  </a:lnTo>
                  <a:lnTo>
                    <a:pt x="3958" y="2026"/>
                  </a:lnTo>
                  <a:cubicBezTo>
                    <a:pt x="3958" y="2027"/>
                    <a:pt x="3958" y="2028"/>
                    <a:pt x="3957" y="2029"/>
                  </a:cubicBezTo>
                  <a:lnTo>
                    <a:pt x="3936" y="2068"/>
                  </a:lnTo>
                  <a:cubicBezTo>
                    <a:pt x="3935" y="2069"/>
                    <a:pt x="3934" y="2070"/>
                    <a:pt x="3932" y="2070"/>
                  </a:cubicBezTo>
                  <a:lnTo>
                    <a:pt x="3931" y="2070"/>
                  </a:lnTo>
                  <a:lnTo>
                    <a:pt x="3898" y="2059"/>
                  </a:lnTo>
                  <a:lnTo>
                    <a:pt x="3894" y="2087"/>
                  </a:lnTo>
                  <a:cubicBezTo>
                    <a:pt x="3894" y="2088"/>
                    <a:pt x="3894" y="2089"/>
                    <a:pt x="3893" y="2090"/>
                  </a:cubicBezTo>
                  <a:lnTo>
                    <a:pt x="3855" y="2124"/>
                  </a:lnTo>
                  <a:lnTo>
                    <a:pt x="3816" y="2186"/>
                  </a:lnTo>
                  <a:lnTo>
                    <a:pt x="3896" y="2235"/>
                  </a:lnTo>
                  <a:lnTo>
                    <a:pt x="3958" y="2402"/>
                  </a:lnTo>
                  <a:lnTo>
                    <a:pt x="4041" y="2498"/>
                  </a:lnTo>
                  <a:cubicBezTo>
                    <a:pt x="4043" y="2500"/>
                    <a:pt x="4043" y="2502"/>
                    <a:pt x="4042" y="2504"/>
                  </a:cubicBezTo>
                  <a:cubicBezTo>
                    <a:pt x="4041" y="2505"/>
                    <a:pt x="4039" y="2506"/>
                    <a:pt x="4038" y="2506"/>
                  </a:cubicBezTo>
                  <a:cubicBezTo>
                    <a:pt x="4037" y="2506"/>
                    <a:pt x="4037" y="2506"/>
                    <a:pt x="4036" y="2505"/>
                  </a:cubicBezTo>
                  <a:lnTo>
                    <a:pt x="3926" y="2472"/>
                  </a:lnTo>
                  <a:lnTo>
                    <a:pt x="3917" y="2474"/>
                  </a:lnTo>
                  <a:lnTo>
                    <a:pt x="3928" y="2475"/>
                  </a:lnTo>
                  <a:lnTo>
                    <a:pt x="3977" y="2505"/>
                  </a:lnTo>
                  <a:lnTo>
                    <a:pt x="4041" y="2570"/>
                  </a:lnTo>
                  <a:cubicBezTo>
                    <a:pt x="4042" y="2571"/>
                    <a:pt x="4043" y="2572"/>
                    <a:pt x="4043" y="2574"/>
                  </a:cubicBezTo>
                  <a:cubicBezTo>
                    <a:pt x="4042" y="2575"/>
                    <a:pt x="4041" y="2576"/>
                    <a:pt x="4040" y="2577"/>
                  </a:cubicBezTo>
                  <a:lnTo>
                    <a:pt x="3923" y="2642"/>
                  </a:lnTo>
                  <a:lnTo>
                    <a:pt x="3973" y="2632"/>
                  </a:lnTo>
                  <a:cubicBezTo>
                    <a:pt x="3974" y="2632"/>
                    <a:pt x="3974" y="2632"/>
                    <a:pt x="3974" y="2632"/>
                  </a:cubicBezTo>
                  <a:cubicBezTo>
                    <a:pt x="3975" y="2632"/>
                    <a:pt x="3976" y="2632"/>
                    <a:pt x="3977" y="2632"/>
                  </a:cubicBezTo>
                  <a:lnTo>
                    <a:pt x="4044" y="2670"/>
                  </a:lnTo>
                  <a:cubicBezTo>
                    <a:pt x="4046" y="2671"/>
                    <a:pt x="4047" y="2672"/>
                    <a:pt x="4047" y="2674"/>
                  </a:cubicBezTo>
                  <a:cubicBezTo>
                    <a:pt x="4047" y="2676"/>
                    <a:pt x="4046" y="2677"/>
                    <a:pt x="4045" y="2678"/>
                  </a:cubicBezTo>
                  <a:lnTo>
                    <a:pt x="4024" y="2697"/>
                  </a:lnTo>
                  <a:lnTo>
                    <a:pt x="4028" y="2695"/>
                  </a:lnTo>
                  <a:lnTo>
                    <a:pt x="4029" y="2695"/>
                  </a:lnTo>
                  <a:cubicBezTo>
                    <a:pt x="4030" y="2695"/>
                    <a:pt x="4031" y="2695"/>
                    <a:pt x="4032" y="2696"/>
                  </a:cubicBezTo>
                  <a:cubicBezTo>
                    <a:pt x="4033" y="2697"/>
                    <a:pt x="4034" y="2698"/>
                    <a:pt x="4034" y="2700"/>
                  </a:cubicBezTo>
                  <a:lnTo>
                    <a:pt x="4034" y="2738"/>
                  </a:lnTo>
                  <a:cubicBezTo>
                    <a:pt x="4034" y="2740"/>
                    <a:pt x="4032" y="2742"/>
                    <a:pt x="4030" y="2743"/>
                  </a:cubicBezTo>
                  <a:lnTo>
                    <a:pt x="4006" y="2746"/>
                  </a:lnTo>
                  <a:lnTo>
                    <a:pt x="4013" y="2761"/>
                  </a:lnTo>
                  <a:lnTo>
                    <a:pt x="3992" y="2841"/>
                  </a:lnTo>
                  <a:cubicBezTo>
                    <a:pt x="3991" y="2842"/>
                    <a:pt x="3990" y="2843"/>
                    <a:pt x="3989" y="2844"/>
                  </a:cubicBezTo>
                  <a:cubicBezTo>
                    <a:pt x="3989" y="2844"/>
                    <a:pt x="3988" y="2844"/>
                    <a:pt x="3987" y="2844"/>
                  </a:cubicBezTo>
                  <a:cubicBezTo>
                    <a:pt x="3986" y="2844"/>
                    <a:pt x="3986" y="2844"/>
                    <a:pt x="3985" y="2844"/>
                  </a:cubicBezTo>
                  <a:lnTo>
                    <a:pt x="3968" y="2837"/>
                  </a:lnTo>
                  <a:lnTo>
                    <a:pt x="3872" y="2994"/>
                  </a:lnTo>
                  <a:cubicBezTo>
                    <a:pt x="3872" y="2995"/>
                    <a:pt x="3870" y="2996"/>
                    <a:pt x="3868" y="2996"/>
                  </a:cubicBezTo>
                  <a:lnTo>
                    <a:pt x="3868" y="2996"/>
                  </a:lnTo>
                  <a:cubicBezTo>
                    <a:pt x="3866" y="2996"/>
                    <a:pt x="3864" y="2994"/>
                    <a:pt x="3864" y="2992"/>
                  </a:cubicBezTo>
                  <a:lnTo>
                    <a:pt x="3861" y="2974"/>
                  </a:lnTo>
                  <a:lnTo>
                    <a:pt x="3845" y="2985"/>
                  </a:lnTo>
                  <a:lnTo>
                    <a:pt x="3856" y="3011"/>
                  </a:lnTo>
                  <a:cubicBezTo>
                    <a:pt x="3856" y="3012"/>
                    <a:pt x="3856" y="3013"/>
                    <a:pt x="3856" y="3014"/>
                  </a:cubicBezTo>
                  <a:lnTo>
                    <a:pt x="3831" y="3095"/>
                  </a:lnTo>
                  <a:cubicBezTo>
                    <a:pt x="3830" y="3096"/>
                    <a:pt x="3829" y="3097"/>
                    <a:pt x="3828" y="3098"/>
                  </a:cubicBezTo>
                  <a:cubicBezTo>
                    <a:pt x="3827" y="3098"/>
                    <a:pt x="3827" y="3098"/>
                    <a:pt x="3826" y="3098"/>
                  </a:cubicBezTo>
                  <a:cubicBezTo>
                    <a:pt x="3825" y="3098"/>
                    <a:pt x="3825" y="3098"/>
                    <a:pt x="3824" y="3097"/>
                  </a:cubicBezTo>
                  <a:lnTo>
                    <a:pt x="3811" y="3091"/>
                  </a:lnTo>
                  <a:lnTo>
                    <a:pt x="3762" y="3168"/>
                  </a:lnTo>
                  <a:cubicBezTo>
                    <a:pt x="3762" y="3169"/>
                    <a:pt x="3761" y="3169"/>
                    <a:pt x="3760" y="3170"/>
                  </a:cubicBezTo>
                  <a:lnTo>
                    <a:pt x="3716" y="3181"/>
                  </a:lnTo>
                  <a:lnTo>
                    <a:pt x="3716" y="3207"/>
                  </a:lnTo>
                  <a:cubicBezTo>
                    <a:pt x="3716" y="3209"/>
                    <a:pt x="3716" y="3210"/>
                    <a:pt x="3715" y="3211"/>
                  </a:cubicBezTo>
                  <a:lnTo>
                    <a:pt x="3677" y="3249"/>
                  </a:lnTo>
                  <a:cubicBezTo>
                    <a:pt x="3676" y="3250"/>
                    <a:pt x="3675" y="3250"/>
                    <a:pt x="3674" y="3250"/>
                  </a:cubicBezTo>
                  <a:cubicBezTo>
                    <a:pt x="3673" y="3250"/>
                    <a:pt x="3672" y="3250"/>
                    <a:pt x="3672" y="3250"/>
                  </a:cubicBezTo>
                  <a:cubicBezTo>
                    <a:pt x="3671" y="3250"/>
                    <a:pt x="3671" y="3250"/>
                    <a:pt x="3671" y="3250"/>
                  </a:cubicBezTo>
                  <a:lnTo>
                    <a:pt x="3669" y="3252"/>
                  </a:lnTo>
                  <a:lnTo>
                    <a:pt x="3624" y="3267"/>
                  </a:lnTo>
                  <a:lnTo>
                    <a:pt x="3575" y="3317"/>
                  </a:lnTo>
                  <a:lnTo>
                    <a:pt x="3497" y="3343"/>
                  </a:lnTo>
                  <a:lnTo>
                    <a:pt x="3496" y="3343"/>
                  </a:lnTo>
                  <a:cubicBezTo>
                    <a:pt x="3495" y="3343"/>
                    <a:pt x="3494" y="3343"/>
                    <a:pt x="3494" y="3343"/>
                  </a:cubicBezTo>
                  <a:lnTo>
                    <a:pt x="3471" y="3331"/>
                  </a:lnTo>
                  <a:lnTo>
                    <a:pt x="3443" y="3351"/>
                  </a:lnTo>
                  <a:cubicBezTo>
                    <a:pt x="3443" y="3351"/>
                    <a:pt x="3442" y="3352"/>
                    <a:pt x="3441" y="3352"/>
                  </a:cubicBezTo>
                  <a:cubicBezTo>
                    <a:pt x="3440" y="3352"/>
                    <a:pt x="3440" y="3352"/>
                    <a:pt x="3439" y="3351"/>
                  </a:cubicBezTo>
                  <a:cubicBezTo>
                    <a:pt x="3438" y="3351"/>
                    <a:pt x="3437" y="3350"/>
                    <a:pt x="3436" y="3349"/>
                  </a:cubicBezTo>
                  <a:lnTo>
                    <a:pt x="3435" y="3344"/>
                  </a:lnTo>
                  <a:lnTo>
                    <a:pt x="3428" y="3354"/>
                  </a:lnTo>
                  <a:lnTo>
                    <a:pt x="3419" y="3367"/>
                  </a:lnTo>
                  <a:cubicBezTo>
                    <a:pt x="3418" y="3368"/>
                    <a:pt x="3417" y="3369"/>
                    <a:pt x="3416" y="3369"/>
                  </a:cubicBezTo>
                  <a:lnTo>
                    <a:pt x="3415" y="3369"/>
                  </a:lnTo>
                  <a:cubicBezTo>
                    <a:pt x="3414" y="3369"/>
                    <a:pt x="3413" y="3369"/>
                    <a:pt x="3412" y="3368"/>
                  </a:cubicBezTo>
                  <a:lnTo>
                    <a:pt x="3401" y="3359"/>
                  </a:lnTo>
                  <a:lnTo>
                    <a:pt x="3403" y="3367"/>
                  </a:lnTo>
                  <a:cubicBezTo>
                    <a:pt x="3403" y="3369"/>
                    <a:pt x="3403" y="3370"/>
                    <a:pt x="3402" y="3371"/>
                  </a:cubicBezTo>
                  <a:cubicBezTo>
                    <a:pt x="3401" y="3372"/>
                    <a:pt x="3400" y="3373"/>
                    <a:pt x="3399" y="3373"/>
                  </a:cubicBezTo>
                  <a:lnTo>
                    <a:pt x="3373" y="3377"/>
                  </a:lnTo>
                  <a:cubicBezTo>
                    <a:pt x="3371" y="3377"/>
                    <a:pt x="3370" y="3377"/>
                    <a:pt x="3369" y="3376"/>
                  </a:cubicBezTo>
                  <a:lnTo>
                    <a:pt x="3339" y="3339"/>
                  </a:lnTo>
                  <a:lnTo>
                    <a:pt x="3339" y="3377"/>
                  </a:lnTo>
                  <a:cubicBezTo>
                    <a:pt x="3339" y="3379"/>
                    <a:pt x="3338" y="3380"/>
                    <a:pt x="3337" y="3381"/>
                  </a:cubicBezTo>
                  <a:cubicBezTo>
                    <a:pt x="3336" y="3381"/>
                    <a:pt x="3335" y="3382"/>
                    <a:pt x="3334" y="3382"/>
                  </a:cubicBezTo>
                  <a:lnTo>
                    <a:pt x="3332" y="3381"/>
                  </a:lnTo>
                  <a:lnTo>
                    <a:pt x="3300" y="3356"/>
                  </a:lnTo>
                  <a:lnTo>
                    <a:pt x="3288" y="3412"/>
                  </a:lnTo>
                  <a:cubicBezTo>
                    <a:pt x="3288" y="3413"/>
                    <a:pt x="3287" y="3415"/>
                    <a:pt x="3285" y="3415"/>
                  </a:cubicBezTo>
                  <a:lnTo>
                    <a:pt x="3079" y="3461"/>
                  </a:lnTo>
                  <a:lnTo>
                    <a:pt x="3060" y="3500"/>
                  </a:lnTo>
                  <a:lnTo>
                    <a:pt x="3081" y="3544"/>
                  </a:lnTo>
                  <a:cubicBezTo>
                    <a:pt x="3081" y="3545"/>
                    <a:pt x="3081" y="3547"/>
                    <a:pt x="3081" y="3548"/>
                  </a:cubicBezTo>
                  <a:cubicBezTo>
                    <a:pt x="3080" y="3549"/>
                    <a:pt x="3079" y="3550"/>
                    <a:pt x="3078" y="3550"/>
                  </a:cubicBezTo>
                  <a:lnTo>
                    <a:pt x="3048" y="3563"/>
                  </a:lnTo>
                  <a:cubicBezTo>
                    <a:pt x="3048" y="3563"/>
                    <a:pt x="3047" y="3563"/>
                    <a:pt x="3046" y="356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5" name="Freeform 560"/>
            <p:cNvSpPr>
              <a:spLocks noChangeArrowheads="1"/>
            </p:cNvSpPr>
            <p:nvPr/>
          </p:nvSpPr>
          <p:spPr bwMode="auto">
            <a:xfrm>
              <a:off x="7505700" y="3125788"/>
              <a:ext cx="74613" cy="61912"/>
            </a:xfrm>
            <a:custGeom>
              <a:avLst/>
              <a:gdLst/>
              <a:ahLst/>
              <a:cxnLst>
                <a:cxn ang="0">
                  <a:pos x="20" y="149"/>
                </a:cxn>
                <a:cxn ang="0">
                  <a:pos x="17" y="145"/>
                </a:cxn>
                <a:cxn ang="0">
                  <a:pos x="0" y="73"/>
                </a:cxn>
                <a:cxn ang="0">
                  <a:pos x="2" y="69"/>
                </a:cxn>
                <a:cxn ang="0">
                  <a:pos x="74" y="9"/>
                </a:cxn>
                <a:cxn ang="0">
                  <a:pos x="157" y="0"/>
                </a:cxn>
                <a:cxn ang="0">
                  <a:pos x="192" y="4"/>
                </a:cxn>
                <a:cxn ang="0">
                  <a:pos x="196" y="8"/>
                </a:cxn>
                <a:cxn ang="0">
                  <a:pos x="204" y="37"/>
                </a:cxn>
                <a:cxn ang="0">
                  <a:pos x="204" y="41"/>
                </a:cxn>
                <a:cxn ang="0">
                  <a:pos x="162" y="117"/>
                </a:cxn>
                <a:cxn ang="0">
                  <a:pos x="97" y="169"/>
                </a:cxn>
                <a:cxn ang="0">
                  <a:pos x="94" y="170"/>
                </a:cxn>
                <a:cxn ang="0">
                  <a:pos x="93" y="170"/>
                </a:cxn>
                <a:cxn ang="0">
                  <a:pos x="20" y="149"/>
                </a:cxn>
              </a:cxnLst>
              <a:rect l="0" t="0" r="r" b="b"/>
              <a:pathLst>
                <a:path w="206" h="171">
                  <a:moveTo>
                    <a:pt x="20" y="149"/>
                  </a:moveTo>
                  <a:cubicBezTo>
                    <a:pt x="19" y="148"/>
                    <a:pt x="18" y="147"/>
                    <a:pt x="17" y="145"/>
                  </a:cubicBezTo>
                  <a:lnTo>
                    <a:pt x="0" y="73"/>
                  </a:lnTo>
                  <a:cubicBezTo>
                    <a:pt x="0" y="72"/>
                    <a:pt x="0" y="70"/>
                    <a:pt x="2" y="69"/>
                  </a:cubicBezTo>
                  <a:lnTo>
                    <a:pt x="74" y="9"/>
                  </a:lnTo>
                  <a:lnTo>
                    <a:pt x="157" y="0"/>
                  </a:lnTo>
                  <a:lnTo>
                    <a:pt x="192" y="4"/>
                  </a:lnTo>
                  <a:cubicBezTo>
                    <a:pt x="194" y="4"/>
                    <a:pt x="195" y="6"/>
                    <a:pt x="196" y="8"/>
                  </a:cubicBezTo>
                  <a:lnTo>
                    <a:pt x="204" y="37"/>
                  </a:lnTo>
                  <a:cubicBezTo>
                    <a:pt x="205" y="38"/>
                    <a:pt x="205" y="40"/>
                    <a:pt x="204" y="41"/>
                  </a:cubicBezTo>
                  <a:lnTo>
                    <a:pt x="162" y="117"/>
                  </a:lnTo>
                  <a:lnTo>
                    <a:pt x="97" y="169"/>
                  </a:lnTo>
                  <a:cubicBezTo>
                    <a:pt x="96" y="170"/>
                    <a:pt x="95" y="170"/>
                    <a:pt x="94" y="170"/>
                  </a:cubicBezTo>
                  <a:lnTo>
                    <a:pt x="93" y="170"/>
                  </a:lnTo>
                  <a:lnTo>
                    <a:pt x="20" y="149"/>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6" name="Freeform 561"/>
            <p:cNvSpPr>
              <a:spLocks noChangeArrowheads="1"/>
            </p:cNvSpPr>
            <p:nvPr/>
          </p:nvSpPr>
          <p:spPr bwMode="auto">
            <a:xfrm>
              <a:off x="7505700" y="3125788"/>
              <a:ext cx="74613" cy="61912"/>
            </a:xfrm>
            <a:custGeom>
              <a:avLst/>
              <a:gdLst/>
              <a:ahLst/>
              <a:cxnLst>
                <a:cxn ang="0">
                  <a:pos x="93" y="170"/>
                </a:cxn>
                <a:cxn ang="0">
                  <a:pos x="20" y="149"/>
                </a:cxn>
                <a:cxn ang="0">
                  <a:pos x="17" y="145"/>
                </a:cxn>
                <a:cxn ang="0">
                  <a:pos x="0" y="73"/>
                </a:cxn>
                <a:cxn ang="0">
                  <a:pos x="2" y="69"/>
                </a:cxn>
                <a:cxn ang="0">
                  <a:pos x="74" y="9"/>
                </a:cxn>
                <a:cxn ang="0">
                  <a:pos x="157" y="0"/>
                </a:cxn>
                <a:cxn ang="0">
                  <a:pos x="192" y="4"/>
                </a:cxn>
                <a:cxn ang="0">
                  <a:pos x="196" y="8"/>
                </a:cxn>
                <a:cxn ang="0">
                  <a:pos x="204" y="37"/>
                </a:cxn>
                <a:cxn ang="0">
                  <a:pos x="204" y="41"/>
                </a:cxn>
                <a:cxn ang="0">
                  <a:pos x="162" y="117"/>
                </a:cxn>
                <a:cxn ang="0">
                  <a:pos x="97" y="169"/>
                </a:cxn>
                <a:cxn ang="0">
                  <a:pos x="94" y="170"/>
                </a:cxn>
                <a:cxn ang="0">
                  <a:pos x="93" y="170"/>
                </a:cxn>
              </a:cxnLst>
              <a:rect l="0" t="0" r="r" b="b"/>
              <a:pathLst>
                <a:path w="206" h="171">
                  <a:moveTo>
                    <a:pt x="93" y="170"/>
                  </a:moveTo>
                  <a:lnTo>
                    <a:pt x="20" y="149"/>
                  </a:lnTo>
                  <a:cubicBezTo>
                    <a:pt x="19" y="148"/>
                    <a:pt x="18" y="147"/>
                    <a:pt x="17" y="145"/>
                  </a:cubicBezTo>
                  <a:lnTo>
                    <a:pt x="0" y="73"/>
                  </a:lnTo>
                  <a:cubicBezTo>
                    <a:pt x="0" y="72"/>
                    <a:pt x="0" y="70"/>
                    <a:pt x="2" y="69"/>
                  </a:cubicBezTo>
                  <a:lnTo>
                    <a:pt x="74" y="9"/>
                  </a:lnTo>
                  <a:lnTo>
                    <a:pt x="157" y="0"/>
                  </a:lnTo>
                  <a:lnTo>
                    <a:pt x="192" y="4"/>
                  </a:lnTo>
                  <a:cubicBezTo>
                    <a:pt x="194" y="4"/>
                    <a:pt x="195" y="6"/>
                    <a:pt x="196" y="8"/>
                  </a:cubicBezTo>
                  <a:lnTo>
                    <a:pt x="204" y="37"/>
                  </a:lnTo>
                  <a:cubicBezTo>
                    <a:pt x="205" y="38"/>
                    <a:pt x="205" y="40"/>
                    <a:pt x="204" y="41"/>
                  </a:cubicBezTo>
                  <a:lnTo>
                    <a:pt x="162" y="117"/>
                  </a:lnTo>
                  <a:lnTo>
                    <a:pt x="97" y="169"/>
                  </a:lnTo>
                  <a:cubicBezTo>
                    <a:pt x="96" y="170"/>
                    <a:pt x="95" y="170"/>
                    <a:pt x="94" y="170"/>
                  </a:cubicBezTo>
                  <a:lnTo>
                    <a:pt x="93" y="17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7" name="Freeform 562"/>
            <p:cNvSpPr>
              <a:spLocks noChangeArrowheads="1"/>
            </p:cNvSpPr>
            <p:nvPr/>
          </p:nvSpPr>
          <p:spPr bwMode="auto">
            <a:xfrm>
              <a:off x="7848600" y="2957513"/>
              <a:ext cx="57150" cy="111125"/>
            </a:xfrm>
            <a:custGeom>
              <a:avLst/>
              <a:gdLst/>
              <a:ahLst/>
              <a:cxnLst>
                <a:cxn ang="0">
                  <a:pos x="65" y="307"/>
                </a:cxn>
                <a:cxn ang="0">
                  <a:pos x="10" y="227"/>
                </a:cxn>
                <a:cxn ang="0">
                  <a:pos x="0" y="157"/>
                </a:cxn>
                <a:cxn ang="0">
                  <a:pos x="73" y="19"/>
                </a:cxn>
                <a:cxn ang="0">
                  <a:pos x="75" y="17"/>
                </a:cxn>
                <a:cxn ang="0">
                  <a:pos x="118" y="0"/>
                </a:cxn>
                <a:cxn ang="0">
                  <a:pos x="119" y="0"/>
                </a:cxn>
                <a:cxn ang="0">
                  <a:pos x="122" y="0"/>
                </a:cxn>
                <a:cxn ang="0">
                  <a:pos x="155" y="17"/>
                </a:cxn>
                <a:cxn ang="0">
                  <a:pos x="158" y="21"/>
                </a:cxn>
                <a:cxn ang="0">
                  <a:pos x="158" y="59"/>
                </a:cxn>
                <a:cxn ang="0">
                  <a:pos x="73" y="306"/>
                </a:cxn>
                <a:cxn ang="0">
                  <a:pos x="69" y="309"/>
                </a:cxn>
                <a:cxn ang="0">
                  <a:pos x="69" y="309"/>
                </a:cxn>
                <a:cxn ang="0">
                  <a:pos x="65" y="307"/>
                </a:cxn>
              </a:cxnLst>
              <a:rect l="0" t="0" r="r" b="b"/>
              <a:pathLst>
                <a:path w="159" h="310">
                  <a:moveTo>
                    <a:pt x="65" y="307"/>
                  </a:moveTo>
                  <a:lnTo>
                    <a:pt x="10" y="227"/>
                  </a:lnTo>
                  <a:lnTo>
                    <a:pt x="0" y="157"/>
                  </a:lnTo>
                  <a:lnTo>
                    <a:pt x="73" y="19"/>
                  </a:lnTo>
                  <a:cubicBezTo>
                    <a:pt x="73" y="18"/>
                    <a:pt x="74" y="17"/>
                    <a:pt x="75" y="17"/>
                  </a:cubicBezTo>
                  <a:lnTo>
                    <a:pt x="118" y="0"/>
                  </a:lnTo>
                  <a:lnTo>
                    <a:pt x="119" y="0"/>
                  </a:lnTo>
                  <a:cubicBezTo>
                    <a:pt x="120" y="0"/>
                    <a:pt x="121" y="0"/>
                    <a:pt x="122" y="0"/>
                  </a:cubicBezTo>
                  <a:lnTo>
                    <a:pt x="155" y="17"/>
                  </a:lnTo>
                  <a:cubicBezTo>
                    <a:pt x="157" y="18"/>
                    <a:pt x="158" y="19"/>
                    <a:pt x="158" y="21"/>
                  </a:cubicBezTo>
                  <a:lnTo>
                    <a:pt x="158" y="59"/>
                  </a:lnTo>
                  <a:lnTo>
                    <a:pt x="73" y="306"/>
                  </a:lnTo>
                  <a:cubicBezTo>
                    <a:pt x="73" y="308"/>
                    <a:pt x="71" y="309"/>
                    <a:pt x="69" y="309"/>
                  </a:cubicBezTo>
                  <a:lnTo>
                    <a:pt x="69" y="309"/>
                  </a:lnTo>
                  <a:cubicBezTo>
                    <a:pt x="67" y="309"/>
                    <a:pt x="66" y="309"/>
                    <a:pt x="65" y="30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8" name="Freeform 563"/>
            <p:cNvSpPr>
              <a:spLocks noChangeArrowheads="1"/>
            </p:cNvSpPr>
            <p:nvPr/>
          </p:nvSpPr>
          <p:spPr bwMode="auto">
            <a:xfrm>
              <a:off x="7848600" y="2957513"/>
              <a:ext cx="57150" cy="111125"/>
            </a:xfrm>
            <a:custGeom>
              <a:avLst/>
              <a:gdLst/>
              <a:ahLst/>
              <a:cxnLst>
                <a:cxn ang="0">
                  <a:pos x="69" y="309"/>
                </a:cxn>
                <a:cxn ang="0">
                  <a:pos x="65" y="307"/>
                </a:cxn>
                <a:cxn ang="0">
                  <a:pos x="10" y="227"/>
                </a:cxn>
                <a:cxn ang="0">
                  <a:pos x="0" y="157"/>
                </a:cxn>
                <a:cxn ang="0">
                  <a:pos x="73" y="19"/>
                </a:cxn>
                <a:cxn ang="0">
                  <a:pos x="75" y="17"/>
                </a:cxn>
                <a:cxn ang="0">
                  <a:pos x="118" y="0"/>
                </a:cxn>
                <a:cxn ang="0">
                  <a:pos x="119" y="0"/>
                </a:cxn>
                <a:cxn ang="0">
                  <a:pos x="122" y="0"/>
                </a:cxn>
                <a:cxn ang="0">
                  <a:pos x="155" y="17"/>
                </a:cxn>
                <a:cxn ang="0">
                  <a:pos x="158" y="21"/>
                </a:cxn>
                <a:cxn ang="0">
                  <a:pos x="158" y="59"/>
                </a:cxn>
                <a:cxn ang="0">
                  <a:pos x="73" y="306"/>
                </a:cxn>
                <a:cxn ang="0">
                  <a:pos x="69" y="309"/>
                </a:cxn>
              </a:cxnLst>
              <a:rect l="0" t="0" r="r" b="b"/>
              <a:pathLst>
                <a:path w="159" h="310">
                  <a:moveTo>
                    <a:pt x="69" y="309"/>
                  </a:moveTo>
                  <a:cubicBezTo>
                    <a:pt x="67" y="309"/>
                    <a:pt x="66" y="309"/>
                    <a:pt x="65" y="307"/>
                  </a:cubicBezTo>
                  <a:lnTo>
                    <a:pt x="10" y="227"/>
                  </a:lnTo>
                  <a:lnTo>
                    <a:pt x="0" y="157"/>
                  </a:lnTo>
                  <a:lnTo>
                    <a:pt x="73" y="19"/>
                  </a:lnTo>
                  <a:cubicBezTo>
                    <a:pt x="73" y="18"/>
                    <a:pt x="74" y="17"/>
                    <a:pt x="75" y="17"/>
                  </a:cubicBezTo>
                  <a:lnTo>
                    <a:pt x="118" y="0"/>
                  </a:lnTo>
                  <a:lnTo>
                    <a:pt x="119" y="0"/>
                  </a:lnTo>
                  <a:cubicBezTo>
                    <a:pt x="120" y="0"/>
                    <a:pt x="121" y="0"/>
                    <a:pt x="122" y="0"/>
                  </a:cubicBezTo>
                  <a:lnTo>
                    <a:pt x="155" y="17"/>
                  </a:lnTo>
                  <a:cubicBezTo>
                    <a:pt x="157" y="18"/>
                    <a:pt x="158" y="19"/>
                    <a:pt x="158" y="21"/>
                  </a:cubicBezTo>
                  <a:lnTo>
                    <a:pt x="158" y="59"/>
                  </a:lnTo>
                  <a:lnTo>
                    <a:pt x="73" y="306"/>
                  </a:lnTo>
                  <a:cubicBezTo>
                    <a:pt x="73" y="308"/>
                    <a:pt x="71" y="309"/>
                    <a:pt x="69" y="30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69" name="Freeform 564"/>
            <p:cNvSpPr>
              <a:spLocks noChangeArrowheads="1"/>
            </p:cNvSpPr>
            <p:nvPr/>
          </p:nvSpPr>
          <p:spPr bwMode="auto">
            <a:xfrm>
              <a:off x="8443913" y="2208213"/>
              <a:ext cx="185737" cy="169862"/>
            </a:xfrm>
            <a:custGeom>
              <a:avLst/>
              <a:gdLst/>
              <a:ahLst/>
              <a:cxnLst>
                <a:cxn ang="0">
                  <a:pos x="24" y="470"/>
                </a:cxn>
                <a:cxn ang="0">
                  <a:pos x="22" y="466"/>
                </a:cxn>
                <a:cxn ang="0">
                  <a:pos x="26" y="404"/>
                </a:cxn>
                <a:cxn ang="0">
                  <a:pos x="2" y="380"/>
                </a:cxn>
                <a:cxn ang="0">
                  <a:pos x="1" y="376"/>
                </a:cxn>
                <a:cxn ang="0">
                  <a:pos x="5" y="343"/>
                </a:cxn>
                <a:cxn ang="0">
                  <a:pos x="6" y="340"/>
                </a:cxn>
                <a:cxn ang="0">
                  <a:pos x="51" y="299"/>
                </a:cxn>
                <a:cxn ang="0">
                  <a:pos x="51" y="259"/>
                </a:cxn>
                <a:cxn ang="0">
                  <a:pos x="53" y="255"/>
                </a:cxn>
                <a:cxn ang="0">
                  <a:pos x="56" y="254"/>
                </a:cxn>
                <a:cxn ang="0">
                  <a:pos x="125" y="266"/>
                </a:cxn>
                <a:cxn ang="0">
                  <a:pos x="132" y="240"/>
                </a:cxn>
                <a:cxn ang="0">
                  <a:pos x="132" y="208"/>
                </a:cxn>
                <a:cxn ang="0">
                  <a:pos x="154" y="167"/>
                </a:cxn>
                <a:cxn ang="0">
                  <a:pos x="166" y="89"/>
                </a:cxn>
                <a:cxn ang="0">
                  <a:pos x="153" y="27"/>
                </a:cxn>
                <a:cxn ang="0">
                  <a:pos x="154" y="23"/>
                </a:cxn>
                <a:cxn ang="0">
                  <a:pos x="171" y="2"/>
                </a:cxn>
                <a:cxn ang="0">
                  <a:pos x="175" y="0"/>
                </a:cxn>
                <a:cxn ang="0">
                  <a:pos x="175" y="0"/>
                </a:cxn>
                <a:cxn ang="0">
                  <a:pos x="178" y="2"/>
                </a:cxn>
                <a:cxn ang="0">
                  <a:pos x="310" y="141"/>
                </a:cxn>
                <a:cxn ang="0">
                  <a:pos x="404" y="181"/>
                </a:cxn>
                <a:cxn ang="0">
                  <a:pos x="435" y="166"/>
                </a:cxn>
                <a:cxn ang="0">
                  <a:pos x="469" y="145"/>
                </a:cxn>
                <a:cxn ang="0">
                  <a:pos x="471" y="144"/>
                </a:cxn>
                <a:cxn ang="0">
                  <a:pos x="474" y="145"/>
                </a:cxn>
                <a:cxn ang="0">
                  <a:pos x="476" y="150"/>
                </a:cxn>
                <a:cxn ang="0">
                  <a:pos x="455" y="199"/>
                </a:cxn>
                <a:cxn ang="0">
                  <a:pos x="470" y="245"/>
                </a:cxn>
                <a:cxn ang="0">
                  <a:pos x="510" y="237"/>
                </a:cxn>
                <a:cxn ang="0">
                  <a:pos x="513" y="239"/>
                </a:cxn>
                <a:cxn ang="0">
                  <a:pos x="513" y="244"/>
                </a:cxn>
                <a:cxn ang="0">
                  <a:pos x="501" y="261"/>
                </a:cxn>
                <a:cxn ang="0">
                  <a:pos x="348" y="317"/>
                </a:cxn>
                <a:cxn ang="0">
                  <a:pos x="293" y="413"/>
                </a:cxn>
                <a:cxn ang="0">
                  <a:pos x="290" y="415"/>
                </a:cxn>
                <a:cxn ang="0">
                  <a:pos x="289" y="416"/>
                </a:cxn>
                <a:cxn ang="0">
                  <a:pos x="287" y="415"/>
                </a:cxn>
                <a:cxn ang="0">
                  <a:pos x="179" y="348"/>
                </a:cxn>
                <a:cxn ang="0">
                  <a:pos x="121" y="365"/>
                </a:cxn>
                <a:cxn ang="0">
                  <a:pos x="66" y="357"/>
                </a:cxn>
                <a:cxn ang="0">
                  <a:pos x="53" y="366"/>
                </a:cxn>
                <a:cxn ang="0">
                  <a:pos x="61" y="384"/>
                </a:cxn>
                <a:cxn ang="0">
                  <a:pos x="118" y="420"/>
                </a:cxn>
                <a:cxn ang="0">
                  <a:pos x="120" y="424"/>
                </a:cxn>
                <a:cxn ang="0">
                  <a:pos x="118" y="428"/>
                </a:cxn>
                <a:cxn ang="0">
                  <a:pos x="29" y="470"/>
                </a:cxn>
                <a:cxn ang="0">
                  <a:pos x="27" y="471"/>
                </a:cxn>
                <a:cxn ang="0">
                  <a:pos x="24" y="470"/>
                </a:cxn>
              </a:cxnLst>
              <a:rect l="0" t="0" r="r" b="b"/>
              <a:pathLst>
                <a:path w="516" h="472">
                  <a:moveTo>
                    <a:pt x="24" y="470"/>
                  </a:moveTo>
                  <a:cubicBezTo>
                    <a:pt x="23" y="469"/>
                    <a:pt x="22" y="467"/>
                    <a:pt x="22" y="466"/>
                  </a:cubicBezTo>
                  <a:lnTo>
                    <a:pt x="26" y="404"/>
                  </a:lnTo>
                  <a:lnTo>
                    <a:pt x="2" y="380"/>
                  </a:lnTo>
                  <a:cubicBezTo>
                    <a:pt x="1" y="379"/>
                    <a:pt x="0" y="378"/>
                    <a:pt x="1" y="376"/>
                  </a:cubicBezTo>
                  <a:lnTo>
                    <a:pt x="5" y="343"/>
                  </a:lnTo>
                  <a:cubicBezTo>
                    <a:pt x="5" y="342"/>
                    <a:pt x="6" y="341"/>
                    <a:pt x="6" y="340"/>
                  </a:cubicBezTo>
                  <a:lnTo>
                    <a:pt x="51" y="299"/>
                  </a:lnTo>
                  <a:lnTo>
                    <a:pt x="51" y="259"/>
                  </a:lnTo>
                  <a:cubicBezTo>
                    <a:pt x="51" y="257"/>
                    <a:pt x="52" y="256"/>
                    <a:pt x="53" y="255"/>
                  </a:cubicBezTo>
                  <a:cubicBezTo>
                    <a:pt x="54" y="254"/>
                    <a:pt x="55" y="254"/>
                    <a:pt x="56" y="254"/>
                  </a:cubicBezTo>
                  <a:lnTo>
                    <a:pt x="125" y="266"/>
                  </a:lnTo>
                  <a:lnTo>
                    <a:pt x="132" y="240"/>
                  </a:lnTo>
                  <a:lnTo>
                    <a:pt x="132" y="208"/>
                  </a:lnTo>
                  <a:lnTo>
                    <a:pt x="154" y="167"/>
                  </a:lnTo>
                  <a:lnTo>
                    <a:pt x="166" y="89"/>
                  </a:lnTo>
                  <a:lnTo>
                    <a:pt x="153" y="27"/>
                  </a:lnTo>
                  <a:cubicBezTo>
                    <a:pt x="153" y="25"/>
                    <a:pt x="153" y="24"/>
                    <a:pt x="154" y="23"/>
                  </a:cubicBezTo>
                  <a:lnTo>
                    <a:pt x="171" y="2"/>
                  </a:lnTo>
                  <a:cubicBezTo>
                    <a:pt x="172" y="1"/>
                    <a:pt x="173" y="0"/>
                    <a:pt x="175" y="0"/>
                  </a:cubicBezTo>
                  <a:lnTo>
                    <a:pt x="175" y="0"/>
                  </a:lnTo>
                  <a:cubicBezTo>
                    <a:pt x="176" y="0"/>
                    <a:pt x="177" y="1"/>
                    <a:pt x="178" y="2"/>
                  </a:cubicBezTo>
                  <a:lnTo>
                    <a:pt x="310" y="141"/>
                  </a:lnTo>
                  <a:lnTo>
                    <a:pt x="404" y="181"/>
                  </a:lnTo>
                  <a:lnTo>
                    <a:pt x="435" y="166"/>
                  </a:lnTo>
                  <a:lnTo>
                    <a:pt x="469" y="145"/>
                  </a:lnTo>
                  <a:cubicBezTo>
                    <a:pt x="470" y="144"/>
                    <a:pt x="471" y="144"/>
                    <a:pt x="471" y="144"/>
                  </a:cubicBezTo>
                  <a:cubicBezTo>
                    <a:pt x="472" y="144"/>
                    <a:pt x="474" y="144"/>
                    <a:pt x="474" y="145"/>
                  </a:cubicBezTo>
                  <a:cubicBezTo>
                    <a:pt x="476" y="146"/>
                    <a:pt x="476" y="148"/>
                    <a:pt x="476" y="150"/>
                  </a:cubicBezTo>
                  <a:lnTo>
                    <a:pt x="455" y="199"/>
                  </a:lnTo>
                  <a:lnTo>
                    <a:pt x="470" y="245"/>
                  </a:lnTo>
                  <a:lnTo>
                    <a:pt x="510" y="237"/>
                  </a:lnTo>
                  <a:cubicBezTo>
                    <a:pt x="511" y="237"/>
                    <a:pt x="513" y="238"/>
                    <a:pt x="513" y="239"/>
                  </a:cubicBezTo>
                  <a:cubicBezTo>
                    <a:pt x="515" y="241"/>
                    <a:pt x="514" y="243"/>
                    <a:pt x="513" y="244"/>
                  </a:cubicBezTo>
                  <a:lnTo>
                    <a:pt x="501" y="261"/>
                  </a:lnTo>
                  <a:lnTo>
                    <a:pt x="348" y="317"/>
                  </a:lnTo>
                  <a:lnTo>
                    <a:pt x="293" y="413"/>
                  </a:lnTo>
                  <a:cubicBezTo>
                    <a:pt x="293" y="414"/>
                    <a:pt x="292" y="415"/>
                    <a:pt x="290" y="415"/>
                  </a:cubicBezTo>
                  <a:cubicBezTo>
                    <a:pt x="290" y="415"/>
                    <a:pt x="290" y="416"/>
                    <a:pt x="289" y="416"/>
                  </a:cubicBezTo>
                  <a:cubicBezTo>
                    <a:pt x="288" y="416"/>
                    <a:pt x="288" y="415"/>
                    <a:pt x="287" y="415"/>
                  </a:cubicBezTo>
                  <a:lnTo>
                    <a:pt x="179" y="348"/>
                  </a:lnTo>
                  <a:lnTo>
                    <a:pt x="121" y="365"/>
                  </a:lnTo>
                  <a:lnTo>
                    <a:pt x="66" y="357"/>
                  </a:lnTo>
                  <a:lnTo>
                    <a:pt x="53" y="366"/>
                  </a:lnTo>
                  <a:lnTo>
                    <a:pt x="61" y="384"/>
                  </a:lnTo>
                  <a:lnTo>
                    <a:pt x="118" y="420"/>
                  </a:lnTo>
                  <a:cubicBezTo>
                    <a:pt x="120" y="421"/>
                    <a:pt x="120" y="422"/>
                    <a:pt x="120" y="424"/>
                  </a:cubicBezTo>
                  <a:cubicBezTo>
                    <a:pt x="120" y="426"/>
                    <a:pt x="119" y="427"/>
                    <a:pt x="118" y="428"/>
                  </a:cubicBezTo>
                  <a:lnTo>
                    <a:pt x="29" y="470"/>
                  </a:lnTo>
                  <a:cubicBezTo>
                    <a:pt x="28" y="470"/>
                    <a:pt x="27" y="471"/>
                    <a:pt x="27" y="471"/>
                  </a:cubicBezTo>
                  <a:cubicBezTo>
                    <a:pt x="26" y="471"/>
                    <a:pt x="25" y="470"/>
                    <a:pt x="24" y="47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0" name="Freeform 565"/>
            <p:cNvSpPr>
              <a:spLocks noChangeArrowheads="1"/>
            </p:cNvSpPr>
            <p:nvPr/>
          </p:nvSpPr>
          <p:spPr bwMode="auto">
            <a:xfrm>
              <a:off x="8443913" y="2208213"/>
              <a:ext cx="185737" cy="169862"/>
            </a:xfrm>
            <a:custGeom>
              <a:avLst/>
              <a:gdLst/>
              <a:ahLst/>
              <a:cxnLst>
                <a:cxn ang="0">
                  <a:pos x="27" y="471"/>
                </a:cxn>
                <a:cxn ang="0">
                  <a:pos x="24" y="470"/>
                </a:cxn>
                <a:cxn ang="0">
                  <a:pos x="22" y="466"/>
                </a:cxn>
                <a:cxn ang="0">
                  <a:pos x="26" y="404"/>
                </a:cxn>
                <a:cxn ang="0">
                  <a:pos x="2" y="380"/>
                </a:cxn>
                <a:cxn ang="0">
                  <a:pos x="1" y="376"/>
                </a:cxn>
                <a:cxn ang="0">
                  <a:pos x="5" y="343"/>
                </a:cxn>
                <a:cxn ang="0">
                  <a:pos x="6" y="340"/>
                </a:cxn>
                <a:cxn ang="0">
                  <a:pos x="51" y="299"/>
                </a:cxn>
                <a:cxn ang="0">
                  <a:pos x="51" y="259"/>
                </a:cxn>
                <a:cxn ang="0">
                  <a:pos x="53" y="255"/>
                </a:cxn>
                <a:cxn ang="0">
                  <a:pos x="56" y="254"/>
                </a:cxn>
                <a:cxn ang="0">
                  <a:pos x="125" y="266"/>
                </a:cxn>
                <a:cxn ang="0">
                  <a:pos x="132" y="240"/>
                </a:cxn>
                <a:cxn ang="0">
                  <a:pos x="132" y="208"/>
                </a:cxn>
                <a:cxn ang="0">
                  <a:pos x="154" y="167"/>
                </a:cxn>
                <a:cxn ang="0">
                  <a:pos x="166" y="89"/>
                </a:cxn>
                <a:cxn ang="0">
                  <a:pos x="153" y="27"/>
                </a:cxn>
                <a:cxn ang="0">
                  <a:pos x="154" y="23"/>
                </a:cxn>
                <a:cxn ang="0">
                  <a:pos x="171" y="2"/>
                </a:cxn>
                <a:cxn ang="0">
                  <a:pos x="175" y="0"/>
                </a:cxn>
                <a:cxn ang="0">
                  <a:pos x="175" y="0"/>
                </a:cxn>
                <a:cxn ang="0">
                  <a:pos x="178" y="2"/>
                </a:cxn>
                <a:cxn ang="0">
                  <a:pos x="310" y="141"/>
                </a:cxn>
                <a:cxn ang="0">
                  <a:pos x="404" y="181"/>
                </a:cxn>
                <a:cxn ang="0">
                  <a:pos x="435" y="166"/>
                </a:cxn>
                <a:cxn ang="0">
                  <a:pos x="469" y="145"/>
                </a:cxn>
                <a:cxn ang="0">
                  <a:pos x="471" y="144"/>
                </a:cxn>
                <a:cxn ang="0">
                  <a:pos x="474" y="145"/>
                </a:cxn>
                <a:cxn ang="0">
                  <a:pos x="476" y="150"/>
                </a:cxn>
                <a:cxn ang="0">
                  <a:pos x="455" y="199"/>
                </a:cxn>
                <a:cxn ang="0">
                  <a:pos x="470" y="245"/>
                </a:cxn>
                <a:cxn ang="0">
                  <a:pos x="510" y="237"/>
                </a:cxn>
                <a:cxn ang="0">
                  <a:pos x="513" y="239"/>
                </a:cxn>
                <a:cxn ang="0">
                  <a:pos x="513" y="244"/>
                </a:cxn>
                <a:cxn ang="0">
                  <a:pos x="501" y="261"/>
                </a:cxn>
                <a:cxn ang="0">
                  <a:pos x="348" y="317"/>
                </a:cxn>
                <a:cxn ang="0">
                  <a:pos x="293" y="413"/>
                </a:cxn>
                <a:cxn ang="0">
                  <a:pos x="290" y="415"/>
                </a:cxn>
                <a:cxn ang="0">
                  <a:pos x="289" y="416"/>
                </a:cxn>
                <a:cxn ang="0">
                  <a:pos x="287" y="415"/>
                </a:cxn>
                <a:cxn ang="0">
                  <a:pos x="179" y="348"/>
                </a:cxn>
                <a:cxn ang="0">
                  <a:pos x="121" y="365"/>
                </a:cxn>
                <a:cxn ang="0">
                  <a:pos x="66" y="357"/>
                </a:cxn>
                <a:cxn ang="0">
                  <a:pos x="53" y="366"/>
                </a:cxn>
                <a:cxn ang="0">
                  <a:pos x="61" y="384"/>
                </a:cxn>
                <a:cxn ang="0">
                  <a:pos x="118" y="420"/>
                </a:cxn>
                <a:cxn ang="0">
                  <a:pos x="120" y="424"/>
                </a:cxn>
                <a:cxn ang="0">
                  <a:pos x="118" y="428"/>
                </a:cxn>
                <a:cxn ang="0">
                  <a:pos x="29" y="470"/>
                </a:cxn>
                <a:cxn ang="0">
                  <a:pos x="27" y="471"/>
                </a:cxn>
              </a:cxnLst>
              <a:rect l="0" t="0" r="r" b="b"/>
              <a:pathLst>
                <a:path w="516" h="472">
                  <a:moveTo>
                    <a:pt x="27" y="471"/>
                  </a:moveTo>
                  <a:cubicBezTo>
                    <a:pt x="26" y="471"/>
                    <a:pt x="25" y="470"/>
                    <a:pt x="24" y="470"/>
                  </a:cubicBezTo>
                  <a:cubicBezTo>
                    <a:pt x="23" y="469"/>
                    <a:pt x="22" y="467"/>
                    <a:pt x="22" y="466"/>
                  </a:cubicBezTo>
                  <a:lnTo>
                    <a:pt x="26" y="404"/>
                  </a:lnTo>
                  <a:lnTo>
                    <a:pt x="2" y="380"/>
                  </a:lnTo>
                  <a:cubicBezTo>
                    <a:pt x="1" y="379"/>
                    <a:pt x="0" y="378"/>
                    <a:pt x="1" y="376"/>
                  </a:cubicBezTo>
                  <a:lnTo>
                    <a:pt x="5" y="343"/>
                  </a:lnTo>
                  <a:cubicBezTo>
                    <a:pt x="5" y="342"/>
                    <a:pt x="6" y="341"/>
                    <a:pt x="6" y="340"/>
                  </a:cubicBezTo>
                  <a:lnTo>
                    <a:pt x="51" y="299"/>
                  </a:lnTo>
                  <a:lnTo>
                    <a:pt x="51" y="259"/>
                  </a:lnTo>
                  <a:cubicBezTo>
                    <a:pt x="51" y="257"/>
                    <a:pt x="52" y="256"/>
                    <a:pt x="53" y="255"/>
                  </a:cubicBezTo>
                  <a:cubicBezTo>
                    <a:pt x="54" y="254"/>
                    <a:pt x="55" y="254"/>
                    <a:pt x="56" y="254"/>
                  </a:cubicBezTo>
                  <a:lnTo>
                    <a:pt x="125" y="266"/>
                  </a:lnTo>
                  <a:lnTo>
                    <a:pt x="132" y="240"/>
                  </a:lnTo>
                  <a:lnTo>
                    <a:pt x="132" y="208"/>
                  </a:lnTo>
                  <a:lnTo>
                    <a:pt x="154" y="167"/>
                  </a:lnTo>
                  <a:lnTo>
                    <a:pt x="166" y="89"/>
                  </a:lnTo>
                  <a:lnTo>
                    <a:pt x="153" y="27"/>
                  </a:lnTo>
                  <a:cubicBezTo>
                    <a:pt x="153" y="25"/>
                    <a:pt x="153" y="24"/>
                    <a:pt x="154" y="23"/>
                  </a:cubicBezTo>
                  <a:lnTo>
                    <a:pt x="171" y="2"/>
                  </a:lnTo>
                  <a:cubicBezTo>
                    <a:pt x="172" y="1"/>
                    <a:pt x="173" y="0"/>
                    <a:pt x="175" y="0"/>
                  </a:cubicBezTo>
                  <a:lnTo>
                    <a:pt x="175" y="0"/>
                  </a:lnTo>
                  <a:cubicBezTo>
                    <a:pt x="176" y="0"/>
                    <a:pt x="177" y="1"/>
                    <a:pt x="178" y="2"/>
                  </a:cubicBezTo>
                  <a:lnTo>
                    <a:pt x="310" y="141"/>
                  </a:lnTo>
                  <a:lnTo>
                    <a:pt x="404" y="181"/>
                  </a:lnTo>
                  <a:lnTo>
                    <a:pt x="435" y="166"/>
                  </a:lnTo>
                  <a:lnTo>
                    <a:pt x="469" y="145"/>
                  </a:lnTo>
                  <a:cubicBezTo>
                    <a:pt x="470" y="144"/>
                    <a:pt x="471" y="144"/>
                    <a:pt x="471" y="144"/>
                  </a:cubicBezTo>
                  <a:cubicBezTo>
                    <a:pt x="472" y="144"/>
                    <a:pt x="474" y="144"/>
                    <a:pt x="474" y="145"/>
                  </a:cubicBezTo>
                  <a:cubicBezTo>
                    <a:pt x="476" y="146"/>
                    <a:pt x="476" y="148"/>
                    <a:pt x="476" y="150"/>
                  </a:cubicBezTo>
                  <a:lnTo>
                    <a:pt x="455" y="199"/>
                  </a:lnTo>
                  <a:lnTo>
                    <a:pt x="470" y="245"/>
                  </a:lnTo>
                  <a:lnTo>
                    <a:pt x="510" y="237"/>
                  </a:lnTo>
                  <a:cubicBezTo>
                    <a:pt x="511" y="237"/>
                    <a:pt x="513" y="238"/>
                    <a:pt x="513" y="239"/>
                  </a:cubicBezTo>
                  <a:cubicBezTo>
                    <a:pt x="515" y="241"/>
                    <a:pt x="514" y="243"/>
                    <a:pt x="513" y="244"/>
                  </a:cubicBezTo>
                  <a:lnTo>
                    <a:pt x="501" y="261"/>
                  </a:lnTo>
                  <a:lnTo>
                    <a:pt x="348" y="317"/>
                  </a:lnTo>
                  <a:lnTo>
                    <a:pt x="293" y="413"/>
                  </a:lnTo>
                  <a:cubicBezTo>
                    <a:pt x="293" y="414"/>
                    <a:pt x="292" y="415"/>
                    <a:pt x="290" y="415"/>
                  </a:cubicBezTo>
                  <a:cubicBezTo>
                    <a:pt x="290" y="415"/>
                    <a:pt x="290" y="416"/>
                    <a:pt x="289" y="416"/>
                  </a:cubicBezTo>
                  <a:cubicBezTo>
                    <a:pt x="288" y="416"/>
                    <a:pt x="288" y="415"/>
                    <a:pt x="287" y="415"/>
                  </a:cubicBezTo>
                  <a:lnTo>
                    <a:pt x="179" y="348"/>
                  </a:lnTo>
                  <a:lnTo>
                    <a:pt x="121" y="365"/>
                  </a:lnTo>
                  <a:lnTo>
                    <a:pt x="66" y="357"/>
                  </a:lnTo>
                  <a:lnTo>
                    <a:pt x="53" y="366"/>
                  </a:lnTo>
                  <a:lnTo>
                    <a:pt x="61" y="384"/>
                  </a:lnTo>
                  <a:lnTo>
                    <a:pt x="118" y="420"/>
                  </a:lnTo>
                  <a:cubicBezTo>
                    <a:pt x="120" y="421"/>
                    <a:pt x="120" y="422"/>
                    <a:pt x="120" y="424"/>
                  </a:cubicBezTo>
                  <a:cubicBezTo>
                    <a:pt x="120" y="426"/>
                    <a:pt x="119" y="427"/>
                    <a:pt x="118" y="428"/>
                  </a:cubicBezTo>
                  <a:lnTo>
                    <a:pt x="29" y="470"/>
                  </a:lnTo>
                  <a:cubicBezTo>
                    <a:pt x="28" y="470"/>
                    <a:pt x="27" y="471"/>
                    <a:pt x="27" y="47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1" name="Freeform 566"/>
            <p:cNvSpPr>
              <a:spLocks noChangeArrowheads="1"/>
            </p:cNvSpPr>
            <p:nvPr/>
          </p:nvSpPr>
          <p:spPr bwMode="auto">
            <a:xfrm>
              <a:off x="8120063" y="2689225"/>
              <a:ext cx="7937" cy="12700"/>
            </a:xfrm>
            <a:custGeom>
              <a:avLst/>
              <a:gdLst/>
              <a:ahLst/>
              <a:cxnLst>
                <a:cxn ang="0">
                  <a:pos x="0" y="30"/>
                </a:cxn>
                <a:cxn ang="0">
                  <a:pos x="0" y="5"/>
                </a:cxn>
                <a:cxn ang="0">
                  <a:pos x="3" y="1"/>
                </a:cxn>
                <a:cxn ang="0">
                  <a:pos x="5" y="0"/>
                </a:cxn>
                <a:cxn ang="0">
                  <a:pos x="8" y="1"/>
                </a:cxn>
                <a:cxn ang="0">
                  <a:pos x="20" y="9"/>
                </a:cxn>
                <a:cxn ang="0">
                  <a:pos x="23" y="12"/>
                </a:cxn>
                <a:cxn ang="0">
                  <a:pos x="22" y="16"/>
                </a:cxn>
                <a:cxn ang="0">
                  <a:pos x="9" y="33"/>
                </a:cxn>
                <a:cxn ang="0">
                  <a:pos x="5" y="35"/>
                </a:cxn>
                <a:cxn ang="0">
                  <a:pos x="4" y="35"/>
                </a:cxn>
                <a:cxn ang="0">
                  <a:pos x="0" y="30"/>
                </a:cxn>
              </a:cxnLst>
              <a:rect l="0" t="0" r="r" b="b"/>
              <a:pathLst>
                <a:path w="24" h="36">
                  <a:moveTo>
                    <a:pt x="0" y="30"/>
                  </a:moveTo>
                  <a:lnTo>
                    <a:pt x="0" y="5"/>
                  </a:lnTo>
                  <a:cubicBezTo>
                    <a:pt x="0" y="3"/>
                    <a:pt x="1" y="1"/>
                    <a:pt x="3" y="1"/>
                  </a:cubicBezTo>
                  <a:cubicBezTo>
                    <a:pt x="4" y="0"/>
                    <a:pt x="4" y="0"/>
                    <a:pt x="5" y="0"/>
                  </a:cubicBezTo>
                  <a:cubicBezTo>
                    <a:pt x="6" y="0"/>
                    <a:pt x="7" y="0"/>
                    <a:pt x="8" y="1"/>
                  </a:cubicBezTo>
                  <a:lnTo>
                    <a:pt x="20" y="9"/>
                  </a:lnTo>
                  <a:cubicBezTo>
                    <a:pt x="21" y="10"/>
                    <a:pt x="22" y="11"/>
                    <a:pt x="23" y="12"/>
                  </a:cubicBezTo>
                  <a:cubicBezTo>
                    <a:pt x="23" y="14"/>
                    <a:pt x="22" y="15"/>
                    <a:pt x="22" y="16"/>
                  </a:cubicBezTo>
                  <a:lnTo>
                    <a:pt x="9" y="33"/>
                  </a:lnTo>
                  <a:cubicBezTo>
                    <a:pt x="8" y="34"/>
                    <a:pt x="7" y="35"/>
                    <a:pt x="5" y="35"/>
                  </a:cubicBezTo>
                  <a:lnTo>
                    <a:pt x="4" y="35"/>
                  </a:lnTo>
                  <a:cubicBezTo>
                    <a:pt x="2" y="34"/>
                    <a:pt x="0" y="32"/>
                    <a:pt x="0" y="3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2" name="Freeform 567"/>
            <p:cNvSpPr>
              <a:spLocks noChangeArrowheads="1"/>
            </p:cNvSpPr>
            <p:nvPr/>
          </p:nvSpPr>
          <p:spPr bwMode="auto">
            <a:xfrm>
              <a:off x="8120063" y="2689225"/>
              <a:ext cx="7937" cy="12700"/>
            </a:xfrm>
            <a:custGeom>
              <a:avLst/>
              <a:gdLst/>
              <a:ahLst/>
              <a:cxnLst>
                <a:cxn ang="0">
                  <a:pos x="4" y="35"/>
                </a:cxn>
                <a:cxn ang="0">
                  <a:pos x="0" y="30"/>
                </a:cxn>
                <a:cxn ang="0">
                  <a:pos x="0" y="5"/>
                </a:cxn>
                <a:cxn ang="0">
                  <a:pos x="3" y="1"/>
                </a:cxn>
                <a:cxn ang="0">
                  <a:pos x="5" y="0"/>
                </a:cxn>
                <a:cxn ang="0">
                  <a:pos x="8" y="1"/>
                </a:cxn>
                <a:cxn ang="0">
                  <a:pos x="20" y="9"/>
                </a:cxn>
                <a:cxn ang="0">
                  <a:pos x="23" y="12"/>
                </a:cxn>
                <a:cxn ang="0">
                  <a:pos x="22" y="16"/>
                </a:cxn>
                <a:cxn ang="0">
                  <a:pos x="9" y="33"/>
                </a:cxn>
                <a:cxn ang="0">
                  <a:pos x="5" y="35"/>
                </a:cxn>
                <a:cxn ang="0">
                  <a:pos x="4" y="35"/>
                </a:cxn>
              </a:cxnLst>
              <a:rect l="0" t="0" r="r" b="b"/>
              <a:pathLst>
                <a:path w="24" h="36">
                  <a:moveTo>
                    <a:pt x="4" y="35"/>
                  </a:moveTo>
                  <a:cubicBezTo>
                    <a:pt x="2" y="34"/>
                    <a:pt x="0" y="32"/>
                    <a:pt x="0" y="30"/>
                  </a:cubicBezTo>
                  <a:lnTo>
                    <a:pt x="0" y="5"/>
                  </a:lnTo>
                  <a:cubicBezTo>
                    <a:pt x="0" y="3"/>
                    <a:pt x="1" y="1"/>
                    <a:pt x="3" y="1"/>
                  </a:cubicBezTo>
                  <a:cubicBezTo>
                    <a:pt x="4" y="0"/>
                    <a:pt x="4" y="0"/>
                    <a:pt x="5" y="0"/>
                  </a:cubicBezTo>
                  <a:cubicBezTo>
                    <a:pt x="6" y="0"/>
                    <a:pt x="7" y="0"/>
                    <a:pt x="8" y="1"/>
                  </a:cubicBezTo>
                  <a:lnTo>
                    <a:pt x="20" y="9"/>
                  </a:lnTo>
                  <a:cubicBezTo>
                    <a:pt x="21" y="10"/>
                    <a:pt x="22" y="11"/>
                    <a:pt x="23" y="12"/>
                  </a:cubicBezTo>
                  <a:cubicBezTo>
                    <a:pt x="23" y="14"/>
                    <a:pt x="22" y="15"/>
                    <a:pt x="22" y="16"/>
                  </a:cubicBezTo>
                  <a:lnTo>
                    <a:pt x="9" y="33"/>
                  </a:lnTo>
                  <a:cubicBezTo>
                    <a:pt x="8" y="34"/>
                    <a:pt x="7" y="35"/>
                    <a:pt x="5" y="35"/>
                  </a:cubicBezTo>
                  <a:lnTo>
                    <a:pt x="4" y="3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3" name="Freeform 568"/>
            <p:cNvSpPr>
              <a:spLocks noChangeArrowheads="1"/>
            </p:cNvSpPr>
            <p:nvPr/>
          </p:nvSpPr>
          <p:spPr bwMode="auto">
            <a:xfrm>
              <a:off x="8137525" y="2659063"/>
              <a:ext cx="74613" cy="106362"/>
            </a:xfrm>
            <a:custGeom>
              <a:avLst/>
              <a:gdLst/>
              <a:ahLst/>
              <a:cxnLst>
                <a:cxn ang="0">
                  <a:pos x="96" y="293"/>
                </a:cxn>
                <a:cxn ang="0">
                  <a:pos x="93" y="288"/>
                </a:cxn>
                <a:cxn ang="0">
                  <a:pos x="93" y="232"/>
                </a:cxn>
                <a:cxn ang="0">
                  <a:pos x="93" y="232"/>
                </a:cxn>
                <a:cxn ang="0">
                  <a:pos x="86" y="277"/>
                </a:cxn>
                <a:cxn ang="0">
                  <a:pos x="83" y="280"/>
                </a:cxn>
                <a:cxn ang="0">
                  <a:pos x="81" y="281"/>
                </a:cxn>
                <a:cxn ang="0">
                  <a:pos x="79" y="280"/>
                </a:cxn>
                <a:cxn ang="0">
                  <a:pos x="53" y="263"/>
                </a:cxn>
                <a:cxn ang="0">
                  <a:pos x="51" y="259"/>
                </a:cxn>
                <a:cxn ang="0">
                  <a:pos x="51" y="200"/>
                </a:cxn>
                <a:cxn ang="0">
                  <a:pos x="77" y="155"/>
                </a:cxn>
                <a:cxn ang="0">
                  <a:pos x="72" y="120"/>
                </a:cxn>
                <a:cxn ang="0">
                  <a:pos x="60" y="99"/>
                </a:cxn>
                <a:cxn ang="0">
                  <a:pos x="60" y="132"/>
                </a:cxn>
                <a:cxn ang="0">
                  <a:pos x="57" y="136"/>
                </a:cxn>
                <a:cxn ang="0">
                  <a:pos x="13" y="145"/>
                </a:cxn>
                <a:cxn ang="0">
                  <a:pos x="11" y="144"/>
                </a:cxn>
                <a:cxn ang="0">
                  <a:pos x="9" y="141"/>
                </a:cxn>
                <a:cxn ang="0">
                  <a:pos x="5" y="99"/>
                </a:cxn>
                <a:cxn ang="0">
                  <a:pos x="7" y="94"/>
                </a:cxn>
                <a:cxn ang="0">
                  <a:pos x="9" y="94"/>
                </a:cxn>
                <a:cxn ang="0">
                  <a:pos x="12" y="95"/>
                </a:cxn>
                <a:cxn ang="0">
                  <a:pos x="21" y="104"/>
                </a:cxn>
                <a:cxn ang="0">
                  <a:pos x="21" y="102"/>
                </a:cxn>
                <a:cxn ang="0">
                  <a:pos x="1" y="80"/>
                </a:cxn>
                <a:cxn ang="0">
                  <a:pos x="0" y="76"/>
                </a:cxn>
                <a:cxn ang="0">
                  <a:pos x="2" y="73"/>
                </a:cxn>
                <a:cxn ang="0">
                  <a:pos x="100" y="1"/>
                </a:cxn>
                <a:cxn ang="0">
                  <a:pos x="102" y="0"/>
                </a:cxn>
                <a:cxn ang="0">
                  <a:pos x="106" y="2"/>
                </a:cxn>
                <a:cxn ang="0">
                  <a:pos x="138" y="34"/>
                </a:cxn>
                <a:cxn ang="0">
                  <a:pos x="174" y="30"/>
                </a:cxn>
                <a:cxn ang="0">
                  <a:pos x="178" y="31"/>
                </a:cxn>
                <a:cxn ang="0">
                  <a:pos x="179" y="36"/>
                </a:cxn>
                <a:cxn ang="0">
                  <a:pos x="172" y="69"/>
                </a:cxn>
                <a:cxn ang="0">
                  <a:pos x="188" y="72"/>
                </a:cxn>
                <a:cxn ang="0">
                  <a:pos x="192" y="75"/>
                </a:cxn>
                <a:cxn ang="0">
                  <a:pos x="204" y="114"/>
                </a:cxn>
                <a:cxn ang="0">
                  <a:pos x="204" y="117"/>
                </a:cxn>
                <a:cxn ang="0">
                  <a:pos x="145" y="252"/>
                </a:cxn>
                <a:cxn ang="0">
                  <a:pos x="101" y="292"/>
                </a:cxn>
                <a:cxn ang="0">
                  <a:pos x="98" y="293"/>
                </a:cxn>
                <a:cxn ang="0">
                  <a:pos x="96" y="293"/>
                </a:cxn>
              </a:cxnLst>
              <a:rect l="0" t="0" r="r" b="b"/>
              <a:pathLst>
                <a:path w="206" h="294">
                  <a:moveTo>
                    <a:pt x="96" y="293"/>
                  </a:moveTo>
                  <a:cubicBezTo>
                    <a:pt x="95" y="292"/>
                    <a:pt x="93" y="290"/>
                    <a:pt x="93" y="288"/>
                  </a:cubicBezTo>
                  <a:lnTo>
                    <a:pt x="93" y="232"/>
                  </a:lnTo>
                  <a:lnTo>
                    <a:pt x="93" y="232"/>
                  </a:lnTo>
                  <a:lnTo>
                    <a:pt x="86" y="277"/>
                  </a:lnTo>
                  <a:cubicBezTo>
                    <a:pt x="86" y="278"/>
                    <a:pt x="85" y="279"/>
                    <a:pt x="83" y="280"/>
                  </a:cubicBezTo>
                  <a:cubicBezTo>
                    <a:pt x="82" y="280"/>
                    <a:pt x="82" y="281"/>
                    <a:pt x="81" y="281"/>
                  </a:cubicBezTo>
                  <a:cubicBezTo>
                    <a:pt x="80" y="281"/>
                    <a:pt x="79" y="280"/>
                    <a:pt x="79" y="280"/>
                  </a:cubicBezTo>
                  <a:lnTo>
                    <a:pt x="53" y="263"/>
                  </a:lnTo>
                  <a:cubicBezTo>
                    <a:pt x="52" y="262"/>
                    <a:pt x="51" y="261"/>
                    <a:pt x="51" y="259"/>
                  </a:cubicBezTo>
                  <a:lnTo>
                    <a:pt x="51" y="200"/>
                  </a:lnTo>
                  <a:lnTo>
                    <a:pt x="77" y="155"/>
                  </a:lnTo>
                  <a:lnTo>
                    <a:pt x="72" y="120"/>
                  </a:lnTo>
                  <a:lnTo>
                    <a:pt x="60" y="99"/>
                  </a:lnTo>
                  <a:lnTo>
                    <a:pt x="60" y="132"/>
                  </a:lnTo>
                  <a:cubicBezTo>
                    <a:pt x="60" y="134"/>
                    <a:pt x="59" y="136"/>
                    <a:pt x="57" y="136"/>
                  </a:cubicBezTo>
                  <a:lnTo>
                    <a:pt x="13" y="145"/>
                  </a:lnTo>
                  <a:cubicBezTo>
                    <a:pt x="12" y="145"/>
                    <a:pt x="11" y="145"/>
                    <a:pt x="11" y="144"/>
                  </a:cubicBezTo>
                  <a:cubicBezTo>
                    <a:pt x="9" y="143"/>
                    <a:pt x="9" y="142"/>
                    <a:pt x="9" y="141"/>
                  </a:cubicBezTo>
                  <a:lnTo>
                    <a:pt x="5" y="99"/>
                  </a:lnTo>
                  <a:cubicBezTo>
                    <a:pt x="4" y="97"/>
                    <a:pt x="5" y="95"/>
                    <a:pt x="7" y="94"/>
                  </a:cubicBezTo>
                  <a:cubicBezTo>
                    <a:pt x="8" y="94"/>
                    <a:pt x="9" y="94"/>
                    <a:pt x="9" y="94"/>
                  </a:cubicBezTo>
                  <a:cubicBezTo>
                    <a:pt x="10" y="94"/>
                    <a:pt x="12" y="94"/>
                    <a:pt x="12" y="95"/>
                  </a:cubicBezTo>
                  <a:lnTo>
                    <a:pt x="21" y="104"/>
                  </a:lnTo>
                  <a:lnTo>
                    <a:pt x="21" y="102"/>
                  </a:lnTo>
                  <a:lnTo>
                    <a:pt x="1" y="80"/>
                  </a:lnTo>
                  <a:cubicBezTo>
                    <a:pt x="0" y="79"/>
                    <a:pt x="0" y="77"/>
                    <a:pt x="0" y="76"/>
                  </a:cubicBezTo>
                  <a:cubicBezTo>
                    <a:pt x="0" y="74"/>
                    <a:pt x="1" y="74"/>
                    <a:pt x="2" y="73"/>
                  </a:cubicBezTo>
                  <a:lnTo>
                    <a:pt x="100" y="1"/>
                  </a:lnTo>
                  <a:cubicBezTo>
                    <a:pt x="100" y="1"/>
                    <a:pt x="101" y="0"/>
                    <a:pt x="102" y="0"/>
                  </a:cubicBezTo>
                  <a:cubicBezTo>
                    <a:pt x="104" y="0"/>
                    <a:pt x="105" y="1"/>
                    <a:pt x="106" y="2"/>
                  </a:cubicBezTo>
                  <a:lnTo>
                    <a:pt x="138" y="34"/>
                  </a:lnTo>
                  <a:lnTo>
                    <a:pt x="174" y="30"/>
                  </a:lnTo>
                  <a:cubicBezTo>
                    <a:pt x="176" y="30"/>
                    <a:pt x="177" y="30"/>
                    <a:pt x="178" y="31"/>
                  </a:cubicBezTo>
                  <a:cubicBezTo>
                    <a:pt x="179" y="33"/>
                    <a:pt x="179" y="34"/>
                    <a:pt x="179" y="36"/>
                  </a:cubicBezTo>
                  <a:lnTo>
                    <a:pt x="172" y="69"/>
                  </a:lnTo>
                  <a:lnTo>
                    <a:pt x="188" y="72"/>
                  </a:lnTo>
                  <a:cubicBezTo>
                    <a:pt x="190" y="73"/>
                    <a:pt x="191" y="74"/>
                    <a:pt x="192" y="75"/>
                  </a:cubicBezTo>
                  <a:lnTo>
                    <a:pt x="204" y="114"/>
                  </a:lnTo>
                  <a:cubicBezTo>
                    <a:pt x="205" y="115"/>
                    <a:pt x="205" y="116"/>
                    <a:pt x="204" y="117"/>
                  </a:cubicBezTo>
                  <a:lnTo>
                    <a:pt x="145" y="252"/>
                  </a:lnTo>
                  <a:lnTo>
                    <a:pt x="101" y="292"/>
                  </a:lnTo>
                  <a:cubicBezTo>
                    <a:pt x="100" y="293"/>
                    <a:pt x="99" y="293"/>
                    <a:pt x="98" y="293"/>
                  </a:cubicBezTo>
                  <a:cubicBezTo>
                    <a:pt x="97" y="293"/>
                    <a:pt x="97" y="293"/>
                    <a:pt x="96" y="29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4" name="Freeform 569"/>
            <p:cNvSpPr>
              <a:spLocks noChangeArrowheads="1"/>
            </p:cNvSpPr>
            <p:nvPr/>
          </p:nvSpPr>
          <p:spPr bwMode="auto">
            <a:xfrm>
              <a:off x="8137525" y="2659063"/>
              <a:ext cx="74613" cy="106362"/>
            </a:xfrm>
            <a:custGeom>
              <a:avLst/>
              <a:gdLst/>
              <a:ahLst/>
              <a:cxnLst>
                <a:cxn ang="0">
                  <a:pos x="98" y="293"/>
                </a:cxn>
                <a:cxn ang="0">
                  <a:pos x="96" y="293"/>
                </a:cxn>
                <a:cxn ang="0">
                  <a:pos x="93" y="288"/>
                </a:cxn>
                <a:cxn ang="0">
                  <a:pos x="93" y="232"/>
                </a:cxn>
                <a:cxn ang="0">
                  <a:pos x="93" y="232"/>
                </a:cxn>
                <a:cxn ang="0">
                  <a:pos x="86" y="277"/>
                </a:cxn>
                <a:cxn ang="0">
                  <a:pos x="83" y="280"/>
                </a:cxn>
                <a:cxn ang="0">
                  <a:pos x="81" y="281"/>
                </a:cxn>
                <a:cxn ang="0">
                  <a:pos x="79" y="280"/>
                </a:cxn>
                <a:cxn ang="0">
                  <a:pos x="53" y="263"/>
                </a:cxn>
                <a:cxn ang="0">
                  <a:pos x="51" y="259"/>
                </a:cxn>
                <a:cxn ang="0">
                  <a:pos x="51" y="200"/>
                </a:cxn>
                <a:cxn ang="0">
                  <a:pos x="77" y="155"/>
                </a:cxn>
                <a:cxn ang="0">
                  <a:pos x="72" y="120"/>
                </a:cxn>
                <a:cxn ang="0">
                  <a:pos x="60" y="99"/>
                </a:cxn>
                <a:cxn ang="0">
                  <a:pos x="60" y="132"/>
                </a:cxn>
                <a:cxn ang="0">
                  <a:pos x="57" y="136"/>
                </a:cxn>
                <a:cxn ang="0">
                  <a:pos x="13" y="145"/>
                </a:cxn>
                <a:cxn ang="0">
                  <a:pos x="11" y="144"/>
                </a:cxn>
                <a:cxn ang="0">
                  <a:pos x="9" y="141"/>
                </a:cxn>
                <a:cxn ang="0">
                  <a:pos x="5" y="99"/>
                </a:cxn>
                <a:cxn ang="0">
                  <a:pos x="7" y="94"/>
                </a:cxn>
                <a:cxn ang="0">
                  <a:pos x="9" y="94"/>
                </a:cxn>
                <a:cxn ang="0">
                  <a:pos x="12" y="95"/>
                </a:cxn>
                <a:cxn ang="0">
                  <a:pos x="21" y="104"/>
                </a:cxn>
                <a:cxn ang="0">
                  <a:pos x="21" y="102"/>
                </a:cxn>
                <a:cxn ang="0">
                  <a:pos x="1" y="80"/>
                </a:cxn>
                <a:cxn ang="0">
                  <a:pos x="0" y="76"/>
                </a:cxn>
                <a:cxn ang="0">
                  <a:pos x="2" y="73"/>
                </a:cxn>
                <a:cxn ang="0">
                  <a:pos x="100" y="1"/>
                </a:cxn>
                <a:cxn ang="0">
                  <a:pos x="102" y="0"/>
                </a:cxn>
                <a:cxn ang="0">
                  <a:pos x="106" y="2"/>
                </a:cxn>
                <a:cxn ang="0">
                  <a:pos x="138" y="34"/>
                </a:cxn>
                <a:cxn ang="0">
                  <a:pos x="174" y="30"/>
                </a:cxn>
                <a:cxn ang="0">
                  <a:pos x="178" y="31"/>
                </a:cxn>
                <a:cxn ang="0">
                  <a:pos x="179" y="36"/>
                </a:cxn>
                <a:cxn ang="0">
                  <a:pos x="172" y="69"/>
                </a:cxn>
                <a:cxn ang="0">
                  <a:pos x="188" y="72"/>
                </a:cxn>
                <a:cxn ang="0">
                  <a:pos x="192" y="75"/>
                </a:cxn>
                <a:cxn ang="0">
                  <a:pos x="204" y="114"/>
                </a:cxn>
                <a:cxn ang="0">
                  <a:pos x="204" y="117"/>
                </a:cxn>
                <a:cxn ang="0">
                  <a:pos x="145" y="252"/>
                </a:cxn>
                <a:cxn ang="0">
                  <a:pos x="101" y="292"/>
                </a:cxn>
                <a:cxn ang="0">
                  <a:pos x="98" y="293"/>
                </a:cxn>
              </a:cxnLst>
              <a:rect l="0" t="0" r="r" b="b"/>
              <a:pathLst>
                <a:path w="206" h="294">
                  <a:moveTo>
                    <a:pt x="98" y="293"/>
                  </a:moveTo>
                  <a:cubicBezTo>
                    <a:pt x="97" y="293"/>
                    <a:pt x="97" y="293"/>
                    <a:pt x="96" y="293"/>
                  </a:cubicBezTo>
                  <a:cubicBezTo>
                    <a:pt x="95" y="292"/>
                    <a:pt x="93" y="290"/>
                    <a:pt x="93" y="288"/>
                  </a:cubicBezTo>
                  <a:lnTo>
                    <a:pt x="93" y="232"/>
                  </a:lnTo>
                  <a:lnTo>
                    <a:pt x="93" y="232"/>
                  </a:lnTo>
                  <a:lnTo>
                    <a:pt x="86" y="277"/>
                  </a:lnTo>
                  <a:cubicBezTo>
                    <a:pt x="86" y="278"/>
                    <a:pt x="85" y="279"/>
                    <a:pt x="83" y="280"/>
                  </a:cubicBezTo>
                  <a:cubicBezTo>
                    <a:pt x="82" y="280"/>
                    <a:pt x="82" y="281"/>
                    <a:pt x="81" y="281"/>
                  </a:cubicBezTo>
                  <a:cubicBezTo>
                    <a:pt x="80" y="281"/>
                    <a:pt x="79" y="280"/>
                    <a:pt x="79" y="280"/>
                  </a:cubicBezTo>
                  <a:lnTo>
                    <a:pt x="53" y="263"/>
                  </a:lnTo>
                  <a:cubicBezTo>
                    <a:pt x="52" y="262"/>
                    <a:pt x="51" y="261"/>
                    <a:pt x="51" y="259"/>
                  </a:cubicBezTo>
                  <a:lnTo>
                    <a:pt x="51" y="200"/>
                  </a:lnTo>
                  <a:lnTo>
                    <a:pt x="77" y="155"/>
                  </a:lnTo>
                  <a:lnTo>
                    <a:pt x="72" y="120"/>
                  </a:lnTo>
                  <a:lnTo>
                    <a:pt x="60" y="99"/>
                  </a:lnTo>
                  <a:lnTo>
                    <a:pt x="60" y="132"/>
                  </a:lnTo>
                  <a:cubicBezTo>
                    <a:pt x="60" y="134"/>
                    <a:pt x="59" y="136"/>
                    <a:pt x="57" y="136"/>
                  </a:cubicBezTo>
                  <a:lnTo>
                    <a:pt x="13" y="145"/>
                  </a:lnTo>
                  <a:cubicBezTo>
                    <a:pt x="12" y="145"/>
                    <a:pt x="11" y="145"/>
                    <a:pt x="11" y="144"/>
                  </a:cubicBezTo>
                  <a:cubicBezTo>
                    <a:pt x="9" y="143"/>
                    <a:pt x="9" y="142"/>
                    <a:pt x="9" y="141"/>
                  </a:cubicBezTo>
                  <a:lnTo>
                    <a:pt x="5" y="99"/>
                  </a:lnTo>
                  <a:cubicBezTo>
                    <a:pt x="4" y="97"/>
                    <a:pt x="5" y="95"/>
                    <a:pt x="7" y="94"/>
                  </a:cubicBezTo>
                  <a:cubicBezTo>
                    <a:pt x="8" y="94"/>
                    <a:pt x="9" y="94"/>
                    <a:pt x="9" y="94"/>
                  </a:cubicBezTo>
                  <a:cubicBezTo>
                    <a:pt x="10" y="94"/>
                    <a:pt x="12" y="94"/>
                    <a:pt x="12" y="95"/>
                  </a:cubicBezTo>
                  <a:lnTo>
                    <a:pt x="21" y="104"/>
                  </a:lnTo>
                  <a:lnTo>
                    <a:pt x="21" y="102"/>
                  </a:lnTo>
                  <a:lnTo>
                    <a:pt x="1" y="80"/>
                  </a:lnTo>
                  <a:cubicBezTo>
                    <a:pt x="0" y="79"/>
                    <a:pt x="0" y="77"/>
                    <a:pt x="0" y="76"/>
                  </a:cubicBezTo>
                  <a:cubicBezTo>
                    <a:pt x="0" y="74"/>
                    <a:pt x="1" y="74"/>
                    <a:pt x="2" y="73"/>
                  </a:cubicBezTo>
                  <a:lnTo>
                    <a:pt x="100" y="1"/>
                  </a:lnTo>
                  <a:cubicBezTo>
                    <a:pt x="100" y="1"/>
                    <a:pt x="101" y="0"/>
                    <a:pt x="102" y="0"/>
                  </a:cubicBezTo>
                  <a:cubicBezTo>
                    <a:pt x="104" y="0"/>
                    <a:pt x="105" y="1"/>
                    <a:pt x="106" y="2"/>
                  </a:cubicBezTo>
                  <a:lnTo>
                    <a:pt x="138" y="34"/>
                  </a:lnTo>
                  <a:lnTo>
                    <a:pt x="174" y="30"/>
                  </a:lnTo>
                  <a:cubicBezTo>
                    <a:pt x="176" y="30"/>
                    <a:pt x="177" y="30"/>
                    <a:pt x="178" y="31"/>
                  </a:cubicBezTo>
                  <a:cubicBezTo>
                    <a:pt x="179" y="33"/>
                    <a:pt x="179" y="34"/>
                    <a:pt x="179" y="36"/>
                  </a:cubicBezTo>
                  <a:lnTo>
                    <a:pt x="172" y="69"/>
                  </a:lnTo>
                  <a:lnTo>
                    <a:pt x="188" y="72"/>
                  </a:lnTo>
                  <a:cubicBezTo>
                    <a:pt x="190" y="73"/>
                    <a:pt x="191" y="74"/>
                    <a:pt x="192" y="75"/>
                  </a:cubicBezTo>
                  <a:lnTo>
                    <a:pt x="204" y="114"/>
                  </a:lnTo>
                  <a:cubicBezTo>
                    <a:pt x="205" y="115"/>
                    <a:pt x="205" y="116"/>
                    <a:pt x="204" y="117"/>
                  </a:cubicBezTo>
                  <a:lnTo>
                    <a:pt x="145" y="252"/>
                  </a:lnTo>
                  <a:lnTo>
                    <a:pt x="101" y="292"/>
                  </a:lnTo>
                  <a:cubicBezTo>
                    <a:pt x="100" y="293"/>
                    <a:pt x="99" y="293"/>
                    <a:pt x="98" y="29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5" name="Freeform 570"/>
            <p:cNvSpPr>
              <a:spLocks noChangeArrowheads="1"/>
            </p:cNvSpPr>
            <p:nvPr/>
          </p:nvSpPr>
          <p:spPr bwMode="auto">
            <a:xfrm>
              <a:off x="8289925" y="2635250"/>
              <a:ext cx="12700" cy="17463"/>
            </a:xfrm>
            <a:custGeom>
              <a:avLst/>
              <a:gdLst/>
              <a:ahLst/>
              <a:cxnLst>
                <a:cxn ang="0">
                  <a:pos x="1" y="45"/>
                </a:cxn>
                <a:cxn ang="0">
                  <a:pos x="1" y="40"/>
                </a:cxn>
                <a:cxn ang="0">
                  <a:pos x="26" y="2"/>
                </a:cxn>
                <a:cxn ang="0">
                  <a:pos x="30" y="0"/>
                </a:cxn>
                <a:cxn ang="0">
                  <a:pos x="32" y="0"/>
                </a:cxn>
                <a:cxn ang="0">
                  <a:pos x="35" y="5"/>
                </a:cxn>
                <a:cxn ang="0">
                  <a:pos x="31" y="39"/>
                </a:cxn>
                <a:cxn ang="0">
                  <a:pos x="27" y="43"/>
                </a:cxn>
                <a:cxn ang="0">
                  <a:pos x="5" y="47"/>
                </a:cxn>
                <a:cxn ang="0">
                  <a:pos x="1" y="45"/>
                </a:cxn>
              </a:cxnLst>
              <a:rect l="0" t="0" r="r" b="b"/>
              <a:pathLst>
                <a:path w="36" h="48">
                  <a:moveTo>
                    <a:pt x="1" y="45"/>
                  </a:moveTo>
                  <a:cubicBezTo>
                    <a:pt x="0" y="43"/>
                    <a:pt x="0" y="41"/>
                    <a:pt x="1" y="40"/>
                  </a:cubicBezTo>
                  <a:lnTo>
                    <a:pt x="26" y="2"/>
                  </a:lnTo>
                  <a:cubicBezTo>
                    <a:pt x="27" y="0"/>
                    <a:pt x="29" y="0"/>
                    <a:pt x="30" y="0"/>
                  </a:cubicBezTo>
                  <a:cubicBezTo>
                    <a:pt x="31" y="0"/>
                    <a:pt x="31" y="0"/>
                    <a:pt x="32" y="0"/>
                  </a:cubicBezTo>
                  <a:cubicBezTo>
                    <a:pt x="34" y="1"/>
                    <a:pt x="35" y="3"/>
                    <a:pt x="35" y="5"/>
                  </a:cubicBezTo>
                  <a:lnTo>
                    <a:pt x="31" y="39"/>
                  </a:lnTo>
                  <a:cubicBezTo>
                    <a:pt x="30" y="41"/>
                    <a:pt x="29" y="42"/>
                    <a:pt x="27" y="43"/>
                  </a:cubicBezTo>
                  <a:lnTo>
                    <a:pt x="5" y="47"/>
                  </a:lnTo>
                  <a:cubicBezTo>
                    <a:pt x="3" y="47"/>
                    <a:pt x="1" y="46"/>
                    <a:pt x="1" y="45"/>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6" name="Freeform 571"/>
            <p:cNvSpPr>
              <a:spLocks noChangeArrowheads="1"/>
            </p:cNvSpPr>
            <p:nvPr/>
          </p:nvSpPr>
          <p:spPr bwMode="auto">
            <a:xfrm>
              <a:off x="8289925" y="2635250"/>
              <a:ext cx="12700" cy="17463"/>
            </a:xfrm>
            <a:custGeom>
              <a:avLst/>
              <a:gdLst/>
              <a:ahLst/>
              <a:cxnLst>
                <a:cxn ang="0">
                  <a:pos x="5" y="47"/>
                </a:cxn>
                <a:cxn ang="0">
                  <a:pos x="1" y="45"/>
                </a:cxn>
                <a:cxn ang="0">
                  <a:pos x="1" y="40"/>
                </a:cxn>
                <a:cxn ang="0">
                  <a:pos x="26" y="2"/>
                </a:cxn>
                <a:cxn ang="0">
                  <a:pos x="30" y="0"/>
                </a:cxn>
                <a:cxn ang="0">
                  <a:pos x="32" y="0"/>
                </a:cxn>
                <a:cxn ang="0">
                  <a:pos x="35" y="5"/>
                </a:cxn>
                <a:cxn ang="0">
                  <a:pos x="31" y="39"/>
                </a:cxn>
                <a:cxn ang="0">
                  <a:pos x="27" y="43"/>
                </a:cxn>
                <a:cxn ang="0">
                  <a:pos x="5" y="47"/>
                </a:cxn>
              </a:cxnLst>
              <a:rect l="0" t="0" r="r" b="b"/>
              <a:pathLst>
                <a:path w="36" h="48">
                  <a:moveTo>
                    <a:pt x="5" y="47"/>
                  </a:moveTo>
                  <a:cubicBezTo>
                    <a:pt x="3" y="47"/>
                    <a:pt x="1" y="46"/>
                    <a:pt x="1" y="45"/>
                  </a:cubicBezTo>
                  <a:cubicBezTo>
                    <a:pt x="0" y="43"/>
                    <a:pt x="0" y="41"/>
                    <a:pt x="1" y="40"/>
                  </a:cubicBezTo>
                  <a:lnTo>
                    <a:pt x="26" y="2"/>
                  </a:lnTo>
                  <a:cubicBezTo>
                    <a:pt x="27" y="0"/>
                    <a:pt x="29" y="0"/>
                    <a:pt x="30" y="0"/>
                  </a:cubicBezTo>
                  <a:cubicBezTo>
                    <a:pt x="31" y="0"/>
                    <a:pt x="31" y="0"/>
                    <a:pt x="32" y="0"/>
                  </a:cubicBezTo>
                  <a:cubicBezTo>
                    <a:pt x="34" y="1"/>
                    <a:pt x="35" y="3"/>
                    <a:pt x="35" y="5"/>
                  </a:cubicBezTo>
                  <a:lnTo>
                    <a:pt x="31" y="39"/>
                  </a:lnTo>
                  <a:cubicBezTo>
                    <a:pt x="30" y="41"/>
                    <a:pt x="29" y="42"/>
                    <a:pt x="27" y="43"/>
                  </a:cubicBezTo>
                  <a:lnTo>
                    <a:pt x="5" y="4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7" name="Freeform 572"/>
            <p:cNvSpPr>
              <a:spLocks noChangeArrowheads="1"/>
            </p:cNvSpPr>
            <p:nvPr/>
          </p:nvSpPr>
          <p:spPr bwMode="auto">
            <a:xfrm>
              <a:off x="8213725" y="2643188"/>
              <a:ext cx="80963" cy="63500"/>
            </a:xfrm>
            <a:custGeom>
              <a:avLst/>
              <a:gdLst/>
              <a:ahLst/>
              <a:cxnLst>
                <a:cxn ang="0">
                  <a:pos x="60" y="174"/>
                </a:cxn>
                <a:cxn ang="0">
                  <a:pos x="56" y="172"/>
                </a:cxn>
                <a:cxn ang="0">
                  <a:pos x="27" y="115"/>
                </a:cxn>
                <a:cxn ang="0">
                  <a:pos x="4" y="111"/>
                </a:cxn>
                <a:cxn ang="0">
                  <a:pos x="0" y="108"/>
                </a:cxn>
                <a:cxn ang="0">
                  <a:pos x="1" y="103"/>
                </a:cxn>
                <a:cxn ang="0">
                  <a:pos x="56" y="40"/>
                </a:cxn>
                <a:cxn ang="0">
                  <a:pos x="60" y="38"/>
                </a:cxn>
                <a:cxn ang="0">
                  <a:pos x="101" y="42"/>
                </a:cxn>
                <a:cxn ang="0">
                  <a:pos x="154" y="1"/>
                </a:cxn>
                <a:cxn ang="0">
                  <a:pos x="157" y="0"/>
                </a:cxn>
                <a:cxn ang="0">
                  <a:pos x="159" y="0"/>
                </a:cxn>
                <a:cxn ang="0">
                  <a:pos x="205" y="17"/>
                </a:cxn>
                <a:cxn ang="0">
                  <a:pos x="208" y="20"/>
                </a:cxn>
                <a:cxn ang="0">
                  <a:pos x="221" y="62"/>
                </a:cxn>
                <a:cxn ang="0">
                  <a:pos x="220" y="67"/>
                </a:cxn>
                <a:cxn ang="0">
                  <a:pos x="178" y="122"/>
                </a:cxn>
                <a:cxn ang="0">
                  <a:pos x="174" y="123"/>
                </a:cxn>
                <a:cxn ang="0">
                  <a:pos x="173" y="123"/>
                </a:cxn>
                <a:cxn ang="0">
                  <a:pos x="117" y="107"/>
                </a:cxn>
                <a:cxn ang="0">
                  <a:pos x="81" y="172"/>
                </a:cxn>
                <a:cxn ang="0">
                  <a:pos x="77" y="174"/>
                </a:cxn>
                <a:cxn ang="0">
                  <a:pos x="60" y="174"/>
                </a:cxn>
              </a:cxnLst>
              <a:rect l="0" t="0" r="r" b="b"/>
              <a:pathLst>
                <a:path w="223" h="175">
                  <a:moveTo>
                    <a:pt x="60" y="174"/>
                  </a:moveTo>
                  <a:cubicBezTo>
                    <a:pt x="58" y="174"/>
                    <a:pt x="56" y="173"/>
                    <a:pt x="56" y="172"/>
                  </a:cubicBezTo>
                  <a:lnTo>
                    <a:pt x="27" y="115"/>
                  </a:lnTo>
                  <a:lnTo>
                    <a:pt x="4" y="111"/>
                  </a:lnTo>
                  <a:cubicBezTo>
                    <a:pt x="2" y="110"/>
                    <a:pt x="1" y="109"/>
                    <a:pt x="0" y="108"/>
                  </a:cubicBezTo>
                  <a:cubicBezTo>
                    <a:pt x="0" y="106"/>
                    <a:pt x="0" y="104"/>
                    <a:pt x="1" y="103"/>
                  </a:cubicBezTo>
                  <a:lnTo>
                    <a:pt x="56" y="40"/>
                  </a:lnTo>
                  <a:cubicBezTo>
                    <a:pt x="57" y="39"/>
                    <a:pt x="58" y="38"/>
                    <a:pt x="60" y="38"/>
                  </a:cubicBezTo>
                  <a:lnTo>
                    <a:pt x="101" y="42"/>
                  </a:lnTo>
                  <a:lnTo>
                    <a:pt x="154" y="1"/>
                  </a:lnTo>
                  <a:cubicBezTo>
                    <a:pt x="155" y="0"/>
                    <a:pt x="156" y="0"/>
                    <a:pt x="157" y="0"/>
                  </a:cubicBezTo>
                  <a:cubicBezTo>
                    <a:pt x="158" y="0"/>
                    <a:pt x="158" y="0"/>
                    <a:pt x="159" y="0"/>
                  </a:cubicBezTo>
                  <a:lnTo>
                    <a:pt x="205" y="17"/>
                  </a:lnTo>
                  <a:cubicBezTo>
                    <a:pt x="207" y="18"/>
                    <a:pt x="208" y="19"/>
                    <a:pt x="208" y="20"/>
                  </a:cubicBezTo>
                  <a:lnTo>
                    <a:pt x="221" y="62"/>
                  </a:lnTo>
                  <a:cubicBezTo>
                    <a:pt x="222" y="64"/>
                    <a:pt x="221" y="65"/>
                    <a:pt x="220" y="67"/>
                  </a:cubicBezTo>
                  <a:lnTo>
                    <a:pt x="178" y="122"/>
                  </a:lnTo>
                  <a:cubicBezTo>
                    <a:pt x="177" y="123"/>
                    <a:pt x="176" y="123"/>
                    <a:pt x="174" y="123"/>
                  </a:cubicBezTo>
                  <a:lnTo>
                    <a:pt x="173" y="123"/>
                  </a:lnTo>
                  <a:lnTo>
                    <a:pt x="117" y="107"/>
                  </a:lnTo>
                  <a:lnTo>
                    <a:pt x="81" y="172"/>
                  </a:lnTo>
                  <a:cubicBezTo>
                    <a:pt x="80" y="173"/>
                    <a:pt x="79" y="174"/>
                    <a:pt x="77" y="174"/>
                  </a:cubicBezTo>
                  <a:lnTo>
                    <a:pt x="60" y="174"/>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8" name="Freeform 573"/>
            <p:cNvSpPr>
              <a:spLocks noChangeArrowheads="1"/>
            </p:cNvSpPr>
            <p:nvPr/>
          </p:nvSpPr>
          <p:spPr bwMode="auto">
            <a:xfrm>
              <a:off x="8213725" y="2643188"/>
              <a:ext cx="80963" cy="63500"/>
            </a:xfrm>
            <a:custGeom>
              <a:avLst/>
              <a:gdLst/>
              <a:ahLst/>
              <a:cxnLst>
                <a:cxn ang="0">
                  <a:pos x="60" y="174"/>
                </a:cxn>
                <a:cxn ang="0">
                  <a:pos x="56" y="172"/>
                </a:cxn>
                <a:cxn ang="0">
                  <a:pos x="27" y="115"/>
                </a:cxn>
                <a:cxn ang="0">
                  <a:pos x="4" y="111"/>
                </a:cxn>
                <a:cxn ang="0">
                  <a:pos x="0" y="108"/>
                </a:cxn>
                <a:cxn ang="0">
                  <a:pos x="1" y="103"/>
                </a:cxn>
                <a:cxn ang="0">
                  <a:pos x="56" y="40"/>
                </a:cxn>
                <a:cxn ang="0">
                  <a:pos x="60" y="38"/>
                </a:cxn>
                <a:cxn ang="0">
                  <a:pos x="101" y="42"/>
                </a:cxn>
                <a:cxn ang="0">
                  <a:pos x="154" y="1"/>
                </a:cxn>
                <a:cxn ang="0">
                  <a:pos x="157" y="0"/>
                </a:cxn>
                <a:cxn ang="0">
                  <a:pos x="159" y="0"/>
                </a:cxn>
                <a:cxn ang="0">
                  <a:pos x="205" y="17"/>
                </a:cxn>
                <a:cxn ang="0">
                  <a:pos x="208" y="20"/>
                </a:cxn>
                <a:cxn ang="0">
                  <a:pos x="221" y="62"/>
                </a:cxn>
                <a:cxn ang="0">
                  <a:pos x="220" y="67"/>
                </a:cxn>
                <a:cxn ang="0">
                  <a:pos x="178" y="122"/>
                </a:cxn>
                <a:cxn ang="0">
                  <a:pos x="174" y="123"/>
                </a:cxn>
                <a:cxn ang="0">
                  <a:pos x="173" y="123"/>
                </a:cxn>
                <a:cxn ang="0">
                  <a:pos x="117" y="107"/>
                </a:cxn>
                <a:cxn ang="0">
                  <a:pos x="81" y="172"/>
                </a:cxn>
                <a:cxn ang="0">
                  <a:pos x="77" y="174"/>
                </a:cxn>
                <a:cxn ang="0">
                  <a:pos x="60" y="174"/>
                </a:cxn>
              </a:cxnLst>
              <a:rect l="0" t="0" r="r" b="b"/>
              <a:pathLst>
                <a:path w="223" h="175">
                  <a:moveTo>
                    <a:pt x="60" y="174"/>
                  </a:moveTo>
                  <a:cubicBezTo>
                    <a:pt x="58" y="174"/>
                    <a:pt x="56" y="173"/>
                    <a:pt x="56" y="172"/>
                  </a:cubicBezTo>
                  <a:lnTo>
                    <a:pt x="27" y="115"/>
                  </a:lnTo>
                  <a:lnTo>
                    <a:pt x="4" y="111"/>
                  </a:lnTo>
                  <a:cubicBezTo>
                    <a:pt x="2" y="110"/>
                    <a:pt x="1" y="109"/>
                    <a:pt x="0" y="108"/>
                  </a:cubicBezTo>
                  <a:cubicBezTo>
                    <a:pt x="0" y="106"/>
                    <a:pt x="0" y="104"/>
                    <a:pt x="1" y="103"/>
                  </a:cubicBezTo>
                  <a:lnTo>
                    <a:pt x="56" y="40"/>
                  </a:lnTo>
                  <a:cubicBezTo>
                    <a:pt x="57" y="39"/>
                    <a:pt x="58" y="38"/>
                    <a:pt x="60" y="38"/>
                  </a:cubicBezTo>
                  <a:lnTo>
                    <a:pt x="101" y="42"/>
                  </a:lnTo>
                  <a:lnTo>
                    <a:pt x="154" y="1"/>
                  </a:lnTo>
                  <a:cubicBezTo>
                    <a:pt x="155" y="0"/>
                    <a:pt x="156" y="0"/>
                    <a:pt x="157" y="0"/>
                  </a:cubicBezTo>
                  <a:cubicBezTo>
                    <a:pt x="158" y="0"/>
                    <a:pt x="158" y="0"/>
                    <a:pt x="159" y="0"/>
                  </a:cubicBezTo>
                  <a:lnTo>
                    <a:pt x="205" y="17"/>
                  </a:lnTo>
                  <a:cubicBezTo>
                    <a:pt x="207" y="18"/>
                    <a:pt x="208" y="19"/>
                    <a:pt x="208" y="20"/>
                  </a:cubicBezTo>
                  <a:lnTo>
                    <a:pt x="221" y="62"/>
                  </a:lnTo>
                  <a:cubicBezTo>
                    <a:pt x="222" y="64"/>
                    <a:pt x="221" y="65"/>
                    <a:pt x="220" y="67"/>
                  </a:cubicBezTo>
                  <a:lnTo>
                    <a:pt x="178" y="122"/>
                  </a:lnTo>
                  <a:cubicBezTo>
                    <a:pt x="177" y="123"/>
                    <a:pt x="176" y="123"/>
                    <a:pt x="174" y="123"/>
                  </a:cubicBezTo>
                  <a:lnTo>
                    <a:pt x="173" y="123"/>
                  </a:lnTo>
                  <a:lnTo>
                    <a:pt x="117" y="107"/>
                  </a:lnTo>
                  <a:lnTo>
                    <a:pt x="81" y="172"/>
                  </a:lnTo>
                  <a:cubicBezTo>
                    <a:pt x="80" y="173"/>
                    <a:pt x="79" y="174"/>
                    <a:pt x="77" y="174"/>
                  </a:cubicBezTo>
                  <a:lnTo>
                    <a:pt x="60" y="17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79" name="Freeform 574"/>
            <p:cNvSpPr>
              <a:spLocks noChangeArrowheads="1"/>
            </p:cNvSpPr>
            <p:nvPr/>
          </p:nvSpPr>
          <p:spPr bwMode="auto">
            <a:xfrm>
              <a:off x="8180388" y="2373313"/>
              <a:ext cx="333375" cy="304800"/>
            </a:xfrm>
            <a:custGeom>
              <a:avLst/>
              <a:gdLst/>
              <a:ahLst/>
              <a:cxnLst>
                <a:cxn ang="0">
                  <a:pos x="329" y="790"/>
                </a:cxn>
                <a:cxn ang="0">
                  <a:pos x="375" y="738"/>
                </a:cxn>
                <a:cxn ang="0">
                  <a:pos x="339" y="735"/>
                </a:cxn>
                <a:cxn ang="0">
                  <a:pos x="334" y="734"/>
                </a:cxn>
                <a:cxn ang="0">
                  <a:pos x="293" y="718"/>
                </a:cxn>
                <a:cxn ang="0">
                  <a:pos x="253" y="756"/>
                </a:cxn>
                <a:cxn ang="0">
                  <a:pos x="229" y="743"/>
                </a:cxn>
                <a:cxn ang="0">
                  <a:pos x="143" y="780"/>
                </a:cxn>
                <a:cxn ang="0">
                  <a:pos x="129" y="768"/>
                </a:cxn>
                <a:cxn ang="0">
                  <a:pos x="109" y="812"/>
                </a:cxn>
                <a:cxn ang="0">
                  <a:pos x="3" y="783"/>
                </a:cxn>
                <a:cxn ang="0">
                  <a:pos x="0" y="754"/>
                </a:cxn>
                <a:cxn ang="0">
                  <a:pos x="45" y="750"/>
                </a:cxn>
                <a:cxn ang="0">
                  <a:pos x="147" y="627"/>
                </a:cxn>
                <a:cxn ang="0">
                  <a:pos x="184" y="606"/>
                </a:cxn>
                <a:cxn ang="0">
                  <a:pos x="188" y="606"/>
                </a:cxn>
                <a:cxn ang="0">
                  <a:pos x="191" y="636"/>
                </a:cxn>
                <a:cxn ang="0">
                  <a:pos x="351" y="612"/>
                </a:cxn>
                <a:cxn ang="0">
                  <a:pos x="393" y="647"/>
                </a:cxn>
                <a:cxn ang="0">
                  <a:pos x="421" y="544"/>
                </a:cxn>
                <a:cxn ang="0">
                  <a:pos x="471" y="529"/>
                </a:cxn>
                <a:cxn ang="0">
                  <a:pos x="482" y="448"/>
                </a:cxn>
                <a:cxn ang="0">
                  <a:pos x="534" y="422"/>
                </a:cxn>
                <a:cxn ang="0">
                  <a:pos x="538" y="427"/>
                </a:cxn>
                <a:cxn ang="0">
                  <a:pos x="537" y="449"/>
                </a:cxn>
                <a:cxn ang="0">
                  <a:pos x="517" y="502"/>
                </a:cxn>
                <a:cxn ang="0">
                  <a:pos x="654" y="392"/>
                </a:cxn>
                <a:cxn ang="0">
                  <a:pos x="706" y="368"/>
                </a:cxn>
                <a:cxn ang="0">
                  <a:pos x="737" y="187"/>
                </a:cxn>
                <a:cxn ang="0">
                  <a:pos x="736" y="160"/>
                </a:cxn>
                <a:cxn ang="0">
                  <a:pos x="754" y="155"/>
                </a:cxn>
                <a:cxn ang="0">
                  <a:pos x="748" y="87"/>
                </a:cxn>
                <a:cxn ang="0">
                  <a:pos x="773" y="86"/>
                </a:cxn>
                <a:cxn ang="0">
                  <a:pos x="779" y="26"/>
                </a:cxn>
                <a:cxn ang="0">
                  <a:pos x="845" y="0"/>
                </a:cxn>
                <a:cxn ang="0">
                  <a:pos x="877" y="19"/>
                </a:cxn>
                <a:cxn ang="0">
                  <a:pos x="879" y="94"/>
                </a:cxn>
                <a:cxn ang="0">
                  <a:pos x="919" y="264"/>
                </a:cxn>
                <a:cxn ang="0">
                  <a:pos x="886" y="350"/>
                </a:cxn>
                <a:cxn ang="0">
                  <a:pos x="882" y="355"/>
                </a:cxn>
                <a:cxn ang="0">
                  <a:pos x="866" y="341"/>
                </a:cxn>
                <a:cxn ang="0">
                  <a:pos x="840" y="413"/>
                </a:cxn>
                <a:cxn ang="0">
                  <a:pos x="812" y="551"/>
                </a:cxn>
                <a:cxn ang="0">
                  <a:pos x="834" y="625"/>
                </a:cxn>
                <a:cxn ang="0">
                  <a:pos x="795" y="666"/>
                </a:cxn>
                <a:cxn ang="0">
                  <a:pos x="762" y="701"/>
                </a:cxn>
                <a:cxn ang="0">
                  <a:pos x="701" y="702"/>
                </a:cxn>
                <a:cxn ang="0">
                  <a:pos x="696" y="684"/>
                </a:cxn>
                <a:cxn ang="0">
                  <a:pos x="658" y="730"/>
                </a:cxn>
                <a:cxn ang="0">
                  <a:pos x="652" y="731"/>
                </a:cxn>
                <a:cxn ang="0">
                  <a:pos x="656" y="689"/>
                </a:cxn>
                <a:cxn ang="0">
                  <a:pos x="612" y="739"/>
                </a:cxn>
                <a:cxn ang="0">
                  <a:pos x="607" y="742"/>
                </a:cxn>
                <a:cxn ang="0">
                  <a:pos x="532" y="717"/>
                </a:cxn>
                <a:cxn ang="0">
                  <a:pos x="483" y="712"/>
                </a:cxn>
                <a:cxn ang="0">
                  <a:pos x="471" y="721"/>
                </a:cxn>
                <a:cxn ang="0">
                  <a:pos x="505" y="759"/>
                </a:cxn>
                <a:cxn ang="0">
                  <a:pos x="451" y="778"/>
                </a:cxn>
                <a:cxn ang="0">
                  <a:pos x="424" y="847"/>
                </a:cxn>
                <a:cxn ang="0">
                  <a:pos x="712" y="658"/>
                </a:cxn>
                <a:cxn ang="0">
                  <a:pos x="746" y="624"/>
                </a:cxn>
              </a:cxnLst>
              <a:rect l="0" t="0" r="r" b="b"/>
              <a:pathLst>
                <a:path w="927" h="848">
                  <a:moveTo>
                    <a:pt x="374" y="839"/>
                  </a:moveTo>
                  <a:lnTo>
                    <a:pt x="329" y="790"/>
                  </a:lnTo>
                  <a:cubicBezTo>
                    <a:pt x="327" y="789"/>
                    <a:pt x="327" y="786"/>
                    <a:pt x="329" y="784"/>
                  </a:cubicBezTo>
                  <a:lnTo>
                    <a:pt x="375" y="738"/>
                  </a:lnTo>
                  <a:lnTo>
                    <a:pt x="375" y="722"/>
                  </a:lnTo>
                  <a:lnTo>
                    <a:pt x="339" y="735"/>
                  </a:lnTo>
                  <a:cubicBezTo>
                    <a:pt x="339" y="735"/>
                    <a:pt x="338" y="735"/>
                    <a:pt x="337" y="735"/>
                  </a:cubicBezTo>
                  <a:cubicBezTo>
                    <a:pt x="336" y="735"/>
                    <a:pt x="335" y="735"/>
                    <a:pt x="334" y="734"/>
                  </a:cubicBezTo>
                  <a:lnTo>
                    <a:pt x="316" y="717"/>
                  </a:lnTo>
                  <a:lnTo>
                    <a:pt x="293" y="718"/>
                  </a:lnTo>
                  <a:lnTo>
                    <a:pt x="256" y="755"/>
                  </a:lnTo>
                  <a:cubicBezTo>
                    <a:pt x="255" y="756"/>
                    <a:pt x="254" y="756"/>
                    <a:pt x="253" y="756"/>
                  </a:cubicBezTo>
                  <a:cubicBezTo>
                    <a:pt x="252" y="756"/>
                    <a:pt x="251" y="756"/>
                    <a:pt x="250" y="756"/>
                  </a:cubicBezTo>
                  <a:lnTo>
                    <a:pt x="229" y="743"/>
                  </a:lnTo>
                  <a:lnTo>
                    <a:pt x="145" y="780"/>
                  </a:lnTo>
                  <a:cubicBezTo>
                    <a:pt x="144" y="780"/>
                    <a:pt x="143" y="780"/>
                    <a:pt x="143" y="780"/>
                  </a:cubicBezTo>
                  <a:cubicBezTo>
                    <a:pt x="142" y="780"/>
                    <a:pt x="140" y="779"/>
                    <a:pt x="140" y="779"/>
                  </a:cubicBezTo>
                  <a:lnTo>
                    <a:pt x="129" y="768"/>
                  </a:lnTo>
                  <a:lnTo>
                    <a:pt x="113" y="809"/>
                  </a:lnTo>
                  <a:cubicBezTo>
                    <a:pt x="113" y="811"/>
                    <a:pt x="111" y="812"/>
                    <a:pt x="109" y="812"/>
                  </a:cubicBezTo>
                  <a:lnTo>
                    <a:pt x="108" y="812"/>
                  </a:lnTo>
                  <a:lnTo>
                    <a:pt x="3" y="783"/>
                  </a:lnTo>
                  <a:cubicBezTo>
                    <a:pt x="1" y="782"/>
                    <a:pt x="0" y="780"/>
                    <a:pt x="0" y="778"/>
                  </a:cubicBezTo>
                  <a:lnTo>
                    <a:pt x="0" y="754"/>
                  </a:lnTo>
                  <a:cubicBezTo>
                    <a:pt x="0" y="752"/>
                    <a:pt x="2" y="750"/>
                    <a:pt x="5" y="750"/>
                  </a:cubicBezTo>
                  <a:lnTo>
                    <a:pt x="45" y="750"/>
                  </a:lnTo>
                  <a:lnTo>
                    <a:pt x="140" y="654"/>
                  </a:lnTo>
                  <a:lnTo>
                    <a:pt x="147" y="627"/>
                  </a:lnTo>
                  <a:cubicBezTo>
                    <a:pt x="147" y="626"/>
                    <a:pt x="148" y="625"/>
                    <a:pt x="149" y="624"/>
                  </a:cubicBezTo>
                  <a:lnTo>
                    <a:pt x="184" y="606"/>
                  </a:lnTo>
                  <a:cubicBezTo>
                    <a:pt x="184" y="605"/>
                    <a:pt x="185" y="605"/>
                    <a:pt x="186" y="605"/>
                  </a:cubicBezTo>
                  <a:cubicBezTo>
                    <a:pt x="187" y="605"/>
                    <a:pt x="188" y="605"/>
                    <a:pt x="188" y="606"/>
                  </a:cubicBezTo>
                  <a:cubicBezTo>
                    <a:pt x="190" y="606"/>
                    <a:pt x="191" y="608"/>
                    <a:pt x="191" y="610"/>
                  </a:cubicBezTo>
                  <a:lnTo>
                    <a:pt x="191" y="636"/>
                  </a:lnTo>
                  <a:lnTo>
                    <a:pt x="267" y="613"/>
                  </a:lnTo>
                  <a:lnTo>
                    <a:pt x="351" y="612"/>
                  </a:lnTo>
                  <a:cubicBezTo>
                    <a:pt x="352" y="612"/>
                    <a:pt x="353" y="613"/>
                    <a:pt x="354" y="614"/>
                  </a:cubicBezTo>
                  <a:lnTo>
                    <a:pt x="393" y="647"/>
                  </a:lnTo>
                  <a:lnTo>
                    <a:pt x="421" y="619"/>
                  </a:lnTo>
                  <a:lnTo>
                    <a:pt x="421" y="544"/>
                  </a:lnTo>
                  <a:cubicBezTo>
                    <a:pt x="421" y="542"/>
                    <a:pt x="423" y="540"/>
                    <a:pt x="425" y="539"/>
                  </a:cubicBezTo>
                  <a:lnTo>
                    <a:pt x="471" y="529"/>
                  </a:lnTo>
                  <a:lnTo>
                    <a:pt x="480" y="452"/>
                  </a:lnTo>
                  <a:cubicBezTo>
                    <a:pt x="480" y="450"/>
                    <a:pt x="481" y="449"/>
                    <a:pt x="482" y="448"/>
                  </a:cubicBezTo>
                  <a:lnTo>
                    <a:pt x="532" y="423"/>
                  </a:lnTo>
                  <a:cubicBezTo>
                    <a:pt x="532" y="422"/>
                    <a:pt x="533" y="422"/>
                    <a:pt x="534" y="422"/>
                  </a:cubicBezTo>
                  <a:cubicBezTo>
                    <a:pt x="535" y="422"/>
                    <a:pt x="535" y="422"/>
                    <a:pt x="536" y="423"/>
                  </a:cubicBezTo>
                  <a:cubicBezTo>
                    <a:pt x="538" y="424"/>
                    <a:pt x="538" y="425"/>
                    <a:pt x="538" y="427"/>
                  </a:cubicBezTo>
                  <a:lnTo>
                    <a:pt x="538" y="445"/>
                  </a:lnTo>
                  <a:cubicBezTo>
                    <a:pt x="538" y="446"/>
                    <a:pt x="538" y="448"/>
                    <a:pt x="537" y="449"/>
                  </a:cubicBezTo>
                  <a:lnTo>
                    <a:pt x="517" y="466"/>
                  </a:lnTo>
                  <a:lnTo>
                    <a:pt x="517" y="502"/>
                  </a:lnTo>
                  <a:lnTo>
                    <a:pt x="631" y="454"/>
                  </a:lnTo>
                  <a:lnTo>
                    <a:pt x="654" y="392"/>
                  </a:lnTo>
                  <a:cubicBezTo>
                    <a:pt x="654" y="391"/>
                    <a:pt x="655" y="390"/>
                    <a:pt x="656" y="390"/>
                  </a:cubicBezTo>
                  <a:lnTo>
                    <a:pt x="706" y="368"/>
                  </a:lnTo>
                  <a:lnTo>
                    <a:pt x="761" y="210"/>
                  </a:lnTo>
                  <a:lnTo>
                    <a:pt x="737" y="187"/>
                  </a:lnTo>
                  <a:cubicBezTo>
                    <a:pt x="737" y="186"/>
                    <a:pt x="736" y="185"/>
                    <a:pt x="736" y="184"/>
                  </a:cubicBezTo>
                  <a:lnTo>
                    <a:pt x="736" y="160"/>
                  </a:lnTo>
                  <a:cubicBezTo>
                    <a:pt x="736" y="157"/>
                    <a:pt x="738" y="155"/>
                    <a:pt x="741" y="155"/>
                  </a:cubicBezTo>
                  <a:lnTo>
                    <a:pt x="754" y="155"/>
                  </a:lnTo>
                  <a:lnTo>
                    <a:pt x="747" y="91"/>
                  </a:lnTo>
                  <a:cubicBezTo>
                    <a:pt x="747" y="89"/>
                    <a:pt x="747" y="88"/>
                    <a:pt x="748" y="87"/>
                  </a:cubicBezTo>
                  <a:cubicBezTo>
                    <a:pt x="749" y="86"/>
                    <a:pt x="750" y="86"/>
                    <a:pt x="752" y="86"/>
                  </a:cubicBezTo>
                  <a:lnTo>
                    <a:pt x="773" y="86"/>
                  </a:lnTo>
                  <a:lnTo>
                    <a:pt x="776" y="30"/>
                  </a:lnTo>
                  <a:cubicBezTo>
                    <a:pt x="777" y="28"/>
                    <a:pt x="778" y="26"/>
                    <a:pt x="779" y="26"/>
                  </a:cubicBezTo>
                  <a:lnTo>
                    <a:pt x="843" y="0"/>
                  </a:lnTo>
                  <a:cubicBezTo>
                    <a:pt x="844" y="0"/>
                    <a:pt x="844" y="0"/>
                    <a:pt x="845" y="0"/>
                  </a:cubicBezTo>
                  <a:cubicBezTo>
                    <a:pt x="846" y="0"/>
                    <a:pt x="847" y="0"/>
                    <a:pt x="848" y="0"/>
                  </a:cubicBezTo>
                  <a:lnTo>
                    <a:pt x="877" y="19"/>
                  </a:lnTo>
                  <a:cubicBezTo>
                    <a:pt x="878" y="20"/>
                    <a:pt x="879" y="21"/>
                    <a:pt x="879" y="23"/>
                  </a:cubicBezTo>
                  <a:lnTo>
                    <a:pt x="879" y="94"/>
                  </a:lnTo>
                  <a:lnTo>
                    <a:pt x="926" y="196"/>
                  </a:lnTo>
                  <a:lnTo>
                    <a:pt x="919" y="264"/>
                  </a:lnTo>
                  <a:lnTo>
                    <a:pt x="886" y="297"/>
                  </a:lnTo>
                  <a:lnTo>
                    <a:pt x="886" y="350"/>
                  </a:lnTo>
                  <a:cubicBezTo>
                    <a:pt x="886" y="352"/>
                    <a:pt x="885" y="354"/>
                    <a:pt x="884" y="354"/>
                  </a:cubicBezTo>
                  <a:cubicBezTo>
                    <a:pt x="883" y="355"/>
                    <a:pt x="882" y="355"/>
                    <a:pt x="882" y="355"/>
                  </a:cubicBezTo>
                  <a:cubicBezTo>
                    <a:pt x="881" y="355"/>
                    <a:pt x="879" y="354"/>
                    <a:pt x="879" y="353"/>
                  </a:cubicBezTo>
                  <a:lnTo>
                    <a:pt x="866" y="341"/>
                  </a:lnTo>
                  <a:lnTo>
                    <a:pt x="830" y="377"/>
                  </a:lnTo>
                  <a:lnTo>
                    <a:pt x="840" y="413"/>
                  </a:lnTo>
                  <a:lnTo>
                    <a:pt x="841" y="493"/>
                  </a:lnTo>
                  <a:lnTo>
                    <a:pt x="812" y="551"/>
                  </a:lnTo>
                  <a:lnTo>
                    <a:pt x="837" y="619"/>
                  </a:lnTo>
                  <a:cubicBezTo>
                    <a:pt x="838" y="621"/>
                    <a:pt x="836" y="624"/>
                    <a:pt x="834" y="625"/>
                  </a:cubicBezTo>
                  <a:lnTo>
                    <a:pt x="795" y="640"/>
                  </a:lnTo>
                  <a:lnTo>
                    <a:pt x="795" y="666"/>
                  </a:lnTo>
                  <a:cubicBezTo>
                    <a:pt x="795" y="668"/>
                    <a:pt x="794" y="669"/>
                    <a:pt x="793" y="670"/>
                  </a:cubicBezTo>
                  <a:lnTo>
                    <a:pt x="762" y="701"/>
                  </a:lnTo>
                  <a:cubicBezTo>
                    <a:pt x="761" y="702"/>
                    <a:pt x="760" y="702"/>
                    <a:pt x="759" y="702"/>
                  </a:cubicBezTo>
                  <a:lnTo>
                    <a:pt x="701" y="702"/>
                  </a:lnTo>
                  <a:cubicBezTo>
                    <a:pt x="698" y="702"/>
                    <a:pt x="696" y="700"/>
                    <a:pt x="696" y="698"/>
                  </a:cubicBezTo>
                  <a:lnTo>
                    <a:pt x="696" y="684"/>
                  </a:lnTo>
                  <a:lnTo>
                    <a:pt x="685" y="703"/>
                  </a:lnTo>
                  <a:lnTo>
                    <a:pt x="658" y="730"/>
                  </a:lnTo>
                  <a:cubicBezTo>
                    <a:pt x="657" y="731"/>
                    <a:pt x="656" y="731"/>
                    <a:pt x="655" y="731"/>
                  </a:cubicBezTo>
                  <a:cubicBezTo>
                    <a:pt x="654" y="731"/>
                    <a:pt x="653" y="731"/>
                    <a:pt x="652" y="731"/>
                  </a:cubicBezTo>
                  <a:cubicBezTo>
                    <a:pt x="651" y="730"/>
                    <a:pt x="650" y="728"/>
                    <a:pt x="650" y="726"/>
                  </a:cubicBezTo>
                  <a:lnTo>
                    <a:pt x="656" y="689"/>
                  </a:lnTo>
                  <a:lnTo>
                    <a:pt x="627" y="689"/>
                  </a:lnTo>
                  <a:lnTo>
                    <a:pt x="612" y="739"/>
                  </a:lnTo>
                  <a:cubicBezTo>
                    <a:pt x="611" y="740"/>
                    <a:pt x="610" y="741"/>
                    <a:pt x="609" y="742"/>
                  </a:cubicBezTo>
                  <a:cubicBezTo>
                    <a:pt x="608" y="742"/>
                    <a:pt x="608" y="742"/>
                    <a:pt x="607" y="742"/>
                  </a:cubicBezTo>
                  <a:cubicBezTo>
                    <a:pt x="607" y="742"/>
                    <a:pt x="606" y="742"/>
                    <a:pt x="605" y="742"/>
                  </a:cubicBezTo>
                  <a:lnTo>
                    <a:pt x="532" y="717"/>
                  </a:lnTo>
                  <a:lnTo>
                    <a:pt x="488" y="717"/>
                  </a:lnTo>
                  <a:cubicBezTo>
                    <a:pt x="485" y="717"/>
                    <a:pt x="483" y="715"/>
                    <a:pt x="483" y="712"/>
                  </a:cubicBezTo>
                  <a:lnTo>
                    <a:pt x="483" y="699"/>
                  </a:lnTo>
                  <a:lnTo>
                    <a:pt x="471" y="721"/>
                  </a:lnTo>
                  <a:lnTo>
                    <a:pt x="504" y="755"/>
                  </a:lnTo>
                  <a:cubicBezTo>
                    <a:pt x="505" y="756"/>
                    <a:pt x="506" y="757"/>
                    <a:pt x="505" y="759"/>
                  </a:cubicBezTo>
                  <a:cubicBezTo>
                    <a:pt x="505" y="761"/>
                    <a:pt x="504" y="762"/>
                    <a:pt x="502" y="762"/>
                  </a:cubicBezTo>
                  <a:lnTo>
                    <a:pt x="451" y="778"/>
                  </a:lnTo>
                  <a:lnTo>
                    <a:pt x="428" y="843"/>
                  </a:lnTo>
                  <a:cubicBezTo>
                    <a:pt x="428" y="845"/>
                    <a:pt x="426" y="847"/>
                    <a:pt x="424" y="847"/>
                  </a:cubicBezTo>
                  <a:lnTo>
                    <a:pt x="374" y="839"/>
                  </a:lnTo>
                  <a:close/>
                  <a:moveTo>
                    <a:pt x="712" y="658"/>
                  </a:moveTo>
                  <a:lnTo>
                    <a:pt x="746" y="645"/>
                  </a:lnTo>
                  <a:lnTo>
                    <a:pt x="746" y="624"/>
                  </a:lnTo>
                  <a:lnTo>
                    <a:pt x="712" y="658"/>
                  </a:lnTo>
                  <a:close/>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0" name="Freeform 575"/>
            <p:cNvSpPr>
              <a:spLocks noChangeArrowheads="1"/>
            </p:cNvSpPr>
            <p:nvPr/>
          </p:nvSpPr>
          <p:spPr bwMode="auto">
            <a:xfrm>
              <a:off x="8180388" y="2373313"/>
              <a:ext cx="333375" cy="304800"/>
            </a:xfrm>
            <a:custGeom>
              <a:avLst/>
              <a:gdLst/>
              <a:ahLst/>
              <a:cxnLst>
                <a:cxn ang="0">
                  <a:pos x="329" y="790"/>
                </a:cxn>
                <a:cxn ang="0">
                  <a:pos x="375" y="738"/>
                </a:cxn>
                <a:cxn ang="0">
                  <a:pos x="339" y="735"/>
                </a:cxn>
                <a:cxn ang="0">
                  <a:pos x="334" y="734"/>
                </a:cxn>
                <a:cxn ang="0">
                  <a:pos x="293" y="718"/>
                </a:cxn>
                <a:cxn ang="0">
                  <a:pos x="253" y="756"/>
                </a:cxn>
                <a:cxn ang="0">
                  <a:pos x="229" y="743"/>
                </a:cxn>
                <a:cxn ang="0">
                  <a:pos x="143" y="780"/>
                </a:cxn>
                <a:cxn ang="0">
                  <a:pos x="129" y="768"/>
                </a:cxn>
                <a:cxn ang="0">
                  <a:pos x="109" y="812"/>
                </a:cxn>
                <a:cxn ang="0">
                  <a:pos x="3" y="783"/>
                </a:cxn>
                <a:cxn ang="0">
                  <a:pos x="0" y="754"/>
                </a:cxn>
                <a:cxn ang="0">
                  <a:pos x="45" y="750"/>
                </a:cxn>
                <a:cxn ang="0">
                  <a:pos x="147" y="627"/>
                </a:cxn>
                <a:cxn ang="0">
                  <a:pos x="184" y="606"/>
                </a:cxn>
                <a:cxn ang="0">
                  <a:pos x="188" y="606"/>
                </a:cxn>
                <a:cxn ang="0">
                  <a:pos x="191" y="636"/>
                </a:cxn>
                <a:cxn ang="0">
                  <a:pos x="351" y="612"/>
                </a:cxn>
                <a:cxn ang="0">
                  <a:pos x="393" y="647"/>
                </a:cxn>
                <a:cxn ang="0">
                  <a:pos x="421" y="544"/>
                </a:cxn>
                <a:cxn ang="0">
                  <a:pos x="471" y="529"/>
                </a:cxn>
                <a:cxn ang="0">
                  <a:pos x="482" y="448"/>
                </a:cxn>
                <a:cxn ang="0">
                  <a:pos x="534" y="422"/>
                </a:cxn>
                <a:cxn ang="0">
                  <a:pos x="538" y="427"/>
                </a:cxn>
                <a:cxn ang="0">
                  <a:pos x="537" y="449"/>
                </a:cxn>
                <a:cxn ang="0">
                  <a:pos x="517" y="502"/>
                </a:cxn>
                <a:cxn ang="0">
                  <a:pos x="654" y="392"/>
                </a:cxn>
                <a:cxn ang="0">
                  <a:pos x="706" y="368"/>
                </a:cxn>
                <a:cxn ang="0">
                  <a:pos x="737" y="187"/>
                </a:cxn>
                <a:cxn ang="0">
                  <a:pos x="736" y="160"/>
                </a:cxn>
                <a:cxn ang="0">
                  <a:pos x="754" y="155"/>
                </a:cxn>
                <a:cxn ang="0">
                  <a:pos x="748" y="87"/>
                </a:cxn>
                <a:cxn ang="0">
                  <a:pos x="773" y="86"/>
                </a:cxn>
                <a:cxn ang="0">
                  <a:pos x="779" y="26"/>
                </a:cxn>
                <a:cxn ang="0">
                  <a:pos x="845" y="0"/>
                </a:cxn>
                <a:cxn ang="0">
                  <a:pos x="877" y="19"/>
                </a:cxn>
                <a:cxn ang="0">
                  <a:pos x="879" y="94"/>
                </a:cxn>
                <a:cxn ang="0">
                  <a:pos x="919" y="264"/>
                </a:cxn>
                <a:cxn ang="0">
                  <a:pos x="886" y="350"/>
                </a:cxn>
                <a:cxn ang="0">
                  <a:pos x="882" y="355"/>
                </a:cxn>
                <a:cxn ang="0">
                  <a:pos x="866" y="341"/>
                </a:cxn>
                <a:cxn ang="0">
                  <a:pos x="840" y="413"/>
                </a:cxn>
                <a:cxn ang="0">
                  <a:pos x="812" y="551"/>
                </a:cxn>
                <a:cxn ang="0">
                  <a:pos x="834" y="625"/>
                </a:cxn>
                <a:cxn ang="0">
                  <a:pos x="795" y="666"/>
                </a:cxn>
                <a:cxn ang="0">
                  <a:pos x="762" y="701"/>
                </a:cxn>
                <a:cxn ang="0">
                  <a:pos x="701" y="702"/>
                </a:cxn>
                <a:cxn ang="0">
                  <a:pos x="696" y="684"/>
                </a:cxn>
                <a:cxn ang="0">
                  <a:pos x="658" y="730"/>
                </a:cxn>
                <a:cxn ang="0">
                  <a:pos x="652" y="731"/>
                </a:cxn>
                <a:cxn ang="0">
                  <a:pos x="656" y="689"/>
                </a:cxn>
                <a:cxn ang="0">
                  <a:pos x="612" y="739"/>
                </a:cxn>
                <a:cxn ang="0">
                  <a:pos x="607" y="742"/>
                </a:cxn>
                <a:cxn ang="0">
                  <a:pos x="532" y="717"/>
                </a:cxn>
                <a:cxn ang="0">
                  <a:pos x="483" y="712"/>
                </a:cxn>
                <a:cxn ang="0">
                  <a:pos x="471" y="721"/>
                </a:cxn>
                <a:cxn ang="0">
                  <a:pos x="505" y="759"/>
                </a:cxn>
                <a:cxn ang="0">
                  <a:pos x="451" y="778"/>
                </a:cxn>
                <a:cxn ang="0">
                  <a:pos x="424" y="847"/>
                </a:cxn>
              </a:cxnLst>
              <a:rect l="0" t="0" r="r" b="b"/>
              <a:pathLst>
                <a:path w="927" h="848">
                  <a:moveTo>
                    <a:pt x="374" y="839"/>
                  </a:moveTo>
                  <a:lnTo>
                    <a:pt x="329" y="790"/>
                  </a:lnTo>
                  <a:cubicBezTo>
                    <a:pt x="327" y="789"/>
                    <a:pt x="327" y="786"/>
                    <a:pt x="329" y="784"/>
                  </a:cubicBezTo>
                  <a:lnTo>
                    <a:pt x="375" y="738"/>
                  </a:lnTo>
                  <a:lnTo>
                    <a:pt x="375" y="722"/>
                  </a:lnTo>
                  <a:lnTo>
                    <a:pt x="339" y="735"/>
                  </a:lnTo>
                  <a:cubicBezTo>
                    <a:pt x="339" y="735"/>
                    <a:pt x="338" y="735"/>
                    <a:pt x="337" y="735"/>
                  </a:cubicBezTo>
                  <a:cubicBezTo>
                    <a:pt x="336" y="735"/>
                    <a:pt x="335" y="735"/>
                    <a:pt x="334" y="734"/>
                  </a:cubicBezTo>
                  <a:lnTo>
                    <a:pt x="316" y="717"/>
                  </a:lnTo>
                  <a:lnTo>
                    <a:pt x="293" y="718"/>
                  </a:lnTo>
                  <a:lnTo>
                    <a:pt x="256" y="755"/>
                  </a:lnTo>
                  <a:cubicBezTo>
                    <a:pt x="255" y="756"/>
                    <a:pt x="254" y="756"/>
                    <a:pt x="253" y="756"/>
                  </a:cubicBezTo>
                  <a:cubicBezTo>
                    <a:pt x="252" y="756"/>
                    <a:pt x="251" y="756"/>
                    <a:pt x="250" y="756"/>
                  </a:cubicBezTo>
                  <a:lnTo>
                    <a:pt x="229" y="743"/>
                  </a:lnTo>
                  <a:lnTo>
                    <a:pt x="145" y="780"/>
                  </a:lnTo>
                  <a:cubicBezTo>
                    <a:pt x="144" y="780"/>
                    <a:pt x="143" y="780"/>
                    <a:pt x="143" y="780"/>
                  </a:cubicBezTo>
                  <a:cubicBezTo>
                    <a:pt x="142" y="780"/>
                    <a:pt x="140" y="779"/>
                    <a:pt x="140" y="779"/>
                  </a:cubicBezTo>
                  <a:lnTo>
                    <a:pt x="129" y="768"/>
                  </a:lnTo>
                  <a:lnTo>
                    <a:pt x="113" y="809"/>
                  </a:lnTo>
                  <a:cubicBezTo>
                    <a:pt x="113" y="811"/>
                    <a:pt x="111" y="812"/>
                    <a:pt x="109" y="812"/>
                  </a:cubicBezTo>
                  <a:lnTo>
                    <a:pt x="108" y="812"/>
                  </a:lnTo>
                  <a:lnTo>
                    <a:pt x="3" y="783"/>
                  </a:lnTo>
                  <a:cubicBezTo>
                    <a:pt x="1" y="782"/>
                    <a:pt x="0" y="780"/>
                    <a:pt x="0" y="778"/>
                  </a:cubicBezTo>
                  <a:lnTo>
                    <a:pt x="0" y="754"/>
                  </a:lnTo>
                  <a:cubicBezTo>
                    <a:pt x="0" y="752"/>
                    <a:pt x="2" y="750"/>
                    <a:pt x="5" y="750"/>
                  </a:cubicBezTo>
                  <a:lnTo>
                    <a:pt x="45" y="750"/>
                  </a:lnTo>
                  <a:lnTo>
                    <a:pt x="140" y="654"/>
                  </a:lnTo>
                  <a:lnTo>
                    <a:pt x="147" y="627"/>
                  </a:lnTo>
                  <a:cubicBezTo>
                    <a:pt x="147" y="626"/>
                    <a:pt x="148" y="625"/>
                    <a:pt x="149" y="624"/>
                  </a:cubicBezTo>
                  <a:lnTo>
                    <a:pt x="184" y="606"/>
                  </a:lnTo>
                  <a:cubicBezTo>
                    <a:pt x="184" y="605"/>
                    <a:pt x="185" y="605"/>
                    <a:pt x="186" y="605"/>
                  </a:cubicBezTo>
                  <a:cubicBezTo>
                    <a:pt x="187" y="605"/>
                    <a:pt x="188" y="605"/>
                    <a:pt x="188" y="606"/>
                  </a:cubicBezTo>
                  <a:cubicBezTo>
                    <a:pt x="190" y="606"/>
                    <a:pt x="191" y="608"/>
                    <a:pt x="191" y="610"/>
                  </a:cubicBezTo>
                  <a:lnTo>
                    <a:pt x="191" y="636"/>
                  </a:lnTo>
                  <a:lnTo>
                    <a:pt x="267" y="613"/>
                  </a:lnTo>
                  <a:lnTo>
                    <a:pt x="351" y="612"/>
                  </a:lnTo>
                  <a:cubicBezTo>
                    <a:pt x="352" y="612"/>
                    <a:pt x="353" y="613"/>
                    <a:pt x="354" y="614"/>
                  </a:cubicBezTo>
                  <a:lnTo>
                    <a:pt x="393" y="647"/>
                  </a:lnTo>
                  <a:lnTo>
                    <a:pt x="421" y="619"/>
                  </a:lnTo>
                  <a:lnTo>
                    <a:pt x="421" y="544"/>
                  </a:lnTo>
                  <a:cubicBezTo>
                    <a:pt x="421" y="542"/>
                    <a:pt x="423" y="540"/>
                    <a:pt x="425" y="539"/>
                  </a:cubicBezTo>
                  <a:lnTo>
                    <a:pt x="471" y="529"/>
                  </a:lnTo>
                  <a:lnTo>
                    <a:pt x="480" y="452"/>
                  </a:lnTo>
                  <a:cubicBezTo>
                    <a:pt x="480" y="450"/>
                    <a:pt x="481" y="449"/>
                    <a:pt x="482" y="448"/>
                  </a:cubicBezTo>
                  <a:lnTo>
                    <a:pt x="532" y="423"/>
                  </a:lnTo>
                  <a:cubicBezTo>
                    <a:pt x="532" y="422"/>
                    <a:pt x="533" y="422"/>
                    <a:pt x="534" y="422"/>
                  </a:cubicBezTo>
                  <a:cubicBezTo>
                    <a:pt x="535" y="422"/>
                    <a:pt x="535" y="422"/>
                    <a:pt x="536" y="423"/>
                  </a:cubicBezTo>
                  <a:cubicBezTo>
                    <a:pt x="538" y="424"/>
                    <a:pt x="538" y="425"/>
                    <a:pt x="538" y="427"/>
                  </a:cubicBezTo>
                  <a:lnTo>
                    <a:pt x="538" y="445"/>
                  </a:lnTo>
                  <a:cubicBezTo>
                    <a:pt x="538" y="446"/>
                    <a:pt x="538" y="448"/>
                    <a:pt x="537" y="449"/>
                  </a:cubicBezTo>
                  <a:lnTo>
                    <a:pt x="517" y="466"/>
                  </a:lnTo>
                  <a:lnTo>
                    <a:pt x="517" y="502"/>
                  </a:lnTo>
                  <a:lnTo>
                    <a:pt x="631" y="454"/>
                  </a:lnTo>
                  <a:lnTo>
                    <a:pt x="654" y="392"/>
                  </a:lnTo>
                  <a:cubicBezTo>
                    <a:pt x="654" y="391"/>
                    <a:pt x="655" y="390"/>
                    <a:pt x="656" y="390"/>
                  </a:cubicBezTo>
                  <a:lnTo>
                    <a:pt x="706" y="368"/>
                  </a:lnTo>
                  <a:lnTo>
                    <a:pt x="761" y="210"/>
                  </a:lnTo>
                  <a:lnTo>
                    <a:pt x="737" y="187"/>
                  </a:lnTo>
                  <a:cubicBezTo>
                    <a:pt x="737" y="186"/>
                    <a:pt x="736" y="185"/>
                    <a:pt x="736" y="184"/>
                  </a:cubicBezTo>
                  <a:lnTo>
                    <a:pt x="736" y="160"/>
                  </a:lnTo>
                  <a:cubicBezTo>
                    <a:pt x="736" y="157"/>
                    <a:pt x="738" y="155"/>
                    <a:pt x="741" y="155"/>
                  </a:cubicBezTo>
                  <a:lnTo>
                    <a:pt x="754" y="155"/>
                  </a:lnTo>
                  <a:lnTo>
                    <a:pt x="747" y="91"/>
                  </a:lnTo>
                  <a:cubicBezTo>
                    <a:pt x="747" y="89"/>
                    <a:pt x="747" y="88"/>
                    <a:pt x="748" y="87"/>
                  </a:cubicBezTo>
                  <a:cubicBezTo>
                    <a:pt x="749" y="86"/>
                    <a:pt x="750" y="86"/>
                    <a:pt x="752" y="86"/>
                  </a:cubicBezTo>
                  <a:lnTo>
                    <a:pt x="773" y="86"/>
                  </a:lnTo>
                  <a:lnTo>
                    <a:pt x="776" y="30"/>
                  </a:lnTo>
                  <a:cubicBezTo>
                    <a:pt x="777" y="28"/>
                    <a:pt x="778" y="26"/>
                    <a:pt x="779" y="26"/>
                  </a:cubicBezTo>
                  <a:lnTo>
                    <a:pt x="843" y="0"/>
                  </a:lnTo>
                  <a:cubicBezTo>
                    <a:pt x="844" y="0"/>
                    <a:pt x="844" y="0"/>
                    <a:pt x="845" y="0"/>
                  </a:cubicBezTo>
                  <a:cubicBezTo>
                    <a:pt x="846" y="0"/>
                    <a:pt x="847" y="0"/>
                    <a:pt x="848" y="0"/>
                  </a:cubicBezTo>
                  <a:lnTo>
                    <a:pt x="877" y="19"/>
                  </a:lnTo>
                  <a:cubicBezTo>
                    <a:pt x="878" y="20"/>
                    <a:pt x="879" y="21"/>
                    <a:pt x="879" y="23"/>
                  </a:cubicBezTo>
                  <a:lnTo>
                    <a:pt x="879" y="94"/>
                  </a:lnTo>
                  <a:lnTo>
                    <a:pt x="926" y="196"/>
                  </a:lnTo>
                  <a:lnTo>
                    <a:pt x="919" y="264"/>
                  </a:lnTo>
                  <a:lnTo>
                    <a:pt x="886" y="297"/>
                  </a:lnTo>
                  <a:lnTo>
                    <a:pt x="886" y="350"/>
                  </a:lnTo>
                  <a:cubicBezTo>
                    <a:pt x="886" y="352"/>
                    <a:pt x="885" y="354"/>
                    <a:pt x="884" y="354"/>
                  </a:cubicBezTo>
                  <a:cubicBezTo>
                    <a:pt x="883" y="355"/>
                    <a:pt x="882" y="355"/>
                    <a:pt x="882" y="355"/>
                  </a:cubicBezTo>
                  <a:cubicBezTo>
                    <a:pt x="881" y="355"/>
                    <a:pt x="879" y="354"/>
                    <a:pt x="879" y="353"/>
                  </a:cubicBezTo>
                  <a:lnTo>
                    <a:pt x="866" y="341"/>
                  </a:lnTo>
                  <a:lnTo>
                    <a:pt x="830" y="377"/>
                  </a:lnTo>
                  <a:lnTo>
                    <a:pt x="840" y="413"/>
                  </a:lnTo>
                  <a:lnTo>
                    <a:pt x="841" y="493"/>
                  </a:lnTo>
                  <a:lnTo>
                    <a:pt x="812" y="551"/>
                  </a:lnTo>
                  <a:lnTo>
                    <a:pt x="837" y="619"/>
                  </a:lnTo>
                  <a:cubicBezTo>
                    <a:pt x="838" y="621"/>
                    <a:pt x="836" y="624"/>
                    <a:pt x="834" y="625"/>
                  </a:cubicBezTo>
                  <a:lnTo>
                    <a:pt x="795" y="640"/>
                  </a:lnTo>
                  <a:lnTo>
                    <a:pt x="795" y="666"/>
                  </a:lnTo>
                  <a:cubicBezTo>
                    <a:pt x="795" y="668"/>
                    <a:pt x="794" y="669"/>
                    <a:pt x="793" y="670"/>
                  </a:cubicBezTo>
                  <a:lnTo>
                    <a:pt x="762" y="701"/>
                  </a:lnTo>
                  <a:cubicBezTo>
                    <a:pt x="761" y="702"/>
                    <a:pt x="760" y="702"/>
                    <a:pt x="759" y="702"/>
                  </a:cubicBezTo>
                  <a:lnTo>
                    <a:pt x="701" y="702"/>
                  </a:lnTo>
                  <a:cubicBezTo>
                    <a:pt x="698" y="702"/>
                    <a:pt x="696" y="700"/>
                    <a:pt x="696" y="698"/>
                  </a:cubicBezTo>
                  <a:lnTo>
                    <a:pt x="696" y="684"/>
                  </a:lnTo>
                  <a:lnTo>
                    <a:pt x="685" y="703"/>
                  </a:lnTo>
                  <a:lnTo>
                    <a:pt x="658" y="730"/>
                  </a:lnTo>
                  <a:cubicBezTo>
                    <a:pt x="657" y="731"/>
                    <a:pt x="656" y="731"/>
                    <a:pt x="655" y="731"/>
                  </a:cubicBezTo>
                  <a:cubicBezTo>
                    <a:pt x="654" y="731"/>
                    <a:pt x="653" y="731"/>
                    <a:pt x="652" y="731"/>
                  </a:cubicBezTo>
                  <a:cubicBezTo>
                    <a:pt x="651" y="730"/>
                    <a:pt x="650" y="728"/>
                    <a:pt x="650" y="726"/>
                  </a:cubicBezTo>
                  <a:lnTo>
                    <a:pt x="656" y="689"/>
                  </a:lnTo>
                  <a:lnTo>
                    <a:pt x="627" y="689"/>
                  </a:lnTo>
                  <a:lnTo>
                    <a:pt x="612" y="739"/>
                  </a:lnTo>
                  <a:cubicBezTo>
                    <a:pt x="611" y="740"/>
                    <a:pt x="610" y="741"/>
                    <a:pt x="609" y="742"/>
                  </a:cubicBezTo>
                  <a:cubicBezTo>
                    <a:pt x="608" y="742"/>
                    <a:pt x="608" y="742"/>
                    <a:pt x="607" y="742"/>
                  </a:cubicBezTo>
                  <a:cubicBezTo>
                    <a:pt x="607" y="742"/>
                    <a:pt x="606" y="742"/>
                    <a:pt x="605" y="742"/>
                  </a:cubicBezTo>
                  <a:lnTo>
                    <a:pt x="532" y="717"/>
                  </a:lnTo>
                  <a:lnTo>
                    <a:pt x="488" y="717"/>
                  </a:lnTo>
                  <a:cubicBezTo>
                    <a:pt x="485" y="717"/>
                    <a:pt x="483" y="715"/>
                    <a:pt x="483" y="712"/>
                  </a:cubicBezTo>
                  <a:lnTo>
                    <a:pt x="483" y="699"/>
                  </a:lnTo>
                  <a:lnTo>
                    <a:pt x="471" y="721"/>
                  </a:lnTo>
                  <a:lnTo>
                    <a:pt x="504" y="755"/>
                  </a:lnTo>
                  <a:cubicBezTo>
                    <a:pt x="505" y="756"/>
                    <a:pt x="506" y="757"/>
                    <a:pt x="505" y="759"/>
                  </a:cubicBezTo>
                  <a:cubicBezTo>
                    <a:pt x="505" y="761"/>
                    <a:pt x="504" y="762"/>
                    <a:pt x="502" y="762"/>
                  </a:cubicBezTo>
                  <a:lnTo>
                    <a:pt x="451" y="778"/>
                  </a:lnTo>
                  <a:lnTo>
                    <a:pt x="428" y="843"/>
                  </a:lnTo>
                  <a:cubicBezTo>
                    <a:pt x="428" y="845"/>
                    <a:pt x="426" y="847"/>
                    <a:pt x="424" y="847"/>
                  </a:cubicBezTo>
                  <a:lnTo>
                    <a:pt x="374" y="8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1" name="Freeform 576"/>
            <p:cNvSpPr>
              <a:spLocks noChangeArrowheads="1"/>
            </p:cNvSpPr>
            <p:nvPr/>
          </p:nvSpPr>
          <p:spPr bwMode="auto">
            <a:xfrm>
              <a:off x="8435975" y="2598738"/>
              <a:ext cx="12700" cy="12700"/>
            </a:xfrm>
            <a:custGeom>
              <a:avLst/>
              <a:gdLst/>
              <a:ahLst/>
              <a:cxnLst>
                <a:cxn ang="0">
                  <a:pos x="0" y="34"/>
                </a:cxn>
                <a:cxn ang="0">
                  <a:pos x="34" y="0"/>
                </a:cxn>
                <a:cxn ang="0">
                  <a:pos x="34" y="21"/>
                </a:cxn>
                <a:cxn ang="0">
                  <a:pos x="0" y="34"/>
                </a:cxn>
              </a:cxnLst>
              <a:rect l="0" t="0" r="r" b="b"/>
              <a:pathLst>
                <a:path w="35" h="35">
                  <a:moveTo>
                    <a:pt x="0" y="34"/>
                  </a:moveTo>
                  <a:lnTo>
                    <a:pt x="34" y="0"/>
                  </a:lnTo>
                  <a:lnTo>
                    <a:pt x="34" y="21"/>
                  </a:lnTo>
                  <a:lnTo>
                    <a:pt x="0" y="3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2" name="Freeform 577"/>
            <p:cNvSpPr>
              <a:spLocks noChangeArrowheads="1"/>
            </p:cNvSpPr>
            <p:nvPr/>
          </p:nvSpPr>
          <p:spPr bwMode="auto">
            <a:xfrm>
              <a:off x="8397875" y="2498725"/>
              <a:ext cx="11113" cy="22225"/>
            </a:xfrm>
            <a:custGeom>
              <a:avLst/>
              <a:gdLst/>
              <a:ahLst/>
              <a:cxnLst>
                <a:cxn ang="0">
                  <a:pos x="5" y="60"/>
                </a:cxn>
                <a:cxn ang="0">
                  <a:pos x="2" y="58"/>
                </a:cxn>
                <a:cxn ang="0">
                  <a:pos x="1" y="54"/>
                </a:cxn>
                <a:cxn ang="0">
                  <a:pos x="22" y="3"/>
                </a:cxn>
                <a:cxn ang="0">
                  <a:pos x="26" y="0"/>
                </a:cxn>
                <a:cxn ang="0">
                  <a:pos x="28" y="0"/>
                </a:cxn>
                <a:cxn ang="0">
                  <a:pos x="31" y="6"/>
                </a:cxn>
                <a:cxn ang="0">
                  <a:pos x="18" y="57"/>
                </a:cxn>
                <a:cxn ang="0">
                  <a:pos x="14" y="60"/>
                </a:cxn>
                <a:cxn ang="0">
                  <a:pos x="5" y="60"/>
                </a:cxn>
              </a:cxnLst>
              <a:rect l="0" t="0" r="r" b="b"/>
              <a:pathLst>
                <a:path w="33" h="61">
                  <a:moveTo>
                    <a:pt x="5" y="60"/>
                  </a:moveTo>
                  <a:cubicBezTo>
                    <a:pt x="4" y="60"/>
                    <a:pt x="2" y="59"/>
                    <a:pt x="2" y="58"/>
                  </a:cubicBezTo>
                  <a:cubicBezTo>
                    <a:pt x="1" y="57"/>
                    <a:pt x="0" y="55"/>
                    <a:pt x="1" y="54"/>
                  </a:cubicBezTo>
                  <a:lnTo>
                    <a:pt x="22" y="3"/>
                  </a:lnTo>
                  <a:cubicBezTo>
                    <a:pt x="23" y="1"/>
                    <a:pt x="25" y="0"/>
                    <a:pt x="26" y="0"/>
                  </a:cubicBezTo>
                  <a:cubicBezTo>
                    <a:pt x="27" y="0"/>
                    <a:pt x="27" y="0"/>
                    <a:pt x="28" y="0"/>
                  </a:cubicBezTo>
                  <a:cubicBezTo>
                    <a:pt x="30" y="1"/>
                    <a:pt x="32" y="3"/>
                    <a:pt x="31" y="6"/>
                  </a:cubicBezTo>
                  <a:lnTo>
                    <a:pt x="18" y="57"/>
                  </a:lnTo>
                  <a:cubicBezTo>
                    <a:pt x="18" y="59"/>
                    <a:pt x="16" y="60"/>
                    <a:pt x="14" y="60"/>
                  </a:cubicBezTo>
                  <a:lnTo>
                    <a:pt x="5" y="6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3" name="Freeform 578"/>
            <p:cNvSpPr>
              <a:spLocks noChangeArrowheads="1"/>
            </p:cNvSpPr>
            <p:nvPr/>
          </p:nvSpPr>
          <p:spPr bwMode="auto">
            <a:xfrm>
              <a:off x="8397875" y="2498725"/>
              <a:ext cx="11113" cy="22225"/>
            </a:xfrm>
            <a:custGeom>
              <a:avLst/>
              <a:gdLst/>
              <a:ahLst/>
              <a:cxnLst>
                <a:cxn ang="0">
                  <a:pos x="5" y="60"/>
                </a:cxn>
                <a:cxn ang="0">
                  <a:pos x="2" y="58"/>
                </a:cxn>
                <a:cxn ang="0">
                  <a:pos x="1" y="54"/>
                </a:cxn>
                <a:cxn ang="0">
                  <a:pos x="22" y="3"/>
                </a:cxn>
                <a:cxn ang="0">
                  <a:pos x="26" y="0"/>
                </a:cxn>
                <a:cxn ang="0">
                  <a:pos x="28" y="0"/>
                </a:cxn>
                <a:cxn ang="0">
                  <a:pos x="31" y="6"/>
                </a:cxn>
                <a:cxn ang="0">
                  <a:pos x="18" y="57"/>
                </a:cxn>
                <a:cxn ang="0">
                  <a:pos x="14" y="60"/>
                </a:cxn>
                <a:cxn ang="0">
                  <a:pos x="5" y="60"/>
                </a:cxn>
              </a:cxnLst>
              <a:rect l="0" t="0" r="r" b="b"/>
              <a:pathLst>
                <a:path w="33" h="61">
                  <a:moveTo>
                    <a:pt x="5" y="60"/>
                  </a:moveTo>
                  <a:cubicBezTo>
                    <a:pt x="4" y="60"/>
                    <a:pt x="2" y="59"/>
                    <a:pt x="2" y="58"/>
                  </a:cubicBezTo>
                  <a:cubicBezTo>
                    <a:pt x="1" y="57"/>
                    <a:pt x="0" y="55"/>
                    <a:pt x="1" y="54"/>
                  </a:cubicBezTo>
                  <a:lnTo>
                    <a:pt x="22" y="3"/>
                  </a:lnTo>
                  <a:cubicBezTo>
                    <a:pt x="23" y="1"/>
                    <a:pt x="25" y="0"/>
                    <a:pt x="26" y="0"/>
                  </a:cubicBezTo>
                  <a:cubicBezTo>
                    <a:pt x="27" y="0"/>
                    <a:pt x="27" y="0"/>
                    <a:pt x="28" y="0"/>
                  </a:cubicBezTo>
                  <a:cubicBezTo>
                    <a:pt x="30" y="1"/>
                    <a:pt x="32" y="3"/>
                    <a:pt x="31" y="6"/>
                  </a:cubicBezTo>
                  <a:lnTo>
                    <a:pt x="18" y="57"/>
                  </a:lnTo>
                  <a:cubicBezTo>
                    <a:pt x="18" y="59"/>
                    <a:pt x="16" y="60"/>
                    <a:pt x="14" y="60"/>
                  </a:cubicBezTo>
                  <a:lnTo>
                    <a:pt x="5" y="6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4" name="Freeform 579"/>
            <p:cNvSpPr>
              <a:spLocks noChangeArrowheads="1"/>
            </p:cNvSpPr>
            <p:nvPr/>
          </p:nvSpPr>
          <p:spPr bwMode="auto">
            <a:xfrm>
              <a:off x="8482013" y="2217738"/>
              <a:ext cx="9525" cy="9525"/>
            </a:xfrm>
            <a:custGeom>
              <a:avLst/>
              <a:gdLst/>
              <a:ahLst/>
              <a:cxnLst>
                <a:cxn ang="0">
                  <a:pos x="20" y="26"/>
                </a:cxn>
                <a:cxn ang="0">
                  <a:pos x="3" y="18"/>
                </a:cxn>
                <a:cxn ang="0">
                  <a:pos x="1" y="15"/>
                </a:cxn>
                <a:cxn ang="0">
                  <a:pos x="1" y="11"/>
                </a:cxn>
                <a:cxn ang="0">
                  <a:pos x="5" y="3"/>
                </a:cxn>
                <a:cxn ang="0">
                  <a:pos x="9" y="0"/>
                </a:cxn>
                <a:cxn ang="0">
                  <a:pos x="10" y="0"/>
                </a:cxn>
                <a:cxn ang="0">
                  <a:pos x="13" y="2"/>
                </a:cxn>
                <a:cxn ang="0">
                  <a:pos x="26" y="19"/>
                </a:cxn>
                <a:cxn ang="0">
                  <a:pos x="26" y="25"/>
                </a:cxn>
                <a:cxn ang="0">
                  <a:pos x="22" y="27"/>
                </a:cxn>
                <a:cxn ang="0">
                  <a:pos x="20" y="26"/>
                </a:cxn>
              </a:cxnLst>
              <a:rect l="0" t="0" r="r" b="b"/>
              <a:pathLst>
                <a:path w="28" h="28">
                  <a:moveTo>
                    <a:pt x="20" y="26"/>
                  </a:moveTo>
                  <a:lnTo>
                    <a:pt x="3" y="18"/>
                  </a:lnTo>
                  <a:cubicBezTo>
                    <a:pt x="2" y="17"/>
                    <a:pt x="1" y="16"/>
                    <a:pt x="1" y="15"/>
                  </a:cubicBezTo>
                  <a:cubicBezTo>
                    <a:pt x="0" y="14"/>
                    <a:pt x="1" y="13"/>
                    <a:pt x="1" y="11"/>
                  </a:cubicBezTo>
                  <a:lnTo>
                    <a:pt x="5" y="3"/>
                  </a:lnTo>
                  <a:cubicBezTo>
                    <a:pt x="6" y="2"/>
                    <a:pt x="8" y="1"/>
                    <a:pt x="9" y="0"/>
                  </a:cubicBezTo>
                  <a:lnTo>
                    <a:pt x="10" y="0"/>
                  </a:lnTo>
                  <a:cubicBezTo>
                    <a:pt x="11" y="0"/>
                    <a:pt x="12" y="1"/>
                    <a:pt x="13" y="2"/>
                  </a:cubicBezTo>
                  <a:lnTo>
                    <a:pt x="26" y="19"/>
                  </a:lnTo>
                  <a:cubicBezTo>
                    <a:pt x="27" y="21"/>
                    <a:pt x="27" y="23"/>
                    <a:pt x="26" y="25"/>
                  </a:cubicBezTo>
                  <a:cubicBezTo>
                    <a:pt x="25" y="26"/>
                    <a:pt x="24" y="27"/>
                    <a:pt x="22" y="27"/>
                  </a:cubicBezTo>
                  <a:cubicBezTo>
                    <a:pt x="22" y="27"/>
                    <a:pt x="21" y="27"/>
                    <a:pt x="20" y="26"/>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5" name="Freeform 580"/>
            <p:cNvSpPr>
              <a:spLocks noChangeArrowheads="1"/>
            </p:cNvSpPr>
            <p:nvPr/>
          </p:nvSpPr>
          <p:spPr bwMode="auto">
            <a:xfrm>
              <a:off x="8482013" y="2217738"/>
              <a:ext cx="9525" cy="9525"/>
            </a:xfrm>
            <a:custGeom>
              <a:avLst/>
              <a:gdLst/>
              <a:ahLst/>
              <a:cxnLst>
                <a:cxn ang="0">
                  <a:pos x="22" y="27"/>
                </a:cxn>
                <a:cxn ang="0">
                  <a:pos x="20" y="26"/>
                </a:cxn>
                <a:cxn ang="0">
                  <a:pos x="3" y="18"/>
                </a:cxn>
                <a:cxn ang="0">
                  <a:pos x="1" y="15"/>
                </a:cxn>
                <a:cxn ang="0">
                  <a:pos x="1" y="11"/>
                </a:cxn>
                <a:cxn ang="0">
                  <a:pos x="5" y="3"/>
                </a:cxn>
                <a:cxn ang="0">
                  <a:pos x="9" y="0"/>
                </a:cxn>
                <a:cxn ang="0">
                  <a:pos x="10" y="0"/>
                </a:cxn>
                <a:cxn ang="0">
                  <a:pos x="13" y="2"/>
                </a:cxn>
                <a:cxn ang="0">
                  <a:pos x="26" y="19"/>
                </a:cxn>
                <a:cxn ang="0">
                  <a:pos x="26" y="25"/>
                </a:cxn>
                <a:cxn ang="0">
                  <a:pos x="22" y="27"/>
                </a:cxn>
              </a:cxnLst>
              <a:rect l="0" t="0" r="r" b="b"/>
              <a:pathLst>
                <a:path w="28" h="28">
                  <a:moveTo>
                    <a:pt x="22" y="27"/>
                  </a:moveTo>
                  <a:cubicBezTo>
                    <a:pt x="22" y="27"/>
                    <a:pt x="21" y="27"/>
                    <a:pt x="20" y="26"/>
                  </a:cubicBezTo>
                  <a:lnTo>
                    <a:pt x="3" y="18"/>
                  </a:lnTo>
                  <a:cubicBezTo>
                    <a:pt x="2" y="17"/>
                    <a:pt x="1" y="16"/>
                    <a:pt x="1" y="15"/>
                  </a:cubicBezTo>
                  <a:cubicBezTo>
                    <a:pt x="0" y="14"/>
                    <a:pt x="1" y="13"/>
                    <a:pt x="1" y="11"/>
                  </a:cubicBezTo>
                  <a:lnTo>
                    <a:pt x="5" y="3"/>
                  </a:lnTo>
                  <a:cubicBezTo>
                    <a:pt x="6" y="2"/>
                    <a:pt x="8" y="1"/>
                    <a:pt x="9" y="0"/>
                  </a:cubicBezTo>
                  <a:lnTo>
                    <a:pt x="10" y="0"/>
                  </a:lnTo>
                  <a:cubicBezTo>
                    <a:pt x="11" y="0"/>
                    <a:pt x="12" y="1"/>
                    <a:pt x="13" y="2"/>
                  </a:cubicBezTo>
                  <a:lnTo>
                    <a:pt x="26" y="19"/>
                  </a:lnTo>
                  <a:cubicBezTo>
                    <a:pt x="27" y="21"/>
                    <a:pt x="27" y="23"/>
                    <a:pt x="26" y="25"/>
                  </a:cubicBezTo>
                  <a:cubicBezTo>
                    <a:pt x="25" y="26"/>
                    <a:pt x="24" y="27"/>
                    <a:pt x="22" y="2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6" name="Freeform 581"/>
            <p:cNvSpPr>
              <a:spLocks noChangeArrowheads="1"/>
            </p:cNvSpPr>
            <p:nvPr/>
          </p:nvSpPr>
          <p:spPr bwMode="auto">
            <a:xfrm>
              <a:off x="7978775" y="2312988"/>
              <a:ext cx="193675" cy="211137"/>
            </a:xfrm>
            <a:custGeom>
              <a:avLst/>
              <a:gdLst/>
              <a:ahLst/>
              <a:cxnLst>
                <a:cxn ang="0">
                  <a:pos x="72" y="582"/>
                </a:cxn>
                <a:cxn ang="0">
                  <a:pos x="60" y="557"/>
                </a:cxn>
                <a:cxn ang="0">
                  <a:pos x="60" y="553"/>
                </a:cxn>
                <a:cxn ang="0">
                  <a:pos x="64" y="543"/>
                </a:cxn>
                <a:cxn ang="0">
                  <a:pos x="34" y="547"/>
                </a:cxn>
                <a:cxn ang="0">
                  <a:pos x="30" y="545"/>
                </a:cxn>
                <a:cxn ang="0">
                  <a:pos x="30" y="540"/>
                </a:cxn>
                <a:cxn ang="0">
                  <a:pos x="51" y="493"/>
                </a:cxn>
                <a:cxn ang="0">
                  <a:pos x="80" y="475"/>
                </a:cxn>
                <a:cxn ang="0">
                  <a:pos x="70" y="470"/>
                </a:cxn>
                <a:cxn ang="0">
                  <a:pos x="68" y="465"/>
                </a:cxn>
                <a:cxn ang="0">
                  <a:pos x="87" y="390"/>
                </a:cxn>
                <a:cxn ang="0">
                  <a:pos x="25" y="386"/>
                </a:cxn>
                <a:cxn ang="0">
                  <a:pos x="21" y="384"/>
                </a:cxn>
                <a:cxn ang="0">
                  <a:pos x="0" y="345"/>
                </a:cxn>
                <a:cxn ang="0">
                  <a:pos x="1" y="340"/>
                </a:cxn>
                <a:cxn ang="0">
                  <a:pos x="43" y="281"/>
                </a:cxn>
                <a:cxn ang="0">
                  <a:pos x="125" y="237"/>
                </a:cxn>
                <a:cxn ang="0">
                  <a:pos x="209" y="158"/>
                </a:cxn>
                <a:cxn ang="0">
                  <a:pos x="212" y="157"/>
                </a:cxn>
                <a:cxn ang="0">
                  <a:pos x="214" y="157"/>
                </a:cxn>
                <a:cxn ang="0">
                  <a:pos x="265" y="182"/>
                </a:cxn>
                <a:cxn ang="0">
                  <a:pos x="321" y="174"/>
                </a:cxn>
                <a:cxn ang="0">
                  <a:pos x="317" y="115"/>
                </a:cxn>
                <a:cxn ang="0">
                  <a:pos x="319" y="112"/>
                </a:cxn>
                <a:cxn ang="0">
                  <a:pos x="322" y="110"/>
                </a:cxn>
                <a:cxn ang="0">
                  <a:pos x="390" y="106"/>
                </a:cxn>
                <a:cxn ang="0">
                  <a:pos x="434" y="69"/>
                </a:cxn>
                <a:cxn ang="0">
                  <a:pos x="475" y="2"/>
                </a:cxn>
                <a:cxn ang="0">
                  <a:pos x="478" y="0"/>
                </a:cxn>
                <a:cxn ang="0">
                  <a:pos x="479" y="0"/>
                </a:cxn>
                <a:cxn ang="0">
                  <a:pos x="482" y="1"/>
                </a:cxn>
                <a:cxn ang="0">
                  <a:pos x="525" y="44"/>
                </a:cxn>
                <a:cxn ang="0">
                  <a:pos x="534" y="66"/>
                </a:cxn>
                <a:cxn ang="0">
                  <a:pos x="533" y="71"/>
                </a:cxn>
                <a:cxn ang="0">
                  <a:pos x="454" y="159"/>
                </a:cxn>
                <a:cxn ang="0">
                  <a:pos x="454" y="233"/>
                </a:cxn>
                <a:cxn ang="0">
                  <a:pos x="452" y="237"/>
                </a:cxn>
                <a:cxn ang="0">
                  <a:pos x="342" y="326"/>
                </a:cxn>
                <a:cxn ang="0">
                  <a:pos x="268" y="359"/>
                </a:cxn>
                <a:cxn ang="0">
                  <a:pos x="268" y="421"/>
                </a:cxn>
                <a:cxn ang="0">
                  <a:pos x="342" y="488"/>
                </a:cxn>
                <a:cxn ang="0">
                  <a:pos x="344" y="491"/>
                </a:cxn>
                <a:cxn ang="0">
                  <a:pos x="342" y="495"/>
                </a:cxn>
                <a:cxn ang="0">
                  <a:pos x="291" y="529"/>
                </a:cxn>
                <a:cxn ang="0">
                  <a:pos x="239" y="530"/>
                </a:cxn>
                <a:cxn ang="0">
                  <a:pos x="186" y="579"/>
                </a:cxn>
                <a:cxn ang="0">
                  <a:pos x="182" y="581"/>
                </a:cxn>
                <a:cxn ang="0">
                  <a:pos x="181" y="580"/>
                </a:cxn>
                <a:cxn ang="0">
                  <a:pos x="114" y="557"/>
                </a:cxn>
                <a:cxn ang="0">
                  <a:pos x="111" y="572"/>
                </a:cxn>
                <a:cxn ang="0">
                  <a:pos x="108" y="576"/>
                </a:cxn>
                <a:cxn ang="0">
                  <a:pos x="78" y="585"/>
                </a:cxn>
                <a:cxn ang="0">
                  <a:pos x="76" y="585"/>
                </a:cxn>
                <a:cxn ang="0">
                  <a:pos x="72" y="582"/>
                </a:cxn>
              </a:cxnLst>
              <a:rect l="0" t="0" r="r" b="b"/>
              <a:pathLst>
                <a:path w="536" h="586">
                  <a:moveTo>
                    <a:pt x="72" y="582"/>
                  </a:moveTo>
                  <a:lnTo>
                    <a:pt x="60" y="557"/>
                  </a:lnTo>
                  <a:cubicBezTo>
                    <a:pt x="59" y="556"/>
                    <a:pt x="59" y="554"/>
                    <a:pt x="60" y="553"/>
                  </a:cubicBezTo>
                  <a:lnTo>
                    <a:pt x="64" y="543"/>
                  </a:lnTo>
                  <a:lnTo>
                    <a:pt x="34" y="547"/>
                  </a:lnTo>
                  <a:cubicBezTo>
                    <a:pt x="33" y="547"/>
                    <a:pt x="31" y="546"/>
                    <a:pt x="30" y="545"/>
                  </a:cubicBezTo>
                  <a:cubicBezTo>
                    <a:pt x="29" y="543"/>
                    <a:pt x="29" y="542"/>
                    <a:pt x="30" y="540"/>
                  </a:cubicBezTo>
                  <a:lnTo>
                    <a:pt x="51" y="493"/>
                  </a:lnTo>
                  <a:lnTo>
                    <a:pt x="80" y="475"/>
                  </a:lnTo>
                  <a:lnTo>
                    <a:pt x="70" y="470"/>
                  </a:lnTo>
                  <a:cubicBezTo>
                    <a:pt x="68" y="469"/>
                    <a:pt x="67" y="467"/>
                    <a:pt x="68" y="465"/>
                  </a:cubicBezTo>
                  <a:lnTo>
                    <a:pt x="87" y="390"/>
                  </a:lnTo>
                  <a:lnTo>
                    <a:pt x="25" y="386"/>
                  </a:lnTo>
                  <a:cubicBezTo>
                    <a:pt x="24" y="386"/>
                    <a:pt x="22" y="385"/>
                    <a:pt x="21" y="384"/>
                  </a:cubicBezTo>
                  <a:lnTo>
                    <a:pt x="0" y="345"/>
                  </a:lnTo>
                  <a:cubicBezTo>
                    <a:pt x="0" y="344"/>
                    <a:pt x="0" y="342"/>
                    <a:pt x="1" y="340"/>
                  </a:cubicBezTo>
                  <a:lnTo>
                    <a:pt x="43" y="281"/>
                  </a:lnTo>
                  <a:lnTo>
                    <a:pt x="125" y="237"/>
                  </a:lnTo>
                  <a:lnTo>
                    <a:pt x="209" y="158"/>
                  </a:lnTo>
                  <a:cubicBezTo>
                    <a:pt x="210" y="157"/>
                    <a:pt x="211" y="157"/>
                    <a:pt x="212" y="157"/>
                  </a:cubicBezTo>
                  <a:cubicBezTo>
                    <a:pt x="213" y="157"/>
                    <a:pt x="213" y="157"/>
                    <a:pt x="214" y="157"/>
                  </a:cubicBezTo>
                  <a:lnTo>
                    <a:pt x="265" y="182"/>
                  </a:lnTo>
                  <a:lnTo>
                    <a:pt x="321" y="174"/>
                  </a:lnTo>
                  <a:lnTo>
                    <a:pt x="317" y="115"/>
                  </a:lnTo>
                  <a:cubicBezTo>
                    <a:pt x="317" y="114"/>
                    <a:pt x="318" y="113"/>
                    <a:pt x="319" y="112"/>
                  </a:cubicBezTo>
                  <a:cubicBezTo>
                    <a:pt x="319" y="111"/>
                    <a:pt x="321" y="110"/>
                    <a:pt x="322" y="110"/>
                  </a:cubicBezTo>
                  <a:lnTo>
                    <a:pt x="390" y="106"/>
                  </a:lnTo>
                  <a:lnTo>
                    <a:pt x="434" y="69"/>
                  </a:lnTo>
                  <a:lnTo>
                    <a:pt x="475" y="2"/>
                  </a:lnTo>
                  <a:cubicBezTo>
                    <a:pt x="476" y="1"/>
                    <a:pt x="477" y="0"/>
                    <a:pt x="478" y="0"/>
                  </a:cubicBezTo>
                  <a:lnTo>
                    <a:pt x="479" y="0"/>
                  </a:lnTo>
                  <a:cubicBezTo>
                    <a:pt x="480" y="0"/>
                    <a:pt x="481" y="1"/>
                    <a:pt x="482" y="1"/>
                  </a:cubicBezTo>
                  <a:lnTo>
                    <a:pt x="525" y="44"/>
                  </a:lnTo>
                  <a:lnTo>
                    <a:pt x="534" y="66"/>
                  </a:lnTo>
                  <a:cubicBezTo>
                    <a:pt x="535" y="68"/>
                    <a:pt x="534" y="70"/>
                    <a:pt x="533" y="71"/>
                  </a:cubicBezTo>
                  <a:lnTo>
                    <a:pt x="454" y="159"/>
                  </a:lnTo>
                  <a:lnTo>
                    <a:pt x="454" y="233"/>
                  </a:lnTo>
                  <a:cubicBezTo>
                    <a:pt x="454" y="235"/>
                    <a:pt x="453" y="236"/>
                    <a:pt x="452" y="237"/>
                  </a:cubicBezTo>
                  <a:lnTo>
                    <a:pt x="342" y="326"/>
                  </a:lnTo>
                  <a:lnTo>
                    <a:pt x="268" y="359"/>
                  </a:lnTo>
                  <a:lnTo>
                    <a:pt x="268" y="421"/>
                  </a:lnTo>
                  <a:lnTo>
                    <a:pt x="342" y="488"/>
                  </a:lnTo>
                  <a:cubicBezTo>
                    <a:pt x="343" y="489"/>
                    <a:pt x="344" y="490"/>
                    <a:pt x="344" y="491"/>
                  </a:cubicBezTo>
                  <a:cubicBezTo>
                    <a:pt x="344" y="493"/>
                    <a:pt x="343" y="494"/>
                    <a:pt x="342" y="495"/>
                  </a:cubicBezTo>
                  <a:lnTo>
                    <a:pt x="291" y="529"/>
                  </a:lnTo>
                  <a:lnTo>
                    <a:pt x="239" y="530"/>
                  </a:lnTo>
                  <a:lnTo>
                    <a:pt x="186" y="579"/>
                  </a:lnTo>
                  <a:cubicBezTo>
                    <a:pt x="185" y="580"/>
                    <a:pt x="184" y="581"/>
                    <a:pt x="182" y="581"/>
                  </a:cubicBezTo>
                  <a:lnTo>
                    <a:pt x="181" y="580"/>
                  </a:lnTo>
                  <a:lnTo>
                    <a:pt x="114" y="557"/>
                  </a:lnTo>
                  <a:lnTo>
                    <a:pt x="111" y="572"/>
                  </a:lnTo>
                  <a:cubicBezTo>
                    <a:pt x="111" y="574"/>
                    <a:pt x="109" y="576"/>
                    <a:pt x="108" y="576"/>
                  </a:cubicBezTo>
                  <a:lnTo>
                    <a:pt x="78" y="585"/>
                  </a:lnTo>
                  <a:cubicBezTo>
                    <a:pt x="77" y="585"/>
                    <a:pt x="77" y="585"/>
                    <a:pt x="76" y="585"/>
                  </a:cubicBezTo>
                  <a:cubicBezTo>
                    <a:pt x="75" y="585"/>
                    <a:pt x="73" y="584"/>
                    <a:pt x="72" y="582"/>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7" name="Freeform 582"/>
            <p:cNvSpPr>
              <a:spLocks noChangeArrowheads="1"/>
            </p:cNvSpPr>
            <p:nvPr/>
          </p:nvSpPr>
          <p:spPr bwMode="auto">
            <a:xfrm>
              <a:off x="7978775" y="2312988"/>
              <a:ext cx="193675" cy="211137"/>
            </a:xfrm>
            <a:custGeom>
              <a:avLst/>
              <a:gdLst/>
              <a:ahLst/>
              <a:cxnLst>
                <a:cxn ang="0">
                  <a:pos x="76" y="585"/>
                </a:cxn>
                <a:cxn ang="0">
                  <a:pos x="72" y="582"/>
                </a:cxn>
                <a:cxn ang="0">
                  <a:pos x="60" y="557"/>
                </a:cxn>
                <a:cxn ang="0">
                  <a:pos x="60" y="553"/>
                </a:cxn>
                <a:cxn ang="0">
                  <a:pos x="64" y="543"/>
                </a:cxn>
                <a:cxn ang="0">
                  <a:pos x="34" y="547"/>
                </a:cxn>
                <a:cxn ang="0">
                  <a:pos x="30" y="545"/>
                </a:cxn>
                <a:cxn ang="0">
                  <a:pos x="30" y="540"/>
                </a:cxn>
                <a:cxn ang="0">
                  <a:pos x="51" y="493"/>
                </a:cxn>
                <a:cxn ang="0">
                  <a:pos x="80" y="475"/>
                </a:cxn>
                <a:cxn ang="0">
                  <a:pos x="70" y="470"/>
                </a:cxn>
                <a:cxn ang="0">
                  <a:pos x="68" y="465"/>
                </a:cxn>
                <a:cxn ang="0">
                  <a:pos x="87" y="390"/>
                </a:cxn>
                <a:cxn ang="0">
                  <a:pos x="25" y="386"/>
                </a:cxn>
                <a:cxn ang="0">
                  <a:pos x="21" y="384"/>
                </a:cxn>
                <a:cxn ang="0">
                  <a:pos x="0" y="345"/>
                </a:cxn>
                <a:cxn ang="0">
                  <a:pos x="1" y="340"/>
                </a:cxn>
                <a:cxn ang="0">
                  <a:pos x="43" y="281"/>
                </a:cxn>
                <a:cxn ang="0">
                  <a:pos x="125" y="237"/>
                </a:cxn>
                <a:cxn ang="0">
                  <a:pos x="209" y="158"/>
                </a:cxn>
                <a:cxn ang="0">
                  <a:pos x="212" y="157"/>
                </a:cxn>
                <a:cxn ang="0">
                  <a:pos x="214" y="157"/>
                </a:cxn>
                <a:cxn ang="0">
                  <a:pos x="265" y="182"/>
                </a:cxn>
                <a:cxn ang="0">
                  <a:pos x="321" y="174"/>
                </a:cxn>
                <a:cxn ang="0">
                  <a:pos x="317" y="115"/>
                </a:cxn>
                <a:cxn ang="0">
                  <a:pos x="319" y="112"/>
                </a:cxn>
                <a:cxn ang="0">
                  <a:pos x="322" y="110"/>
                </a:cxn>
                <a:cxn ang="0">
                  <a:pos x="390" y="106"/>
                </a:cxn>
                <a:cxn ang="0">
                  <a:pos x="434" y="69"/>
                </a:cxn>
                <a:cxn ang="0">
                  <a:pos x="475" y="2"/>
                </a:cxn>
                <a:cxn ang="0">
                  <a:pos x="478" y="0"/>
                </a:cxn>
                <a:cxn ang="0">
                  <a:pos x="479" y="0"/>
                </a:cxn>
                <a:cxn ang="0">
                  <a:pos x="482" y="1"/>
                </a:cxn>
                <a:cxn ang="0">
                  <a:pos x="525" y="44"/>
                </a:cxn>
                <a:cxn ang="0">
                  <a:pos x="534" y="66"/>
                </a:cxn>
                <a:cxn ang="0">
                  <a:pos x="533" y="71"/>
                </a:cxn>
                <a:cxn ang="0">
                  <a:pos x="454" y="159"/>
                </a:cxn>
                <a:cxn ang="0">
                  <a:pos x="454" y="233"/>
                </a:cxn>
                <a:cxn ang="0">
                  <a:pos x="452" y="237"/>
                </a:cxn>
                <a:cxn ang="0">
                  <a:pos x="342" y="326"/>
                </a:cxn>
                <a:cxn ang="0">
                  <a:pos x="268" y="359"/>
                </a:cxn>
                <a:cxn ang="0">
                  <a:pos x="268" y="421"/>
                </a:cxn>
                <a:cxn ang="0">
                  <a:pos x="342" y="488"/>
                </a:cxn>
                <a:cxn ang="0">
                  <a:pos x="344" y="491"/>
                </a:cxn>
                <a:cxn ang="0">
                  <a:pos x="342" y="495"/>
                </a:cxn>
                <a:cxn ang="0">
                  <a:pos x="291" y="529"/>
                </a:cxn>
                <a:cxn ang="0">
                  <a:pos x="239" y="530"/>
                </a:cxn>
                <a:cxn ang="0">
                  <a:pos x="186" y="579"/>
                </a:cxn>
                <a:cxn ang="0">
                  <a:pos x="182" y="581"/>
                </a:cxn>
                <a:cxn ang="0">
                  <a:pos x="181" y="580"/>
                </a:cxn>
                <a:cxn ang="0">
                  <a:pos x="114" y="557"/>
                </a:cxn>
                <a:cxn ang="0">
                  <a:pos x="111" y="572"/>
                </a:cxn>
                <a:cxn ang="0">
                  <a:pos x="108" y="576"/>
                </a:cxn>
                <a:cxn ang="0">
                  <a:pos x="78" y="585"/>
                </a:cxn>
                <a:cxn ang="0">
                  <a:pos x="76" y="585"/>
                </a:cxn>
              </a:cxnLst>
              <a:rect l="0" t="0" r="r" b="b"/>
              <a:pathLst>
                <a:path w="536" h="586">
                  <a:moveTo>
                    <a:pt x="76" y="585"/>
                  </a:moveTo>
                  <a:cubicBezTo>
                    <a:pt x="75" y="585"/>
                    <a:pt x="73" y="584"/>
                    <a:pt x="72" y="582"/>
                  </a:cubicBezTo>
                  <a:lnTo>
                    <a:pt x="60" y="557"/>
                  </a:lnTo>
                  <a:cubicBezTo>
                    <a:pt x="59" y="556"/>
                    <a:pt x="59" y="554"/>
                    <a:pt x="60" y="553"/>
                  </a:cubicBezTo>
                  <a:lnTo>
                    <a:pt x="64" y="543"/>
                  </a:lnTo>
                  <a:lnTo>
                    <a:pt x="34" y="547"/>
                  </a:lnTo>
                  <a:cubicBezTo>
                    <a:pt x="33" y="547"/>
                    <a:pt x="31" y="546"/>
                    <a:pt x="30" y="545"/>
                  </a:cubicBezTo>
                  <a:cubicBezTo>
                    <a:pt x="29" y="543"/>
                    <a:pt x="29" y="542"/>
                    <a:pt x="30" y="540"/>
                  </a:cubicBezTo>
                  <a:lnTo>
                    <a:pt x="51" y="493"/>
                  </a:lnTo>
                  <a:lnTo>
                    <a:pt x="80" y="475"/>
                  </a:lnTo>
                  <a:lnTo>
                    <a:pt x="70" y="470"/>
                  </a:lnTo>
                  <a:cubicBezTo>
                    <a:pt x="68" y="469"/>
                    <a:pt x="67" y="467"/>
                    <a:pt x="68" y="465"/>
                  </a:cubicBezTo>
                  <a:lnTo>
                    <a:pt x="87" y="390"/>
                  </a:lnTo>
                  <a:lnTo>
                    <a:pt x="25" y="386"/>
                  </a:lnTo>
                  <a:cubicBezTo>
                    <a:pt x="24" y="386"/>
                    <a:pt x="22" y="385"/>
                    <a:pt x="21" y="384"/>
                  </a:cubicBezTo>
                  <a:lnTo>
                    <a:pt x="0" y="345"/>
                  </a:lnTo>
                  <a:cubicBezTo>
                    <a:pt x="0" y="344"/>
                    <a:pt x="0" y="342"/>
                    <a:pt x="1" y="340"/>
                  </a:cubicBezTo>
                  <a:lnTo>
                    <a:pt x="43" y="281"/>
                  </a:lnTo>
                  <a:lnTo>
                    <a:pt x="125" y="237"/>
                  </a:lnTo>
                  <a:lnTo>
                    <a:pt x="209" y="158"/>
                  </a:lnTo>
                  <a:cubicBezTo>
                    <a:pt x="210" y="157"/>
                    <a:pt x="211" y="157"/>
                    <a:pt x="212" y="157"/>
                  </a:cubicBezTo>
                  <a:cubicBezTo>
                    <a:pt x="213" y="157"/>
                    <a:pt x="213" y="157"/>
                    <a:pt x="214" y="157"/>
                  </a:cubicBezTo>
                  <a:lnTo>
                    <a:pt x="265" y="182"/>
                  </a:lnTo>
                  <a:lnTo>
                    <a:pt x="321" y="174"/>
                  </a:lnTo>
                  <a:lnTo>
                    <a:pt x="317" y="115"/>
                  </a:lnTo>
                  <a:cubicBezTo>
                    <a:pt x="317" y="114"/>
                    <a:pt x="318" y="113"/>
                    <a:pt x="319" y="112"/>
                  </a:cubicBezTo>
                  <a:cubicBezTo>
                    <a:pt x="319" y="111"/>
                    <a:pt x="321" y="110"/>
                    <a:pt x="322" y="110"/>
                  </a:cubicBezTo>
                  <a:lnTo>
                    <a:pt x="390" y="106"/>
                  </a:lnTo>
                  <a:lnTo>
                    <a:pt x="434" y="69"/>
                  </a:lnTo>
                  <a:lnTo>
                    <a:pt x="475" y="2"/>
                  </a:lnTo>
                  <a:cubicBezTo>
                    <a:pt x="476" y="1"/>
                    <a:pt x="477" y="0"/>
                    <a:pt x="478" y="0"/>
                  </a:cubicBezTo>
                  <a:lnTo>
                    <a:pt x="479" y="0"/>
                  </a:lnTo>
                  <a:cubicBezTo>
                    <a:pt x="480" y="0"/>
                    <a:pt x="481" y="1"/>
                    <a:pt x="482" y="1"/>
                  </a:cubicBezTo>
                  <a:lnTo>
                    <a:pt x="525" y="44"/>
                  </a:lnTo>
                  <a:lnTo>
                    <a:pt x="534" y="66"/>
                  </a:lnTo>
                  <a:cubicBezTo>
                    <a:pt x="535" y="68"/>
                    <a:pt x="534" y="70"/>
                    <a:pt x="533" y="71"/>
                  </a:cubicBezTo>
                  <a:lnTo>
                    <a:pt x="454" y="159"/>
                  </a:lnTo>
                  <a:lnTo>
                    <a:pt x="454" y="233"/>
                  </a:lnTo>
                  <a:cubicBezTo>
                    <a:pt x="454" y="235"/>
                    <a:pt x="453" y="236"/>
                    <a:pt x="452" y="237"/>
                  </a:cubicBezTo>
                  <a:lnTo>
                    <a:pt x="342" y="326"/>
                  </a:lnTo>
                  <a:lnTo>
                    <a:pt x="268" y="359"/>
                  </a:lnTo>
                  <a:lnTo>
                    <a:pt x="268" y="421"/>
                  </a:lnTo>
                  <a:lnTo>
                    <a:pt x="342" y="488"/>
                  </a:lnTo>
                  <a:cubicBezTo>
                    <a:pt x="343" y="489"/>
                    <a:pt x="344" y="490"/>
                    <a:pt x="344" y="491"/>
                  </a:cubicBezTo>
                  <a:cubicBezTo>
                    <a:pt x="344" y="493"/>
                    <a:pt x="343" y="494"/>
                    <a:pt x="342" y="495"/>
                  </a:cubicBezTo>
                  <a:lnTo>
                    <a:pt x="291" y="529"/>
                  </a:lnTo>
                  <a:lnTo>
                    <a:pt x="239" y="530"/>
                  </a:lnTo>
                  <a:lnTo>
                    <a:pt x="186" y="579"/>
                  </a:lnTo>
                  <a:cubicBezTo>
                    <a:pt x="185" y="580"/>
                    <a:pt x="184" y="581"/>
                    <a:pt x="182" y="581"/>
                  </a:cubicBezTo>
                  <a:lnTo>
                    <a:pt x="181" y="580"/>
                  </a:lnTo>
                  <a:lnTo>
                    <a:pt x="114" y="557"/>
                  </a:lnTo>
                  <a:lnTo>
                    <a:pt x="111" y="572"/>
                  </a:lnTo>
                  <a:cubicBezTo>
                    <a:pt x="111" y="574"/>
                    <a:pt x="109" y="576"/>
                    <a:pt x="108" y="576"/>
                  </a:cubicBezTo>
                  <a:lnTo>
                    <a:pt x="78" y="585"/>
                  </a:lnTo>
                  <a:cubicBezTo>
                    <a:pt x="77" y="585"/>
                    <a:pt x="77" y="585"/>
                    <a:pt x="76" y="58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8" name="Freeform 583"/>
            <p:cNvSpPr>
              <a:spLocks noChangeArrowheads="1"/>
            </p:cNvSpPr>
            <p:nvPr/>
          </p:nvSpPr>
          <p:spPr bwMode="auto">
            <a:xfrm>
              <a:off x="8034338" y="2679700"/>
              <a:ext cx="25400" cy="11113"/>
            </a:xfrm>
            <a:custGeom>
              <a:avLst/>
              <a:gdLst/>
              <a:ahLst/>
              <a:cxnLst>
                <a:cxn ang="0">
                  <a:pos x="4" y="27"/>
                </a:cxn>
                <a:cxn ang="0">
                  <a:pos x="0" y="21"/>
                </a:cxn>
                <a:cxn ang="0">
                  <a:pos x="4" y="4"/>
                </a:cxn>
                <a:cxn ang="0">
                  <a:pos x="9" y="0"/>
                </a:cxn>
                <a:cxn ang="0">
                  <a:pos x="64" y="0"/>
                </a:cxn>
                <a:cxn ang="0">
                  <a:pos x="69" y="4"/>
                </a:cxn>
                <a:cxn ang="0">
                  <a:pos x="66" y="9"/>
                </a:cxn>
                <a:cxn ang="0">
                  <a:pos x="24" y="31"/>
                </a:cxn>
                <a:cxn ang="0">
                  <a:pos x="22" y="31"/>
                </a:cxn>
                <a:cxn ang="0">
                  <a:pos x="21" y="31"/>
                </a:cxn>
                <a:cxn ang="0">
                  <a:pos x="4" y="27"/>
                </a:cxn>
              </a:cxnLst>
              <a:rect l="0" t="0" r="r" b="b"/>
              <a:pathLst>
                <a:path w="70" h="32">
                  <a:moveTo>
                    <a:pt x="4" y="27"/>
                  </a:moveTo>
                  <a:cubicBezTo>
                    <a:pt x="1" y="26"/>
                    <a:pt x="0" y="23"/>
                    <a:pt x="0" y="21"/>
                  </a:cubicBezTo>
                  <a:lnTo>
                    <a:pt x="4" y="4"/>
                  </a:lnTo>
                  <a:cubicBezTo>
                    <a:pt x="5" y="2"/>
                    <a:pt x="7" y="0"/>
                    <a:pt x="9" y="0"/>
                  </a:cubicBezTo>
                  <a:lnTo>
                    <a:pt x="64" y="0"/>
                  </a:lnTo>
                  <a:cubicBezTo>
                    <a:pt x="66" y="0"/>
                    <a:pt x="68" y="2"/>
                    <a:pt x="69" y="4"/>
                  </a:cubicBezTo>
                  <a:cubicBezTo>
                    <a:pt x="69" y="6"/>
                    <a:pt x="68" y="8"/>
                    <a:pt x="66" y="9"/>
                  </a:cubicBezTo>
                  <a:lnTo>
                    <a:pt x="24" y="31"/>
                  </a:lnTo>
                  <a:cubicBezTo>
                    <a:pt x="23" y="31"/>
                    <a:pt x="23" y="31"/>
                    <a:pt x="22" y="31"/>
                  </a:cubicBezTo>
                  <a:lnTo>
                    <a:pt x="21" y="31"/>
                  </a:lnTo>
                  <a:lnTo>
                    <a:pt x="4" y="27"/>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89" name="Freeform 584"/>
            <p:cNvSpPr>
              <a:spLocks noChangeArrowheads="1"/>
            </p:cNvSpPr>
            <p:nvPr/>
          </p:nvSpPr>
          <p:spPr bwMode="auto">
            <a:xfrm>
              <a:off x="8034338" y="2679700"/>
              <a:ext cx="25400" cy="11113"/>
            </a:xfrm>
            <a:custGeom>
              <a:avLst/>
              <a:gdLst/>
              <a:ahLst/>
              <a:cxnLst>
                <a:cxn ang="0">
                  <a:pos x="21" y="31"/>
                </a:cxn>
                <a:cxn ang="0">
                  <a:pos x="4" y="27"/>
                </a:cxn>
                <a:cxn ang="0">
                  <a:pos x="0" y="21"/>
                </a:cxn>
                <a:cxn ang="0">
                  <a:pos x="4" y="4"/>
                </a:cxn>
                <a:cxn ang="0">
                  <a:pos x="9" y="0"/>
                </a:cxn>
                <a:cxn ang="0">
                  <a:pos x="64" y="0"/>
                </a:cxn>
                <a:cxn ang="0">
                  <a:pos x="69" y="4"/>
                </a:cxn>
                <a:cxn ang="0">
                  <a:pos x="66" y="9"/>
                </a:cxn>
                <a:cxn ang="0">
                  <a:pos x="24" y="31"/>
                </a:cxn>
                <a:cxn ang="0">
                  <a:pos x="22" y="31"/>
                </a:cxn>
                <a:cxn ang="0">
                  <a:pos x="21" y="31"/>
                </a:cxn>
              </a:cxnLst>
              <a:rect l="0" t="0" r="r" b="b"/>
              <a:pathLst>
                <a:path w="70" h="32">
                  <a:moveTo>
                    <a:pt x="21" y="31"/>
                  </a:moveTo>
                  <a:lnTo>
                    <a:pt x="4" y="27"/>
                  </a:lnTo>
                  <a:cubicBezTo>
                    <a:pt x="1" y="26"/>
                    <a:pt x="0" y="23"/>
                    <a:pt x="0" y="21"/>
                  </a:cubicBezTo>
                  <a:lnTo>
                    <a:pt x="4" y="4"/>
                  </a:lnTo>
                  <a:cubicBezTo>
                    <a:pt x="5" y="2"/>
                    <a:pt x="7" y="0"/>
                    <a:pt x="9" y="0"/>
                  </a:cubicBezTo>
                  <a:lnTo>
                    <a:pt x="64" y="0"/>
                  </a:lnTo>
                  <a:cubicBezTo>
                    <a:pt x="66" y="0"/>
                    <a:pt x="68" y="2"/>
                    <a:pt x="69" y="4"/>
                  </a:cubicBezTo>
                  <a:cubicBezTo>
                    <a:pt x="69" y="6"/>
                    <a:pt x="68" y="8"/>
                    <a:pt x="66" y="9"/>
                  </a:cubicBezTo>
                  <a:lnTo>
                    <a:pt x="24" y="31"/>
                  </a:lnTo>
                  <a:cubicBezTo>
                    <a:pt x="23" y="31"/>
                    <a:pt x="23" y="31"/>
                    <a:pt x="22" y="31"/>
                  </a:cubicBezTo>
                  <a:lnTo>
                    <a:pt x="21" y="3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0" name="Freeform 585"/>
            <p:cNvSpPr>
              <a:spLocks noChangeArrowheads="1"/>
            </p:cNvSpPr>
            <p:nvPr/>
          </p:nvSpPr>
          <p:spPr bwMode="auto">
            <a:xfrm>
              <a:off x="8031163" y="2489200"/>
              <a:ext cx="107950" cy="157163"/>
            </a:xfrm>
            <a:custGeom>
              <a:avLst/>
              <a:gdLst/>
              <a:ahLst/>
              <a:cxnLst>
                <a:cxn ang="0">
                  <a:pos x="10" y="436"/>
                </a:cxn>
                <a:cxn ang="0">
                  <a:pos x="9" y="432"/>
                </a:cxn>
                <a:cxn ang="0">
                  <a:pos x="13" y="402"/>
                </a:cxn>
                <a:cxn ang="0">
                  <a:pos x="16" y="399"/>
                </a:cxn>
                <a:cxn ang="0">
                  <a:pos x="18" y="398"/>
                </a:cxn>
                <a:cxn ang="0">
                  <a:pos x="20" y="399"/>
                </a:cxn>
                <a:cxn ang="0">
                  <a:pos x="32" y="404"/>
                </a:cxn>
                <a:cxn ang="0">
                  <a:pos x="34" y="393"/>
                </a:cxn>
                <a:cxn ang="0">
                  <a:pos x="16" y="386"/>
                </a:cxn>
                <a:cxn ang="0">
                  <a:pos x="14" y="380"/>
                </a:cxn>
                <a:cxn ang="0">
                  <a:pos x="52" y="283"/>
                </a:cxn>
                <a:cxn ang="0">
                  <a:pos x="33" y="210"/>
                </a:cxn>
                <a:cxn ang="0">
                  <a:pos x="22" y="224"/>
                </a:cxn>
                <a:cxn ang="0">
                  <a:pos x="18" y="226"/>
                </a:cxn>
                <a:cxn ang="0">
                  <a:pos x="18" y="226"/>
                </a:cxn>
                <a:cxn ang="0">
                  <a:pos x="14" y="223"/>
                </a:cxn>
                <a:cxn ang="0">
                  <a:pos x="1" y="193"/>
                </a:cxn>
                <a:cxn ang="0">
                  <a:pos x="3" y="187"/>
                </a:cxn>
                <a:cxn ang="0">
                  <a:pos x="50" y="166"/>
                </a:cxn>
                <a:cxn ang="0">
                  <a:pos x="52" y="165"/>
                </a:cxn>
                <a:cxn ang="0">
                  <a:pos x="55" y="166"/>
                </a:cxn>
                <a:cxn ang="0">
                  <a:pos x="60" y="170"/>
                </a:cxn>
                <a:cxn ang="0">
                  <a:pos x="35" y="91"/>
                </a:cxn>
                <a:cxn ang="0">
                  <a:pos x="36" y="86"/>
                </a:cxn>
                <a:cxn ang="0">
                  <a:pos x="91" y="36"/>
                </a:cxn>
                <a:cxn ang="0">
                  <a:pos x="94" y="34"/>
                </a:cxn>
                <a:cxn ang="0">
                  <a:pos x="145" y="34"/>
                </a:cxn>
                <a:cxn ang="0">
                  <a:pos x="193" y="1"/>
                </a:cxn>
                <a:cxn ang="0">
                  <a:pos x="196" y="0"/>
                </a:cxn>
                <a:cxn ang="0">
                  <a:pos x="197" y="0"/>
                </a:cxn>
                <a:cxn ang="0">
                  <a:pos x="200" y="3"/>
                </a:cxn>
                <a:cxn ang="0">
                  <a:pos x="272" y="113"/>
                </a:cxn>
                <a:cxn ang="0">
                  <a:pos x="298" y="262"/>
                </a:cxn>
                <a:cxn ang="0">
                  <a:pos x="272" y="337"/>
                </a:cxn>
                <a:cxn ang="0">
                  <a:pos x="241" y="364"/>
                </a:cxn>
                <a:cxn ang="0">
                  <a:pos x="238" y="365"/>
                </a:cxn>
                <a:cxn ang="0">
                  <a:pos x="237" y="365"/>
                </a:cxn>
                <a:cxn ang="0">
                  <a:pos x="211" y="358"/>
                </a:cxn>
                <a:cxn ang="0">
                  <a:pos x="191" y="388"/>
                </a:cxn>
                <a:cxn ang="0">
                  <a:pos x="188" y="391"/>
                </a:cxn>
                <a:cxn ang="0">
                  <a:pos x="185" y="390"/>
                </a:cxn>
                <a:cxn ang="0">
                  <a:pos x="155" y="375"/>
                </a:cxn>
                <a:cxn ang="0">
                  <a:pos x="127" y="406"/>
                </a:cxn>
                <a:cxn ang="0">
                  <a:pos x="124" y="407"/>
                </a:cxn>
                <a:cxn ang="0">
                  <a:pos x="123" y="407"/>
                </a:cxn>
                <a:cxn ang="0">
                  <a:pos x="120" y="405"/>
                </a:cxn>
                <a:cxn ang="0">
                  <a:pos x="116" y="398"/>
                </a:cxn>
                <a:cxn ang="0">
                  <a:pos x="107" y="421"/>
                </a:cxn>
                <a:cxn ang="0">
                  <a:pos x="104" y="424"/>
                </a:cxn>
                <a:cxn ang="0">
                  <a:pos x="103" y="424"/>
                </a:cxn>
                <a:cxn ang="0">
                  <a:pos x="99" y="423"/>
                </a:cxn>
                <a:cxn ang="0">
                  <a:pos x="91" y="415"/>
                </a:cxn>
                <a:cxn ang="0">
                  <a:pos x="90" y="412"/>
                </a:cxn>
                <a:cxn ang="0">
                  <a:pos x="72" y="427"/>
                </a:cxn>
                <a:cxn ang="0">
                  <a:pos x="14" y="437"/>
                </a:cxn>
                <a:cxn ang="0">
                  <a:pos x="10" y="436"/>
                </a:cxn>
              </a:cxnLst>
              <a:rect l="0" t="0" r="r" b="b"/>
              <a:pathLst>
                <a:path w="299" h="438">
                  <a:moveTo>
                    <a:pt x="10" y="436"/>
                  </a:moveTo>
                  <a:cubicBezTo>
                    <a:pt x="10" y="435"/>
                    <a:pt x="9" y="433"/>
                    <a:pt x="9" y="432"/>
                  </a:cubicBezTo>
                  <a:lnTo>
                    <a:pt x="13" y="402"/>
                  </a:lnTo>
                  <a:cubicBezTo>
                    <a:pt x="14" y="401"/>
                    <a:pt x="15" y="399"/>
                    <a:pt x="16" y="399"/>
                  </a:cubicBezTo>
                  <a:cubicBezTo>
                    <a:pt x="17" y="398"/>
                    <a:pt x="17" y="398"/>
                    <a:pt x="18" y="398"/>
                  </a:cubicBezTo>
                  <a:cubicBezTo>
                    <a:pt x="19" y="398"/>
                    <a:pt x="20" y="398"/>
                    <a:pt x="20" y="399"/>
                  </a:cubicBezTo>
                  <a:lnTo>
                    <a:pt x="32" y="404"/>
                  </a:lnTo>
                  <a:lnTo>
                    <a:pt x="34" y="393"/>
                  </a:lnTo>
                  <a:lnTo>
                    <a:pt x="16" y="386"/>
                  </a:lnTo>
                  <a:cubicBezTo>
                    <a:pt x="14" y="385"/>
                    <a:pt x="13" y="382"/>
                    <a:pt x="14" y="380"/>
                  </a:cubicBezTo>
                  <a:lnTo>
                    <a:pt x="52" y="283"/>
                  </a:lnTo>
                  <a:lnTo>
                    <a:pt x="33" y="210"/>
                  </a:lnTo>
                  <a:lnTo>
                    <a:pt x="22" y="224"/>
                  </a:lnTo>
                  <a:cubicBezTo>
                    <a:pt x="21" y="225"/>
                    <a:pt x="20" y="226"/>
                    <a:pt x="18" y="226"/>
                  </a:cubicBezTo>
                  <a:lnTo>
                    <a:pt x="18" y="226"/>
                  </a:lnTo>
                  <a:cubicBezTo>
                    <a:pt x="16" y="225"/>
                    <a:pt x="14" y="224"/>
                    <a:pt x="14" y="223"/>
                  </a:cubicBezTo>
                  <a:lnTo>
                    <a:pt x="1" y="193"/>
                  </a:lnTo>
                  <a:cubicBezTo>
                    <a:pt x="0" y="191"/>
                    <a:pt x="1" y="188"/>
                    <a:pt x="3" y="187"/>
                  </a:cubicBezTo>
                  <a:lnTo>
                    <a:pt x="50" y="166"/>
                  </a:lnTo>
                  <a:cubicBezTo>
                    <a:pt x="51" y="166"/>
                    <a:pt x="51" y="165"/>
                    <a:pt x="52" y="165"/>
                  </a:cubicBezTo>
                  <a:cubicBezTo>
                    <a:pt x="53" y="165"/>
                    <a:pt x="54" y="166"/>
                    <a:pt x="55" y="166"/>
                  </a:cubicBezTo>
                  <a:lnTo>
                    <a:pt x="60" y="170"/>
                  </a:lnTo>
                  <a:lnTo>
                    <a:pt x="35" y="91"/>
                  </a:lnTo>
                  <a:cubicBezTo>
                    <a:pt x="34" y="89"/>
                    <a:pt x="35" y="88"/>
                    <a:pt x="36" y="86"/>
                  </a:cubicBezTo>
                  <a:lnTo>
                    <a:pt x="91" y="36"/>
                  </a:lnTo>
                  <a:cubicBezTo>
                    <a:pt x="92" y="35"/>
                    <a:pt x="93" y="34"/>
                    <a:pt x="94" y="34"/>
                  </a:cubicBezTo>
                  <a:lnTo>
                    <a:pt x="145" y="34"/>
                  </a:lnTo>
                  <a:lnTo>
                    <a:pt x="193" y="1"/>
                  </a:lnTo>
                  <a:cubicBezTo>
                    <a:pt x="194" y="1"/>
                    <a:pt x="195" y="0"/>
                    <a:pt x="196" y="0"/>
                  </a:cubicBezTo>
                  <a:lnTo>
                    <a:pt x="197" y="0"/>
                  </a:lnTo>
                  <a:cubicBezTo>
                    <a:pt x="198" y="1"/>
                    <a:pt x="199" y="1"/>
                    <a:pt x="200" y="3"/>
                  </a:cubicBezTo>
                  <a:lnTo>
                    <a:pt x="272" y="113"/>
                  </a:lnTo>
                  <a:lnTo>
                    <a:pt x="298" y="262"/>
                  </a:lnTo>
                  <a:lnTo>
                    <a:pt x="272" y="337"/>
                  </a:lnTo>
                  <a:lnTo>
                    <a:pt x="241" y="364"/>
                  </a:lnTo>
                  <a:cubicBezTo>
                    <a:pt x="241" y="365"/>
                    <a:pt x="239" y="365"/>
                    <a:pt x="238" y="365"/>
                  </a:cubicBezTo>
                  <a:cubicBezTo>
                    <a:pt x="238" y="365"/>
                    <a:pt x="238" y="365"/>
                    <a:pt x="237" y="365"/>
                  </a:cubicBezTo>
                  <a:lnTo>
                    <a:pt x="211" y="358"/>
                  </a:lnTo>
                  <a:lnTo>
                    <a:pt x="191" y="388"/>
                  </a:lnTo>
                  <a:cubicBezTo>
                    <a:pt x="191" y="390"/>
                    <a:pt x="189" y="391"/>
                    <a:pt x="188" y="391"/>
                  </a:cubicBezTo>
                  <a:cubicBezTo>
                    <a:pt x="187" y="391"/>
                    <a:pt x="186" y="390"/>
                    <a:pt x="185" y="390"/>
                  </a:cubicBezTo>
                  <a:lnTo>
                    <a:pt x="155" y="375"/>
                  </a:lnTo>
                  <a:lnTo>
                    <a:pt x="127" y="406"/>
                  </a:lnTo>
                  <a:cubicBezTo>
                    <a:pt x="127" y="407"/>
                    <a:pt x="125" y="407"/>
                    <a:pt x="124" y="407"/>
                  </a:cubicBezTo>
                  <a:lnTo>
                    <a:pt x="123" y="407"/>
                  </a:lnTo>
                  <a:cubicBezTo>
                    <a:pt x="122" y="407"/>
                    <a:pt x="120" y="406"/>
                    <a:pt x="120" y="405"/>
                  </a:cubicBezTo>
                  <a:lnTo>
                    <a:pt x="116" y="398"/>
                  </a:lnTo>
                  <a:lnTo>
                    <a:pt x="107" y="421"/>
                  </a:lnTo>
                  <a:cubicBezTo>
                    <a:pt x="107" y="423"/>
                    <a:pt x="105" y="424"/>
                    <a:pt x="104" y="424"/>
                  </a:cubicBezTo>
                  <a:lnTo>
                    <a:pt x="103" y="424"/>
                  </a:lnTo>
                  <a:cubicBezTo>
                    <a:pt x="102" y="424"/>
                    <a:pt x="100" y="424"/>
                    <a:pt x="99" y="423"/>
                  </a:cubicBezTo>
                  <a:lnTo>
                    <a:pt x="91" y="415"/>
                  </a:lnTo>
                  <a:cubicBezTo>
                    <a:pt x="90" y="414"/>
                    <a:pt x="90" y="413"/>
                    <a:pt x="90" y="412"/>
                  </a:cubicBezTo>
                  <a:lnTo>
                    <a:pt x="72" y="427"/>
                  </a:lnTo>
                  <a:lnTo>
                    <a:pt x="14" y="437"/>
                  </a:lnTo>
                  <a:cubicBezTo>
                    <a:pt x="13" y="437"/>
                    <a:pt x="11" y="437"/>
                    <a:pt x="10" y="436"/>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1" name="Freeform 586"/>
            <p:cNvSpPr>
              <a:spLocks noChangeArrowheads="1"/>
            </p:cNvSpPr>
            <p:nvPr/>
          </p:nvSpPr>
          <p:spPr bwMode="auto">
            <a:xfrm>
              <a:off x="8031163" y="2489200"/>
              <a:ext cx="107950" cy="157163"/>
            </a:xfrm>
            <a:custGeom>
              <a:avLst/>
              <a:gdLst/>
              <a:ahLst/>
              <a:cxnLst>
                <a:cxn ang="0">
                  <a:pos x="14" y="437"/>
                </a:cxn>
                <a:cxn ang="0">
                  <a:pos x="10" y="436"/>
                </a:cxn>
                <a:cxn ang="0">
                  <a:pos x="9" y="432"/>
                </a:cxn>
                <a:cxn ang="0">
                  <a:pos x="13" y="402"/>
                </a:cxn>
                <a:cxn ang="0">
                  <a:pos x="16" y="399"/>
                </a:cxn>
                <a:cxn ang="0">
                  <a:pos x="18" y="398"/>
                </a:cxn>
                <a:cxn ang="0">
                  <a:pos x="20" y="399"/>
                </a:cxn>
                <a:cxn ang="0">
                  <a:pos x="32" y="404"/>
                </a:cxn>
                <a:cxn ang="0">
                  <a:pos x="34" y="393"/>
                </a:cxn>
                <a:cxn ang="0">
                  <a:pos x="16" y="386"/>
                </a:cxn>
                <a:cxn ang="0">
                  <a:pos x="14" y="380"/>
                </a:cxn>
                <a:cxn ang="0">
                  <a:pos x="52" y="283"/>
                </a:cxn>
                <a:cxn ang="0">
                  <a:pos x="33" y="210"/>
                </a:cxn>
                <a:cxn ang="0">
                  <a:pos x="22" y="224"/>
                </a:cxn>
                <a:cxn ang="0">
                  <a:pos x="18" y="226"/>
                </a:cxn>
                <a:cxn ang="0">
                  <a:pos x="18" y="226"/>
                </a:cxn>
                <a:cxn ang="0">
                  <a:pos x="14" y="223"/>
                </a:cxn>
                <a:cxn ang="0">
                  <a:pos x="1" y="193"/>
                </a:cxn>
                <a:cxn ang="0">
                  <a:pos x="3" y="187"/>
                </a:cxn>
                <a:cxn ang="0">
                  <a:pos x="50" y="166"/>
                </a:cxn>
                <a:cxn ang="0">
                  <a:pos x="52" y="165"/>
                </a:cxn>
                <a:cxn ang="0">
                  <a:pos x="55" y="166"/>
                </a:cxn>
                <a:cxn ang="0">
                  <a:pos x="60" y="170"/>
                </a:cxn>
                <a:cxn ang="0">
                  <a:pos x="35" y="91"/>
                </a:cxn>
                <a:cxn ang="0">
                  <a:pos x="36" y="86"/>
                </a:cxn>
                <a:cxn ang="0">
                  <a:pos x="91" y="36"/>
                </a:cxn>
                <a:cxn ang="0">
                  <a:pos x="94" y="34"/>
                </a:cxn>
                <a:cxn ang="0">
                  <a:pos x="145" y="34"/>
                </a:cxn>
                <a:cxn ang="0">
                  <a:pos x="193" y="1"/>
                </a:cxn>
                <a:cxn ang="0">
                  <a:pos x="196" y="0"/>
                </a:cxn>
                <a:cxn ang="0">
                  <a:pos x="197" y="0"/>
                </a:cxn>
                <a:cxn ang="0">
                  <a:pos x="200" y="3"/>
                </a:cxn>
                <a:cxn ang="0">
                  <a:pos x="272" y="113"/>
                </a:cxn>
                <a:cxn ang="0">
                  <a:pos x="298" y="262"/>
                </a:cxn>
                <a:cxn ang="0">
                  <a:pos x="272" y="337"/>
                </a:cxn>
                <a:cxn ang="0">
                  <a:pos x="241" y="364"/>
                </a:cxn>
                <a:cxn ang="0">
                  <a:pos x="238" y="365"/>
                </a:cxn>
                <a:cxn ang="0">
                  <a:pos x="237" y="365"/>
                </a:cxn>
                <a:cxn ang="0">
                  <a:pos x="211" y="358"/>
                </a:cxn>
                <a:cxn ang="0">
                  <a:pos x="191" y="388"/>
                </a:cxn>
                <a:cxn ang="0">
                  <a:pos x="188" y="391"/>
                </a:cxn>
                <a:cxn ang="0">
                  <a:pos x="185" y="390"/>
                </a:cxn>
                <a:cxn ang="0">
                  <a:pos x="155" y="375"/>
                </a:cxn>
                <a:cxn ang="0">
                  <a:pos x="127" y="406"/>
                </a:cxn>
                <a:cxn ang="0">
                  <a:pos x="124" y="407"/>
                </a:cxn>
                <a:cxn ang="0">
                  <a:pos x="123" y="407"/>
                </a:cxn>
                <a:cxn ang="0">
                  <a:pos x="120" y="405"/>
                </a:cxn>
                <a:cxn ang="0">
                  <a:pos x="116" y="398"/>
                </a:cxn>
                <a:cxn ang="0">
                  <a:pos x="107" y="421"/>
                </a:cxn>
                <a:cxn ang="0">
                  <a:pos x="104" y="424"/>
                </a:cxn>
                <a:cxn ang="0">
                  <a:pos x="103" y="424"/>
                </a:cxn>
                <a:cxn ang="0">
                  <a:pos x="99" y="423"/>
                </a:cxn>
                <a:cxn ang="0">
                  <a:pos x="91" y="415"/>
                </a:cxn>
                <a:cxn ang="0">
                  <a:pos x="90" y="412"/>
                </a:cxn>
                <a:cxn ang="0">
                  <a:pos x="72" y="427"/>
                </a:cxn>
                <a:cxn ang="0">
                  <a:pos x="14" y="437"/>
                </a:cxn>
              </a:cxnLst>
              <a:rect l="0" t="0" r="r" b="b"/>
              <a:pathLst>
                <a:path w="299" h="438">
                  <a:moveTo>
                    <a:pt x="14" y="437"/>
                  </a:moveTo>
                  <a:cubicBezTo>
                    <a:pt x="13" y="437"/>
                    <a:pt x="11" y="437"/>
                    <a:pt x="10" y="436"/>
                  </a:cubicBezTo>
                  <a:cubicBezTo>
                    <a:pt x="10" y="435"/>
                    <a:pt x="9" y="433"/>
                    <a:pt x="9" y="432"/>
                  </a:cubicBezTo>
                  <a:lnTo>
                    <a:pt x="13" y="402"/>
                  </a:lnTo>
                  <a:cubicBezTo>
                    <a:pt x="14" y="401"/>
                    <a:pt x="15" y="399"/>
                    <a:pt x="16" y="399"/>
                  </a:cubicBezTo>
                  <a:cubicBezTo>
                    <a:pt x="17" y="398"/>
                    <a:pt x="17" y="398"/>
                    <a:pt x="18" y="398"/>
                  </a:cubicBezTo>
                  <a:cubicBezTo>
                    <a:pt x="19" y="398"/>
                    <a:pt x="20" y="398"/>
                    <a:pt x="20" y="399"/>
                  </a:cubicBezTo>
                  <a:lnTo>
                    <a:pt x="32" y="404"/>
                  </a:lnTo>
                  <a:lnTo>
                    <a:pt x="34" y="393"/>
                  </a:lnTo>
                  <a:lnTo>
                    <a:pt x="16" y="386"/>
                  </a:lnTo>
                  <a:cubicBezTo>
                    <a:pt x="14" y="385"/>
                    <a:pt x="13" y="382"/>
                    <a:pt x="14" y="380"/>
                  </a:cubicBezTo>
                  <a:lnTo>
                    <a:pt x="52" y="283"/>
                  </a:lnTo>
                  <a:lnTo>
                    <a:pt x="33" y="210"/>
                  </a:lnTo>
                  <a:lnTo>
                    <a:pt x="22" y="224"/>
                  </a:lnTo>
                  <a:cubicBezTo>
                    <a:pt x="21" y="225"/>
                    <a:pt x="20" y="226"/>
                    <a:pt x="18" y="226"/>
                  </a:cubicBezTo>
                  <a:lnTo>
                    <a:pt x="18" y="226"/>
                  </a:lnTo>
                  <a:cubicBezTo>
                    <a:pt x="16" y="225"/>
                    <a:pt x="14" y="224"/>
                    <a:pt x="14" y="223"/>
                  </a:cubicBezTo>
                  <a:lnTo>
                    <a:pt x="1" y="193"/>
                  </a:lnTo>
                  <a:cubicBezTo>
                    <a:pt x="0" y="191"/>
                    <a:pt x="1" y="188"/>
                    <a:pt x="3" y="187"/>
                  </a:cubicBezTo>
                  <a:lnTo>
                    <a:pt x="50" y="166"/>
                  </a:lnTo>
                  <a:cubicBezTo>
                    <a:pt x="51" y="166"/>
                    <a:pt x="51" y="165"/>
                    <a:pt x="52" y="165"/>
                  </a:cubicBezTo>
                  <a:cubicBezTo>
                    <a:pt x="53" y="165"/>
                    <a:pt x="54" y="166"/>
                    <a:pt x="55" y="166"/>
                  </a:cubicBezTo>
                  <a:lnTo>
                    <a:pt x="60" y="170"/>
                  </a:lnTo>
                  <a:lnTo>
                    <a:pt x="35" y="91"/>
                  </a:lnTo>
                  <a:cubicBezTo>
                    <a:pt x="34" y="89"/>
                    <a:pt x="35" y="88"/>
                    <a:pt x="36" y="86"/>
                  </a:cubicBezTo>
                  <a:lnTo>
                    <a:pt x="91" y="36"/>
                  </a:lnTo>
                  <a:cubicBezTo>
                    <a:pt x="92" y="35"/>
                    <a:pt x="93" y="34"/>
                    <a:pt x="94" y="34"/>
                  </a:cubicBezTo>
                  <a:lnTo>
                    <a:pt x="145" y="34"/>
                  </a:lnTo>
                  <a:lnTo>
                    <a:pt x="193" y="1"/>
                  </a:lnTo>
                  <a:cubicBezTo>
                    <a:pt x="194" y="1"/>
                    <a:pt x="195" y="0"/>
                    <a:pt x="196" y="0"/>
                  </a:cubicBezTo>
                  <a:lnTo>
                    <a:pt x="197" y="0"/>
                  </a:lnTo>
                  <a:cubicBezTo>
                    <a:pt x="198" y="1"/>
                    <a:pt x="199" y="1"/>
                    <a:pt x="200" y="3"/>
                  </a:cubicBezTo>
                  <a:lnTo>
                    <a:pt x="272" y="113"/>
                  </a:lnTo>
                  <a:lnTo>
                    <a:pt x="298" y="262"/>
                  </a:lnTo>
                  <a:lnTo>
                    <a:pt x="272" y="337"/>
                  </a:lnTo>
                  <a:lnTo>
                    <a:pt x="241" y="364"/>
                  </a:lnTo>
                  <a:cubicBezTo>
                    <a:pt x="241" y="365"/>
                    <a:pt x="239" y="365"/>
                    <a:pt x="238" y="365"/>
                  </a:cubicBezTo>
                  <a:cubicBezTo>
                    <a:pt x="238" y="365"/>
                    <a:pt x="238" y="365"/>
                    <a:pt x="237" y="365"/>
                  </a:cubicBezTo>
                  <a:lnTo>
                    <a:pt x="211" y="358"/>
                  </a:lnTo>
                  <a:lnTo>
                    <a:pt x="191" y="388"/>
                  </a:lnTo>
                  <a:cubicBezTo>
                    <a:pt x="191" y="390"/>
                    <a:pt x="189" y="391"/>
                    <a:pt x="188" y="391"/>
                  </a:cubicBezTo>
                  <a:cubicBezTo>
                    <a:pt x="187" y="391"/>
                    <a:pt x="186" y="390"/>
                    <a:pt x="185" y="390"/>
                  </a:cubicBezTo>
                  <a:lnTo>
                    <a:pt x="155" y="375"/>
                  </a:lnTo>
                  <a:lnTo>
                    <a:pt x="127" y="406"/>
                  </a:lnTo>
                  <a:cubicBezTo>
                    <a:pt x="127" y="407"/>
                    <a:pt x="125" y="407"/>
                    <a:pt x="124" y="407"/>
                  </a:cubicBezTo>
                  <a:lnTo>
                    <a:pt x="123" y="407"/>
                  </a:lnTo>
                  <a:cubicBezTo>
                    <a:pt x="122" y="407"/>
                    <a:pt x="120" y="406"/>
                    <a:pt x="120" y="405"/>
                  </a:cubicBezTo>
                  <a:lnTo>
                    <a:pt x="116" y="398"/>
                  </a:lnTo>
                  <a:lnTo>
                    <a:pt x="107" y="421"/>
                  </a:lnTo>
                  <a:cubicBezTo>
                    <a:pt x="107" y="423"/>
                    <a:pt x="105" y="424"/>
                    <a:pt x="104" y="424"/>
                  </a:cubicBezTo>
                  <a:lnTo>
                    <a:pt x="103" y="424"/>
                  </a:lnTo>
                  <a:cubicBezTo>
                    <a:pt x="102" y="424"/>
                    <a:pt x="100" y="424"/>
                    <a:pt x="99" y="423"/>
                  </a:cubicBezTo>
                  <a:lnTo>
                    <a:pt x="91" y="415"/>
                  </a:lnTo>
                  <a:cubicBezTo>
                    <a:pt x="90" y="414"/>
                    <a:pt x="90" y="413"/>
                    <a:pt x="90" y="412"/>
                  </a:cubicBezTo>
                  <a:lnTo>
                    <a:pt x="72" y="427"/>
                  </a:lnTo>
                  <a:lnTo>
                    <a:pt x="14" y="43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2" name="Freeform 587"/>
            <p:cNvSpPr>
              <a:spLocks noChangeArrowheads="1"/>
            </p:cNvSpPr>
            <p:nvPr/>
          </p:nvSpPr>
          <p:spPr bwMode="auto">
            <a:xfrm>
              <a:off x="7251700" y="3046413"/>
              <a:ext cx="222250" cy="273050"/>
            </a:xfrm>
            <a:custGeom>
              <a:avLst/>
              <a:gdLst/>
              <a:ahLst/>
              <a:cxnLst>
                <a:cxn ang="0">
                  <a:pos x="418" y="728"/>
                </a:cxn>
                <a:cxn ang="0">
                  <a:pos x="417" y="721"/>
                </a:cxn>
                <a:cxn ang="0">
                  <a:pos x="436" y="612"/>
                </a:cxn>
                <a:cxn ang="0">
                  <a:pos x="356" y="441"/>
                </a:cxn>
                <a:cxn ang="0">
                  <a:pos x="276" y="373"/>
                </a:cxn>
                <a:cxn ang="0">
                  <a:pos x="237" y="401"/>
                </a:cxn>
                <a:cxn ang="0">
                  <a:pos x="204" y="416"/>
                </a:cxn>
                <a:cxn ang="0">
                  <a:pos x="145" y="391"/>
                </a:cxn>
                <a:cxn ang="0">
                  <a:pos x="64" y="445"/>
                </a:cxn>
                <a:cxn ang="0">
                  <a:pos x="59" y="440"/>
                </a:cxn>
                <a:cxn ang="0">
                  <a:pos x="33" y="259"/>
                </a:cxn>
                <a:cxn ang="0">
                  <a:pos x="26" y="202"/>
                </a:cxn>
                <a:cxn ang="0">
                  <a:pos x="0" y="186"/>
                </a:cxn>
                <a:cxn ang="0">
                  <a:pos x="77" y="78"/>
                </a:cxn>
                <a:cxn ang="0">
                  <a:pos x="82" y="76"/>
                </a:cxn>
                <a:cxn ang="0">
                  <a:pos x="97" y="117"/>
                </a:cxn>
                <a:cxn ang="0">
                  <a:pos x="114" y="18"/>
                </a:cxn>
                <a:cxn ang="0">
                  <a:pos x="133" y="1"/>
                </a:cxn>
                <a:cxn ang="0">
                  <a:pos x="138" y="0"/>
                </a:cxn>
                <a:cxn ang="0">
                  <a:pos x="229" y="78"/>
                </a:cxn>
                <a:cxn ang="0">
                  <a:pos x="252" y="144"/>
                </a:cxn>
                <a:cxn ang="0">
                  <a:pos x="338" y="145"/>
                </a:cxn>
                <a:cxn ang="0">
                  <a:pos x="390" y="231"/>
                </a:cxn>
                <a:cxn ang="0">
                  <a:pos x="364" y="262"/>
                </a:cxn>
                <a:cxn ang="0">
                  <a:pos x="330" y="263"/>
                </a:cxn>
                <a:cxn ang="0">
                  <a:pos x="414" y="348"/>
                </a:cxn>
                <a:cxn ang="0">
                  <a:pos x="520" y="462"/>
                </a:cxn>
                <a:cxn ang="0">
                  <a:pos x="534" y="526"/>
                </a:cxn>
                <a:cxn ang="0">
                  <a:pos x="585" y="553"/>
                </a:cxn>
                <a:cxn ang="0">
                  <a:pos x="611" y="690"/>
                </a:cxn>
                <a:cxn ang="0">
                  <a:pos x="571" y="723"/>
                </a:cxn>
                <a:cxn ang="0">
                  <a:pos x="519" y="716"/>
                </a:cxn>
                <a:cxn ang="0">
                  <a:pos x="479" y="758"/>
                </a:cxn>
              </a:cxnLst>
              <a:rect l="0" t="0" r="r" b="b"/>
              <a:pathLst>
                <a:path w="616" h="759">
                  <a:moveTo>
                    <a:pt x="477" y="758"/>
                  </a:moveTo>
                  <a:lnTo>
                    <a:pt x="418" y="728"/>
                  </a:lnTo>
                  <a:cubicBezTo>
                    <a:pt x="416" y="727"/>
                    <a:pt x="415" y="726"/>
                    <a:pt x="415" y="725"/>
                  </a:cubicBezTo>
                  <a:cubicBezTo>
                    <a:pt x="415" y="723"/>
                    <a:pt x="415" y="722"/>
                    <a:pt x="417" y="721"/>
                  </a:cubicBezTo>
                  <a:lnTo>
                    <a:pt x="436" y="701"/>
                  </a:lnTo>
                  <a:lnTo>
                    <a:pt x="436" y="612"/>
                  </a:lnTo>
                  <a:lnTo>
                    <a:pt x="382" y="554"/>
                  </a:lnTo>
                  <a:lnTo>
                    <a:pt x="356" y="441"/>
                  </a:lnTo>
                  <a:lnTo>
                    <a:pt x="299" y="373"/>
                  </a:lnTo>
                  <a:lnTo>
                    <a:pt x="276" y="373"/>
                  </a:lnTo>
                  <a:lnTo>
                    <a:pt x="249" y="381"/>
                  </a:lnTo>
                  <a:lnTo>
                    <a:pt x="237" y="401"/>
                  </a:lnTo>
                  <a:lnTo>
                    <a:pt x="206" y="415"/>
                  </a:lnTo>
                  <a:cubicBezTo>
                    <a:pt x="205" y="415"/>
                    <a:pt x="204" y="416"/>
                    <a:pt x="204" y="416"/>
                  </a:cubicBezTo>
                  <a:cubicBezTo>
                    <a:pt x="203" y="416"/>
                    <a:pt x="202" y="415"/>
                    <a:pt x="202" y="415"/>
                  </a:cubicBezTo>
                  <a:lnTo>
                    <a:pt x="145" y="391"/>
                  </a:lnTo>
                  <a:lnTo>
                    <a:pt x="67" y="444"/>
                  </a:lnTo>
                  <a:cubicBezTo>
                    <a:pt x="66" y="445"/>
                    <a:pt x="65" y="445"/>
                    <a:pt x="64" y="445"/>
                  </a:cubicBezTo>
                  <a:cubicBezTo>
                    <a:pt x="63" y="445"/>
                    <a:pt x="62" y="445"/>
                    <a:pt x="62" y="444"/>
                  </a:cubicBezTo>
                  <a:cubicBezTo>
                    <a:pt x="60" y="444"/>
                    <a:pt x="59" y="442"/>
                    <a:pt x="59" y="440"/>
                  </a:cubicBezTo>
                  <a:lnTo>
                    <a:pt x="76" y="270"/>
                  </a:lnTo>
                  <a:lnTo>
                    <a:pt x="33" y="259"/>
                  </a:lnTo>
                  <a:cubicBezTo>
                    <a:pt x="31" y="258"/>
                    <a:pt x="30" y="257"/>
                    <a:pt x="30" y="255"/>
                  </a:cubicBezTo>
                  <a:lnTo>
                    <a:pt x="26" y="202"/>
                  </a:lnTo>
                  <a:lnTo>
                    <a:pt x="3" y="191"/>
                  </a:lnTo>
                  <a:cubicBezTo>
                    <a:pt x="1" y="190"/>
                    <a:pt x="0" y="188"/>
                    <a:pt x="0" y="186"/>
                  </a:cubicBezTo>
                  <a:lnTo>
                    <a:pt x="4" y="165"/>
                  </a:lnTo>
                  <a:lnTo>
                    <a:pt x="77" y="78"/>
                  </a:lnTo>
                  <a:cubicBezTo>
                    <a:pt x="78" y="77"/>
                    <a:pt x="80" y="76"/>
                    <a:pt x="81" y="76"/>
                  </a:cubicBezTo>
                  <a:lnTo>
                    <a:pt x="82" y="76"/>
                  </a:lnTo>
                  <a:cubicBezTo>
                    <a:pt x="84" y="77"/>
                    <a:pt x="85" y="78"/>
                    <a:pt x="86" y="80"/>
                  </a:cubicBezTo>
                  <a:lnTo>
                    <a:pt x="97" y="117"/>
                  </a:lnTo>
                  <a:lnTo>
                    <a:pt x="118" y="108"/>
                  </a:lnTo>
                  <a:lnTo>
                    <a:pt x="114" y="18"/>
                  </a:lnTo>
                  <a:cubicBezTo>
                    <a:pt x="114" y="16"/>
                    <a:pt x="115" y="15"/>
                    <a:pt x="116" y="14"/>
                  </a:cubicBezTo>
                  <a:lnTo>
                    <a:pt x="133" y="1"/>
                  </a:lnTo>
                  <a:cubicBezTo>
                    <a:pt x="134" y="0"/>
                    <a:pt x="135" y="0"/>
                    <a:pt x="136" y="0"/>
                  </a:cubicBezTo>
                  <a:cubicBezTo>
                    <a:pt x="137" y="0"/>
                    <a:pt x="137" y="0"/>
                    <a:pt x="138" y="0"/>
                  </a:cubicBezTo>
                  <a:lnTo>
                    <a:pt x="176" y="13"/>
                  </a:lnTo>
                  <a:lnTo>
                    <a:pt x="229" y="78"/>
                  </a:lnTo>
                  <a:lnTo>
                    <a:pt x="234" y="127"/>
                  </a:lnTo>
                  <a:lnTo>
                    <a:pt x="252" y="144"/>
                  </a:lnTo>
                  <a:lnTo>
                    <a:pt x="335" y="144"/>
                  </a:lnTo>
                  <a:cubicBezTo>
                    <a:pt x="336" y="144"/>
                    <a:pt x="338" y="144"/>
                    <a:pt x="338" y="145"/>
                  </a:cubicBezTo>
                  <a:lnTo>
                    <a:pt x="355" y="162"/>
                  </a:lnTo>
                  <a:lnTo>
                    <a:pt x="390" y="231"/>
                  </a:lnTo>
                  <a:cubicBezTo>
                    <a:pt x="391" y="233"/>
                    <a:pt x="391" y="235"/>
                    <a:pt x="389" y="237"/>
                  </a:cubicBezTo>
                  <a:lnTo>
                    <a:pt x="364" y="262"/>
                  </a:lnTo>
                  <a:cubicBezTo>
                    <a:pt x="363" y="263"/>
                    <a:pt x="362" y="263"/>
                    <a:pt x="361" y="263"/>
                  </a:cubicBezTo>
                  <a:lnTo>
                    <a:pt x="330" y="263"/>
                  </a:lnTo>
                  <a:lnTo>
                    <a:pt x="320" y="291"/>
                  </a:lnTo>
                  <a:lnTo>
                    <a:pt x="414" y="348"/>
                  </a:lnTo>
                  <a:lnTo>
                    <a:pt x="483" y="442"/>
                  </a:lnTo>
                  <a:lnTo>
                    <a:pt x="520" y="462"/>
                  </a:lnTo>
                  <a:cubicBezTo>
                    <a:pt x="521" y="463"/>
                    <a:pt x="522" y="464"/>
                    <a:pt x="522" y="465"/>
                  </a:cubicBezTo>
                  <a:lnTo>
                    <a:pt x="534" y="526"/>
                  </a:lnTo>
                  <a:lnTo>
                    <a:pt x="583" y="551"/>
                  </a:lnTo>
                  <a:cubicBezTo>
                    <a:pt x="584" y="551"/>
                    <a:pt x="585" y="552"/>
                    <a:pt x="585" y="553"/>
                  </a:cubicBezTo>
                  <a:lnTo>
                    <a:pt x="615" y="638"/>
                  </a:lnTo>
                  <a:lnTo>
                    <a:pt x="611" y="690"/>
                  </a:lnTo>
                  <a:cubicBezTo>
                    <a:pt x="611" y="692"/>
                    <a:pt x="610" y="693"/>
                    <a:pt x="609" y="694"/>
                  </a:cubicBezTo>
                  <a:lnTo>
                    <a:pt x="571" y="723"/>
                  </a:lnTo>
                  <a:cubicBezTo>
                    <a:pt x="570" y="724"/>
                    <a:pt x="569" y="724"/>
                    <a:pt x="568" y="724"/>
                  </a:cubicBezTo>
                  <a:lnTo>
                    <a:pt x="519" y="716"/>
                  </a:lnTo>
                  <a:lnTo>
                    <a:pt x="483" y="757"/>
                  </a:lnTo>
                  <a:cubicBezTo>
                    <a:pt x="482" y="758"/>
                    <a:pt x="480" y="758"/>
                    <a:pt x="479" y="758"/>
                  </a:cubicBezTo>
                  <a:cubicBezTo>
                    <a:pt x="478" y="758"/>
                    <a:pt x="478" y="758"/>
                    <a:pt x="477" y="758"/>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3" name="Freeform 588"/>
            <p:cNvSpPr>
              <a:spLocks noChangeArrowheads="1"/>
            </p:cNvSpPr>
            <p:nvPr/>
          </p:nvSpPr>
          <p:spPr bwMode="auto">
            <a:xfrm>
              <a:off x="7251700" y="3046413"/>
              <a:ext cx="222250" cy="273050"/>
            </a:xfrm>
            <a:custGeom>
              <a:avLst/>
              <a:gdLst/>
              <a:ahLst/>
              <a:cxnLst>
                <a:cxn ang="0">
                  <a:pos x="477" y="758"/>
                </a:cxn>
                <a:cxn ang="0">
                  <a:pos x="415" y="725"/>
                </a:cxn>
                <a:cxn ang="0">
                  <a:pos x="436" y="701"/>
                </a:cxn>
                <a:cxn ang="0">
                  <a:pos x="382" y="554"/>
                </a:cxn>
                <a:cxn ang="0">
                  <a:pos x="299" y="373"/>
                </a:cxn>
                <a:cxn ang="0">
                  <a:pos x="249" y="381"/>
                </a:cxn>
                <a:cxn ang="0">
                  <a:pos x="206" y="415"/>
                </a:cxn>
                <a:cxn ang="0">
                  <a:pos x="202" y="415"/>
                </a:cxn>
                <a:cxn ang="0">
                  <a:pos x="67" y="444"/>
                </a:cxn>
                <a:cxn ang="0">
                  <a:pos x="62" y="444"/>
                </a:cxn>
                <a:cxn ang="0">
                  <a:pos x="76" y="270"/>
                </a:cxn>
                <a:cxn ang="0">
                  <a:pos x="30" y="255"/>
                </a:cxn>
                <a:cxn ang="0">
                  <a:pos x="3" y="191"/>
                </a:cxn>
                <a:cxn ang="0">
                  <a:pos x="4" y="165"/>
                </a:cxn>
                <a:cxn ang="0">
                  <a:pos x="81" y="76"/>
                </a:cxn>
                <a:cxn ang="0">
                  <a:pos x="86" y="80"/>
                </a:cxn>
                <a:cxn ang="0">
                  <a:pos x="118" y="108"/>
                </a:cxn>
                <a:cxn ang="0">
                  <a:pos x="116" y="14"/>
                </a:cxn>
                <a:cxn ang="0">
                  <a:pos x="136" y="0"/>
                </a:cxn>
                <a:cxn ang="0">
                  <a:pos x="176" y="13"/>
                </a:cxn>
                <a:cxn ang="0">
                  <a:pos x="234" y="127"/>
                </a:cxn>
                <a:cxn ang="0">
                  <a:pos x="335" y="144"/>
                </a:cxn>
                <a:cxn ang="0">
                  <a:pos x="355" y="162"/>
                </a:cxn>
                <a:cxn ang="0">
                  <a:pos x="389" y="237"/>
                </a:cxn>
                <a:cxn ang="0">
                  <a:pos x="361" y="263"/>
                </a:cxn>
                <a:cxn ang="0">
                  <a:pos x="320" y="291"/>
                </a:cxn>
                <a:cxn ang="0">
                  <a:pos x="483" y="442"/>
                </a:cxn>
                <a:cxn ang="0">
                  <a:pos x="522" y="465"/>
                </a:cxn>
                <a:cxn ang="0">
                  <a:pos x="583" y="551"/>
                </a:cxn>
                <a:cxn ang="0">
                  <a:pos x="615" y="638"/>
                </a:cxn>
                <a:cxn ang="0">
                  <a:pos x="609" y="694"/>
                </a:cxn>
                <a:cxn ang="0">
                  <a:pos x="568" y="724"/>
                </a:cxn>
                <a:cxn ang="0">
                  <a:pos x="483" y="757"/>
                </a:cxn>
              </a:cxnLst>
              <a:rect l="0" t="0" r="r" b="b"/>
              <a:pathLst>
                <a:path w="616" h="759">
                  <a:moveTo>
                    <a:pt x="479" y="758"/>
                  </a:moveTo>
                  <a:cubicBezTo>
                    <a:pt x="478" y="758"/>
                    <a:pt x="478" y="758"/>
                    <a:pt x="477" y="758"/>
                  </a:cubicBezTo>
                  <a:lnTo>
                    <a:pt x="418" y="728"/>
                  </a:lnTo>
                  <a:cubicBezTo>
                    <a:pt x="416" y="727"/>
                    <a:pt x="415" y="726"/>
                    <a:pt x="415" y="725"/>
                  </a:cubicBezTo>
                  <a:cubicBezTo>
                    <a:pt x="415" y="723"/>
                    <a:pt x="415" y="722"/>
                    <a:pt x="417" y="721"/>
                  </a:cubicBezTo>
                  <a:lnTo>
                    <a:pt x="436" y="701"/>
                  </a:lnTo>
                  <a:lnTo>
                    <a:pt x="436" y="612"/>
                  </a:lnTo>
                  <a:lnTo>
                    <a:pt x="382" y="554"/>
                  </a:lnTo>
                  <a:lnTo>
                    <a:pt x="356" y="441"/>
                  </a:lnTo>
                  <a:lnTo>
                    <a:pt x="299" y="373"/>
                  </a:lnTo>
                  <a:lnTo>
                    <a:pt x="276" y="373"/>
                  </a:lnTo>
                  <a:lnTo>
                    <a:pt x="249" y="381"/>
                  </a:lnTo>
                  <a:lnTo>
                    <a:pt x="237" y="401"/>
                  </a:lnTo>
                  <a:lnTo>
                    <a:pt x="206" y="415"/>
                  </a:lnTo>
                  <a:cubicBezTo>
                    <a:pt x="205" y="415"/>
                    <a:pt x="204" y="416"/>
                    <a:pt x="204" y="416"/>
                  </a:cubicBezTo>
                  <a:cubicBezTo>
                    <a:pt x="203" y="416"/>
                    <a:pt x="202" y="415"/>
                    <a:pt x="202" y="415"/>
                  </a:cubicBezTo>
                  <a:lnTo>
                    <a:pt x="145" y="391"/>
                  </a:lnTo>
                  <a:lnTo>
                    <a:pt x="67" y="444"/>
                  </a:lnTo>
                  <a:cubicBezTo>
                    <a:pt x="66" y="445"/>
                    <a:pt x="65" y="445"/>
                    <a:pt x="64" y="445"/>
                  </a:cubicBezTo>
                  <a:cubicBezTo>
                    <a:pt x="63" y="445"/>
                    <a:pt x="62" y="445"/>
                    <a:pt x="62" y="444"/>
                  </a:cubicBezTo>
                  <a:cubicBezTo>
                    <a:pt x="60" y="444"/>
                    <a:pt x="59" y="442"/>
                    <a:pt x="59" y="440"/>
                  </a:cubicBezTo>
                  <a:lnTo>
                    <a:pt x="76" y="270"/>
                  </a:lnTo>
                  <a:lnTo>
                    <a:pt x="33" y="259"/>
                  </a:lnTo>
                  <a:cubicBezTo>
                    <a:pt x="31" y="258"/>
                    <a:pt x="30" y="257"/>
                    <a:pt x="30" y="255"/>
                  </a:cubicBezTo>
                  <a:lnTo>
                    <a:pt x="26" y="202"/>
                  </a:lnTo>
                  <a:lnTo>
                    <a:pt x="3" y="191"/>
                  </a:lnTo>
                  <a:cubicBezTo>
                    <a:pt x="1" y="190"/>
                    <a:pt x="0" y="188"/>
                    <a:pt x="0" y="186"/>
                  </a:cubicBezTo>
                  <a:lnTo>
                    <a:pt x="4" y="165"/>
                  </a:lnTo>
                  <a:lnTo>
                    <a:pt x="77" y="78"/>
                  </a:lnTo>
                  <a:cubicBezTo>
                    <a:pt x="78" y="77"/>
                    <a:pt x="80" y="76"/>
                    <a:pt x="81" y="76"/>
                  </a:cubicBezTo>
                  <a:lnTo>
                    <a:pt x="82" y="76"/>
                  </a:lnTo>
                  <a:cubicBezTo>
                    <a:pt x="84" y="77"/>
                    <a:pt x="85" y="78"/>
                    <a:pt x="86" y="80"/>
                  </a:cubicBezTo>
                  <a:lnTo>
                    <a:pt x="97" y="117"/>
                  </a:lnTo>
                  <a:lnTo>
                    <a:pt x="118" y="108"/>
                  </a:lnTo>
                  <a:lnTo>
                    <a:pt x="114" y="18"/>
                  </a:lnTo>
                  <a:cubicBezTo>
                    <a:pt x="114" y="16"/>
                    <a:pt x="115" y="15"/>
                    <a:pt x="116" y="14"/>
                  </a:cubicBezTo>
                  <a:lnTo>
                    <a:pt x="133" y="1"/>
                  </a:lnTo>
                  <a:cubicBezTo>
                    <a:pt x="134" y="0"/>
                    <a:pt x="135" y="0"/>
                    <a:pt x="136" y="0"/>
                  </a:cubicBezTo>
                  <a:cubicBezTo>
                    <a:pt x="137" y="0"/>
                    <a:pt x="137" y="0"/>
                    <a:pt x="138" y="0"/>
                  </a:cubicBezTo>
                  <a:lnTo>
                    <a:pt x="176" y="13"/>
                  </a:lnTo>
                  <a:lnTo>
                    <a:pt x="229" y="78"/>
                  </a:lnTo>
                  <a:lnTo>
                    <a:pt x="234" y="127"/>
                  </a:lnTo>
                  <a:lnTo>
                    <a:pt x="252" y="144"/>
                  </a:lnTo>
                  <a:lnTo>
                    <a:pt x="335" y="144"/>
                  </a:lnTo>
                  <a:cubicBezTo>
                    <a:pt x="336" y="144"/>
                    <a:pt x="338" y="144"/>
                    <a:pt x="338" y="145"/>
                  </a:cubicBezTo>
                  <a:lnTo>
                    <a:pt x="355" y="162"/>
                  </a:lnTo>
                  <a:lnTo>
                    <a:pt x="390" y="231"/>
                  </a:lnTo>
                  <a:cubicBezTo>
                    <a:pt x="391" y="233"/>
                    <a:pt x="391" y="235"/>
                    <a:pt x="389" y="237"/>
                  </a:cubicBezTo>
                  <a:lnTo>
                    <a:pt x="364" y="262"/>
                  </a:lnTo>
                  <a:cubicBezTo>
                    <a:pt x="363" y="263"/>
                    <a:pt x="362" y="263"/>
                    <a:pt x="361" y="263"/>
                  </a:cubicBezTo>
                  <a:lnTo>
                    <a:pt x="330" y="263"/>
                  </a:lnTo>
                  <a:lnTo>
                    <a:pt x="320" y="291"/>
                  </a:lnTo>
                  <a:lnTo>
                    <a:pt x="414" y="348"/>
                  </a:lnTo>
                  <a:lnTo>
                    <a:pt x="483" y="442"/>
                  </a:lnTo>
                  <a:lnTo>
                    <a:pt x="520" y="462"/>
                  </a:lnTo>
                  <a:cubicBezTo>
                    <a:pt x="521" y="463"/>
                    <a:pt x="522" y="464"/>
                    <a:pt x="522" y="465"/>
                  </a:cubicBezTo>
                  <a:lnTo>
                    <a:pt x="534" y="526"/>
                  </a:lnTo>
                  <a:lnTo>
                    <a:pt x="583" y="551"/>
                  </a:lnTo>
                  <a:cubicBezTo>
                    <a:pt x="584" y="551"/>
                    <a:pt x="585" y="552"/>
                    <a:pt x="585" y="553"/>
                  </a:cubicBezTo>
                  <a:lnTo>
                    <a:pt x="615" y="638"/>
                  </a:lnTo>
                  <a:lnTo>
                    <a:pt x="611" y="690"/>
                  </a:lnTo>
                  <a:cubicBezTo>
                    <a:pt x="611" y="692"/>
                    <a:pt x="610" y="693"/>
                    <a:pt x="609" y="694"/>
                  </a:cubicBezTo>
                  <a:lnTo>
                    <a:pt x="571" y="723"/>
                  </a:lnTo>
                  <a:cubicBezTo>
                    <a:pt x="570" y="724"/>
                    <a:pt x="569" y="724"/>
                    <a:pt x="568" y="724"/>
                  </a:cubicBezTo>
                  <a:lnTo>
                    <a:pt x="519" y="716"/>
                  </a:lnTo>
                  <a:lnTo>
                    <a:pt x="483" y="757"/>
                  </a:lnTo>
                  <a:cubicBezTo>
                    <a:pt x="482" y="758"/>
                    <a:pt x="480" y="758"/>
                    <a:pt x="479" y="75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4" name="Freeform 589"/>
            <p:cNvSpPr>
              <a:spLocks noChangeArrowheads="1"/>
            </p:cNvSpPr>
            <p:nvPr/>
          </p:nvSpPr>
          <p:spPr bwMode="auto">
            <a:xfrm>
              <a:off x="7535863" y="3530600"/>
              <a:ext cx="293687" cy="182563"/>
            </a:xfrm>
            <a:custGeom>
              <a:avLst/>
              <a:gdLst/>
              <a:ahLst/>
              <a:cxnLst>
                <a:cxn ang="0">
                  <a:pos x="37" y="482"/>
                </a:cxn>
                <a:cxn ang="0">
                  <a:pos x="2" y="408"/>
                </a:cxn>
                <a:cxn ang="0">
                  <a:pos x="10" y="402"/>
                </a:cxn>
                <a:cxn ang="0">
                  <a:pos x="43" y="429"/>
                </a:cxn>
                <a:cxn ang="0">
                  <a:pos x="132" y="389"/>
                </a:cxn>
                <a:cxn ang="0">
                  <a:pos x="155" y="385"/>
                </a:cxn>
                <a:cxn ang="0">
                  <a:pos x="174" y="339"/>
                </a:cxn>
                <a:cxn ang="0">
                  <a:pos x="349" y="235"/>
                </a:cxn>
                <a:cxn ang="0">
                  <a:pos x="369" y="195"/>
                </a:cxn>
                <a:cxn ang="0">
                  <a:pos x="373" y="196"/>
                </a:cxn>
                <a:cxn ang="0">
                  <a:pos x="446" y="181"/>
                </a:cxn>
                <a:cxn ang="0">
                  <a:pos x="450" y="178"/>
                </a:cxn>
                <a:cxn ang="0">
                  <a:pos x="477" y="200"/>
                </a:cxn>
                <a:cxn ang="0">
                  <a:pos x="469" y="171"/>
                </a:cxn>
                <a:cxn ang="0">
                  <a:pos x="488" y="129"/>
                </a:cxn>
                <a:cxn ang="0">
                  <a:pos x="517" y="115"/>
                </a:cxn>
                <a:cxn ang="0">
                  <a:pos x="599" y="0"/>
                </a:cxn>
                <a:cxn ang="0">
                  <a:pos x="603" y="5"/>
                </a:cxn>
                <a:cxn ang="0">
                  <a:pos x="629" y="2"/>
                </a:cxn>
                <a:cxn ang="0">
                  <a:pos x="633" y="0"/>
                </a:cxn>
                <a:cxn ang="0">
                  <a:pos x="650" y="28"/>
                </a:cxn>
                <a:cxn ang="0">
                  <a:pos x="680" y="47"/>
                </a:cxn>
                <a:cxn ang="0">
                  <a:pos x="709" y="81"/>
                </a:cxn>
                <a:cxn ang="0">
                  <a:pos x="714" y="85"/>
                </a:cxn>
                <a:cxn ang="0">
                  <a:pos x="729" y="102"/>
                </a:cxn>
                <a:cxn ang="0">
                  <a:pos x="815" y="149"/>
                </a:cxn>
                <a:cxn ang="0">
                  <a:pos x="771" y="178"/>
                </a:cxn>
                <a:cxn ang="0">
                  <a:pos x="755" y="214"/>
                </a:cxn>
                <a:cxn ang="0">
                  <a:pos x="753" y="221"/>
                </a:cxn>
                <a:cxn ang="0">
                  <a:pos x="709" y="238"/>
                </a:cxn>
                <a:cxn ang="0">
                  <a:pos x="684" y="227"/>
                </a:cxn>
                <a:cxn ang="0">
                  <a:pos x="671" y="238"/>
                </a:cxn>
                <a:cxn ang="0">
                  <a:pos x="627" y="221"/>
                </a:cxn>
                <a:cxn ang="0">
                  <a:pos x="438" y="426"/>
                </a:cxn>
                <a:cxn ang="0">
                  <a:pos x="389" y="469"/>
                </a:cxn>
                <a:cxn ang="0">
                  <a:pos x="274" y="458"/>
                </a:cxn>
                <a:cxn ang="0">
                  <a:pos x="178" y="503"/>
                </a:cxn>
                <a:cxn ang="0">
                  <a:pos x="82" y="504"/>
                </a:cxn>
              </a:cxnLst>
              <a:rect l="0" t="0" r="r" b="b"/>
              <a:pathLst>
                <a:path w="816" h="505">
                  <a:moveTo>
                    <a:pt x="82" y="504"/>
                  </a:moveTo>
                  <a:lnTo>
                    <a:pt x="37" y="482"/>
                  </a:lnTo>
                  <a:lnTo>
                    <a:pt x="1" y="413"/>
                  </a:lnTo>
                  <a:cubicBezTo>
                    <a:pt x="0" y="411"/>
                    <a:pt x="1" y="409"/>
                    <a:pt x="2" y="408"/>
                  </a:cubicBezTo>
                  <a:lnTo>
                    <a:pt x="6" y="404"/>
                  </a:lnTo>
                  <a:cubicBezTo>
                    <a:pt x="7" y="403"/>
                    <a:pt x="9" y="402"/>
                    <a:pt x="10" y="402"/>
                  </a:cubicBezTo>
                  <a:cubicBezTo>
                    <a:pt x="11" y="402"/>
                    <a:pt x="12" y="403"/>
                    <a:pt x="13" y="403"/>
                  </a:cubicBezTo>
                  <a:lnTo>
                    <a:pt x="43" y="429"/>
                  </a:lnTo>
                  <a:lnTo>
                    <a:pt x="121" y="444"/>
                  </a:lnTo>
                  <a:lnTo>
                    <a:pt x="132" y="389"/>
                  </a:lnTo>
                  <a:cubicBezTo>
                    <a:pt x="133" y="387"/>
                    <a:pt x="135" y="385"/>
                    <a:pt x="137" y="385"/>
                  </a:cubicBezTo>
                  <a:lnTo>
                    <a:pt x="155" y="385"/>
                  </a:lnTo>
                  <a:lnTo>
                    <a:pt x="171" y="342"/>
                  </a:lnTo>
                  <a:cubicBezTo>
                    <a:pt x="171" y="340"/>
                    <a:pt x="173" y="339"/>
                    <a:pt x="174" y="339"/>
                  </a:cubicBezTo>
                  <a:lnTo>
                    <a:pt x="276" y="322"/>
                  </a:lnTo>
                  <a:lnTo>
                    <a:pt x="349" y="235"/>
                  </a:lnTo>
                  <a:lnTo>
                    <a:pt x="366" y="198"/>
                  </a:lnTo>
                  <a:cubicBezTo>
                    <a:pt x="366" y="196"/>
                    <a:pt x="367" y="195"/>
                    <a:pt x="369" y="195"/>
                  </a:cubicBezTo>
                  <a:lnTo>
                    <a:pt x="370" y="195"/>
                  </a:lnTo>
                  <a:cubicBezTo>
                    <a:pt x="371" y="195"/>
                    <a:pt x="372" y="196"/>
                    <a:pt x="373" y="196"/>
                  </a:cubicBezTo>
                  <a:lnTo>
                    <a:pt x="419" y="238"/>
                  </a:lnTo>
                  <a:lnTo>
                    <a:pt x="446" y="181"/>
                  </a:lnTo>
                  <a:cubicBezTo>
                    <a:pt x="447" y="179"/>
                    <a:pt x="448" y="178"/>
                    <a:pt x="449" y="178"/>
                  </a:cubicBezTo>
                  <a:cubicBezTo>
                    <a:pt x="450" y="178"/>
                    <a:pt x="450" y="178"/>
                    <a:pt x="450" y="178"/>
                  </a:cubicBezTo>
                  <a:cubicBezTo>
                    <a:pt x="452" y="178"/>
                    <a:pt x="453" y="178"/>
                    <a:pt x="454" y="179"/>
                  </a:cubicBezTo>
                  <a:lnTo>
                    <a:pt x="477" y="200"/>
                  </a:lnTo>
                  <a:lnTo>
                    <a:pt x="467" y="176"/>
                  </a:lnTo>
                  <a:cubicBezTo>
                    <a:pt x="467" y="174"/>
                    <a:pt x="467" y="172"/>
                    <a:pt x="469" y="171"/>
                  </a:cubicBezTo>
                  <a:lnTo>
                    <a:pt x="492" y="151"/>
                  </a:lnTo>
                  <a:lnTo>
                    <a:pt x="488" y="129"/>
                  </a:lnTo>
                  <a:cubicBezTo>
                    <a:pt x="488" y="126"/>
                    <a:pt x="489" y="124"/>
                    <a:pt x="491" y="123"/>
                  </a:cubicBezTo>
                  <a:lnTo>
                    <a:pt x="517" y="115"/>
                  </a:lnTo>
                  <a:lnTo>
                    <a:pt x="595" y="2"/>
                  </a:lnTo>
                  <a:cubicBezTo>
                    <a:pt x="596" y="1"/>
                    <a:pt x="597" y="0"/>
                    <a:pt x="599" y="0"/>
                  </a:cubicBezTo>
                  <a:cubicBezTo>
                    <a:pt x="599" y="0"/>
                    <a:pt x="600" y="0"/>
                    <a:pt x="600" y="1"/>
                  </a:cubicBezTo>
                  <a:cubicBezTo>
                    <a:pt x="602" y="1"/>
                    <a:pt x="603" y="3"/>
                    <a:pt x="603" y="5"/>
                  </a:cubicBezTo>
                  <a:lnTo>
                    <a:pt x="603" y="24"/>
                  </a:lnTo>
                  <a:lnTo>
                    <a:pt x="629" y="2"/>
                  </a:lnTo>
                  <a:cubicBezTo>
                    <a:pt x="630" y="1"/>
                    <a:pt x="632" y="0"/>
                    <a:pt x="633" y="0"/>
                  </a:cubicBezTo>
                  <a:lnTo>
                    <a:pt x="633" y="0"/>
                  </a:lnTo>
                  <a:cubicBezTo>
                    <a:pt x="635" y="1"/>
                    <a:pt x="636" y="2"/>
                    <a:pt x="637" y="3"/>
                  </a:cubicBezTo>
                  <a:lnTo>
                    <a:pt x="650" y="28"/>
                  </a:lnTo>
                  <a:lnTo>
                    <a:pt x="677" y="43"/>
                  </a:lnTo>
                  <a:cubicBezTo>
                    <a:pt x="679" y="44"/>
                    <a:pt x="680" y="46"/>
                    <a:pt x="680" y="47"/>
                  </a:cubicBezTo>
                  <a:lnTo>
                    <a:pt x="680" y="84"/>
                  </a:lnTo>
                  <a:lnTo>
                    <a:pt x="709" y="81"/>
                  </a:lnTo>
                  <a:cubicBezTo>
                    <a:pt x="710" y="81"/>
                    <a:pt x="711" y="81"/>
                    <a:pt x="712" y="82"/>
                  </a:cubicBezTo>
                  <a:cubicBezTo>
                    <a:pt x="713" y="83"/>
                    <a:pt x="714" y="84"/>
                    <a:pt x="714" y="85"/>
                  </a:cubicBezTo>
                  <a:lnTo>
                    <a:pt x="714" y="105"/>
                  </a:lnTo>
                  <a:lnTo>
                    <a:pt x="729" y="102"/>
                  </a:lnTo>
                  <a:lnTo>
                    <a:pt x="813" y="145"/>
                  </a:lnTo>
                  <a:cubicBezTo>
                    <a:pt x="814" y="146"/>
                    <a:pt x="815" y="147"/>
                    <a:pt x="815" y="149"/>
                  </a:cubicBezTo>
                  <a:cubicBezTo>
                    <a:pt x="815" y="151"/>
                    <a:pt x="814" y="152"/>
                    <a:pt x="813" y="153"/>
                  </a:cubicBezTo>
                  <a:lnTo>
                    <a:pt x="771" y="178"/>
                  </a:lnTo>
                  <a:lnTo>
                    <a:pt x="734" y="179"/>
                  </a:lnTo>
                  <a:lnTo>
                    <a:pt x="755" y="214"/>
                  </a:lnTo>
                  <a:cubicBezTo>
                    <a:pt x="756" y="215"/>
                    <a:pt x="756" y="217"/>
                    <a:pt x="756" y="218"/>
                  </a:cubicBezTo>
                  <a:cubicBezTo>
                    <a:pt x="755" y="220"/>
                    <a:pt x="754" y="220"/>
                    <a:pt x="753" y="221"/>
                  </a:cubicBezTo>
                  <a:lnTo>
                    <a:pt x="711" y="238"/>
                  </a:lnTo>
                  <a:cubicBezTo>
                    <a:pt x="710" y="238"/>
                    <a:pt x="710" y="238"/>
                    <a:pt x="709" y="238"/>
                  </a:cubicBezTo>
                  <a:cubicBezTo>
                    <a:pt x="708" y="238"/>
                    <a:pt x="707" y="238"/>
                    <a:pt x="707" y="238"/>
                  </a:cubicBezTo>
                  <a:lnTo>
                    <a:pt x="684" y="227"/>
                  </a:lnTo>
                  <a:lnTo>
                    <a:pt x="674" y="237"/>
                  </a:lnTo>
                  <a:cubicBezTo>
                    <a:pt x="673" y="238"/>
                    <a:pt x="672" y="238"/>
                    <a:pt x="671" y="238"/>
                  </a:cubicBezTo>
                  <a:cubicBezTo>
                    <a:pt x="670" y="238"/>
                    <a:pt x="670" y="238"/>
                    <a:pt x="669" y="238"/>
                  </a:cubicBezTo>
                  <a:lnTo>
                    <a:pt x="627" y="221"/>
                  </a:lnTo>
                  <a:lnTo>
                    <a:pt x="526" y="225"/>
                  </a:lnTo>
                  <a:lnTo>
                    <a:pt x="438" y="426"/>
                  </a:lnTo>
                  <a:lnTo>
                    <a:pt x="416" y="452"/>
                  </a:lnTo>
                  <a:lnTo>
                    <a:pt x="389" y="469"/>
                  </a:lnTo>
                  <a:lnTo>
                    <a:pt x="324" y="483"/>
                  </a:lnTo>
                  <a:lnTo>
                    <a:pt x="274" y="458"/>
                  </a:lnTo>
                  <a:lnTo>
                    <a:pt x="234" y="458"/>
                  </a:lnTo>
                  <a:lnTo>
                    <a:pt x="178" y="503"/>
                  </a:lnTo>
                  <a:cubicBezTo>
                    <a:pt x="177" y="503"/>
                    <a:pt x="176" y="504"/>
                    <a:pt x="175" y="504"/>
                  </a:cubicBezTo>
                  <a:lnTo>
                    <a:pt x="82" y="504"/>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5" name="Freeform 590"/>
            <p:cNvSpPr>
              <a:spLocks noChangeArrowheads="1"/>
            </p:cNvSpPr>
            <p:nvPr/>
          </p:nvSpPr>
          <p:spPr bwMode="auto">
            <a:xfrm>
              <a:off x="7535863" y="3530600"/>
              <a:ext cx="293687" cy="182563"/>
            </a:xfrm>
            <a:custGeom>
              <a:avLst/>
              <a:gdLst/>
              <a:ahLst/>
              <a:cxnLst>
                <a:cxn ang="0">
                  <a:pos x="37" y="482"/>
                </a:cxn>
                <a:cxn ang="0">
                  <a:pos x="2" y="408"/>
                </a:cxn>
                <a:cxn ang="0">
                  <a:pos x="10" y="402"/>
                </a:cxn>
                <a:cxn ang="0">
                  <a:pos x="43" y="429"/>
                </a:cxn>
                <a:cxn ang="0">
                  <a:pos x="132" y="389"/>
                </a:cxn>
                <a:cxn ang="0">
                  <a:pos x="155" y="385"/>
                </a:cxn>
                <a:cxn ang="0">
                  <a:pos x="174" y="339"/>
                </a:cxn>
                <a:cxn ang="0">
                  <a:pos x="349" y="235"/>
                </a:cxn>
                <a:cxn ang="0">
                  <a:pos x="369" y="195"/>
                </a:cxn>
                <a:cxn ang="0">
                  <a:pos x="373" y="196"/>
                </a:cxn>
                <a:cxn ang="0">
                  <a:pos x="446" y="181"/>
                </a:cxn>
                <a:cxn ang="0">
                  <a:pos x="450" y="178"/>
                </a:cxn>
                <a:cxn ang="0">
                  <a:pos x="477" y="200"/>
                </a:cxn>
                <a:cxn ang="0">
                  <a:pos x="469" y="171"/>
                </a:cxn>
                <a:cxn ang="0">
                  <a:pos x="488" y="129"/>
                </a:cxn>
                <a:cxn ang="0">
                  <a:pos x="517" y="115"/>
                </a:cxn>
                <a:cxn ang="0">
                  <a:pos x="599" y="0"/>
                </a:cxn>
                <a:cxn ang="0">
                  <a:pos x="603" y="5"/>
                </a:cxn>
                <a:cxn ang="0">
                  <a:pos x="629" y="2"/>
                </a:cxn>
                <a:cxn ang="0">
                  <a:pos x="633" y="0"/>
                </a:cxn>
                <a:cxn ang="0">
                  <a:pos x="650" y="28"/>
                </a:cxn>
                <a:cxn ang="0">
                  <a:pos x="680" y="47"/>
                </a:cxn>
                <a:cxn ang="0">
                  <a:pos x="709" y="81"/>
                </a:cxn>
                <a:cxn ang="0">
                  <a:pos x="714" y="85"/>
                </a:cxn>
                <a:cxn ang="0">
                  <a:pos x="729" y="102"/>
                </a:cxn>
                <a:cxn ang="0">
                  <a:pos x="815" y="149"/>
                </a:cxn>
                <a:cxn ang="0">
                  <a:pos x="771" y="178"/>
                </a:cxn>
                <a:cxn ang="0">
                  <a:pos x="755" y="214"/>
                </a:cxn>
                <a:cxn ang="0">
                  <a:pos x="753" y="221"/>
                </a:cxn>
                <a:cxn ang="0">
                  <a:pos x="709" y="238"/>
                </a:cxn>
                <a:cxn ang="0">
                  <a:pos x="684" y="227"/>
                </a:cxn>
                <a:cxn ang="0">
                  <a:pos x="671" y="238"/>
                </a:cxn>
                <a:cxn ang="0">
                  <a:pos x="627" y="221"/>
                </a:cxn>
                <a:cxn ang="0">
                  <a:pos x="438" y="426"/>
                </a:cxn>
                <a:cxn ang="0">
                  <a:pos x="389" y="469"/>
                </a:cxn>
                <a:cxn ang="0">
                  <a:pos x="274" y="458"/>
                </a:cxn>
                <a:cxn ang="0">
                  <a:pos x="178" y="503"/>
                </a:cxn>
                <a:cxn ang="0">
                  <a:pos x="82" y="504"/>
                </a:cxn>
              </a:cxnLst>
              <a:rect l="0" t="0" r="r" b="b"/>
              <a:pathLst>
                <a:path w="816" h="505">
                  <a:moveTo>
                    <a:pt x="82" y="504"/>
                  </a:moveTo>
                  <a:lnTo>
                    <a:pt x="37" y="482"/>
                  </a:lnTo>
                  <a:lnTo>
                    <a:pt x="1" y="413"/>
                  </a:lnTo>
                  <a:cubicBezTo>
                    <a:pt x="0" y="411"/>
                    <a:pt x="1" y="409"/>
                    <a:pt x="2" y="408"/>
                  </a:cubicBezTo>
                  <a:lnTo>
                    <a:pt x="6" y="404"/>
                  </a:lnTo>
                  <a:cubicBezTo>
                    <a:pt x="7" y="403"/>
                    <a:pt x="9" y="402"/>
                    <a:pt x="10" y="402"/>
                  </a:cubicBezTo>
                  <a:cubicBezTo>
                    <a:pt x="11" y="402"/>
                    <a:pt x="12" y="403"/>
                    <a:pt x="13" y="403"/>
                  </a:cubicBezTo>
                  <a:lnTo>
                    <a:pt x="43" y="429"/>
                  </a:lnTo>
                  <a:lnTo>
                    <a:pt x="121" y="444"/>
                  </a:lnTo>
                  <a:lnTo>
                    <a:pt x="132" y="389"/>
                  </a:lnTo>
                  <a:cubicBezTo>
                    <a:pt x="133" y="387"/>
                    <a:pt x="135" y="385"/>
                    <a:pt x="137" y="385"/>
                  </a:cubicBezTo>
                  <a:lnTo>
                    <a:pt x="155" y="385"/>
                  </a:lnTo>
                  <a:lnTo>
                    <a:pt x="171" y="342"/>
                  </a:lnTo>
                  <a:cubicBezTo>
                    <a:pt x="171" y="340"/>
                    <a:pt x="173" y="339"/>
                    <a:pt x="174" y="339"/>
                  </a:cubicBezTo>
                  <a:lnTo>
                    <a:pt x="276" y="322"/>
                  </a:lnTo>
                  <a:lnTo>
                    <a:pt x="349" y="235"/>
                  </a:lnTo>
                  <a:lnTo>
                    <a:pt x="366" y="198"/>
                  </a:lnTo>
                  <a:cubicBezTo>
                    <a:pt x="366" y="196"/>
                    <a:pt x="367" y="195"/>
                    <a:pt x="369" y="195"/>
                  </a:cubicBezTo>
                  <a:lnTo>
                    <a:pt x="370" y="195"/>
                  </a:lnTo>
                  <a:cubicBezTo>
                    <a:pt x="371" y="195"/>
                    <a:pt x="372" y="196"/>
                    <a:pt x="373" y="196"/>
                  </a:cubicBezTo>
                  <a:lnTo>
                    <a:pt x="419" y="238"/>
                  </a:lnTo>
                  <a:lnTo>
                    <a:pt x="446" y="181"/>
                  </a:lnTo>
                  <a:cubicBezTo>
                    <a:pt x="447" y="179"/>
                    <a:pt x="448" y="178"/>
                    <a:pt x="449" y="178"/>
                  </a:cubicBezTo>
                  <a:cubicBezTo>
                    <a:pt x="450" y="178"/>
                    <a:pt x="450" y="178"/>
                    <a:pt x="450" y="178"/>
                  </a:cubicBezTo>
                  <a:cubicBezTo>
                    <a:pt x="452" y="178"/>
                    <a:pt x="453" y="178"/>
                    <a:pt x="454" y="179"/>
                  </a:cubicBezTo>
                  <a:lnTo>
                    <a:pt x="477" y="200"/>
                  </a:lnTo>
                  <a:lnTo>
                    <a:pt x="467" y="176"/>
                  </a:lnTo>
                  <a:cubicBezTo>
                    <a:pt x="467" y="174"/>
                    <a:pt x="467" y="172"/>
                    <a:pt x="469" y="171"/>
                  </a:cubicBezTo>
                  <a:lnTo>
                    <a:pt x="492" y="151"/>
                  </a:lnTo>
                  <a:lnTo>
                    <a:pt x="488" y="129"/>
                  </a:lnTo>
                  <a:cubicBezTo>
                    <a:pt x="488" y="126"/>
                    <a:pt x="489" y="124"/>
                    <a:pt x="491" y="123"/>
                  </a:cubicBezTo>
                  <a:lnTo>
                    <a:pt x="517" y="115"/>
                  </a:lnTo>
                  <a:lnTo>
                    <a:pt x="595" y="2"/>
                  </a:lnTo>
                  <a:cubicBezTo>
                    <a:pt x="596" y="1"/>
                    <a:pt x="597" y="0"/>
                    <a:pt x="599" y="0"/>
                  </a:cubicBezTo>
                  <a:cubicBezTo>
                    <a:pt x="599" y="0"/>
                    <a:pt x="600" y="0"/>
                    <a:pt x="600" y="1"/>
                  </a:cubicBezTo>
                  <a:cubicBezTo>
                    <a:pt x="602" y="1"/>
                    <a:pt x="603" y="3"/>
                    <a:pt x="603" y="5"/>
                  </a:cubicBezTo>
                  <a:lnTo>
                    <a:pt x="603" y="24"/>
                  </a:lnTo>
                  <a:lnTo>
                    <a:pt x="629" y="2"/>
                  </a:lnTo>
                  <a:cubicBezTo>
                    <a:pt x="630" y="1"/>
                    <a:pt x="632" y="0"/>
                    <a:pt x="633" y="0"/>
                  </a:cubicBezTo>
                  <a:lnTo>
                    <a:pt x="633" y="0"/>
                  </a:lnTo>
                  <a:cubicBezTo>
                    <a:pt x="635" y="1"/>
                    <a:pt x="636" y="2"/>
                    <a:pt x="637" y="3"/>
                  </a:cubicBezTo>
                  <a:lnTo>
                    <a:pt x="650" y="28"/>
                  </a:lnTo>
                  <a:lnTo>
                    <a:pt x="677" y="43"/>
                  </a:lnTo>
                  <a:cubicBezTo>
                    <a:pt x="679" y="44"/>
                    <a:pt x="680" y="46"/>
                    <a:pt x="680" y="47"/>
                  </a:cubicBezTo>
                  <a:lnTo>
                    <a:pt x="680" y="84"/>
                  </a:lnTo>
                  <a:lnTo>
                    <a:pt x="709" y="81"/>
                  </a:lnTo>
                  <a:cubicBezTo>
                    <a:pt x="710" y="81"/>
                    <a:pt x="711" y="81"/>
                    <a:pt x="712" y="82"/>
                  </a:cubicBezTo>
                  <a:cubicBezTo>
                    <a:pt x="713" y="83"/>
                    <a:pt x="714" y="84"/>
                    <a:pt x="714" y="85"/>
                  </a:cubicBezTo>
                  <a:lnTo>
                    <a:pt x="714" y="105"/>
                  </a:lnTo>
                  <a:lnTo>
                    <a:pt x="729" y="102"/>
                  </a:lnTo>
                  <a:lnTo>
                    <a:pt x="813" y="145"/>
                  </a:lnTo>
                  <a:cubicBezTo>
                    <a:pt x="814" y="146"/>
                    <a:pt x="815" y="147"/>
                    <a:pt x="815" y="149"/>
                  </a:cubicBezTo>
                  <a:cubicBezTo>
                    <a:pt x="815" y="151"/>
                    <a:pt x="814" y="152"/>
                    <a:pt x="813" y="153"/>
                  </a:cubicBezTo>
                  <a:lnTo>
                    <a:pt x="771" y="178"/>
                  </a:lnTo>
                  <a:lnTo>
                    <a:pt x="734" y="179"/>
                  </a:lnTo>
                  <a:lnTo>
                    <a:pt x="755" y="214"/>
                  </a:lnTo>
                  <a:cubicBezTo>
                    <a:pt x="756" y="215"/>
                    <a:pt x="756" y="217"/>
                    <a:pt x="756" y="218"/>
                  </a:cubicBezTo>
                  <a:cubicBezTo>
                    <a:pt x="755" y="220"/>
                    <a:pt x="754" y="220"/>
                    <a:pt x="753" y="221"/>
                  </a:cubicBezTo>
                  <a:lnTo>
                    <a:pt x="711" y="238"/>
                  </a:lnTo>
                  <a:cubicBezTo>
                    <a:pt x="710" y="238"/>
                    <a:pt x="710" y="238"/>
                    <a:pt x="709" y="238"/>
                  </a:cubicBezTo>
                  <a:cubicBezTo>
                    <a:pt x="708" y="238"/>
                    <a:pt x="707" y="238"/>
                    <a:pt x="707" y="238"/>
                  </a:cubicBezTo>
                  <a:lnTo>
                    <a:pt x="684" y="227"/>
                  </a:lnTo>
                  <a:lnTo>
                    <a:pt x="674" y="237"/>
                  </a:lnTo>
                  <a:cubicBezTo>
                    <a:pt x="673" y="238"/>
                    <a:pt x="672" y="238"/>
                    <a:pt x="671" y="238"/>
                  </a:cubicBezTo>
                  <a:cubicBezTo>
                    <a:pt x="670" y="238"/>
                    <a:pt x="670" y="238"/>
                    <a:pt x="669" y="238"/>
                  </a:cubicBezTo>
                  <a:lnTo>
                    <a:pt x="627" y="221"/>
                  </a:lnTo>
                  <a:lnTo>
                    <a:pt x="526" y="225"/>
                  </a:lnTo>
                  <a:lnTo>
                    <a:pt x="438" y="426"/>
                  </a:lnTo>
                  <a:lnTo>
                    <a:pt x="416" y="452"/>
                  </a:lnTo>
                  <a:lnTo>
                    <a:pt x="389" y="469"/>
                  </a:lnTo>
                  <a:lnTo>
                    <a:pt x="324" y="483"/>
                  </a:lnTo>
                  <a:lnTo>
                    <a:pt x="274" y="458"/>
                  </a:lnTo>
                  <a:lnTo>
                    <a:pt x="234" y="458"/>
                  </a:lnTo>
                  <a:lnTo>
                    <a:pt x="178" y="503"/>
                  </a:lnTo>
                  <a:cubicBezTo>
                    <a:pt x="177" y="503"/>
                    <a:pt x="176" y="504"/>
                    <a:pt x="175" y="504"/>
                  </a:cubicBezTo>
                  <a:lnTo>
                    <a:pt x="82" y="50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6" name="Freeform 591"/>
            <p:cNvSpPr>
              <a:spLocks noChangeArrowheads="1"/>
            </p:cNvSpPr>
            <p:nvPr/>
          </p:nvSpPr>
          <p:spPr bwMode="auto">
            <a:xfrm>
              <a:off x="7251700" y="3536950"/>
              <a:ext cx="127000" cy="160338"/>
            </a:xfrm>
            <a:custGeom>
              <a:avLst/>
              <a:gdLst/>
              <a:ahLst/>
              <a:cxnLst>
                <a:cxn ang="0">
                  <a:pos x="273" y="445"/>
                </a:cxn>
                <a:cxn ang="0">
                  <a:pos x="99" y="326"/>
                </a:cxn>
                <a:cxn ang="0">
                  <a:pos x="34" y="202"/>
                </a:cxn>
                <a:cxn ang="0">
                  <a:pos x="4" y="27"/>
                </a:cxn>
                <a:cxn ang="0">
                  <a:pos x="0" y="6"/>
                </a:cxn>
                <a:cxn ang="0">
                  <a:pos x="2" y="2"/>
                </a:cxn>
                <a:cxn ang="0">
                  <a:pos x="5" y="0"/>
                </a:cxn>
                <a:cxn ang="0">
                  <a:pos x="6" y="1"/>
                </a:cxn>
                <a:cxn ang="0">
                  <a:pos x="74" y="22"/>
                </a:cxn>
                <a:cxn ang="0">
                  <a:pos x="77" y="25"/>
                </a:cxn>
                <a:cxn ang="0">
                  <a:pos x="96" y="82"/>
                </a:cxn>
                <a:cxn ang="0">
                  <a:pos x="120" y="65"/>
                </a:cxn>
                <a:cxn ang="0">
                  <a:pos x="155" y="64"/>
                </a:cxn>
                <a:cxn ang="0">
                  <a:pos x="170" y="44"/>
                </a:cxn>
                <a:cxn ang="0">
                  <a:pos x="174" y="43"/>
                </a:cxn>
                <a:cxn ang="0">
                  <a:pos x="187" y="43"/>
                </a:cxn>
                <a:cxn ang="0">
                  <a:pos x="190" y="44"/>
                </a:cxn>
                <a:cxn ang="0">
                  <a:pos x="245" y="90"/>
                </a:cxn>
                <a:cxn ang="0">
                  <a:pos x="280" y="142"/>
                </a:cxn>
                <a:cxn ang="0">
                  <a:pos x="280" y="293"/>
                </a:cxn>
                <a:cxn ang="0">
                  <a:pos x="352" y="404"/>
                </a:cxn>
                <a:cxn ang="0">
                  <a:pos x="352" y="409"/>
                </a:cxn>
                <a:cxn ang="0">
                  <a:pos x="340" y="442"/>
                </a:cxn>
                <a:cxn ang="0">
                  <a:pos x="337" y="445"/>
                </a:cxn>
                <a:cxn ang="0">
                  <a:pos x="335" y="445"/>
                </a:cxn>
                <a:cxn ang="0">
                  <a:pos x="333" y="445"/>
                </a:cxn>
                <a:cxn ang="0">
                  <a:pos x="305" y="433"/>
                </a:cxn>
                <a:cxn ang="0">
                  <a:pos x="278" y="445"/>
                </a:cxn>
                <a:cxn ang="0">
                  <a:pos x="276" y="445"/>
                </a:cxn>
                <a:cxn ang="0">
                  <a:pos x="273" y="445"/>
                </a:cxn>
              </a:cxnLst>
              <a:rect l="0" t="0" r="r" b="b"/>
              <a:pathLst>
                <a:path w="354" h="446">
                  <a:moveTo>
                    <a:pt x="273" y="445"/>
                  </a:moveTo>
                  <a:lnTo>
                    <a:pt x="99" y="326"/>
                  </a:lnTo>
                  <a:lnTo>
                    <a:pt x="34" y="202"/>
                  </a:lnTo>
                  <a:lnTo>
                    <a:pt x="4" y="27"/>
                  </a:lnTo>
                  <a:lnTo>
                    <a:pt x="0" y="6"/>
                  </a:lnTo>
                  <a:cubicBezTo>
                    <a:pt x="0" y="4"/>
                    <a:pt x="0" y="2"/>
                    <a:pt x="2" y="2"/>
                  </a:cubicBezTo>
                  <a:cubicBezTo>
                    <a:pt x="2" y="1"/>
                    <a:pt x="4" y="0"/>
                    <a:pt x="5" y="0"/>
                  </a:cubicBezTo>
                  <a:cubicBezTo>
                    <a:pt x="5" y="0"/>
                    <a:pt x="6" y="0"/>
                    <a:pt x="6" y="1"/>
                  </a:cubicBezTo>
                  <a:lnTo>
                    <a:pt x="74" y="22"/>
                  </a:lnTo>
                  <a:cubicBezTo>
                    <a:pt x="75" y="22"/>
                    <a:pt x="76" y="23"/>
                    <a:pt x="77" y="25"/>
                  </a:cubicBezTo>
                  <a:lnTo>
                    <a:pt x="96" y="82"/>
                  </a:lnTo>
                  <a:lnTo>
                    <a:pt x="120" y="65"/>
                  </a:lnTo>
                  <a:lnTo>
                    <a:pt x="155" y="64"/>
                  </a:lnTo>
                  <a:lnTo>
                    <a:pt x="170" y="44"/>
                  </a:lnTo>
                  <a:cubicBezTo>
                    <a:pt x="171" y="43"/>
                    <a:pt x="173" y="43"/>
                    <a:pt x="174" y="43"/>
                  </a:cubicBezTo>
                  <a:lnTo>
                    <a:pt x="187" y="43"/>
                  </a:lnTo>
                  <a:cubicBezTo>
                    <a:pt x="188" y="43"/>
                    <a:pt x="189" y="43"/>
                    <a:pt x="190" y="44"/>
                  </a:cubicBezTo>
                  <a:lnTo>
                    <a:pt x="245" y="90"/>
                  </a:lnTo>
                  <a:lnTo>
                    <a:pt x="280" y="142"/>
                  </a:lnTo>
                  <a:lnTo>
                    <a:pt x="280" y="293"/>
                  </a:lnTo>
                  <a:lnTo>
                    <a:pt x="352" y="404"/>
                  </a:lnTo>
                  <a:cubicBezTo>
                    <a:pt x="352" y="406"/>
                    <a:pt x="353" y="407"/>
                    <a:pt x="352" y="409"/>
                  </a:cubicBezTo>
                  <a:lnTo>
                    <a:pt x="340" y="442"/>
                  </a:lnTo>
                  <a:cubicBezTo>
                    <a:pt x="339" y="444"/>
                    <a:pt x="338" y="445"/>
                    <a:pt x="337" y="445"/>
                  </a:cubicBezTo>
                  <a:cubicBezTo>
                    <a:pt x="336" y="445"/>
                    <a:pt x="336" y="445"/>
                    <a:pt x="335" y="445"/>
                  </a:cubicBezTo>
                  <a:cubicBezTo>
                    <a:pt x="334" y="445"/>
                    <a:pt x="334" y="445"/>
                    <a:pt x="333" y="445"/>
                  </a:cubicBezTo>
                  <a:lnTo>
                    <a:pt x="305" y="433"/>
                  </a:lnTo>
                  <a:lnTo>
                    <a:pt x="278" y="445"/>
                  </a:lnTo>
                  <a:cubicBezTo>
                    <a:pt x="277" y="445"/>
                    <a:pt x="276" y="445"/>
                    <a:pt x="276" y="445"/>
                  </a:cubicBezTo>
                  <a:cubicBezTo>
                    <a:pt x="275" y="445"/>
                    <a:pt x="274" y="445"/>
                    <a:pt x="273" y="445"/>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7" name="Freeform 592"/>
            <p:cNvSpPr>
              <a:spLocks noChangeArrowheads="1"/>
            </p:cNvSpPr>
            <p:nvPr/>
          </p:nvSpPr>
          <p:spPr bwMode="auto">
            <a:xfrm>
              <a:off x="7251700" y="3536950"/>
              <a:ext cx="127000" cy="160338"/>
            </a:xfrm>
            <a:custGeom>
              <a:avLst/>
              <a:gdLst/>
              <a:ahLst/>
              <a:cxnLst>
                <a:cxn ang="0">
                  <a:pos x="276" y="445"/>
                </a:cxn>
                <a:cxn ang="0">
                  <a:pos x="273" y="445"/>
                </a:cxn>
                <a:cxn ang="0">
                  <a:pos x="99" y="326"/>
                </a:cxn>
                <a:cxn ang="0">
                  <a:pos x="34" y="202"/>
                </a:cxn>
                <a:cxn ang="0">
                  <a:pos x="4" y="27"/>
                </a:cxn>
                <a:cxn ang="0">
                  <a:pos x="0" y="6"/>
                </a:cxn>
                <a:cxn ang="0">
                  <a:pos x="2" y="2"/>
                </a:cxn>
                <a:cxn ang="0">
                  <a:pos x="5" y="0"/>
                </a:cxn>
                <a:cxn ang="0">
                  <a:pos x="6" y="1"/>
                </a:cxn>
                <a:cxn ang="0">
                  <a:pos x="74" y="22"/>
                </a:cxn>
                <a:cxn ang="0">
                  <a:pos x="77" y="25"/>
                </a:cxn>
                <a:cxn ang="0">
                  <a:pos x="96" y="82"/>
                </a:cxn>
                <a:cxn ang="0">
                  <a:pos x="120" y="65"/>
                </a:cxn>
                <a:cxn ang="0">
                  <a:pos x="155" y="64"/>
                </a:cxn>
                <a:cxn ang="0">
                  <a:pos x="170" y="44"/>
                </a:cxn>
                <a:cxn ang="0">
                  <a:pos x="174" y="43"/>
                </a:cxn>
                <a:cxn ang="0">
                  <a:pos x="187" y="43"/>
                </a:cxn>
                <a:cxn ang="0">
                  <a:pos x="190" y="44"/>
                </a:cxn>
                <a:cxn ang="0">
                  <a:pos x="245" y="90"/>
                </a:cxn>
                <a:cxn ang="0">
                  <a:pos x="280" y="142"/>
                </a:cxn>
                <a:cxn ang="0">
                  <a:pos x="280" y="293"/>
                </a:cxn>
                <a:cxn ang="0">
                  <a:pos x="352" y="404"/>
                </a:cxn>
                <a:cxn ang="0">
                  <a:pos x="352" y="409"/>
                </a:cxn>
                <a:cxn ang="0">
                  <a:pos x="340" y="442"/>
                </a:cxn>
                <a:cxn ang="0">
                  <a:pos x="337" y="445"/>
                </a:cxn>
                <a:cxn ang="0">
                  <a:pos x="335" y="445"/>
                </a:cxn>
                <a:cxn ang="0">
                  <a:pos x="333" y="445"/>
                </a:cxn>
                <a:cxn ang="0">
                  <a:pos x="305" y="433"/>
                </a:cxn>
                <a:cxn ang="0">
                  <a:pos x="278" y="445"/>
                </a:cxn>
                <a:cxn ang="0">
                  <a:pos x="276" y="445"/>
                </a:cxn>
              </a:cxnLst>
              <a:rect l="0" t="0" r="r" b="b"/>
              <a:pathLst>
                <a:path w="354" h="446">
                  <a:moveTo>
                    <a:pt x="276" y="445"/>
                  </a:moveTo>
                  <a:cubicBezTo>
                    <a:pt x="275" y="445"/>
                    <a:pt x="274" y="445"/>
                    <a:pt x="273" y="445"/>
                  </a:cubicBezTo>
                  <a:lnTo>
                    <a:pt x="99" y="326"/>
                  </a:lnTo>
                  <a:lnTo>
                    <a:pt x="34" y="202"/>
                  </a:lnTo>
                  <a:lnTo>
                    <a:pt x="4" y="27"/>
                  </a:lnTo>
                  <a:lnTo>
                    <a:pt x="0" y="6"/>
                  </a:lnTo>
                  <a:cubicBezTo>
                    <a:pt x="0" y="4"/>
                    <a:pt x="0" y="2"/>
                    <a:pt x="2" y="2"/>
                  </a:cubicBezTo>
                  <a:cubicBezTo>
                    <a:pt x="2" y="1"/>
                    <a:pt x="4" y="0"/>
                    <a:pt x="5" y="0"/>
                  </a:cubicBezTo>
                  <a:cubicBezTo>
                    <a:pt x="5" y="0"/>
                    <a:pt x="6" y="0"/>
                    <a:pt x="6" y="1"/>
                  </a:cubicBezTo>
                  <a:lnTo>
                    <a:pt x="74" y="22"/>
                  </a:lnTo>
                  <a:cubicBezTo>
                    <a:pt x="75" y="22"/>
                    <a:pt x="76" y="23"/>
                    <a:pt x="77" y="25"/>
                  </a:cubicBezTo>
                  <a:lnTo>
                    <a:pt x="96" y="82"/>
                  </a:lnTo>
                  <a:lnTo>
                    <a:pt x="120" y="65"/>
                  </a:lnTo>
                  <a:lnTo>
                    <a:pt x="155" y="64"/>
                  </a:lnTo>
                  <a:lnTo>
                    <a:pt x="170" y="44"/>
                  </a:lnTo>
                  <a:cubicBezTo>
                    <a:pt x="171" y="43"/>
                    <a:pt x="173" y="43"/>
                    <a:pt x="174" y="43"/>
                  </a:cubicBezTo>
                  <a:lnTo>
                    <a:pt x="187" y="43"/>
                  </a:lnTo>
                  <a:cubicBezTo>
                    <a:pt x="188" y="43"/>
                    <a:pt x="189" y="43"/>
                    <a:pt x="190" y="44"/>
                  </a:cubicBezTo>
                  <a:lnTo>
                    <a:pt x="245" y="90"/>
                  </a:lnTo>
                  <a:lnTo>
                    <a:pt x="280" y="142"/>
                  </a:lnTo>
                  <a:lnTo>
                    <a:pt x="280" y="293"/>
                  </a:lnTo>
                  <a:lnTo>
                    <a:pt x="352" y="404"/>
                  </a:lnTo>
                  <a:cubicBezTo>
                    <a:pt x="352" y="406"/>
                    <a:pt x="353" y="407"/>
                    <a:pt x="352" y="409"/>
                  </a:cubicBezTo>
                  <a:lnTo>
                    <a:pt x="340" y="442"/>
                  </a:lnTo>
                  <a:cubicBezTo>
                    <a:pt x="339" y="444"/>
                    <a:pt x="338" y="445"/>
                    <a:pt x="337" y="445"/>
                  </a:cubicBezTo>
                  <a:cubicBezTo>
                    <a:pt x="336" y="445"/>
                    <a:pt x="336" y="445"/>
                    <a:pt x="335" y="445"/>
                  </a:cubicBezTo>
                  <a:cubicBezTo>
                    <a:pt x="334" y="445"/>
                    <a:pt x="334" y="445"/>
                    <a:pt x="333" y="445"/>
                  </a:cubicBezTo>
                  <a:lnTo>
                    <a:pt x="305" y="433"/>
                  </a:lnTo>
                  <a:lnTo>
                    <a:pt x="278" y="445"/>
                  </a:lnTo>
                  <a:cubicBezTo>
                    <a:pt x="277" y="445"/>
                    <a:pt x="276" y="445"/>
                    <a:pt x="276" y="44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8" name="Freeform 593"/>
            <p:cNvSpPr>
              <a:spLocks noChangeArrowheads="1"/>
            </p:cNvSpPr>
            <p:nvPr/>
          </p:nvSpPr>
          <p:spPr bwMode="auto">
            <a:xfrm>
              <a:off x="6645275" y="2787650"/>
              <a:ext cx="246063" cy="138113"/>
            </a:xfrm>
            <a:custGeom>
              <a:avLst/>
              <a:gdLst/>
              <a:ahLst/>
              <a:cxnLst>
                <a:cxn ang="0">
                  <a:pos x="410" y="339"/>
                </a:cxn>
                <a:cxn ang="0">
                  <a:pos x="359" y="288"/>
                </a:cxn>
                <a:cxn ang="0">
                  <a:pos x="233" y="284"/>
                </a:cxn>
                <a:cxn ang="0">
                  <a:pos x="2" y="152"/>
                </a:cxn>
                <a:cxn ang="0">
                  <a:pos x="0" y="147"/>
                </a:cxn>
                <a:cxn ang="0">
                  <a:pos x="25" y="54"/>
                </a:cxn>
                <a:cxn ang="0">
                  <a:pos x="87" y="9"/>
                </a:cxn>
                <a:cxn ang="0">
                  <a:pos x="89" y="8"/>
                </a:cxn>
                <a:cxn ang="0">
                  <a:pos x="92" y="9"/>
                </a:cxn>
                <a:cxn ang="0">
                  <a:pos x="107" y="21"/>
                </a:cxn>
                <a:cxn ang="0">
                  <a:pos x="110" y="4"/>
                </a:cxn>
                <a:cxn ang="0">
                  <a:pos x="112" y="1"/>
                </a:cxn>
                <a:cxn ang="0">
                  <a:pos x="115" y="0"/>
                </a:cxn>
                <a:cxn ang="0">
                  <a:pos x="200" y="17"/>
                </a:cxn>
                <a:cxn ang="0">
                  <a:pos x="270" y="68"/>
                </a:cxn>
                <a:cxn ang="0">
                  <a:pos x="299" y="117"/>
                </a:cxn>
                <a:cxn ang="0">
                  <a:pos x="350" y="97"/>
                </a:cxn>
                <a:cxn ang="0">
                  <a:pos x="352" y="97"/>
                </a:cxn>
                <a:cxn ang="0">
                  <a:pos x="355" y="98"/>
                </a:cxn>
                <a:cxn ang="0">
                  <a:pos x="357" y="102"/>
                </a:cxn>
                <a:cxn ang="0">
                  <a:pos x="353" y="145"/>
                </a:cxn>
                <a:cxn ang="0">
                  <a:pos x="433" y="161"/>
                </a:cxn>
                <a:cxn ang="0">
                  <a:pos x="437" y="166"/>
                </a:cxn>
                <a:cxn ang="0">
                  <a:pos x="434" y="187"/>
                </a:cxn>
                <a:cxn ang="0">
                  <a:pos x="477" y="203"/>
                </a:cxn>
                <a:cxn ang="0">
                  <a:pos x="498" y="228"/>
                </a:cxn>
                <a:cxn ang="0">
                  <a:pos x="555" y="220"/>
                </a:cxn>
                <a:cxn ang="0">
                  <a:pos x="616" y="237"/>
                </a:cxn>
                <a:cxn ang="0">
                  <a:pos x="678" y="228"/>
                </a:cxn>
                <a:cxn ang="0">
                  <a:pos x="682" y="230"/>
                </a:cxn>
                <a:cxn ang="0">
                  <a:pos x="683" y="234"/>
                </a:cxn>
                <a:cxn ang="0">
                  <a:pos x="670" y="301"/>
                </a:cxn>
                <a:cxn ang="0">
                  <a:pos x="663" y="316"/>
                </a:cxn>
                <a:cxn ang="0">
                  <a:pos x="682" y="335"/>
                </a:cxn>
                <a:cxn ang="0">
                  <a:pos x="682" y="340"/>
                </a:cxn>
                <a:cxn ang="0">
                  <a:pos x="670" y="370"/>
                </a:cxn>
                <a:cxn ang="0">
                  <a:pos x="666" y="373"/>
                </a:cxn>
                <a:cxn ang="0">
                  <a:pos x="598" y="381"/>
                </a:cxn>
                <a:cxn ang="0">
                  <a:pos x="597" y="381"/>
                </a:cxn>
                <a:cxn ang="0">
                  <a:pos x="410" y="339"/>
                </a:cxn>
              </a:cxnLst>
              <a:rect l="0" t="0" r="r" b="b"/>
              <a:pathLst>
                <a:path w="684" h="382">
                  <a:moveTo>
                    <a:pt x="410" y="339"/>
                  </a:moveTo>
                  <a:lnTo>
                    <a:pt x="359" y="288"/>
                  </a:lnTo>
                  <a:lnTo>
                    <a:pt x="233" y="284"/>
                  </a:lnTo>
                  <a:lnTo>
                    <a:pt x="2" y="152"/>
                  </a:lnTo>
                  <a:cubicBezTo>
                    <a:pt x="0" y="151"/>
                    <a:pt x="0" y="149"/>
                    <a:pt x="0" y="147"/>
                  </a:cubicBezTo>
                  <a:lnTo>
                    <a:pt x="25" y="54"/>
                  </a:lnTo>
                  <a:lnTo>
                    <a:pt x="87" y="9"/>
                  </a:lnTo>
                  <a:cubicBezTo>
                    <a:pt x="87" y="8"/>
                    <a:pt x="89" y="8"/>
                    <a:pt x="89" y="8"/>
                  </a:cubicBezTo>
                  <a:cubicBezTo>
                    <a:pt x="90" y="8"/>
                    <a:pt x="91" y="9"/>
                    <a:pt x="92" y="9"/>
                  </a:cubicBezTo>
                  <a:lnTo>
                    <a:pt x="107" y="21"/>
                  </a:lnTo>
                  <a:lnTo>
                    <a:pt x="110" y="4"/>
                  </a:lnTo>
                  <a:cubicBezTo>
                    <a:pt x="110" y="2"/>
                    <a:pt x="111" y="1"/>
                    <a:pt x="112" y="1"/>
                  </a:cubicBezTo>
                  <a:cubicBezTo>
                    <a:pt x="113" y="0"/>
                    <a:pt x="114" y="0"/>
                    <a:pt x="115" y="0"/>
                  </a:cubicBezTo>
                  <a:lnTo>
                    <a:pt x="200" y="17"/>
                  </a:lnTo>
                  <a:lnTo>
                    <a:pt x="270" y="68"/>
                  </a:lnTo>
                  <a:lnTo>
                    <a:pt x="299" y="117"/>
                  </a:lnTo>
                  <a:lnTo>
                    <a:pt x="350" y="97"/>
                  </a:lnTo>
                  <a:cubicBezTo>
                    <a:pt x="351" y="97"/>
                    <a:pt x="352" y="97"/>
                    <a:pt x="352" y="97"/>
                  </a:cubicBezTo>
                  <a:cubicBezTo>
                    <a:pt x="353" y="97"/>
                    <a:pt x="354" y="97"/>
                    <a:pt x="355" y="98"/>
                  </a:cubicBezTo>
                  <a:cubicBezTo>
                    <a:pt x="356" y="99"/>
                    <a:pt x="357" y="101"/>
                    <a:pt x="357" y="102"/>
                  </a:cubicBezTo>
                  <a:lnTo>
                    <a:pt x="353" y="145"/>
                  </a:lnTo>
                  <a:lnTo>
                    <a:pt x="433" y="161"/>
                  </a:lnTo>
                  <a:cubicBezTo>
                    <a:pt x="436" y="161"/>
                    <a:pt x="438" y="164"/>
                    <a:pt x="437" y="166"/>
                  </a:cubicBezTo>
                  <a:lnTo>
                    <a:pt x="434" y="187"/>
                  </a:lnTo>
                  <a:lnTo>
                    <a:pt x="477" y="203"/>
                  </a:lnTo>
                  <a:lnTo>
                    <a:pt x="498" y="228"/>
                  </a:lnTo>
                  <a:lnTo>
                    <a:pt x="555" y="220"/>
                  </a:lnTo>
                  <a:lnTo>
                    <a:pt x="616" y="237"/>
                  </a:lnTo>
                  <a:lnTo>
                    <a:pt x="678" y="228"/>
                  </a:lnTo>
                  <a:cubicBezTo>
                    <a:pt x="680" y="228"/>
                    <a:pt x="681" y="229"/>
                    <a:pt x="682" y="230"/>
                  </a:cubicBezTo>
                  <a:cubicBezTo>
                    <a:pt x="683" y="231"/>
                    <a:pt x="683" y="232"/>
                    <a:pt x="683" y="234"/>
                  </a:cubicBezTo>
                  <a:lnTo>
                    <a:pt x="670" y="301"/>
                  </a:lnTo>
                  <a:lnTo>
                    <a:pt x="663" y="316"/>
                  </a:lnTo>
                  <a:lnTo>
                    <a:pt x="682" y="335"/>
                  </a:lnTo>
                  <a:cubicBezTo>
                    <a:pt x="683" y="337"/>
                    <a:pt x="683" y="339"/>
                    <a:pt x="682" y="340"/>
                  </a:cubicBezTo>
                  <a:lnTo>
                    <a:pt x="670" y="370"/>
                  </a:lnTo>
                  <a:cubicBezTo>
                    <a:pt x="669" y="372"/>
                    <a:pt x="668" y="373"/>
                    <a:pt x="666" y="373"/>
                  </a:cubicBezTo>
                  <a:lnTo>
                    <a:pt x="598" y="381"/>
                  </a:lnTo>
                  <a:lnTo>
                    <a:pt x="597" y="381"/>
                  </a:lnTo>
                  <a:lnTo>
                    <a:pt x="410" y="33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599" name="Freeform 594"/>
            <p:cNvSpPr>
              <a:spLocks noChangeArrowheads="1"/>
            </p:cNvSpPr>
            <p:nvPr/>
          </p:nvSpPr>
          <p:spPr bwMode="auto">
            <a:xfrm>
              <a:off x="6645275" y="2787650"/>
              <a:ext cx="246063" cy="138113"/>
            </a:xfrm>
            <a:custGeom>
              <a:avLst/>
              <a:gdLst/>
              <a:ahLst/>
              <a:cxnLst>
                <a:cxn ang="0">
                  <a:pos x="597" y="381"/>
                </a:cxn>
                <a:cxn ang="0">
                  <a:pos x="410" y="339"/>
                </a:cxn>
                <a:cxn ang="0">
                  <a:pos x="359" y="288"/>
                </a:cxn>
                <a:cxn ang="0">
                  <a:pos x="233" y="284"/>
                </a:cxn>
                <a:cxn ang="0">
                  <a:pos x="2" y="152"/>
                </a:cxn>
                <a:cxn ang="0">
                  <a:pos x="0" y="147"/>
                </a:cxn>
                <a:cxn ang="0">
                  <a:pos x="25" y="54"/>
                </a:cxn>
                <a:cxn ang="0">
                  <a:pos x="87" y="9"/>
                </a:cxn>
                <a:cxn ang="0">
                  <a:pos x="89" y="8"/>
                </a:cxn>
                <a:cxn ang="0">
                  <a:pos x="92" y="9"/>
                </a:cxn>
                <a:cxn ang="0">
                  <a:pos x="107" y="21"/>
                </a:cxn>
                <a:cxn ang="0">
                  <a:pos x="110" y="4"/>
                </a:cxn>
                <a:cxn ang="0">
                  <a:pos x="112" y="1"/>
                </a:cxn>
                <a:cxn ang="0">
                  <a:pos x="115" y="0"/>
                </a:cxn>
                <a:cxn ang="0">
                  <a:pos x="200" y="17"/>
                </a:cxn>
                <a:cxn ang="0">
                  <a:pos x="270" y="68"/>
                </a:cxn>
                <a:cxn ang="0">
                  <a:pos x="299" y="117"/>
                </a:cxn>
                <a:cxn ang="0">
                  <a:pos x="350" y="97"/>
                </a:cxn>
                <a:cxn ang="0">
                  <a:pos x="352" y="97"/>
                </a:cxn>
                <a:cxn ang="0">
                  <a:pos x="355" y="98"/>
                </a:cxn>
                <a:cxn ang="0">
                  <a:pos x="357" y="102"/>
                </a:cxn>
                <a:cxn ang="0">
                  <a:pos x="353" y="145"/>
                </a:cxn>
                <a:cxn ang="0">
                  <a:pos x="433" y="161"/>
                </a:cxn>
                <a:cxn ang="0">
                  <a:pos x="437" y="166"/>
                </a:cxn>
                <a:cxn ang="0">
                  <a:pos x="434" y="187"/>
                </a:cxn>
                <a:cxn ang="0">
                  <a:pos x="477" y="203"/>
                </a:cxn>
                <a:cxn ang="0">
                  <a:pos x="498" y="228"/>
                </a:cxn>
                <a:cxn ang="0">
                  <a:pos x="555" y="220"/>
                </a:cxn>
                <a:cxn ang="0">
                  <a:pos x="616" y="237"/>
                </a:cxn>
                <a:cxn ang="0">
                  <a:pos x="678" y="228"/>
                </a:cxn>
                <a:cxn ang="0">
                  <a:pos x="682" y="230"/>
                </a:cxn>
                <a:cxn ang="0">
                  <a:pos x="683" y="234"/>
                </a:cxn>
                <a:cxn ang="0">
                  <a:pos x="670" y="301"/>
                </a:cxn>
                <a:cxn ang="0">
                  <a:pos x="663" y="316"/>
                </a:cxn>
                <a:cxn ang="0">
                  <a:pos x="682" y="335"/>
                </a:cxn>
                <a:cxn ang="0">
                  <a:pos x="682" y="340"/>
                </a:cxn>
                <a:cxn ang="0">
                  <a:pos x="670" y="370"/>
                </a:cxn>
                <a:cxn ang="0">
                  <a:pos x="666" y="373"/>
                </a:cxn>
                <a:cxn ang="0">
                  <a:pos x="598" y="381"/>
                </a:cxn>
                <a:cxn ang="0">
                  <a:pos x="597" y="381"/>
                </a:cxn>
              </a:cxnLst>
              <a:rect l="0" t="0" r="r" b="b"/>
              <a:pathLst>
                <a:path w="684" h="382">
                  <a:moveTo>
                    <a:pt x="597" y="381"/>
                  </a:moveTo>
                  <a:lnTo>
                    <a:pt x="410" y="339"/>
                  </a:lnTo>
                  <a:lnTo>
                    <a:pt x="359" y="288"/>
                  </a:lnTo>
                  <a:lnTo>
                    <a:pt x="233" y="284"/>
                  </a:lnTo>
                  <a:lnTo>
                    <a:pt x="2" y="152"/>
                  </a:lnTo>
                  <a:cubicBezTo>
                    <a:pt x="0" y="151"/>
                    <a:pt x="0" y="149"/>
                    <a:pt x="0" y="147"/>
                  </a:cubicBezTo>
                  <a:lnTo>
                    <a:pt x="25" y="54"/>
                  </a:lnTo>
                  <a:lnTo>
                    <a:pt x="87" y="9"/>
                  </a:lnTo>
                  <a:cubicBezTo>
                    <a:pt x="87" y="8"/>
                    <a:pt x="89" y="8"/>
                    <a:pt x="89" y="8"/>
                  </a:cubicBezTo>
                  <a:cubicBezTo>
                    <a:pt x="90" y="8"/>
                    <a:pt x="91" y="9"/>
                    <a:pt x="92" y="9"/>
                  </a:cubicBezTo>
                  <a:lnTo>
                    <a:pt x="107" y="21"/>
                  </a:lnTo>
                  <a:lnTo>
                    <a:pt x="110" y="4"/>
                  </a:lnTo>
                  <a:cubicBezTo>
                    <a:pt x="110" y="2"/>
                    <a:pt x="111" y="1"/>
                    <a:pt x="112" y="1"/>
                  </a:cubicBezTo>
                  <a:cubicBezTo>
                    <a:pt x="113" y="0"/>
                    <a:pt x="114" y="0"/>
                    <a:pt x="115" y="0"/>
                  </a:cubicBezTo>
                  <a:lnTo>
                    <a:pt x="200" y="17"/>
                  </a:lnTo>
                  <a:lnTo>
                    <a:pt x="270" y="68"/>
                  </a:lnTo>
                  <a:lnTo>
                    <a:pt x="299" y="117"/>
                  </a:lnTo>
                  <a:lnTo>
                    <a:pt x="350" y="97"/>
                  </a:lnTo>
                  <a:cubicBezTo>
                    <a:pt x="351" y="97"/>
                    <a:pt x="352" y="97"/>
                    <a:pt x="352" y="97"/>
                  </a:cubicBezTo>
                  <a:cubicBezTo>
                    <a:pt x="353" y="97"/>
                    <a:pt x="354" y="97"/>
                    <a:pt x="355" y="98"/>
                  </a:cubicBezTo>
                  <a:cubicBezTo>
                    <a:pt x="356" y="99"/>
                    <a:pt x="357" y="101"/>
                    <a:pt x="357" y="102"/>
                  </a:cubicBezTo>
                  <a:lnTo>
                    <a:pt x="353" y="145"/>
                  </a:lnTo>
                  <a:lnTo>
                    <a:pt x="433" y="161"/>
                  </a:lnTo>
                  <a:cubicBezTo>
                    <a:pt x="436" y="161"/>
                    <a:pt x="438" y="164"/>
                    <a:pt x="437" y="166"/>
                  </a:cubicBezTo>
                  <a:lnTo>
                    <a:pt x="434" y="187"/>
                  </a:lnTo>
                  <a:lnTo>
                    <a:pt x="477" y="203"/>
                  </a:lnTo>
                  <a:lnTo>
                    <a:pt x="498" y="228"/>
                  </a:lnTo>
                  <a:lnTo>
                    <a:pt x="555" y="220"/>
                  </a:lnTo>
                  <a:lnTo>
                    <a:pt x="616" y="237"/>
                  </a:lnTo>
                  <a:lnTo>
                    <a:pt x="678" y="228"/>
                  </a:lnTo>
                  <a:cubicBezTo>
                    <a:pt x="680" y="228"/>
                    <a:pt x="681" y="229"/>
                    <a:pt x="682" y="230"/>
                  </a:cubicBezTo>
                  <a:cubicBezTo>
                    <a:pt x="683" y="231"/>
                    <a:pt x="683" y="232"/>
                    <a:pt x="683" y="234"/>
                  </a:cubicBezTo>
                  <a:lnTo>
                    <a:pt x="670" y="301"/>
                  </a:lnTo>
                  <a:lnTo>
                    <a:pt x="663" y="316"/>
                  </a:lnTo>
                  <a:lnTo>
                    <a:pt x="682" y="335"/>
                  </a:lnTo>
                  <a:cubicBezTo>
                    <a:pt x="683" y="337"/>
                    <a:pt x="683" y="339"/>
                    <a:pt x="682" y="340"/>
                  </a:cubicBezTo>
                  <a:lnTo>
                    <a:pt x="670" y="370"/>
                  </a:lnTo>
                  <a:cubicBezTo>
                    <a:pt x="669" y="372"/>
                    <a:pt x="668" y="373"/>
                    <a:pt x="666" y="373"/>
                  </a:cubicBezTo>
                  <a:lnTo>
                    <a:pt x="598" y="381"/>
                  </a:lnTo>
                  <a:lnTo>
                    <a:pt x="597" y="38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0" name="Freeform 595"/>
            <p:cNvSpPr>
              <a:spLocks noChangeArrowheads="1"/>
            </p:cNvSpPr>
            <p:nvPr/>
          </p:nvSpPr>
          <p:spPr bwMode="auto">
            <a:xfrm>
              <a:off x="7358063" y="3690938"/>
              <a:ext cx="12700" cy="9525"/>
            </a:xfrm>
            <a:custGeom>
              <a:avLst/>
              <a:gdLst/>
              <a:ahLst/>
              <a:cxnLst>
                <a:cxn ang="0">
                  <a:pos x="1" y="24"/>
                </a:cxn>
                <a:cxn ang="0">
                  <a:pos x="2" y="19"/>
                </a:cxn>
                <a:cxn ang="0">
                  <a:pos x="14" y="2"/>
                </a:cxn>
                <a:cxn ang="0">
                  <a:pos x="18" y="0"/>
                </a:cxn>
                <a:cxn ang="0">
                  <a:pos x="20" y="1"/>
                </a:cxn>
                <a:cxn ang="0">
                  <a:pos x="33" y="10"/>
                </a:cxn>
                <a:cxn ang="0">
                  <a:pos x="35" y="14"/>
                </a:cxn>
                <a:cxn ang="0">
                  <a:pos x="32" y="18"/>
                </a:cxn>
                <a:cxn ang="0">
                  <a:pos x="7" y="25"/>
                </a:cxn>
                <a:cxn ang="0">
                  <a:pos x="5" y="26"/>
                </a:cxn>
                <a:cxn ang="0">
                  <a:pos x="1" y="24"/>
                </a:cxn>
              </a:cxnLst>
              <a:rect l="0" t="0" r="r" b="b"/>
              <a:pathLst>
                <a:path w="37" h="27">
                  <a:moveTo>
                    <a:pt x="1" y="24"/>
                  </a:moveTo>
                  <a:cubicBezTo>
                    <a:pt x="0" y="23"/>
                    <a:pt x="0" y="21"/>
                    <a:pt x="2" y="19"/>
                  </a:cubicBezTo>
                  <a:lnTo>
                    <a:pt x="14" y="2"/>
                  </a:lnTo>
                  <a:cubicBezTo>
                    <a:pt x="15" y="1"/>
                    <a:pt x="16" y="0"/>
                    <a:pt x="18" y="0"/>
                  </a:cubicBezTo>
                  <a:cubicBezTo>
                    <a:pt x="19" y="0"/>
                    <a:pt x="20" y="1"/>
                    <a:pt x="20" y="1"/>
                  </a:cubicBezTo>
                  <a:lnTo>
                    <a:pt x="33" y="10"/>
                  </a:lnTo>
                  <a:cubicBezTo>
                    <a:pt x="35" y="11"/>
                    <a:pt x="36" y="13"/>
                    <a:pt x="35" y="14"/>
                  </a:cubicBezTo>
                  <a:cubicBezTo>
                    <a:pt x="35" y="16"/>
                    <a:pt x="34" y="18"/>
                    <a:pt x="32" y="18"/>
                  </a:cubicBezTo>
                  <a:lnTo>
                    <a:pt x="7" y="25"/>
                  </a:lnTo>
                  <a:cubicBezTo>
                    <a:pt x="6" y="26"/>
                    <a:pt x="6" y="26"/>
                    <a:pt x="5" y="26"/>
                  </a:cubicBezTo>
                  <a:cubicBezTo>
                    <a:pt x="4" y="26"/>
                    <a:pt x="2" y="25"/>
                    <a:pt x="1" y="2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1" name="Freeform 596"/>
            <p:cNvSpPr>
              <a:spLocks noChangeArrowheads="1"/>
            </p:cNvSpPr>
            <p:nvPr/>
          </p:nvSpPr>
          <p:spPr bwMode="auto">
            <a:xfrm>
              <a:off x="7358063" y="3690938"/>
              <a:ext cx="12700" cy="9525"/>
            </a:xfrm>
            <a:custGeom>
              <a:avLst/>
              <a:gdLst/>
              <a:ahLst/>
              <a:cxnLst>
                <a:cxn ang="0">
                  <a:pos x="5" y="26"/>
                </a:cxn>
                <a:cxn ang="0">
                  <a:pos x="1" y="24"/>
                </a:cxn>
                <a:cxn ang="0">
                  <a:pos x="2" y="19"/>
                </a:cxn>
                <a:cxn ang="0">
                  <a:pos x="14" y="2"/>
                </a:cxn>
                <a:cxn ang="0">
                  <a:pos x="18" y="0"/>
                </a:cxn>
                <a:cxn ang="0">
                  <a:pos x="20" y="1"/>
                </a:cxn>
                <a:cxn ang="0">
                  <a:pos x="33" y="10"/>
                </a:cxn>
                <a:cxn ang="0">
                  <a:pos x="35" y="14"/>
                </a:cxn>
                <a:cxn ang="0">
                  <a:pos x="32" y="18"/>
                </a:cxn>
                <a:cxn ang="0">
                  <a:pos x="7" y="25"/>
                </a:cxn>
                <a:cxn ang="0">
                  <a:pos x="5" y="26"/>
                </a:cxn>
              </a:cxnLst>
              <a:rect l="0" t="0" r="r" b="b"/>
              <a:pathLst>
                <a:path w="37" h="27">
                  <a:moveTo>
                    <a:pt x="5" y="26"/>
                  </a:moveTo>
                  <a:cubicBezTo>
                    <a:pt x="4" y="26"/>
                    <a:pt x="2" y="25"/>
                    <a:pt x="1" y="24"/>
                  </a:cubicBezTo>
                  <a:cubicBezTo>
                    <a:pt x="0" y="23"/>
                    <a:pt x="0" y="21"/>
                    <a:pt x="2" y="19"/>
                  </a:cubicBezTo>
                  <a:lnTo>
                    <a:pt x="14" y="2"/>
                  </a:lnTo>
                  <a:cubicBezTo>
                    <a:pt x="15" y="1"/>
                    <a:pt x="16" y="0"/>
                    <a:pt x="18" y="0"/>
                  </a:cubicBezTo>
                  <a:cubicBezTo>
                    <a:pt x="19" y="0"/>
                    <a:pt x="20" y="1"/>
                    <a:pt x="20" y="1"/>
                  </a:cubicBezTo>
                  <a:lnTo>
                    <a:pt x="33" y="10"/>
                  </a:lnTo>
                  <a:cubicBezTo>
                    <a:pt x="35" y="11"/>
                    <a:pt x="36" y="13"/>
                    <a:pt x="35" y="14"/>
                  </a:cubicBezTo>
                  <a:cubicBezTo>
                    <a:pt x="35" y="16"/>
                    <a:pt x="34" y="18"/>
                    <a:pt x="32" y="18"/>
                  </a:cubicBezTo>
                  <a:lnTo>
                    <a:pt x="7" y="25"/>
                  </a:lnTo>
                  <a:cubicBezTo>
                    <a:pt x="6" y="26"/>
                    <a:pt x="6" y="26"/>
                    <a:pt x="5" y="2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2" name="Freeform 597"/>
            <p:cNvSpPr>
              <a:spLocks noChangeArrowheads="1"/>
            </p:cNvSpPr>
            <p:nvPr/>
          </p:nvSpPr>
          <p:spPr bwMode="auto">
            <a:xfrm>
              <a:off x="7175500" y="3103563"/>
              <a:ext cx="236538" cy="466725"/>
            </a:xfrm>
            <a:custGeom>
              <a:avLst/>
              <a:gdLst/>
              <a:ahLst/>
              <a:cxnLst>
                <a:cxn ang="0">
                  <a:pos x="281" y="1231"/>
                </a:cxn>
                <a:cxn ang="0">
                  <a:pos x="225" y="1226"/>
                </a:cxn>
                <a:cxn ang="0">
                  <a:pos x="221" y="1232"/>
                </a:cxn>
                <a:cxn ang="0">
                  <a:pos x="92" y="1076"/>
                </a:cxn>
                <a:cxn ang="0">
                  <a:pos x="60" y="1084"/>
                </a:cxn>
                <a:cxn ang="0">
                  <a:pos x="55" y="1079"/>
                </a:cxn>
                <a:cxn ang="0">
                  <a:pos x="89" y="913"/>
                </a:cxn>
                <a:cxn ang="0">
                  <a:pos x="161" y="770"/>
                </a:cxn>
                <a:cxn ang="0">
                  <a:pos x="115" y="595"/>
                </a:cxn>
                <a:cxn ang="0">
                  <a:pos x="47" y="518"/>
                </a:cxn>
                <a:cxn ang="0">
                  <a:pos x="92" y="408"/>
                </a:cxn>
                <a:cxn ang="0">
                  <a:pos x="72" y="390"/>
                </a:cxn>
                <a:cxn ang="0">
                  <a:pos x="27" y="283"/>
                </a:cxn>
                <a:cxn ang="0">
                  <a:pos x="30" y="105"/>
                </a:cxn>
                <a:cxn ang="0">
                  <a:pos x="102" y="93"/>
                </a:cxn>
                <a:cxn ang="0">
                  <a:pos x="217" y="1"/>
                </a:cxn>
                <a:cxn ang="0">
                  <a:pos x="223" y="0"/>
                </a:cxn>
                <a:cxn ang="0">
                  <a:pos x="222" y="23"/>
                </a:cxn>
                <a:cxn ang="0">
                  <a:pos x="247" y="38"/>
                </a:cxn>
                <a:cxn ang="0">
                  <a:pos x="294" y="101"/>
                </a:cxn>
                <a:cxn ang="0">
                  <a:pos x="282" y="270"/>
                </a:cxn>
                <a:cxn ang="0">
                  <a:pos x="356" y="220"/>
                </a:cxn>
                <a:cxn ang="0">
                  <a:pos x="416" y="245"/>
                </a:cxn>
                <a:cxn ang="0">
                  <a:pos x="454" y="214"/>
                </a:cxn>
                <a:cxn ang="0">
                  <a:pos x="487" y="203"/>
                </a:cxn>
                <a:cxn ang="0">
                  <a:pos x="517" y="205"/>
                </a:cxn>
                <a:cxn ang="0">
                  <a:pos x="603" y="388"/>
                </a:cxn>
                <a:cxn ang="0">
                  <a:pos x="658" y="449"/>
                </a:cxn>
                <a:cxn ang="0">
                  <a:pos x="656" y="545"/>
                </a:cxn>
                <a:cxn ang="0">
                  <a:pos x="632" y="568"/>
                </a:cxn>
                <a:cxn ang="0">
                  <a:pos x="415" y="609"/>
                </a:cxn>
                <a:cxn ang="0">
                  <a:pos x="408" y="706"/>
                </a:cxn>
                <a:cxn ang="0">
                  <a:pos x="446" y="791"/>
                </a:cxn>
                <a:cxn ang="0">
                  <a:pos x="441" y="796"/>
                </a:cxn>
                <a:cxn ang="0">
                  <a:pos x="416" y="756"/>
                </a:cxn>
                <a:cxn ang="0">
                  <a:pos x="276" y="712"/>
                </a:cxn>
                <a:cxn ang="0">
                  <a:pos x="267" y="639"/>
                </a:cxn>
                <a:cxn ang="0">
                  <a:pos x="204" y="642"/>
                </a:cxn>
                <a:cxn ang="0">
                  <a:pos x="136" y="911"/>
                </a:cxn>
                <a:cxn ang="0">
                  <a:pos x="187" y="990"/>
                </a:cxn>
                <a:cxn ang="0">
                  <a:pos x="251" y="1149"/>
                </a:cxn>
                <a:cxn ang="0">
                  <a:pos x="331" y="1184"/>
                </a:cxn>
                <a:cxn ang="0">
                  <a:pos x="390" y="1245"/>
                </a:cxn>
                <a:cxn ang="0">
                  <a:pos x="373" y="1272"/>
                </a:cxn>
                <a:cxn ang="0">
                  <a:pos x="335" y="1274"/>
                </a:cxn>
                <a:cxn ang="0">
                  <a:pos x="306" y="1295"/>
                </a:cxn>
                <a:cxn ang="0">
                  <a:pos x="301" y="1292"/>
                </a:cxn>
              </a:cxnLst>
              <a:rect l="0" t="0" r="r" b="b"/>
              <a:pathLst>
                <a:path w="659" h="1296">
                  <a:moveTo>
                    <a:pt x="301" y="1292"/>
                  </a:moveTo>
                  <a:lnTo>
                    <a:pt x="281" y="1231"/>
                  </a:lnTo>
                  <a:lnTo>
                    <a:pt x="223" y="1213"/>
                  </a:lnTo>
                  <a:lnTo>
                    <a:pt x="225" y="1226"/>
                  </a:lnTo>
                  <a:cubicBezTo>
                    <a:pt x="226" y="1228"/>
                    <a:pt x="225" y="1230"/>
                    <a:pt x="223" y="1231"/>
                  </a:cubicBezTo>
                  <a:cubicBezTo>
                    <a:pt x="222" y="1232"/>
                    <a:pt x="221" y="1232"/>
                    <a:pt x="221" y="1232"/>
                  </a:cubicBezTo>
                  <a:cubicBezTo>
                    <a:pt x="220" y="1232"/>
                    <a:pt x="218" y="1231"/>
                    <a:pt x="217" y="1230"/>
                  </a:cubicBezTo>
                  <a:lnTo>
                    <a:pt x="92" y="1076"/>
                  </a:lnTo>
                  <a:lnTo>
                    <a:pt x="61" y="1084"/>
                  </a:lnTo>
                  <a:lnTo>
                    <a:pt x="60" y="1084"/>
                  </a:lnTo>
                  <a:cubicBezTo>
                    <a:pt x="59" y="1084"/>
                    <a:pt x="58" y="1083"/>
                    <a:pt x="57" y="1083"/>
                  </a:cubicBezTo>
                  <a:cubicBezTo>
                    <a:pt x="56" y="1082"/>
                    <a:pt x="55" y="1081"/>
                    <a:pt x="55" y="1079"/>
                  </a:cubicBezTo>
                  <a:lnTo>
                    <a:pt x="55" y="1016"/>
                  </a:lnTo>
                  <a:lnTo>
                    <a:pt x="89" y="913"/>
                  </a:lnTo>
                  <a:lnTo>
                    <a:pt x="102" y="854"/>
                  </a:lnTo>
                  <a:lnTo>
                    <a:pt x="161" y="770"/>
                  </a:lnTo>
                  <a:lnTo>
                    <a:pt x="119" y="666"/>
                  </a:lnTo>
                  <a:lnTo>
                    <a:pt x="115" y="595"/>
                  </a:lnTo>
                  <a:lnTo>
                    <a:pt x="57" y="545"/>
                  </a:lnTo>
                  <a:lnTo>
                    <a:pt x="47" y="518"/>
                  </a:lnTo>
                  <a:cubicBezTo>
                    <a:pt x="47" y="517"/>
                    <a:pt x="47" y="516"/>
                    <a:pt x="47" y="515"/>
                  </a:cubicBezTo>
                  <a:lnTo>
                    <a:pt x="92" y="408"/>
                  </a:lnTo>
                  <a:lnTo>
                    <a:pt x="74" y="393"/>
                  </a:lnTo>
                  <a:cubicBezTo>
                    <a:pt x="73" y="392"/>
                    <a:pt x="72" y="391"/>
                    <a:pt x="72" y="390"/>
                  </a:cubicBezTo>
                  <a:lnTo>
                    <a:pt x="68" y="324"/>
                  </a:lnTo>
                  <a:lnTo>
                    <a:pt x="27" y="283"/>
                  </a:lnTo>
                  <a:lnTo>
                    <a:pt x="0" y="209"/>
                  </a:lnTo>
                  <a:lnTo>
                    <a:pt x="30" y="105"/>
                  </a:lnTo>
                  <a:cubicBezTo>
                    <a:pt x="31" y="103"/>
                    <a:pt x="32" y="101"/>
                    <a:pt x="34" y="101"/>
                  </a:cubicBezTo>
                  <a:lnTo>
                    <a:pt x="102" y="93"/>
                  </a:lnTo>
                  <a:lnTo>
                    <a:pt x="189" y="34"/>
                  </a:lnTo>
                  <a:lnTo>
                    <a:pt x="217" y="1"/>
                  </a:lnTo>
                  <a:cubicBezTo>
                    <a:pt x="218" y="0"/>
                    <a:pt x="220" y="0"/>
                    <a:pt x="221" y="0"/>
                  </a:cubicBezTo>
                  <a:cubicBezTo>
                    <a:pt x="221" y="0"/>
                    <a:pt x="222" y="0"/>
                    <a:pt x="223" y="0"/>
                  </a:cubicBezTo>
                  <a:cubicBezTo>
                    <a:pt x="225" y="1"/>
                    <a:pt x="226" y="3"/>
                    <a:pt x="225" y="5"/>
                  </a:cubicBezTo>
                  <a:lnTo>
                    <a:pt x="222" y="23"/>
                  </a:lnTo>
                  <a:lnTo>
                    <a:pt x="244" y="34"/>
                  </a:lnTo>
                  <a:cubicBezTo>
                    <a:pt x="246" y="35"/>
                    <a:pt x="247" y="36"/>
                    <a:pt x="247" y="38"/>
                  </a:cubicBezTo>
                  <a:lnTo>
                    <a:pt x="251" y="90"/>
                  </a:lnTo>
                  <a:lnTo>
                    <a:pt x="294" y="101"/>
                  </a:lnTo>
                  <a:cubicBezTo>
                    <a:pt x="296" y="102"/>
                    <a:pt x="298" y="104"/>
                    <a:pt x="298" y="106"/>
                  </a:cubicBezTo>
                  <a:lnTo>
                    <a:pt x="282" y="270"/>
                  </a:lnTo>
                  <a:lnTo>
                    <a:pt x="354" y="221"/>
                  </a:lnTo>
                  <a:cubicBezTo>
                    <a:pt x="355" y="220"/>
                    <a:pt x="355" y="220"/>
                    <a:pt x="356" y="220"/>
                  </a:cubicBezTo>
                  <a:cubicBezTo>
                    <a:pt x="357" y="220"/>
                    <a:pt x="358" y="220"/>
                    <a:pt x="358" y="220"/>
                  </a:cubicBezTo>
                  <a:lnTo>
                    <a:pt x="416" y="245"/>
                  </a:lnTo>
                  <a:lnTo>
                    <a:pt x="444" y="233"/>
                  </a:lnTo>
                  <a:lnTo>
                    <a:pt x="454" y="214"/>
                  </a:lnTo>
                  <a:cubicBezTo>
                    <a:pt x="455" y="213"/>
                    <a:pt x="456" y="212"/>
                    <a:pt x="457" y="211"/>
                  </a:cubicBezTo>
                  <a:lnTo>
                    <a:pt x="487" y="203"/>
                  </a:lnTo>
                  <a:lnTo>
                    <a:pt x="513" y="203"/>
                  </a:lnTo>
                  <a:cubicBezTo>
                    <a:pt x="515" y="203"/>
                    <a:pt x="516" y="203"/>
                    <a:pt x="517" y="205"/>
                  </a:cubicBezTo>
                  <a:lnTo>
                    <a:pt x="576" y="277"/>
                  </a:lnTo>
                  <a:lnTo>
                    <a:pt x="603" y="388"/>
                  </a:lnTo>
                  <a:lnTo>
                    <a:pt x="656" y="446"/>
                  </a:lnTo>
                  <a:cubicBezTo>
                    <a:pt x="657" y="446"/>
                    <a:pt x="658" y="447"/>
                    <a:pt x="658" y="449"/>
                  </a:cubicBezTo>
                  <a:lnTo>
                    <a:pt x="658" y="542"/>
                  </a:lnTo>
                  <a:cubicBezTo>
                    <a:pt x="658" y="543"/>
                    <a:pt x="657" y="544"/>
                    <a:pt x="656" y="545"/>
                  </a:cubicBezTo>
                  <a:lnTo>
                    <a:pt x="635" y="566"/>
                  </a:lnTo>
                  <a:cubicBezTo>
                    <a:pt x="634" y="567"/>
                    <a:pt x="633" y="568"/>
                    <a:pt x="632" y="568"/>
                  </a:cubicBezTo>
                  <a:lnTo>
                    <a:pt x="472" y="559"/>
                  </a:lnTo>
                  <a:lnTo>
                    <a:pt x="415" y="609"/>
                  </a:lnTo>
                  <a:lnTo>
                    <a:pt x="395" y="662"/>
                  </a:lnTo>
                  <a:lnTo>
                    <a:pt x="408" y="706"/>
                  </a:lnTo>
                  <a:lnTo>
                    <a:pt x="440" y="742"/>
                  </a:lnTo>
                  <a:lnTo>
                    <a:pt x="446" y="791"/>
                  </a:lnTo>
                  <a:cubicBezTo>
                    <a:pt x="446" y="793"/>
                    <a:pt x="445" y="795"/>
                    <a:pt x="443" y="796"/>
                  </a:cubicBezTo>
                  <a:cubicBezTo>
                    <a:pt x="442" y="796"/>
                    <a:pt x="442" y="796"/>
                    <a:pt x="441" y="796"/>
                  </a:cubicBezTo>
                  <a:cubicBezTo>
                    <a:pt x="440" y="796"/>
                    <a:pt x="438" y="795"/>
                    <a:pt x="437" y="794"/>
                  </a:cubicBezTo>
                  <a:lnTo>
                    <a:pt x="416" y="756"/>
                  </a:lnTo>
                  <a:lnTo>
                    <a:pt x="354" y="711"/>
                  </a:lnTo>
                  <a:lnTo>
                    <a:pt x="276" y="712"/>
                  </a:lnTo>
                  <a:cubicBezTo>
                    <a:pt x="273" y="712"/>
                    <a:pt x="271" y="710"/>
                    <a:pt x="271" y="707"/>
                  </a:cubicBezTo>
                  <a:lnTo>
                    <a:pt x="267" y="639"/>
                  </a:lnTo>
                  <a:lnTo>
                    <a:pt x="218" y="631"/>
                  </a:lnTo>
                  <a:lnTo>
                    <a:pt x="204" y="642"/>
                  </a:lnTo>
                  <a:lnTo>
                    <a:pt x="196" y="745"/>
                  </a:lnTo>
                  <a:lnTo>
                    <a:pt x="136" y="911"/>
                  </a:lnTo>
                  <a:lnTo>
                    <a:pt x="145" y="990"/>
                  </a:lnTo>
                  <a:lnTo>
                    <a:pt x="187" y="990"/>
                  </a:lnTo>
                  <a:cubicBezTo>
                    <a:pt x="189" y="990"/>
                    <a:pt x="191" y="991"/>
                    <a:pt x="191" y="993"/>
                  </a:cubicBezTo>
                  <a:lnTo>
                    <a:pt x="251" y="1149"/>
                  </a:lnTo>
                  <a:lnTo>
                    <a:pt x="278" y="1180"/>
                  </a:lnTo>
                  <a:lnTo>
                    <a:pt x="331" y="1184"/>
                  </a:lnTo>
                  <a:cubicBezTo>
                    <a:pt x="333" y="1185"/>
                    <a:pt x="334" y="1185"/>
                    <a:pt x="335" y="1186"/>
                  </a:cubicBezTo>
                  <a:lnTo>
                    <a:pt x="390" y="1245"/>
                  </a:lnTo>
                  <a:cubicBezTo>
                    <a:pt x="391" y="1247"/>
                    <a:pt x="391" y="1249"/>
                    <a:pt x="390" y="1251"/>
                  </a:cubicBezTo>
                  <a:lnTo>
                    <a:pt x="373" y="1272"/>
                  </a:lnTo>
                  <a:cubicBezTo>
                    <a:pt x="372" y="1273"/>
                    <a:pt x="371" y="1274"/>
                    <a:pt x="369" y="1274"/>
                  </a:cubicBezTo>
                  <a:lnTo>
                    <a:pt x="335" y="1274"/>
                  </a:lnTo>
                  <a:lnTo>
                    <a:pt x="308" y="1294"/>
                  </a:lnTo>
                  <a:cubicBezTo>
                    <a:pt x="308" y="1295"/>
                    <a:pt x="307" y="1295"/>
                    <a:pt x="306" y="1295"/>
                  </a:cubicBezTo>
                  <a:cubicBezTo>
                    <a:pt x="306" y="1295"/>
                    <a:pt x="305" y="1295"/>
                    <a:pt x="304" y="1295"/>
                  </a:cubicBezTo>
                  <a:cubicBezTo>
                    <a:pt x="303" y="1295"/>
                    <a:pt x="302" y="1293"/>
                    <a:pt x="301" y="1292"/>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3" name="Freeform 598"/>
            <p:cNvSpPr>
              <a:spLocks noChangeArrowheads="1"/>
            </p:cNvSpPr>
            <p:nvPr/>
          </p:nvSpPr>
          <p:spPr bwMode="auto">
            <a:xfrm>
              <a:off x="7175500" y="3103563"/>
              <a:ext cx="236538" cy="466725"/>
            </a:xfrm>
            <a:custGeom>
              <a:avLst/>
              <a:gdLst/>
              <a:ahLst/>
              <a:cxnLst>
                <a:cxn ang="0">
                  <a:pos x="301" y="1292"/>
                </a:cxn>
                <a:cxn ang="0">
                  <a:pos x="223" y="1213"/>
                </a:cxn>
                <a:cxn ang="0">
                  <a:pos x="223" y="1231"/>
                </a:cxn>
                <a:cxn ang="0">
                  <a:pos x="217" y="1230"/>
                </a:cxn>
                <a:cxn ang="0">
                  <a:pos x="61" y="1084"/>
                </a:cxn>
                <a:cxn ang="0">
                  <a:pos x="57" y="1083"/>
                </a:cxn>
                <a:cxn ang="0">
                  <a:pos x="55" y="1016"/>
                </a:cxn>
                <a:cxn ang="0">
                  <a:pos x="102" y="854"/>
                </a:cxn>
                <a:cxn ang="0">
                  <a:pos x="119" y="666"/>
                </a:cxn>
                <a:cxn ang="0">
                  <a:pos x="57" y="545"/>
                </a:cxn>
                <a:cxn ang="0">
                  <a:pos x="47" y="515"/>
                </a:cxn>
                <a:cxn ang="0">
                  <a:pos x="74" y="393"/>
                </a:cxn>
                <a:cxn ang="0">
                  <a:pos x="68" y="324"/>
                </a:cxn>
                <a:cxn ang="0">
                  <a:pos x="0" y="209"/>
                </a:cxn>
                <a:cxn ang="0">
                  <a:pos x="34" y="101"/>
                </a:cxn>
                <a:cxn ang="0">
                  <a:pos x="189" y="34"/>
                </a:cxn>
                <a:cxn ang="0">
                  <a:pos x="221" y="0"/>
                </a:cxn>
                <a:cxn ang="0">
                  <a:pos x="225" y="5"/>
                </a:cxn>
                <a:cxn ang="0">
                  <a:pos x="244" y="34"/>
                </a:cxn>
                <a:cxn ang="0">
                  <a:pos x="251" y="90"/>
                </a:cxn>
                <a:cxn ang="0">
                  <a:pos x="298" y="106"/>
                </a:cxn>
                <a:cxn ang="0">
                  <a:pos x="354" y="221"/>
                </a:cxn>
                <a:cxn ang="0">
                  <a:pos x="358" y="220"/>
                </a:cxn>
                <a:cxn ang="0">
                  <a:pos x="444" y="233"/>
                </a:cxn>
                <a:cxn ang="0">
                  <a:pos x="457" y="211"/>
                </a:cxn>
                <a:cxn ang="0">
                  <a:pos x="513" y="203"/>
                </a:cxn>
                <a:cxn ang="0">
                  <a:pos x="576" y="277"/>
                </a:cxn>
                <a:cxn ang="0">
                  <a:pos x="656" y="446"/>
                </a:cxn>
                <a:cxn ang="0">
                  <a:pos x="658" y="542"/>
                </a:cxn>
                <a:cxn ang="0">
                  <a:pos x="635" y="566"/>
                </a:cxn>
                <a:cxn ang="0">
                  <a:pos x="472" y="559"/>
                </a:cxn>
                <a:cxn ang="0">
                  <a:pos x="395" y="662"/>
                </a:cxn>
                <a:cxn ang="0">
                  <a:pos x="440" y="742"/>
                </a:cxn>
                <a:cxn ang="0">
                  <a:pos x="443" y="796"/>
                </a:cxn>
                <a:cxn ang="0">
                  <a:pos x="437" y="794"/>
                </a:cxn>
                <a:cxn ang="0">
                  <a:pos x="354" y="711"/>
                </a:cxn>
                <a:cxn ang="0">
                  <a:pos x="271" y="707"/>
                </a:cxn>
                <a:cxn ang="0">
                  <a:pos x="218" y="631"/>
                </a:cxn>
                <a:cxn ang="0">
                  <a:pos x="196" y="745"/>
                </a:cxn>
                <a:cxn ang="0">
                  <a:pos x="145" y="990"/>
                </a:cxn>
                <a:cxn ang="0">
                  <a:pos x="191" y="993"/>
                </a:cxn>
                <a:cxn ang="0">
                  <a:pos x="278" y="1180"/>
                </a:cxn>
                <a:cxn ang="0">
                  <a:pos x="335" y="1186"/>
                </a:cxn>
                <a:cxn ang="0">
                  <a:pos x="390" y="1251"/>
                </a:cxn>
                <a:cxn ang="0">
                  <a:pos x="369" y="1274"/>
                </a:cxn>
                <a:cxn ang="0">
                  <a:pos x="308" y="1294"/>
                </a:cxn>
                <a:cxn ang="0">
                  <a:pos x="304" y="1295"/>
                </a:cxn>
              </a:cxnLst>
              <a:rect l="0" t="0" r="r" b="b"/>
              <a:pathLst>
                <a:path w="659" h="1296">
                  <a:moveTo>
                    <a:pt x="304" y="1295"/>
                  </a:moveTo>
                  <a:cubicBezTo>
                    <a:pt x="303" y="1295"/>
                    <a:pt x="302" y="1293"/>
                    <a:pt x="301" y="1292"/>
                  </a:cubicBezTo>
                  <a:lnTo>
                    <a:pt x="281" y="1231"/>
                  </a:lnTo>
                  <a:lnTo>
                    <a:pt x="223" y="1213"/>
                  </a:lnTo>
                  <a:lnTo>
                    <a:pt x="225" y="1226"/>
                  </a:lnTo>
                  <a:cubicBezTo>
                    <a:pt x="226" y="1228"/>
                    <a:pt x="225" y="1230"/>
                    <a:pt x="223" y="1231"/>
                  </a:cubicBezTo>
                  <a:cubicBezTo>
                    <a:pt x="222" y="1232"/>
                    <a:pt x="221" y="1232"/>
                    <a:pt x="221" y="1232"/>
                  </a:cubicBezTo>
                  <a:cubicBezTo>
                    <a:pt x="220" y="1232"/>
                    <a:pt x="218" y="1231"/>
                    <a:pt x="217" y="1230"/>
                  </a:cubicBezTo>
                  <a:lnTo>
                    <a:pt x="92" y="1076"/>
                  </a:lnTo>
                  <a:lnTo>
                    <a:pt x="61" y="1084"/>
                  </a:lnTo>
                  <a:lnTo>
                    <a:pt x="60" y="1084"/>
                  </a:lnTo>
                  <a:cubicBezTo>
                    <a:pt x="59" y="1084"/>
                    <a:pt x="58" y="1083"/>
                    <a:pt x="57" y="1083"/>
                  </a:cubicBezTo>
                  <a:cubicBezTo>
                    <a:pt x="56" y="1082"/>
                    <a:pt x="55" y="1081"/>
                    <a:pt x="55" y="1079"/>
                  </a:cubicBezTo>
                  <a:lnTo>
                    <a:pt x="55" y="1016"/>
                  </a:lnTo>
                  <a:lnTo>
                    <a:pt x="89" y="913"/>
                  </a:lnTo>
                  <a:lnTo>
                    <a:pt x="102" y="854"/>
                  </a:lnTo>
                  <a:lnTo>
                    <a:pt x="161" y="770"/>
                  </a:lnTo>
                  <a:lnTo>
                    <a:pt x="119" y="666"/>
                  </a:lnTo>
                  <a:lnTo>
                    <a:pt x="115" y="595"/>
                  </a:lnTo>
                  <a:lnTo>
                    <a:pt x="57" y="545"/>
                  </a:lnTo>
                  <a:lnTo>
                    <a:pt x="47" y="518"/>
                  </a:lnTo>
                  <a:cubicBezTo>
                    <a:pt x="47" y="517"/>
                    <a:pt x="47" y="516"/>
                    <a:pt x="47" y="515"/>
                  </a:cubicBezTo>
                  <a:lnTo>
                    <a:pt x="92" y="408"/>
                  </a:lnTo>
                  <a:lnTo>
                    <a:pt x="74" y="393"/>
                  </a:lnTo>
                  <a:cubicBezTo>
                    <a:pt x="73" y="392"/>
                    <a:pt x="72" y="391"/>
                    <a:pt x="72" y="390"/>
                  </a:cubicBezTo>
                  <a:lnTo>
                    <a:pt x="68" y="324"/>
                  </a:lnTo>
                  <a:lnTo>
                    <a:pt x="27" y="283"/>
                  </a:lnTo>
                  <a:lnTo>
                    <a:pt x="0" y="209"/>
                  </a:lnTo>
                  <a:lnTo>
                    <a:pt x="30" y="105"/>
                  </a:lnTo>
                  <a:cubicBezTo>
                    <a:pt x="31" y="103"/>
                    <a:pt x="32" y="101"/>
                    <a:pt x="34" y="101"/>
                  </a:cubicBezTo>
                  <a:lnTo>
                    <a:pt x="102" y="93"/>
                  </a:lnTo>
                  <a:lnTo>
                    <a:pt x="189" y="34"/>
                  </a:lnTo>
                  <a:lnTo>
                    <a:pt x="217" y="1"/>
                  </a:lnTo>
                  <a:cubicBezTo>
                    <a:pt x="218" y="0"/>
                    <a:pt x="220" y="0"/>
                    <a:pt x="221" y="0"/>
                  </a:cubicBezTo>
                  <a:cubicBezTo>
                    <a:pt x="221" y="0"/>
                    <a:pt x="222" y="0"/>
                    <a:pt x="223" y="0"/>
                  </a:cubicBezTo>
                  <a:cubicBezTo>
                    <a:pt x="225" y="1"/>
                    <a:pt x="226" y="3"/>
                    <a:pt x="225" y="5"/>
                  </a:cubicBezTo>
                  <a:lnTo>
                    <a:pt x="222" y="23"/>
                  </a:lnTo>
                  <a:lnTo>
                    <a:pt x="244" y="34"/>
                  </a:lnTo>
                  <a:cubicBezTo>
                    <a:pt x="246" y="35"/>
                    <a:pt x="247" y="36"/>
                    <a:pt x="247" y="38"/>
                  </a:cubicBezTo>
                  <a:lnTo>
                    <a:pt x="251" y="90"/>
                  </a:lnTo>
                  <a:lnTo>
                    <a:pt x="294" y="101"/>
                  </a:lnTo>
                  <a:cubicBezTo>
                    <a:pt x="296" y="102"/>
                    <a:pt x="298" y="104"/>
                    <a:pt x="298" y="106"/>
                  </a:cubicBezTo>
                  <a:lnTo>
                    <a:pt x="282" y="270"/>
                  </a:lnTo>
                  <a:lnTo>
                    <a:pt x="354" y="221"/>
                  </a:lnTo>
                  <a:cubicBezTo>
                    <a:pt x="355" y="220"/>
                    <a:pt x="355" y="220"/>
                    <a:pt x="356" y="220"/>
                  </a:cubicBezTo>
                  <a:cubicBezTo>
                    <a:pt x="357" y="220"/>
                    <a:pt x="358" y="220"/>
                    <a:pt x="358" y="220"/>
                  </a:cubicBezTo>
                  <a:lnTo>
                    <a:pt x="416" y="245"/>
                  </a:lnTo>
                  <a:lnTo>
                    <a:pt x="444" y="233"/>
                  </a:lnTo>
                  <a:lnTo>
                    <a:pt x="454" y="214"/>
                  </a:lnTo>
                  <a:cubicBezTo>
                    <a:pt x="455" y="213"/>
                    <a:pt x="456" y="212"/>
                    <a:pt x="457" y="211"/>
                  </a:cubicBezTo>
                  <a:lnTo>
                    <a:pt x="487" y="203"/>
                  </a:lnTo>
                  <a:lnTo>
                    <a:pt x="513" y="203"/>
                  </a:lnTo>
                  <a:cubicBezTo>
                    <a:pt x="515" y="203"/>
                    <a:pt x="516" y="203"/>
                    <a:pt x="517" y="205"/>
                  </a:cubicBezTo>
                  <a:lnTo>
                    <a:pt x="576" y="277"/>
                  </a:lnTo>
                  <a:lnTo>
                    <a:pt x="603" y="388"/>
                  </a:lnTo>
                  <a:lnTo>
                    <a:pt x="656" y="446"/>
                  </a:lnTo>
                  <a:cubicBezTo>
                    <a:pt x="657" y="446"/>
                    <a:pt x="658" y="447"/>
                    <a:pt x="658" y="449"/>
                  </a:cubicBezTo>
                  <a:lnTo>
                    <a:pt x="658" y="542"/>
                  </a:lnTo>
                  <a:cubicBezTo>
                    <a:pt x="658" y="543"/>
                    <a:pt x="657" y="544"/>
                    <a:pt x="656" y="545"/>
                  </a:cubicBezTo>
                  <a:lnTo>
                    <a:pt x="635" y="566"/>
                  </a:lnTo>
                  <a:cubicBezTo>
                    <a:pt x="634" y="567"/>
                    <a:pt x="633" y="568"/>
                    <a:pt x="632" y="568"/>
                  </a:cubicBezTo>
                  <a:lnTo>
                    <a:pt x="472" y="559"/>
                  </a:lnTo>
                  <a:lnTo>
                    <a:pt x="415" y="609"/>
                  </a:lnTo>
                  <a:lnTo>
                    <a:pt x="395" y="662"/>
                  </a:lnTo>
                  <a:lnTo>
                    <a:pt x="408" y="706"/>
                  </a:lnTo>
                  <a:lnTo>
                    <a:pt x="440" y="742"/>
                  </a:lnTo>
                  <a:lnTo>
                    <a:pt x="446" y="791"/>
                  </a:lnTo>
                  <a:cubicBezTo>
                    <a:pt x="446" y="793"/>
                    <a:pt x="445" y="795"/>
                    <a:pt x="443" y="796"/>
                  </a:cubicBezTo>
                  <a:cubicBezTo>
                    <a:pt x="442" y="796"/>
                    <a:pt x="442" y="796"/>
                    <a:pt x="441" y="796"/>
                  </a:cubicBezTo>
                  <a:cubicBezTo>
                    <a:pt x="440" y="796"/>
                    <a:pt x="438" y="795"/>
                    <a:pt x="437" y="794"/>
                  </a:cubicBezTo>
                  <a:lnTo>
                    <a:pt x="416" y="756"/>
                  </a:lnTo>
                  <a:lnTo>
                    <a:pt x="354" y="711"/>
                  </a:lnTo>
                  <a:lnTo>
                    <a:pt x="276" y="712"/>
                  </a:lnTo>
                  <a:cubicBezTo>
                    <a:pt x="273" y="712"/>
                    <a:pt x="271" y="710"/>
                    <a:pt x="271" y="707"/>
                  </a:cubicBezTo>
                  <a:lnTo>
                    <a:pt x="267" y="639"/>
                  </a:lnTo>
                  <a:lnTo>
                    <a:pt x="218" y="631"/>
                  </a:lnTo>
                  <a:lnTo>
                    <a:pt x="204" y="642"/>
                  </a:lnTo>
                  <a:lnTo>
                    <a:pt x="196" y="745"/>
                  </a:lnTo>
                  <a:lnTo>
                    <a:pt x="136" y="911"/>
                  </a:lnTo>
                  <a:lnTo>
                    <a:pt x="145" y="990"/>
                  </a:lnTo>
                  <a:lnTo>
                    <a:pt x="187" y="990"/>
                  </a:lnTo>
                  <a:cubicBezTo>
                    <a:pt x="189" y="990"/>
                    <a:pt x="191" y="991"/>
                    <a:pt x="191" y="993"/>
                  </a:cubicBezTo>
                  <a:lnTo>
                    <a:pt x="251" y="1149"/>
                  </a:lnTo>
                  <a:lnTo>
                    <a:pt x="278" y="1180"/>
                  </a:lnTo>
                  <a:lnTo>
                    <a:pt x="331" y="1184"/>
                  </a:lnTo>
                  <a:cubicBezTo>
                    <a:pt x="333" y="1185"/>
                    <a:pt x="334" y="1185"/>
                    <a:pt x="335" y="1186"/>
                  </a:cubicBezTo>
                  <a:lnTo>
                    <a:pt x="390" y="1245"/>
                  </a:lnTo>
                  <a:cubicBezTo>
                    <a:pt x="391" y="1247"/>
                    <a:pt x="391" y="1249"/>
                    <a:pt x="390" y="1251"/>
                  </a:cubicBezTo>
                  <a:lnTo>
                    <a:pt x="373" y="1272"/>
                  </a:lnTo>
                  <a:cubicBezTo>
                    <a:pt x="372" y="1273"/>
                    <a:pt x="371" y="1274"/>
                    <a:pt x="369" y="1274"/>
                  </a:cubicBezTo>
                  <a:lnTo>
                    <a:pt x="335" y="1274"/>
                  </a:lnTo>
                  <a:lnTo>
                    <a:pt x="308" y="1294"/>
                  </a:lnTo>
                  <a:cubicBezTo>
                    <a:pt x="308" y="1295"/>
                    <a:pt x="307" y="1295"/>
                    <a:pt x="306" y="1295"/>
                  </a:cubicBezTo>
                  <a:cubicBezTo>
                    <a:pt x="306" y="1295"/>
                    <a:pt x="305" y="1295"/>
                    <a:pt x="304" y="129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4" name="Freeform 599"/>
            <p:cNvSpPr>
              <a:spLocks noChangeArrowheads="1"/>
            </p:cNvSpPr>
            <p:nvPr/>
          </p:nvSpPr>
          <p:spPr bwMode="auto">
            <a:xfrm>
              <a:off x="7312025" y="3024188"/>
              <a:ext cx="217488" cy="458787"/>
            </a:xfrm>
            <a:custGeom>
              <a:avLst/>
              <a:gdLst/>
              <a:ahLst/>
              <a:cxnLst>
                <a:cxn ang="0">
                  <a:pos x="221" y="1265"/>
                </a:cxn>
                <a:cxn ang="0">
                  <a:pos x="237" y="1148"/>
                </a:cxn>
                <a:cxn ang="0">
                  <a:pos x="187" y="1112"/>
                </a:cxn>
                <a:cxn ang="0">
                  <a:pos x="222" y="1096"/>
                </a:cxn>
                <a:cxn ang="0">
                  <a:pos x="233" y="1074"/>
                </a:cxn>
                <a:cxn ang="0">
                  <a:pos x="305" y="1011"/>
                </a:cxn>
                <a:cxn ang="0">
                  <a:pos x="349" y="1003"/>
                </a:cxn>
                <a:cxn ang="0">
                  <a:pos x="355" y="986"/>
                </a:cxn>
                <a:cxn ang="0">
                  <a:pos x="432" y="753"/>
                </a:cxn>
                <a:cxn ang="0">
                  <a:pos x="408" y="621"/>
                </a:cxn>
                <a:cxn ang="0">
                  <a:pos x="356" y="593"/>
                </a:cxn>
                <a:cxn ang="0">
                  <a:pos x="308" y="512"/>
                </a:cxn>
                <a:cxn ang="0">
                  <a:pos x="142" y="359"/>
                </a:cxn>
                <a:cxn ang="0">
                  <a:pos x="153" y="320"/>
                </a:cxn>
                <a:cxn ang="0">
                  <a:pos x="189" y="317"/>
                </a:cxn>
                <a:cxn ang="0">
                  <a:pos x="179" y="231"/>
                </a:cxn>
                <a:cxn ang="0">
                  <a:pos x="81" y="216"/>
                </a:cxn>
                <a:cxn ang="0">
                  <a:pos x="57" y="194"/>
                </a:cxn>
                <a:cxn ang="0">
                  <a:pos x="1" y="83"/>
                </a:cxn>
                <a:cxn ang="0">
                  <a:pos x="18" y="44"/>
                </a:cxn>
                <a:cxn ang="0">
                  <a:pos x="24" y="42"/>
                </a:cxn>
                <a:cxn ang="0">
                  <a:pos x="100" y="47"/>
                </a:cxn>
                <a:cxn ang="0">
                  <a:pos x="104" y="46"/>
                </a:cxn>
                <a:cxn ang="0">
                  <a:pos x="248" y="0"/>
                </a:cxn>
                <a:cxn ang="0">
                  <a:pos x="252" y="0"/>
                </a:cxn>
                <a:cxn ang="0">
                  <a:pos x="365" y="45"/>
                </a:cxn>
                <a:cxn ang="0">
                  <a:pos x="431" y="149"/>
                </a:cxn>
                <a:cxn ang="0">
                  <a:pos x="484" y="165"/>
                </a:cxn>
                <a:cxn ang="0">
                  <a:pos x="434" y="182"/>
                </a:cxn>
                <a:cxn ang="0">
                  <a:pos x="318" y="303"/>
                </a:cxn>
                <a:cxn ang="0">
                  <a:pos x="297" y="416"/>
                </a:cxn>
                <a:cxn ang="0">
                  <a:pos x="357" y="498"/>
                </a:cxn>
                <a:cxn ang="0">
                  <a:pos x="462" y="610"/>
                </a:cxn>
                <a:cxn ang="0">
                  <a:pos x="509" y="629"/>
                </a:cxn>
                <a:cxn ang="0">
                  <a:pos x="558" y="694"/>
                </a:cxn>
                <a:cxn ang="0">
                  <a:pos x="603" y="913"/>
                </a:cxn>
                <a:cxn ang="0">
                  <a:pos x="586" y="1011"/>
                </a:cxn>
                <a:cxn ang="0">
                  <a:pos x="486" y="1095"/>
                </a:cxn>
                <a:cxn ang="0">
                  <a:pos x="388" y="1122"/>
                </a:cxn>
                <a:cxn ang="0">
                  <a:pos x="361" y="1188"/>
                </a:cxn>
                <a:cxn ang="0">
                  <a:pos x="357" y="1193"/>
                </a:cxn>
                <a:cxn ang="0">
                  <a:pos x="327" y="1172"/>
                </a:cxn>
                <a:cxn ang="0">
                  <a:pos x="334" y="1205"/>
                </a:cxn>
                <a:cxn ang="0">
                  <a:pos x="242" y="1274"/>
                </a:cxn>
                <a:cxn ang="0">
                  <a:pos x="224" y="1270"/>
                </a:cxn>
              </a:cxnLst>
              <a:rect l="0" t="0" r="r" b="b"/>
              <a:pathLst>
                <a:path w="604" h="1275">
                  <a:moveTo>
                    <a:pt x="224" y="1270"/>
                  </a:moveTo>
                  <a:cubicBezTo>
                    <a:pt x="222" y="1269"/>
                    <a:pt x="221" y="1267"/>
                    <a:pt x="221" y="1265"/>
                  </a:cubicBezTo>
                  <a:lnTo>
                    <a:pt x="217" y="1202"/>
                  </a:lnTo>
                  <a:lnTo>
                    <a:pt x="237" y="1148"/>
                  </a:lnTo>
                  <a:lnTo>
                    <a:pt x="189" y="1117"/>
                  </a:lnTo>
                  <a:cubicBezTo>
                    <a:pt x="188" y="1116"/>
                    <a:pt x="187" y="1114"/>
                    <a:pt x="187" y="1112"/>
                  </a:cubicBezTo>
                  <a:cubicBezTo>
                    <a:pt x="187" y="1110"/>
                    <a:pt x="188" y="1109"/>
                    <a:pt x="190" y="1108"/>
                  </a:cubicBezTo>
                  <a:lnTo>
                    <a:pt x="222" y="1096"/>
                  </a:lnTo>
                  <a:lnTo>
                    <a:pt x="230" y="1077"/>
                  </a:lnTo>
                  <a:cubicBezTo>
                    <a:pt x="230" y="1076"/>
                    <a:pt x="231" y="1075"/>
                    <a:pt x="233" y="1074"/>
                  </a:cubicBezTo>
                  <a:lnTo>
                    <a:pt x="305" y="1054"/>
                  </a:lnTo>
                  <a:lnTo>
                    <a:pt x="305" y="1011"/>
                  </a:lnTo>
                  <a:cubicBezTo>
                    <a:pt x="305" y="1009"/>
                    <a:pt x="307" y="1007"/>
                    <a:pt x="309" y="1006"/>
                  </a:cubicBezTo>
                  <a:lnTo>
                    <a:pt x="349" y="1003"/>
                  </a:lnTo>
                  <a:lnTo>
                    <a:pt x="352" y="989"/>
                  </a:lnTo>
                  <a:cubicBezTo>
                    <a:pt x="352" y="987"/>
                    <a:pt x="353" y="986"/>
                    <a:pt x="355" y="986"/>
                  </a:cubicBezTo>
                  <a:lnTo>
                    <a:pt x="441" y="945"/>
                  </a:lnTo>
                  <a:lnTo>
                    <a:pt x="432" y="753"/>
                  </a:lnTo>
                  <a:lnTo>
                    <a:pt x="437" y="702"/>
                  </a:lnTo>
                  <a:lnTo>
                    <a:pt x="408" y="621"/>
                  </a:lnTo>
                  <a:lnTo>
                    <a:pt x="359" y="596"/>
                  </a:lnTo>
                  <a:cubicBezTo>
                    <a:pt x="357" y="596"/>
                    <a:pt x="357" y="595"/>
                    <a:pt x="356" y="593"/>
                  </a:cubicBezTo>
                  <a:lnTo>
                    <a:pt x="344" y="532"/>
                  </a:lnTo>
                  <a:lnTo>
                    <a:pt x="308" y="512"/>
                  </a:lnTo>
                  <a:lnTo>
                    <a:pt x="238" y="417"/>
                  </a:lnTo>
                  <a:lnTo>
                    <a:pt x="142" y="359"/>
                  </a:lnTo>
                  <a:cubicBezTo>
                    <a:pt x="140" y="358"/>
                    <a:pt x="140" y="356"/>
                    <a:pt x="140" y="354"/>
                  </a:cubicBezTo>
                  <a:lnTo>
                    <a:pt x="153" y="320"/>
                  </a:lnTo>
                  <a:cubicBezTo>
                    <a:pt x="154" y="318"/>
                    <a:pt x="156" y="317"/>
                    <a:pt x="158" y="317"/>
                  </a:cubicBezTo>
                  <a:lnTo>
                    <a:pt x="189" y="317"/>
                  </a:lnTo>
                  <a:lnTo>
                    <a:pt x="211" y="295"/>
                  </a:lnTo>
                  <a:lnTo>
                    <a:pt x="179" y="231"/>
                  </a:lnTo>
                  <a:lnTo>
                    <a:pt x="164" y="216"/>
                  </a:lnTo>
                  <a:lnTo>
                    <a:pt x="81" y="216"/>
                  </a:lnTo>
                  <a:cubicBezTo>
                    <a:pt x="80" y="216"/>
                    <a:pt x="79" y="216"/>
                    <a:pt x="78" y="215"/>
                  </a:cubicBezTo>
                  <a:lnTo>
                    <a:pt x="57" y="194"/>
                  </a:lnTo>
                  <a:lnTo>
                    <a:pt x="51" y="144"/>
                  </a:lnTo>
                  <a:lnTo>
                    <a:pt x="1" y="83"/>
                  </a:lnTo>
                  <a:cubicBezTo>
                    <a:pt x="0" y="82"/>
                    <a:pt x="0" y="80"/>
                    <a:pt x="1" y="78"/>
                  </a:cubicBezTo>
                  <a:lnTo>
                    <a:pt x="18" y="44"/>
                  </a:lnTo>
                  <a:cubicBezTo>
                    <a:pt x="18" y="43"/>
                    <a:pt x="20" y="42"/>
                    <a:pt x="22" y="42"/>
                  </a:cubicBezTo>
                  <a:cubicBezTo>
                    <a:pt x="23" y="42"/>
                    <a:pt x="23" y="42"/>
                    <a:pt x="24" y="42"/>
                  </a:cubicBezTo>
                  <a:lnTo>
                    <a:pt x="72" y="62"/>
                  </a:lnTo>
                  <a:lnTo>
                    <a:pt x="100" y="47"/>
                  </a:lnTo>
                  <a:cubicBezTo>
                    <a:pt x="101" y="46"/>
                    <a:pt x="102" y="46"/>
                    <a:pt x="102" y="46"/>
                  </a:cubicBezTo>
                  <a:cubicBezTo>
                    <a:pt x="103" y="46"/>
                    <a:pt x="103" y="46"/>
                    <a:pt x="104" y="46"/>
                  </a:cubicBezTo>
                  <a:lnTo>
                    <a:pt x="136" y="58"/>
                  </a:lnTo>
                  <a:lnTo>
                    <a:pt x="248" y="0"/>
                  </a:lnTo>
                  <a:cubicBezTo>
                    <a:pt x="249" y="0"/>
                    <a:pt x="250" y="0"/>
                    <a:pt x="251" y="0"/>
                  </a:cubicBezTo>
                  <a:lnTo>
                    <a:pt x="252" y="0"/>
                  </a:lnTo>
                  <a:lnTo>
                    <a:pt x="363" y="42"/>
                  </a:lnTo>
                  <a:cubicBezTo>
                    <a:pt x="364" y="43"/>
                    <a:pt x="365" y="44"/>
                    <a:pt x="365" y="45"/>
                  </a:cubicBezTo>
                  <a:lnTo>
                    <a:pt x="391" y="121"/>
                  </a:lnTo>
                  <a:lnTo>
                    <a:pt x="431" y="149"/>
                  </a:lnTo>
                  <a:lnTo>
                    <a:pt x="480" y="160"/>
                  </a:lnTo>
                  <a:cubicBezTo>
                    <a:pt x="483" y="161"/>
                    <a:pt x="484" y="163"/>
                    <a:pt x="484" y="165"/>
                  </a:cubicBezTo>
                  <a:cubicBezTo>
                    <a:pt x="484" y="167"/>
                    <a:pt x="483" y="169"/>
                    <a:pt x="481" y="170"/>
                  </a:cubicBezTo>
                  <a:lnTo>
                    <a:pt x="434" y="182"/>
                  </a:lnTo>
                  <a:lnTo>
                    <a:pt x="372" y="240"/>
                  </a:lnTo>
                  <a:lnTo>
                    <a:pt x="318" y="303"/>
                  </a:lnTo>
                  <a:lnTo>
                    <a:pt x="293" y="378"/>
                  </a:lnTo>
                  <a:lnTo>
                    <a:pt x="297" y="416"/>
                  </a:lnTo>
                  <a:lnTo>
                    <a:pt x="347" y="458"/>
                  </a:lnTo>
                  <a:lnTo>
                    <a:pt x="357" y="498"/>
                  </a:lnTo>
                  <a:lnTo>
                    <a:pt x="406" y="547"/>
                  </a:lnTo>
                  <a:lnTo>
                    <a:pt x="462" y="610"/>
                  </a:lnTo>
                  <a:lnTo>
                    <a:pt x="506" y="626"/>
                  </a:lnTo>
                  <a:cubicBezTo>
                    <a:pt x="508" y="626"/>
                    <a:pt x="509" y="627"/>
                    <a:pt x="509" y="629"/>
                  </a:cubicBezTo>
                  <a:lnTo>
                    <a:pt x="522" y="667"/>
                  </a:lnTo>
                  <a:lnTo>
                    <a:pt x="558" y="694"/>
                  </a:lnTo>
                  <a:cubicBezTo>
                    <a:pt x="559" y="695"/>
                    <a:pt x="560" y="696"/>
                    <a:pt x="560" y="697"/>
                  </a:cubicBezTo>
                  <a:lnTo>
                    <a:pt x="603" y="913"/>
                  </a:lnTo>
                  <a:lnTo>
                    <a:pt x="585" y="950"/>
                  </a:lnTo>
                  <a:lnTo>
                    <a:pt x="586" y="1011"/>
                  </a:lnTo>
                  <a:lnTo>
                    <a:pt x="573" y="1043"/>
                  </a:lnTo>
                  <a:lnTo>
                    <a:pt x="486" y="1095"/>
                  </a:lnTo>
                  <a:lnTo>
                    <a:pt x="430" y="1121"/>
                  </a:lnTo>
                  <a:lnTo>
                    <a:pt x="388" y="1122"/>
                  </a:lnTo>
                  <a:lnTo>
                    <a:pt x="357" y="1161"/>
                  </a:lnTo>
                  <a:lnTo>
                    <a:pt x="361" y="1188"/>
                  </a:lnTo>
                  <a:cubicBezTo>
                    <a:pt x="361" y="1190"/>
                    <a:pt x="360" y="1192"/>
                    <a:pt x="359" y="1193"/>
                  </a:cubicBezTo>
                  <a:cubicBezTo>
                    <a:pt x="358" y="1193"/>
                    <a:pt x="357" y="1193"/>
                    <a:pt x="357" y="1193"/>
                  </a:cubicBezTo>
                  <a:cubicBezTo>
                    <a:pt x="355" y="1193"/>
                    <a:pt x="354" y="1193"/>
                    <a:pt x="354" y="1192"/>
                  </a:cubicBezTo>
                  <a:lnTo>
                    <a:pt x="327" y="1172"/>
                  </a:lnTo>
                  <a:lnTo>
                    <a:pt x="335" y="1200"/>
                  </a:lnTo>
                  <a:cubicBezTo>
                    <a:pt x="336" y="1202"/>
                    <a:pt x="335" y="1204"/>
                    <a:pt x="334" y="1205"/>
                  </a:cubicBezTo>
                  <a:lnTo>
                    <a:pt x="245" y="1273"/>
                  </a:lnTo>
                  <a:cubicBezTo>
                    <a:pt x="244" y="1274"/>
                    <a:pt x="243" y="1274"/>
                    <a:pt x="242" y="1274"/>
                  </a:cubicBezTo>
                  <a:lnTo>
                    <a:pt x="241" y="1274"/>
                  </a:lnTo>
                  <a:lnTo>
                    <a:pt x="224" y="127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5" name="Freeform 600"/>
            <p:cNvSpPr>
              <a:spLocks noChangeArrowheads="1"/>
            </p:cNvSpPr>
            <p:nvPr/>
          </p:nvSpPr>
          <p:spPr bwMode="auto">
            <a:xfrm>
              <a:off x="7312025" y="3024188"/>
              <a:ext cx="217488" cy="458787"/>
            </a:xfrm>
            <a:custGeom>
              <a:avLst/>
              <a:gdLst/>
              <a:ahLst/>
              <a:cxnLst>
                <a:cxn ang="0">
                  <a:pos x="224" y="1270"/>
                </a:cxn>
                <a:cxn ang="0">
                  <a:pos x="217" y="1202"/>
                </a:cxn>
                <a:cxn ang="0">
                  <a:pos x="189" y="1117"/>
                </a:cxn>
                <a:cxn ang="0">
                  <a:pos x="190" y="1108"/>
                </a:cxn>
                <a:cxn ang="0">
                  <a:pos x="230" y="1077"/>
                </a:cxn>
                <a:cxn ang="0">
                  <a:pos x="305" y="1054"/>
                </a:cxn>
                <a:cxn ang="0">
                  <a:pos x="309" y="1006"/>
                </a:cxn>
                <a:cxn ang="0">
                  <a:pos x="352" y="989"/>
                </a:cxn>
                <a:cxn ang="0">
                  <a:pos x="441" y="945"/>
                </a:cxn>
                <a:cxn ang="0">
                  <a:pos x="437" y="702"/>
                </a:cxn>
                <a:cxn ang="0">
                  <a:pos x="359" y="596"/>
                </a:cxn>
                <a:cxn ang="0">
                  <a:pos x="344" y="532"/>
                </a:cxn>
                <a:cxn ang="0">
                  <a:pos x="238" y="417"/>
                </a:cxn>
                <a:cxn ang="0">
                  <a:pos x="140" y="354"/>
                </a:cxn>
                <a:cxn ang="0">
                  <a:pos x="158" y="317"/>
                </a:cxn>
                <a:cxn ang="0">
                  <a:pos x="211" y="295"/>
                </a:cxn>
                <a:cxn ang="0">
                  <a:pos x="164" y="216"/>
                </a:cxn>
                <a:cxn ang="0">
                  <a:pos x="78" y="215"/>
                </a:cxn>
                <a:cxn ang="0">
                  <a:pos x="51" y="144"/>
                </a:cxn>
                <a:cxn ang="0">
                  <a:pos x="1" y="78"/>
                </a:cxn>
                <a:cxn ang="0">
                  <a:pos x="22" y="42"/>
                </a:cxn>
                <a:cxn ang="0">
                  <a:pos x="72" y="62"/>
                </a:cxn>
                <a:cxn ang="0">
                  <a:pos x="102" y="46"/>
                </a:cxn>
                <a:cxn ang="0">
                  <a:pos x="136" y="58"/>
                </a:cxn>
                <a:cxn ang="0">
                  <a:pos x="251" y="0"/>
                </a:cxn>
                <a:cxn ang="0">
                  <a:pos x="363" y="42"/>
                </a:cxn>
                <a:cxn ang="0">
                  <a:pos x="391" y="121"/>
                </a:cxn>
                <a:cxn ang="0">
                  <a:pos x="480" y="160"/>
                </a:cxn>
                <a:cxn ang="0">
                  <a:pos x="481" y="170"/>
                </a:cxn>
                <a:cxn ang="0">
                  <a:pos x="372" y="240"/>
                </a:cxn>
                <a:cxn ang="0">
                  <a:pos x="293" y="378"/>
                </a:cxn>
                <a:cxn ang="0">
                  <a:pos x="347" y="458"/>
                </a:cxn>
                <a:cxn ang="0">
                  <a:pos x="406" y="547"/>
                </a:cxn>
                <a:cxn ang="0">
                  <a:pos x="506" y="626"/>
                </a:cxn>
                <a:cxn ang="0">
                  <a:pos x="522" y="667"/>
                </a:cxn>
                <a:cxn ang="0">
                  <a:pos x="560" y="697"/>
                </a:cxn>
                <a:cxn ang="0">
                  <a:pos x="585" y="950"/>
                </a:cxn>
                <a:cxn ang="0">
                  <a:pos x="573" y="1043"/>
                </a:cxn>
                <a:cxn ang="0">
                  <a:pos x="430" y="1121"/>
                </a:cxn>
                <a:cxn ang="0">
                  <a:pos x="357" y="1161"/>
                </a:cxn>
                <a:cxn ang="0">
                  <a:pos x="359" y="1193"/>
                </a:cxn>
                <a:cxn ang="0">
                  <a:pos x="354" y="1192"/>
                </a:cxn>
                <a:cxn ang="0">
                  <a:pos x="335" y="1200"/>
                </a:cxn>
                <a:cxn ang="0">
                  <a:pos x="245" y="1273"/>
                </a:cxn>
                <a:cxn ang="0">
                  <a:pos x="241" y="1274"/>
                </a:cxn>
              </a:cxnLst>
              <a:rect l="0" t="0" r="r" b="b"/>
              <a:pathLst>
                <a:path w="604" h="1275">
                  <a:moveTo>
                    <a:pt x="241" y="1274"/>
                  </a:moveTo>
                  <a:lnTo>
                    <a:pt x="224" y="1270"/>
                  </a:lnTo>
                  <a:cubicBezTo>
                    <a:pt x="222" y="1269"/>
                    <a:pt x="221" y="1267"/>
                    <a:pt x="221" y="1265"/>
                  </a:cubicBezTo>
                  <a:lnTo>
                    <a:pt x="217" y="1202"/>
                  </a:lnTo>
                  <a:lnTo>
                    <a:pt x="237" y="1148"/>
                  </a:lnTo>
                  <a:lnTo>
                    <a:pt x="189" y="1117"/>
                  </a:lnTo>
                  <a:cubicBezTo>
                    <a:pt x="188" y="1116"/>
                    <a:pt x="187" y="1114"/>
                    <a:pt x="187" y="1112"/>
                  </a:cubicBezTo>
                  <a:cubicBezTo>
                    <a:pt x="187" y="1110"/>
                    <a:pt x="188" y="1109"/>
                    <a:pt x="190" y="1108"/>
                  </a:cubicBezTo>
                  <a:lnTo>
                    <a:pt x="222" y="1096"/>
                  </a:lnTo>
                  <a:lnTo>
                    <a:pt x="230" y="1077"/>
                  </a:lnTo>
                  <a:cubicBezTo>
                    <a:pt x="230" y="1076"/>
                    <a:pt x="231" y="1075"/>
                    <a:pt x="233" y="1074"/>
                  </a:cubicBezTo>
                  <a:lnTo>
                    <a:pt x="305" y="1054"/>
                  </a:lnTo>
                  <a:lnTo>
                    <a:pt x="305" y="1011"/>
                  </a:lnTo>
                  <a:cubicBezTo>
                    <a:pt x="305" y="1009"/>
                    <a:pt x="307" y="1007"/>
                    <a:pt x="309" y="1006"/>
                  </a:cubicBezTo>
                  <a:lnTo>
                    <a:pt x="349" y="1003"/>
                  </a:lnTo>
                  <a:lnTo>
                    <a:pt x="352" y="989"/>
                  </a:lnTo>
                  <a:cubicBezTo>
                    <a:pt x="352" y="987"/>
                    <a:pt x="353" y="986"/>
                    <a:pt x="355" y="986"/>
                  </a:cubicBezTo>
                  <a:lnTo>
                    <a:pt x="441" y="945"/>
                  </a:lnTo>
                  <a:lnTo>
                    <a:pt x="432" y="753"/>
                  </a:lnTo>
                  <a:lnTo>
                    <a:pt x="437" y="702"/>
                  </a:lnTo>
                  <a:lnTo>
                    <a:pt x="408" y="621"/>
                  </a:lnTo>
                  <a:lnTo>
                    <a:pt x="359" y="596"/>
                  </a:lnTo>
                  <a:cubicBezTo>
                    <a:pt x="357" y="596"/>
                    <a:pt x="357" y="595"/>
                    <a:pt x="356" y="593"/>
                  </a:cubicBezTo>
                  <a:lnTo>
                    <a:pt x="344" y="532"/>
                  </a:lnTo>
                  <a:lnTo>
                    <a:pt x="308" y="512"/>
                  </a:lnTo>
                  <a:lnTo>
                    <a:pt x="238" y="417"/>
                  </a:lnTo>
                  <a:lnTo>
                    <a:pt x="142" y="359"/>
                  </a:lnTo>
                  <a:cubicBezTo>
                    <a:pt x="140" y="358"/>
                    <a:pt x="140" y="356"/>
                    <a:pt x="140" y="354"/>
                  </a:cubicBezTo>
                  <a:lnTo>
                    <a:pt x="153" y="320"/>
                  </a:lnTo>
                  <a:cubicBezTo>
                    <a:pt x="154" y="318"/>
                    <a:pt x="156" y="317"/>
                    <a:pt x="158" y="317"/>
                  </a:cubicBezTo>
                  <a:lnTo>
                    <a:pt x="189" y="317"/>
                  </a:lnTo>
                  <a:lnTo>
                    <a:pt x="211" y="295"/>
                  </a:lnTo>
                  <a:lnTo>
                    <a:pt x="179" y="231"/>
                  </a:lnTo>
                  <a:lnTo>
                    <a:pt x="164" y="216"/>
                  </a:lnTo>
                  <a:lnTo>
                    <a:pt x="81" y="216"/>
                  </a:lnTo>
                  <a:cubicBezTo>
                    <a:pt x="80" y="216"/>
                    <a:pt x="79" y="216"/>
                    <a:pt x="78" y="215"/>
                  </a:cubicBezTo>
                  <a:lnTo>
                    <a:pt x="57" y="194"/>
                  </a:lnTo>
                  <a:lnTo>
                    <a:pt x="51" y="144"/>
                  </a:lnTo>
                  <a:lnTo>
                    <a:pt x="1" y="83"/>
                  </a:lnTo>
                  <a:cubicBezTo>
                    <a:pt x="0" y="82"/>
                    <a:pt x="0" y="80"/>
                    <a:pt x="1" y="78"/>
                  </a:cubicBezTo>
                  <a:lnTo>
                    <a:pt x="18" y="44"/>
                  </a:lnTo>
                  <a:cubicBezTo>
                    <a:pt x="18" y="43"/>
                    <a:pt x="20" y="42"/>
                    <a:pt x="22" y="42"/>
                  </a:cubicBezTo>
                  <a:cubicBezTo>
                    <a:pt x="23" y="42"/>
                    <a:pt x="23" y="42"/>
                    <a:pt x="24" y="42"/>
                  </a:cubicBezTo>
                  <a:lnTo>
                    <a:pt x="72" y="62"/>
                  </a:lnTo>
                  <a:lnTo>
                    <a:pt x="100" y="47"/>
                  </a:lnTo>
                  <a:cubicBezTo>
                    <a:pt x="101" y="46"/>
                    <a:pt x="102" y="46"/>
                    <a:pt x="102" y="46"/>
                  </a:cubicBezTo>
                  <a:cubicBezTo>
                    <a:pt x="103" y="46"/>
                    <a:pt x="103" y="46"/>
                    <a:pt x="104" y="46"/>
                  </a:cubicBezTo>
                  <a:lnTo>
                    <a:pt x="136" y="58"/>
                  </a:lnTo>
                  <a:lnTo>
                    <a:pt x="248" y="0"/>
                  </a:lnTo>
                  <a:cubicBezTo>
                    <a:pt x="249" y="0"/>
                    <a:pt x="250" y="0"/>
                    <a:pt x="251" y="0"/>
                  </a:cubicBezTo>
                  <a:lnTo>
                    <a:pt x="252" y="0"/>
                  </a:lnTo>
                  <a:lnTo>
                    <a:pt x="363" y="42"/>
                  </a:lnTo>
                  <a:cubicBezTo>
                    <a:pt x="364" y="43"/>
                    <a:pt x="365" y="44"/>
                    <a:pt x="365" y="45"/>
                  </a:cubicBezTo>
                  <a:lnTo>
                    <a:pt x="391" y="121"/>
                  </a:lnTo>
                  <a:lnTo>
                    <a:pt x="431" y="149"/>
                  </a:lnTo>
                  <a:lnTo>
                    <a:pt x="480" y="160"/>
                  </a:lnTo>
                  <a:cubicBezTo>
                    <a:pt x="483" y="161"/>
                    <a:pt x="484" y="163"/>
                    <a:pt x="484" y="165"/>
                  </a:cubicBezTo>
                  <a:cubicBezTo>
                    <a:pt x="484" y="167"/>
                    <a:pt x="483" y="169"/>
                    <a:pt x="481" y="170"/>
                  </a:cubicBezTo>
                  <a:lnTo>
                    <a:pt x="434" y="182"/>
                  </a:lnTo>
                  <a:lnTo>
                    <a:pt x="372" y="240"/>
                  </a:lnTo>
                  <a:lnTo>
                    <a:pt x="318" y="303"/>
                  </a:lnTo>
                  <a:lnTo>
                    <a:pt x="293" y="378"/>
                  </a:lnTo>
                  <a:lnTo>
                    <a:pt x="297" y="416"/>
                  </a:lnTo>
                  <a:lnTo>
                    <a:pt x="347" y="458"/>
                  </a:lnTo>
                  <a:lnTo>
                    <a:pt x="357" y="498"/>
                  </a:lnTo>
                  <a:lnTo>
                    <a:pt x="406" y="547"/>
                  </a:lnTo>
                  <a:lnTo>
                    <a:pt x="462" y="610"/>
                  </a:lnTo>
                  <a:lnTo>
                    <a:pt x="506" y="626"/>
                  </a:lnTo>
                  <a:cubicBezTo>
                    <a:pt x="508" y="626"/>
                    <a:pt x="509" y="627"/>
                    <a:pt x="509" y="629"/>
                  </a:cubicBezTo>
                  <a:lnTo>
                    <a:pt x="522" y="667"/>
                  </a:lnTo>
                  <a:lnTo>
                    <a:pt x="558" y="694"/>
                  </a:lnTo>
                  <a:cubicBezTo>
                    <a:pt x="559" y="695"/>
                    <a:pt x="560" y="696"/>
                    <a:pt x="560" y="697"/>
                  </a:cubicBezTo>
                  <a:lnTo>
                    <a:pt x="603" y="913"/>
                  </a:lnTo>
                  <a:lnTo>
                    <a:pt x="585" y="950"/>
                  </a:lnTo>
                  <a:lnTo>
                    <a:pt x="586" y="1011"/>
                  </a:lnTo>
                  <a:lnTo>
                    <a:pt x="573" y="1043"/>
                  </a:lnTo>
                  <a:lnTo>
                    <a:pt x="486" y="1095"/>
                  </a:lnTo>
                  <a:lnTo>
                    <a:pt x="430" y="1121"/>
                  </a:lnTo>
                  <a:lnTo>
                    <a:pt x="388" y="1122"/>
                  </a:lnTo>
                  <a:lnTo>
                    <a:pt x="357" y="1161"/>
                  </a:lnTo>
                  <a:lnTo>
                    <a:pt x="361" y="1188"/>
                  </a:lnTo>
                  <a:cubicBezTo>
                    <a:pt x="361" y="1190"/>
                    <a:pt x="360" y="1192"/>
                    <a:pt x="359" y="1193"/>
                  </a:cubicBezTo>
                  <a:cubicBezTo>
                    <a:pt x="358" y="1193"/>
                    <a:pt x="357" y="1193"/>
                    <a:pt x="357" y="1193"/>
                  </a:cubicBezTo>
                  <a:cubicBezTo>
                    <a:pt x="355" y="1193"/>
                    <a:pt x="354" y="1193"/>
                    <a:pt x="354" y="1192"/>
                  </a:cubicBezTo>
                  <a:lnTo>
                    <a:pt x="327" y="1172"/>
                  </a:lnTo>
                  <a:lnTo>
                    <a:pt x="335" y="1200"/>
                  </a:lnTo>
                  <a:cubicBezTo>
                    <a:pt x="336" y="1202"/>
                    <a:pt x="335" y="1204"/>
                    <a:pt x="334" y="1205"/>
                  </a:cubicBezTo>
                  <a:lnTo>
                    <a:pt x="245" y="1273"/>
                  </a:lnTo>
                  <a:cubicBezTo>
                    <a:pt x="244" y="1274"/>
                    <a:pt x="243" y="1274"/>
                    <a:pt x="242" y="1274"/>
                  </a:cubicBezTo>
                  <a:lnTo>
                    <a:pt x="241" y="127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6" name="Freeform 601"/>
            <p:cNvSpPr>
              <a:spLocks noChangeArrowheads="1"/>
            </p:cNvSpPr>
            <p:nvPr/>
          </p:nvSpPr>
          <p:spPr bwMode="auto">
            <a:xfrm>
              <a:off x="7104063" y="3570288"/>
              <a:ext cx="328612" cy="346075"/>
            </a:xfrm>
            <a:custGeom>
              <a:avLst/>
              <a:gdLst/>
              <a:ahLst/>
              <a:cxnLst>
                <a:cxn ang="0">
                  <a:pos x="718" y="887"/>
                </a:cxn>
                <a:cxn ang="0">
                  <a:pos x="585" y="768"/>
                </a:cxn>
                <a:cxn ang="0">
                  <a:pos x="424" y="526"/>
                </a:cxn>
                <a:cxn ang="0">
                  <a:pos x="341" y="448"/>
                </a:cxn>
                <a:cxn ang="0">
                  <a:pos x="301" y="328"/>
                </a:cxn>
                <a:cxn ang="0">
                  <a:pos x="215" y="280"/>
                </a:cxn>
                <a:cxn ang="0">
                  <a:pos x="203" y="234"/>
                </a:cxn>
                <a:cxn ang="0">
                  <a:pos x="121" y="162"/>
                </a:cxn>
                <a:cxn ang="0">
                  <a:pos x="0" y="7"/>
                </a:cxn>
                <a:cxn ang="0">
                  <a:pos x="5" y="0"/>
                </a:cxn>
                <a:cxn ang="0">
                  <a:pos x="104" y="26"/>
                </a:cxn>
                <a:cxn ang="0">
                  <a:pos x="208" y="41"/>
                </a:cxn>
                <a:cxn ang="0">
                  <a:pos x="359" y="183"/>
                </a:cxn>
                <a:cxn ang="0">
                  <a:pos x="475" y="291"/>
                </a:cxn>
                <a:cxn ang="0">
                  <a:pos x="492" y="280"/>
                </a:cxn>
                <a:cxn ang="0">
                  <a:pos x="496" y="282"/>
                </a:cxn>
                <a:cxn ang="0">
                  <a:pos x="574" y="344"/>
                </a:cxn>
                <a:cxn ang="0">
                  <a:pos x="589" y="358"/>
                </a:cxn>
                <a:cxn ang="0">
                  <a:pos x="593" y="356"/>
                </a:cxn>
                <a:cxn ang="0">
                  <a:pos x="622" y="377"/>
                </a:cxn>
                <a:cxn ang="0">
                  <a:pos x="666" y="385"/>
                </a:cxn>
                <a:cxn ang="0">
                  <a:pos x="661" y="435"/>
                </a:cxn>
                <a:cxn ang="0">
                  <a:pos x="687" y="422"/>
                </a:cxn>
                <a:cxn ang="0">
                  <a:pos x="715" y="440"/>
                </a:cxn>
                <a:cxn ang="0">
                  <a:pos x="724" y="469"/>
                </a:cxn>
                <a:cxn ang="0">
                  <a:pos x="714" y="486"/>
                </a:cxn>
                <a:cxn ang="0">
                  <a:pos x="716" y="493"/>
                </a:cxn>
                <a:cxn ang="0">
                  <a:pos x="703" y="533"/>
                </a:cxn>
                <a:cxn ang="0">
                  <a:pos x="772" y="557"/>
                </a:cxn>
                <a:cxn ang="0">
                  <a:pos x="816" y="635"/>
                </a:cxn>
                <a:cxn ang="0">
                  <a:pos x="812" y="660"/>
                </a:cxn>
                <a:cxn ang="0">
                  <a:pos x="877" y="670"/>
                </a:cxn>
                <a:cxn ang="0">
                  <a:pos x="912" y="719"/>
                </a:cxn>
                <a:cxn ang="0">
                  <a:pos x="892" y="956"/>
                </a:cxn>
                <a:cxn ang="0">
                  <a:pos x="888" y="956"/>
                </a:cxn>
                <a:cxn ang="0">
                  <a:pos x="834" y="951"/>
                </a:cxn>
                <a:cxn ang="0">
                  <a:pos x="828" y="951"/>
                </a:cxn>
                <a:cxn ang="0">
                  <a:pos x="802" y="934"/>
                </a:cxn>
                <a:cxn ang="0">
                  <a:pos x="799" y="960"/>
                </a:cxn>
                <a:cxn ang="0">
                  <a:pos x="794" y="959"/>
                </a:cxn>
              </a:cxnLst>
              <a:rect l="0" t="0" r="r" b="b"/>
              <a:pathLst>
                <a:path w="913" h="962">
                  <a:moveTo>
                    <a:pt x="794" y="959"/>
                  </a:moveTo>
                  <a:lnTo>
                    <a:pt x="718" y="887"/>
                  </a:lnTo>
                  <a:lnTo>
                    <a:pt x="612" y="812"/>
                  </a:lnTo>
                  <a:lnTo>
                    <a:pt x="585" y="768"/>
                  </a:lnTo>
                  <a:lnTo>
                    <a:pt x="484" y="663"/>
                  </a:lnTo>
                  <a:lnTo>
                    <a:pt x="424" y="526"/>
                  </a:lnTo>
                  <a:lnTo>
                    <a:pt x="382" y="472"/>
                  </a:lnTo>
                  <a:lnTo>
                    <a:pt x="341" y="448"/>
                  </a:lnTo>
                  <a:cubicBezTo>
                    <a:pt x="340" y="448"/>
                    <a:pt x="340" y="447"/>
                    <a:pt x="339" y="446"/>
                  </a:cubicBezTo>
                  <a:lnTo>
                    <a:pt x="301" y="328"/>
                  </a:lnTo>
                  <a:lnTo>
                    <a:pt x="277" y="305"/>
                  </a:lnTo>
                  <a:lnTo>
                    <a:pt x="215" y="280"/>
                  </a:lnTo>
                  <a:cubicBezTo>
                    <a:pt x="213" y="280"/>
                    <a:pt x="212" y="278"/>
                    <a:pt x="212" y="277"/>
                  </a:cubicBezTo>
                  <a:lnTo>
                    <a:pt x="203" y="234"/>
                  </a:lnTo>
                  <a:lnTo>
                    <a:pt x="162" y="181"/>
                  </a:lnTo>
                  <a:lnTo>
                    <a:pt x="121" y="162"/>
                  </a:lnTo>
                  <a:lnTo>
                    <a:pt x="31" y="76"/>
                  </a:lnTo>
                  <a:lnTo>
                    <a:pt x="0" y="7"/>
                  </a:lnTo>
                  <a:cubicBezTo>
                    <a:pt x="0" y="6"/>
                    <a:pt x="0" y="4"/>
                    <a:pt x="1" y="3"/>
                  </a:cubicBezTo>
                  <a:cubicBezTo>
                    <a:pt x="2" y="1"/>
                    <a:pt x="3" y="0"/>
                    <a:pt x="5" y="0"/>
                  </a:cubicBezTo>
                  <a:lnTo>
                    <a:pt x="47" y="0"/>
                  </a:lnTo>
                  <a:lnTo>
                    <a:pt x="104" y="26"/>
                  </a:lnTo>
                  <a:lnTo>
                    <a:pt x="204" y="39"/>
                  </a:lnTo>
                  <a:cubicBezTo>
                    <a:pt x="206" y="39"/>
                    <a:pt x="207" y="39"/>
                    <a:pt x="208" y="41"/>
                  </a:cubicBezTo>
                  <a:lnTo>
                    <a:pt x="267" y="125"/>
                  </a:lnTo>
                  <a:lnTo>
                    <a:pt x="359" y="183"/>
                  </a:lnTo>
                  <a:lnTo>
                    <a:pt x="461" y="281"/>
                  </a:lnTo>
                  <a:lnTo>
                    <a:pt x="475" y="291"/>
                  </a:lnTo>
                  <a:lnTo>
                    <a:pt x="489" y="281"/>
                  </a:lnTo>
                  <a:cubicBezTo>
                    <a:pt x="490" y="280"/>
                    <a:pt x="491" y="280"/>
                    <a:pt x="492" y="280"/>
                  </a:cubicBezTo>
                  <a:lnTo>
                    <a:pt x="493" y="280"/>
                  </a:lnTo>
                  <a:cubicBezTo>
                    <a:pt x="494" y="280"/>
                    <a:pt x="495" y="281"/>
                    <a:pt x="496" y="282"/>
                  </a:cubicBezTo>
                  <a:lnTo>
                    <a:pt x="521" y="320"/>
                  </a:lnTo>
                  <a:lnTo>
                    <a:pt x="574" y="344"/>
                  </a:lnTo>
                  <a:lnTo>
                    <a:pt x="588" y="359"/>
                  </a:lnTo>
                  <a:lnTo>
                    <a:pt x="589" y="358"/>
                  </a:lnTo>
                  <a:cubicBezTo>
                    <a:pt x="590" y="357"/>
                    <a:pt x="591" y="356"/>
                    <a:pt x="593" y="356"/>
                  </a:cubicBezTo>
                  <a:lnTo>
                    <a:pt x="593" y="356"/>
                  </a:lnTo>
                  <a:cubicBezTo>
                    <a:pt x="595" y="356"/>
                    <a:pt x="596" y="356"/>
                    <a:pt x="596" y="357"/>
                  </a:cubicBezTo>
                  <a:lnTo>
                    <a:pt x="622" y="377"/>
                  </a:lnTo>
                  <a:lnTo>
                    <a:pt x="662" y="380"/>
                  </a:lnTo>
                  <a:cubicBezTo>
                    <a:pt x="664" y="380"/>
                    <a:pt x="666" y="383"/>
                    <a:pt x="666" y="385"/>
                  </a:cubicBezTo>
                  <a:lnTo>
                    <a:pt x="662" y="432"/>
                  </a:lnTo>
                  <a:lnTo>
                    <a:pt x="661" y="435"/>
                  </a:lnTo>
                  <a:lnTo>
                    <a:pt x="685" y="423"/>
                  </a:lnTo>
                  <a:cubicBezTo>
                    <a:pt x="685" y="423"/>
                    <a:pt x="686" y="422"/>
                    <a:pt x="687" y="422"/>
                  </a:cubicBezTo>
                  <a:cubicBezTo>
                    <a:pt x="688" y="422"/>
                    <a:pt x="689" y="423"/>
                    <a:pt x="689" y="423"/>
                  </a:cubicBezTo>
                  <a:lnTo>
                    <a:pt x="715" y="440"/>
                  </a:lnTo>
                  <a:lnTo>
                    <a:pt x="725" y="463"/>
                  </a:lnTo>
                  <a:cubicBezTo>
                    <a:pt x="726" y="465"/>
                    <a:pt x="725" y="467"/>
                    <a:pt x="724" y="469"/>
                  </a:cubicBezTo>
                  <a:lnTo>
                    <a:pt x="708" y="484"/>
                  </a:lnTo>
                  <a:lnTo>
                    <a:pt x="714" y="486"/>
                  </a:lnTo>
                  <a:cubicBezTo>
                    <a:pt x="715" y="487"/>
                    <a:pt x="716" y="488"/>
                    <a:pt x="717" y="489"/>
                  </a:cubicBezTo>
                  <a:cubicBezTo>
                    <a:pt x="717" y="490"/>
                    <a:pt x="717" y="492"/>
                    <a:pt x="716" y="493"/>
                  </a:cubicBezTo>
                  <a:lnTo>
                    <a:pt x="700" y="525"/>
                  </a:lnTo>
                  <a:lnTo>
                    <a:pt x="703" y="533"/>
                  </a:lnTo>
                  <a:lnTo>
                    <a:pt x="769" y="554"/>
                  </a:lnTo>
                  <a:cubicBezTo>
                    <a:pt x="770" y="554"/>
                    <a:pt x="771" y="556"/>
                    <a:pt x="772" y="557"/>
                  </a:cubicBezTo>
                  <a:lnTo>
                    <a:pt x="788" y="619"/>
                  </a:lnTo>
                  <a:lnTo>
                    <a:pt x="816" y="635"/>
                  </a:lnTo>
                  <a:cubicBezTo>
                    <a:pt x="818" y="636"/>
                    <a:pt x="819" y="638"/>
                    <a:pt x="818" y="640"/>
                  </a:cubicBezTo>
                  <a:lnTo>
                    <a:pt x="812" y="660"/>
                  </a:lnTo>
                  <a:lnTo>
                    <a:pt x="874" y="668"/>
                  </a:lnTo>
                  <a:cubicBezTo>
                    <a:pt x="875" y="668"/>
                    <a:pt x="876" y="669"/>
                    <a:pt x="877" y="670"/>
                  </a:cubicBezTo>
                  <a:lnTo>
                    <a:pt x="911" y="716"/>
                  </a:lnTo>
                  <a:cubicBezTo>
                    <a:pt x="912" y="717"/>
                    <a:pt x="912" y="718"/>
                    <a:pt x="912" y="719"/>
                  </a:cubicBezTo>
                  <a:lnTo>
                    <a:pt x="895" y="952"/>
                  </a:lnTo>
                  <a:cubicBezTo>
                    <a:pt x="895" y="954"/>
                    <a:pt x="894" y="955"/>
                    <a:pt x="892" y="956"/>
                  </a:cubicBezTo>
                  <a:cubicBezTo>
                    <a:pt x="892" y="956"/>
                    <a:pt x="891" y="956"/>
                    <a:pt x="890" y="956"/>
                  </a:cubicBezTo>
                  <a:cubicBezTo>
                    <a:pt x="889" y="956"/>
                    <a:pt x="888" y="956"/>
                    <a:pt x="888" y="956"/>
                  </a:cubicBezTo>
                  <a:lnTo>
                    <a:pt x="853" y="932"/>
                  </a:lnTo>
                  <a:lnTo>
                    <a:pt x="834" y="951"/>
                  </a:lnTo>
                  <a:cubicBezTo>
                    <a:pt x="833" y="952"/>
                    <a:pt x="832" y="952"/>
                    <a:pt x="831" y="952"/>
                  </a:cubicBezTo>
                  <a:cubicBezTo>
                    <a:pt x="830" y="952"/>
                    <a:pt x="829" y="952"/>
                    <a:pt x="828" y="951"/>
                  </a:cubicBezTo>
                  <a:lnTo>
                    <a:pt x="805" y="932"/>
                  </a:lnTo>
                  <a:lnTo>
                    <a:pt x="802" y="934"/>
                  </a:lnTo>
                  <a:lnTo>
                    <a:pt x="802" y="956"/>
                  </a:lnTo>
                  <a:cubicBezTo>
                    <a:pt x="802" y="958"/>
                    <a:pt x="801" y="960"/>
                    <a:pt x="799" y="960"/>
                  </a:cubicBezTo>
                  <a:cubicBezTo>
                    <a:pt x="798" y="960"/>
                    <a:pt x="798" y="961"/>
                    <a:pt x="797" y="961"/>
                  </a:cubicBezTo>
                  <a:cubicBezTo>
                    <a:pt x="796" y="961"/>
                    <a:pt x="795" y="960"/>
                    <a:pt x="794" y="959"/>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7" name="Freeform 602"/>
            <p:cNvSpPr>
              <a:spLocks noChangeArrowheads="1"/>
            </p:cNvSpPr>
            <p:nvPr/>
          </p:nvSpPr>
          <p:spPr bwMode="auto">
            <a:xfrm>
              <a:off x="7104063" y="3570288"/>
              <a:ext cx="328612" cy="346075"/>
            </a:xfrm>
            <a:custGeom>
              <a:avLst/>
              <a:gdLst/>
              <a:ahLst/>
              <a:cxnLst>
                <a:cxn ang="0">
                  <a:pos x="794" y="959"/>
                </a:cxn>
                <a:cxn ang="0">
                  <a:pos x="612" y="812"/>
                </a:cxn>
                <a:cxn ang="0">
                  <a:pos x="484" y="663"/>
                </a:cxn>
                <a:cxn ang="0">
                  <a:pos x="382" y="472"/>
                </a:cxn>
                <a:cxn ang="0">
                  <a:pos x="339" y="446"/>
                </a:cxn>
                <a:cxn ang="0">
                  <a:pos x="277" y="305"/>
                </a:cxn>
                <a:cxn ang="0">
                  <a:pos x="212" y="277"/>
                </a:cxn>
                <a:cxn ang="0">
                  <a:pos x="162" y="181"/>
                </a:cxn>
                <a:cxn ang="0">
                  <a:pos x="31" y="76"/>
                </a:cxn>
                <a:cxn ang="0">
                  <a:pos x="1" y="3"/>
                </a:cxn>
                <a:cxn ang="0">
                  <a:pos x="47" y="0"/>
                </a:cxn>
                <a:cxn ang="0">
                  <a:pos x="204" y="39"/>
                </a:cxn>
                <a:cxn ang="0">
                  <a:pos x="267" y="125"/>
                </a:cxn>
                <a:cxn ang="0">
                  <a:pos x="461" y="281"/>
                </a:cxn>
                <a:cxn ang="0">
                  <a:pos x="489" y="281"/>
                </a:cxn>
                <a:cxn ang="0">
                  <a:pos x="493" y="280"/>
                </a:cxn>
                <a:cxn ang="0">
                  <a:pos x="521" y="320"/>
                </a:cxn>
                <a:cxn ang="0">
                  <a:pos x="588" y="359"/>
                </a:cxn>
                <a:cxn ang="0">
                  <a:pos x="593" y="356"/>
                </a:cxn>
                <a:cxn ang="0">
                  <a:pos x="596" y="357"/>
                </a:cxn>
                <a:cxn ang="0">
                  <a:pos x="662" y="380"/>
                </a:cxn>
                <a:cxn ang="0">
                  <a:pos x="662" y="432"/>
                </a:cxn>
                <a:cxn ang="0">
                  <a:pos x="685" y="423"/>
                </a:cxn>
                <a:cxn ang="0">
                  <a:pos x="689" y="423"/>
                </a:cxn>
                <a:cxn ang="0">
                  <a:pos x="725" y="463"/>
                </a:cxn>
                <a:cxn ang="0">
                  <a:pos x="708" y="484"/>
                </a:cxn>
                <a:cxn ang="0">
                  <a:pos x="717" y="489"/>
                </a:cxn>
                <a:cxn ang="0">
                  <a:pos x="700" y="525"/>
                </a:cxn>
                <a:cxn ang="0">
                  <a:pos x="769" y="554"/>
                </a:cxn>
                <a:cxn ang="0">
                  <a:pos x="788" y="619"/>
                </a:cxn>
                <a:cxn ang="0">
                  <a:pos x="818" y="640"/>
                </a:cxn>
                <a:cxn ang="0">
                  <a:pos x="874" y="668"/>
                </a:cxn>
                <a:cxn ang="0">
                  <a:pos x="911" y="716"/>
                </a:cxn>
                <a:cxn ang="0">
                  <a:pos x="895" y="952"/>
                </a:cxn>
                <a:cxn ang="0">
                  <a:pos x="890" y="956"/>
                </a:cxn>
                <a:cxn ang="0">
                  <a:pos x="853" y="932"/>
                </a:cxn>
                <a:cxn ang="0">
                  <a:pos x="831" y="952"/>
                </a:cxn>
                <a:cxn ang="0">
                  <a:pos x="805" y="932"/>
                </a:cxn>
                <a:cxn ang="0">
                  <a:pos x="802" y="956"/>
                </a:cxn>
                <a:cxn ang="0">
                  <a:pos x="797" y="961"/>
                </a:cxn>
              </a:cxnLst>
              <a:rect l="0" t="0" r="r" b="b"/>
              <a:pathLst>
                <a:path w="913" h="962">
                  <a:moveTo>
                    <a:pt x="797" y="961"/>
                  </a:moveTo>
                  <a:cubicBezTo>
                    <a:pt x="796" y="961"/>
                    <a:pt x="795" y="960"/>
                    <a:pt x="794" y="959"/>
                  </a:cubicBezTo>
                  <a:lnTo>
                    <a:pt x="718" y="887"/>
                  </a:lnTo>
                  <a:lnTo>
                    <a:pt x="612" y="812"/>
                  </a:lnTo>
                  <a:lnTo>
                    <a:pt x="585" y="768"/>
                  </a:lnTo>
                  <a:lnTo>
                    <a:pt x="484" y="663"/>
                  </a:lnTo>
                  <a:lnTo>
                    <a:pt x="424" y="526"/>
                  </a:lnTo>
                  <a:lnTo>
                    <a:pt x="382" y="472"/>
                  </a:lnTo>
                  <a:lnTo>
                    <a:pt x="341" y="448"/>
                  </a:lnTo>
                  <a:cubicBezTo>
                    <a:pt x="340" y="448"/>
                    <a:pt x="340" y="447"/>
                    <a:pt x="339" y="446"/>
                  </a:cubicBezTo>
                  <a:lnTo>
                    <a:pt x="301" y="328"/>
                  </a:lnTo>
                  <a:lnTo>
                    <a:pt x="277" y="305"/>
                  </a:lnTo>
                  <a:lnTo>
                    <a:pt x="215" y="280"/>
                  </a:lnTo>
                  <a:cubicBezTo>
                    <a:pt x="213" y="280"/>
                    <a:pt x="212" y="278"/>
                    <a:pt x="212" y="277"/>
                  </a:cubicBezTo>
                  <a:lnTo>
                    <a:pt x="203" y="234"/>
                  </a:lnTo>
                  <a:lnTo>
                    <a:pt x="162" y="181"/>
                  </a:lnTo>
                  <a:lnTo>
                    <a:pt x="121" y="162"/>
                  </a:lnTo>
                  <a:lnTo>
                    <a:pt x="31" y="76"/>
                  </a:lnTo>
                  <a:lnTo>
                    <a:pt x="0" y="7"/>
                  </a:lnTo>
                  <a:cubicBezTo>
                    <a:pt x="0" y="6"/>
                    <a:pt x="0" y="4"/>
                    <a:pt x="1" y="3"/>
                  </a:cubicBezTo>
                  <a:cubicBezTo>
                    <a:pt x="2" y="1"/>
                    <a:pt x="3" y="0"/>
                    <a:pt x="5" y="0"/>
                  </a:cubicBezTo>
                  <a:lnTo>
                    <a:pt x="47" y="0"/>
                  </a:lnTo>
                  <a:lnTo>
                    <a:pt x="104" y="26"/>
                  </a:lnTo>
                  <a:lnTo>
                    <a:pt x="204" y="39"/>
                  </a:lnTo>
                  <a:cubicBezTo>
                    <a:pt x="206" y="39"/>
                    <a:pt x="207" y="39"/>
                    <a:pt x="208" y="41"/>
                  </a:cubicBezTo>
                  <a:lnTo>
                    <a:pt x="267" y="125"/>
                  </a:lnTo>
                  <a:lnTo>
                    <a:pt x="359" y="183"/>
                  </a:lnTo>
                  <a:lnTo>
                    <a:pt x="461" y="281"/>
                  </a:lnTo>
                  <a:lnTo>
                    <a:pt x="475" y="291"/>
                  </a:lnTo>
                  <a:lnTo>
                    <a:pt x="489" y="281"/>
                  </a:lnTo>
                  <a:cubicBezTo>
                    <a:pt x="490" y="280"/>
                    <a:pt x="491" y="280"/>
                    <a:pt x="492" y="280"/>
                  </a:cubicBezTo>
                  <a:lnTo>
                    <a:pt x="493" y="280"/>
                  </a:lnTo>
                  <a:cubicBezTo>
                    <a:pt x="494" y="280"/>
                    <a:pt x="495" y="281"/>
                    <a:pt x="496" y="282"/>
                  </a:cubicBezTo>
                  <a:lnTo>
                    <a:pt x="521" y="320"/>
                  </a:lnTo>
                  <a:lnTo>
                    <a:pt x="574" y="344"/>
                  </a:lnTo>
                  <a:lnTo>
                    <a:pt x="588" y="359"/>
                  </a:lnTo>
                  <a:lnTo>
                    <a:pt x="589" y="358"/>
                  </a:lnTo>
                  <a:cubicBezTo>
                    <a:pt x="590" y="357"/>
                    <a:pt x="591" y="356"/>
                    <a:pt x="593" y="356"/>
                  </a:cubicBezTo>
                  <a:lnTo>
                    <a:pt x="593" y="356"/>
                  </a:lnTo>
                  <a:cubicBezTo>
                    <a:pt x="595" y="356"/>
                    <a:pt x="596" y="356"/>
                    <a:pt x="596" y="357"/>
                  </a:cubicBezTo>
                  <a:lnTo>
                    <a:pt x="622" y="377"/>
                  </a:lnTo>
                  <a:lnTo>
                    <a:pt x="662" y="380"/>
                  </a:lnTo>
                  <a:cubicBezTo>
                    <a:pt x="664" y="380"/>
                    <a:pt x="666" y="383"/>
                    <a:pt x="666" y="385"/>
                  </a:cubicBezTo>
                  <a:lnTo>
                    <a:pt x="662" y="432"/>
                  </a:lnTo>
                  <a:lnTo>
                    <a:pt x="661" y="435"/>
                  </a:lnTo>
                  <a:lnTo>
                    <a:pt x="685" y="423"/>
                  </a:lnTo>
                  <a:cubicBezTo>
                    <a:pt x="685" y="423"/>
                    <a:pt x="686" y="422"/>
                    <a:pt x="687" y="422"/>
                  </a:cubicBezTo>
                  <a:cubicBezTo>
                    <a:pt x="688" y="422"/>
                    <a:pt x="689" y="423"/>
                    <a:pt x="689" y="423"/>
                  </a:cubicBezTo>
                  <a:lnTo>
                    <a:pt x="715" y="440"/>
                  </a:lnTo>
                  <a:lnTo>
                    <a:pt x="725" y="463"/>
                  </a:lnTo>
                  <a:cubicBezTo>
                    <a:pt x="726" y="465"/>
                    <a:pt x="725" y="467"/>
                    <a:pt x="724" y="469"/>
                  </a:cubicBezTo>
                  <a:lnTo>
                    <a:pt x="708" y="484"/>
                  </a:lnTo>
                  <a:lnTo>
                    <a:pt x="714" y="486"/>
                  </a:lnTo>
                  <a:cubicBezTo>
                    <a:pt x="715" y="487"/>
                    <a:pt x="716" y="488"/>
                    <a:pt x="717" y="489"/>
                  </a:cubicBezTo>
                  <a:cubicBezTo>
                    <a:pt x="717" y="490"/>
                    <a:pt x="717" y="492"/>
                    <a:pt x="716" y="493"/>
                  </a:cubicBezTo>
                  <a:lnTo>
                    <a:pt x="700" y="525"/>
                  </a:lnTo>
                  <a:lnTo>
                    <a:pt x="703" y="533"/>
                  </a:lnTo>
                  <a:lnTo>
                    <a:pt x="769" y="554"/>
                  </a:lnTo>
                  <a:cubicBezTo>
                    <a:pt x="770" y="554"/>
                    <a:pt x="771" y="556"/>
                    <a:pt x="772" y="557"/>
                  </a:cubicBezTo>
                  <a:lnTo>
                    <a:pt x="788" y="619"/>
                  </a:lnTo>
                  <a:lnTo>
                    <a:pt x="816" y="635"/>
                  </a:lnTo>
                  <a:cubicBezTo>
                    <a:pt x="818" y="636"/>
                    <a:pt x="819" y="638"/>
                    <a:pt x="818" y="640"/>
                  </a:cubicBezTo>
                  <a:lnTo>
                    <a:pt x="812" y="660"/>
                  </a:lnTo>
                  <a:lnTo>
                    <a:pt x="874" y="668"/>
                  </a:lnTo>
                  <a:cubicBezTo>
                    <a:pt x="875" y="668"/>
                    <a:pt x="876" y="669"/>
                    <a:pt x="877" y="670"/>
                  </a:cubicBezTo>
                  <a:lnTo>
                    <a:pt x="911" y="716"/>
                  </a:lnTo>
                  <a:cubicBezTo>
                    <a:pt x="912" y="717"/>
                    <a:pt x="912" y="718"/>
                    <a:pt x="912" y="719"/>
                  </a:cubicBezTo>
                  <a:lnTo>
                    <a:pt x="895" y="952"/>
                  </a:lnTo>
                  <a:cubicBezTo>
                    <a:pt x="895" y="954"/>
                    <a:pt x="894" y="955"/>
                    <a:pt x="892" y="956"/>
                  </a:cubicBezTo>
                  <a:cubicBezTo>
                    <a:pt x="892" y="956"/>
                    <a:pt x="891" y="956"/>
                    <a:pt x="890" y="956"/>
                  </a:cubicBezTo>
                  <a:cubicBezTo>
                    <a:pt x="889" y="956"/>
                    <a:pt x="888" y="956"/>
                    <a:pt x="888" y="956"/>
                  </a:cubicBezTo>
                  <a:lnTo>
                    <a:pt x="853" y="932"/>
                  </a:lnTo>
                  <a:lnTo>
                    <a:pt x="834" y="951"/>
                  </a:lnTo>
                  <a:cubicBezTo>
                    <a:pt x="833" y="952"/>
                    <a:pt x="832" y="952"/>
                    <a:pt x="831" y="952"/>
                  </a:cubicBezTo>
                  <a:cubicBezTo>
                    <a:pt x="830" y="952"/>
                    <a:pt x="829" y="952"/>
                    <a:pt x="828" y="951"/>
                  </a:cubicBezTo>
                  <a:lnTo>
                    <a:pt x="805" y="932"/>
                  </a:lnTo>
                  <a:lnTo>
                    <a:pt x="802" y="934"/>
                  </a:lnTo>
                  <a:lnTo>
                    <a:pt x="802" y="956"/>
                  </a:lnTo>
                  <a:cubicBezTo>
                    <a:pt x="802" y="958"/>
                    <a:pt x="801" y="960"/>
                    <a:pt x="799" y="960"/>
                  </a:cubicBezTo>
                  <a:cubicBezTo>
                    <a:pt x="798" y="960"/>
                    <a:pt x="798" y="961"/>
                    <a:pt x="797" y="96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8" name="Freeform 603"/>
            <p:cNvSpPr>
              <a:spLocks noChangeArrowheads="1"/>
            </p:cNvSpPr>
            <p:nvPr/>
          </p:nvSpPr>
          <p:spPr bwMode="auto">
            <a:xfrm>
              <a:off x="8175625" y="3749675"/>
              <a:ext cx="315913" cy="265113"/>
            </a:xfrm>
            <a:custGeom>
              <a:avLst/>
              <a:gdLst/>
              <a:ahLst/>
              <a:cxnLst>
                <a:cxn ang="0">
                  <a:pos x="757" y="648"/>
                </a:cxn>
                <a:cxn ang="0">
                  <a:pos x="678" y="666"/>
                </a:cxn>
                <a:cxn ang="0">
                  <a:pos x="581" y="673"/>
                </a:cxn>
                <a:cxn ang="0">
                  <a:pos x="577" y="666"/>
                </a:cxn>
                <a:cxn ang="0">
                  <a:pos x="623" y="583"/>
                </a:cxn>
                <a:cxn ang="0">
                  <a:pos x="668" y="588"/>
                </a:cxn>
                <a:cxn ang="0">
                  <a:pos x="661" y="574"/>
                </a:cxn>
                <a:cxn ang="0">
                  <a:pos x="673" y="567"/>
                </a:cxn>
                <a:cxn ang="0">
                  <a:pos x="640" y="547"/>
                </a:cxn>
                <a:cxn ang="0">
                  <a:pos x="656" y="520"/>
                </a:cxn>
                <a:cxn ang="0">
                  <a:pos x="482" y="372"/>
                </a:cxn>
                <a:cxn ang="0">
                  <a:pos x="321" y="310"/>
                </a:cxn>
                <a:cxn ang="0">
                  <a:pos x="290" y="313"/>
                </a:cxn>
                <a:cxn ang="0">
                  <a:pos x="242" y="271"/>
                </a:cxn>
                <a:cxn ang="0">
                  <a:pos x="221" y="302"/>
                </a:cxn>
                <a:cxn ang="0">
                  <a:pos x="174" y="314"/>
                </a:cxn>
                <a:cxn ang="0">
                  <a:pos x="157" y="251"/>
                </a:cxn>
                <a:cxn ang="0">
                  <a:pos x="93" y="220"/>
                </a:cxn>
                <a:cxn ang="0">
                  <a:pos x="89" y="203"/>
                </a:cxn>
                <a:cxn ang="0">
                  <a:pos x="153" y="194"/>
                </a:cxn>
                <a:cxn ang="0">
                  <a:pos x="230" y="177"/>
                </a:cxn>
                <a:cxn ang="0">
                  <a:pos x="245" y="145"/>
                </a:cxn>
                <a:cxn ang="0">
                  <a:pos x="97" y="157"/>
                </a:cxn>
                <a:cxn ang="0">
                  <a:pos x="74" y="106"/>
                </a:cxn>
                <a:cxn ang="0">
                  <a:pos x="1" y="91"/>
                </a:cxn>
                <a:cxn ang="0">
                  <a:pos x="26" y="44"/>
                </a:cxn>
                <a:cxn ang="0">
                  <a:pos x="166" y="0"/>
                </a:cxn>
                <a:cxn ang="0">
                  <a:pos x="263" y="29"/>
                </a:cxn>
                <a:cxn ang="0">
                  <a:pos x="285" y="74"/>
                </a:cxn>
                <a:cxn ang="0">
                  <a:pos x="299" y="192"/>
                </a:cxn>
                <a:cxn ang="0">
                  <a:pos x="304" y="178"/>
                </a:cxn>
                <a:cxn ang="0">
                  <a:pos x="308" y="178"/>
                </a:cxn>
                <a:cxn ang="0">
                  <a:pos x="318" y="184"/>
                </a:cxn>
                <a:cxn ang="0">
                  <a:pos x="367" y="245"/>
                </a:cxn>
                <a:cxn ang="0">
                  <a:pos x="459" y="154"/>
                </a:cxn>
                <a:cxn ang="0">
                  <a:pos x="515" y="148"/>
                </a:cxn>
                <a:cxn ang="0">
                  <a:pos x="583" y="85"/>
                </a:cxn>
                <a:cxn ang="0">
                  <a:pos x="587" y="84"/>
                </a:cxn>
                <a:cxn ang="0">
                  <a:pos x="857" y="177"/>
                </a:cxn>
                <a:cxn ang="0">
                  <a:pos x="865" y="389"/>
                </a:cxn>
                <a:cxn ang="0">
                  <a:pos x="878" y="731"/>
                </a:cxn>
                <a:cxn ang="0">
                  <a:pos x="873" y="737"/>
                </a:cxn>
              </a:cxnLst>
              <a:rect l="0" t="0" r="r" b="b"/>
              <a:pathLst>
                <a:path w="879" h="738">
                  <a:moveTo>
                    <a:pt x="870" y="736"/>
                  </a:moveTo>
                  <a:lnTo>
                    <a:pt x="757" y="648"/>
                  </a:lnTo>
                  <a:lnTo>
                    <a:pt x="686" y="652"/>
                  </a:lnTo>
                  <a:lnTo>
                    <a:pt x="678" y="666"/>
                  </a:lnTo>
                  <a:cubicBezTo>
                    <a:pt x="678" y="668"/>
                    <a:pt x="676" y="669"/>
                    <a:pt x="675" y="669"/>
                  </a:cubicBezTo>
                  <a:lnTo>
                    <a:pt x="581" y="673"/>
                  </a:lnTo>
                  <a:cubicBezTo>
                    <a:pt x="579" y="673"/>
                    <a:pt x="578" y="672"/>
                    <a:pt x="577" y="671"/>
                  </a:cubicBezTo>
                  <a:cubicBezTo>
                    <a:pt x="576" y="669"/>
                    <a:pt x="576" y="668"/>
                    <a:pt x="577" y="666"/>
                  </a:cubicBezTo>
                  <a:lnTo>
                    <a:pt x="619" y="586"/>
                  </a:lnTo>
                  <a:cubicBezTo>
                    <a:pt x="620" y="585"/>
                    <a:pt x="621" y="584"/>
                    <a:pt x="623" y="583"/>
                  </a:cubicBezTo>
                  <a:lnTo>
                    <a:pt x="652" y="579"/>
                  </a:lnTo>
                  <a:lnTo>
                    <a:pt x="668" y="588"/>
                  </a:lnTo>
                  <a:lnTo>
                    <a:pt x="662" y="578"/>
                  </a:lnTo>
                  <a:cubicBezTo>
                    <a:pt x="661" y="577"/>
                    <a:pt x="661" y="575"/>
                    <a:pt x="661" y="574"/>
                  </a:cubicBezTo>
                  <a:cubicBezTo>
                    <a:pt x="662" y="573"/>
                    <a:pt x="663" y="572"/>
                    <a:pt x="664" y="571"/>
                  </a:cubicBezTo>
                  <a:lnTo>
                    <a:pt x="673" y="567"/>
                  </a:lnTo>
                  <a:lnTo>
                    <a:pt x="642" y="550"/>
                  </a:lnTo>
                  <a:cubicBezTo>
                    <a:pt x="641" y="549"/>
                    <a:pt x="640" y="548"/>
                    <a:pt x="640" y="547"/>
                  </a:cubicBezTo>
                  <a:cubicBezTo>
                    <a:pt x="640" y="546"/>
                    <a:pt x="640" y="544"/>
                    <a:pt x="641" y="543"/>
                  </a:cubicBezTo>
                  <a:lnTo>
                    <a:pt x="656" y="520"/>
                  </a:lnTo>
                  <a:lnTo>
                    <a:pt x="602" y="421"/>
                  </a:lnTo>
                  <a:lnTo>
                    <a:pt x="482" y="372"/>
                  </a:lnTo>
                  <a:lnTo>
                    <a:pt x="356" y="347"/>
                  </a:lnTo>
                  <a:lnTo>
                    <a:pt x="321" y="310"/>
                  </a:lnTo>
                  <a:lnTo>
                    <a:pt x="293" y="314"/>
                  </a:lnTo>
                  <a:cubicBezTo>
                    <a:pt x="292" y="314"/>
                    <a:pt x="291" y="313"/>
                    <a:pt x="290" y="313"/>
                  </a:cubicBezTo>
                  <a:lnTo>
                    <a:pt x="243" y="274"/>
                  </a:lnTo>
                  <a:cubicBezTo>
                    <a:pt x="242" y="274"/>
                    <a:pt x="242" y="272"/>
                    <a:pt x="242" y="271"/>
                  </a:cubicBezTo>
                  <a:lnTo>
                    <a:pt x="242" y="246"/>
                  </a:lnTo>
                  <a:lnTo>
                    <a:pt x="221" y="302"/>
                  </a:lnTo>
                  <a:cubicBezTo>
                    <a:pt x="221" y="303"/>
                    <a:pt x="219" y="305"/>
                    <a:pt x="218" y="305"/>
                  </a:cubicBezTo>
                  <a:lnTo>
                    <a:pt x="174" y="314"/>
                  </a:lnTo>
                  <a:cubicBezTo>
                    <a:pt x="172" y="314"/>
                    <a:pt x="170" y="312"/>
                    <a:pt x="170" y="310"/>
                  </a:cubicBezTo>
                  <a:lnTo>
                    <a:pt x="157" y="251"/>
                  </a:lnTo>
                  <a:lnTo>
                    <a:pt x="121" y="224"/>
                  </a:lnTo>
                  <a:lnTo>
                    <a:pt x="93" y="220"/>
                  </a:lnTo>
                  <a:cubicBezTo>
                    <a:pt x="91" y="220"/>
                    <a:pt x="89" y="218"/>
                    <a:pt x="89" y="216"/>
                  </a:cubicBezTo>
                  <a:lnTo>
                    <a:pt x="89" y="203"/>
                  </a:lnTo>
                  <a:cubicBezTo>
                    <a:pt x="89" y="201"/>
                    <a:pt x="91" y="199"/>
                    <a:pt x="94" y="198"/>
                  </a:cubicBezTo>
                  <a:lnTo>
                    <a:pt x="153" y="194"/>
                  </a:lnTo>
                  <a:lnTo>
                    <a:pt x="193" y="173"/>
                  </a:lnTo>
                  <a:lnTo>
                    <a:pt x="230" y="177"/>
                  </a:lnTo>
                  <a:lnTo>
                    <a:pt x="238" y="174"/>
                  </a:lnTo>
                  <a:lnTo>
                    <a:pt x="245" y="145"/>
                  </a:lnTo>
                  <a:lnTo>
                    <a:pt x="124" y="165"/>
                  </a:lnTo>
                  <a:lnTo>
                    <a:pt x="97" y="157"/>
                  </a:lnTo>
                  <a:cubicBezTo>
                    <a:pt x="95" y="156"/>
                    <a:pt x="94" y="155"/>
                    <a:pt x="94" y="154"/>
                  </a:cubicBezTo>
                  <a:lnTo>
                    <a:pt x="74" y="106"/>
                  </a:lnTo>
                  <a:lnTo>
                    <a:pt x="4" y="93"/>
                  </a:lnTo>
                  <a:cubicBezTo>
                    <a:pt x="3" y="93"/>
                    <a:pt x="1" y="92"/>
                    <a:pt x="1" y="91"/>
                  </a:cubicBezTo>
                  <a:cubicBezTo>
                    <a:pt x="0" y="89"/>
                    <a:pt x="0" y="88"/>
                    <a:pt x="1" y="86"/>
                  </a:cubicBezTo>
                  <a:lnTo>
                    <a:pt x="26" y="44"/>
                  </a:lnTo>
                  <a:lnTo>
                    <a:pt x="122" y="0"/>
                  </a:lnTo>
                  <a:lnTo>
                    <a:pt x="166" y="0"/>
                  </a:lnTo>
                  <a:lnTo>
                    <a:pt x="211" y="30"/>
                  </a:lnTo>
                  <a:lnTo>
                    <a:pt x="263" y="29"/>
                  </a:lnTo>
                  <a:cubicBezTo>
                    <a:pt x="265" y="29"/>
                    <a:pt x="267" y="30"/>
                    <a:pt x="268" y="32"/>
                  </a:cubicBezTo>
                  <a:lnTo>
                    <a:pt x="285" y="74"/>
                  </a:lnTo>
                  <a:lnTo>
                    <a:pt x="285" y="173"/>
                  </a:lnTo>
                  <a:lnTo>
                    <a:pt x="299" y="192"/>
                  </a:lnTo>
                  <a:lnTo>
                    <a:pt x="301" y="181"/>
                  </a:lnTo>
                  <a:cubicBezTo>
                    <a:pt x="301" y="180"/>
                    <a:pt x="302" y="178"/>
                    <a:pt x="304" y="178"/>
                  </a:cubicBezTo>
                  <a:cubicBezTo>
                    <a:pt x="304" y="177"/>
                    <a:pt x="305" y="177"/>
                    <a:pt x="306" y="177"/>
                  </a:cubicBezTo>
                  <a:cubicBezTo>
                    <a:pt x="306" y="177"/>
                    <a:pt x="307" y="177"/>
                    <a:pt x="308" y="178"/>
                  </a:cubicBezTo>
                  <a:lnTo>
                    <a:pt x="316" y="182"/>
                  </a:lnTo>
                  <a:cubicBezTo>
                    <a:pt x="317" y="182"/>
                    <a:pt x="318" y="183"/>
                    <a:pt x="318" y="184"/>
                  </a:cubicBezTo>
                  <a:lnTo>
                    <a:pt x="339" y="233"/>
                  </a:lnTo>
                  <a:lnTo>
                    <a:pt x="367" y="245"/>
                  </a:lnTo>
                  <a:lnTo>
                    <a:pt x="392" y="245"/>
                  </a:lnTo>
                  <a:lnTo>
                    <a:pt x="459" y="154"/>
                  </a:lnTo>
                  <a:cubicBezTo>
                    <a:pt x="459" y="153"/>
                    <a:pt x="461" y="152"/>
                    <a:pt x="462" y="152"/>
                  </a:cubicBezTo>
                  <a:lnTo>
                    <a:pt x="515" y="148"/>
                  </a:lnTo>
                  <a:lnTo>
                    <a:pt x="535" y="116"/>
                  </a:lnTo>
                  <a:lnTo>
                    <a:pt x="583" y="85"/>
                  </a:lnTo>
                  <a:cubicBezTo>
                    <a:pt x="584" y="84"/>
                    <a:pt x="584" y="84"/>
                    <a:pt x="585" y="84"/>
                  </a:cubicBezTo>
                  <a:cubicBezTo>
                    <a:pt x="586" y="84"/>
                    <a:pt x="587" y="84"/>
                    <a:pt x="587" y="84"/>
                  </a:cubicBezTo>
                  <a:lnTo>
                    <a:pt x="736" y="156"/>
                  </a:lnTo>
                  <a:lnTo>
                    <a:pt x="857" y="177"/>
                  </a:lnTo>
                  <a:cubicBezTo>
                    <a:pt x="859" y="178"/>
                    <a:pt x="861" y="180"/>
                    <a:pt x="861" y="182"/>
                  </a:cubicBezTo>
                  <a:lnTo>
                    <a:pt x="865" y="389"/>
                  </a:lnTo>
                  <a:lnTo>
                    <a:pt x="857" y="538"/>
                  </a:lnTo>
                  <a:lnTo>
                    <a:pt x="878" y="731"/>
                  </a:lnTo>
                  <a:cubicBezTo>
                    <a:pt x="878" y="733"/>
                    <a:pt x="877" y="735"/>
                    <a:pt x="876" y="736"/>
                  </a:cubicBezTo>
                  <a:cubicBezTo>
                    <a:pt x="875" y="736"/>
                    <a:pt x="874" y="737"/>
                    <a:pt x="873" y="737"/>
                  </a:cubicBezTo>
                  <a:cubicBezTo>
                    <a:pt x="872" y="737"/>
                    <a:pt x="871" y="736"/>
                    <a:pt x="870" y="736"/>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09" name="Freeform 604"/>
            <p:cNvSpPr>
              <a:spLocks noChangeArrowheads="1"/>
            </p:cNvSpPr>
            <p:nvPr/>
          </p:nvSpPr>
          <p:spPr bwMode="auto">
            <a:xfrm>
              <a:off x="8175625" y="3749675"/>
              <a:ext cx="315913" cy="265113"/>
            </a:xfrm>
            <a:custGeom>
              <a:avLst/>
              <a:gdLst/>
              <a:ahLst/>
              <a:cxnLst>
                <a:cxn ang="0">
                  <a:pos x="870" y="736"/>
                </a:cxn>
                <a:cxn ang="0">
                  <a:pos x="686" y="652"/>
                </a:cxn>
                <a:cxn ang="0">
                  <a:pos x="675" y="669"/>
                </a:cxn>
                <a:cxn ang="0">
                  <a:pos x="577" y="671"/>
                </a:cxn>
                <a:cxn ang="0">
                  <a:pos x="619" y="586"/>
                </a:cxn>
                <a:cxn ang="0">
                  <a:pos x="652" y="579"/>
                </a:cxn>
                <a:cxn ang="0">
                  <a:pos x="662" y="578"/>
                </a:cxn>
                <a:cxn ang="0">
                  <a:pos x="664" y="571"/>
                </a:cxn>
                <a:cxn ang="0">
                  <a:pos x="642" y="550"/>
                </a:cxn>
                <a:cxn ang="0">
                  <a:pos x="641" y="543"/>
                </a:cxn>
                <a:cxn ang="0">
                  <a:pos x="602" y="421"/>
                </a:cxn>
                <a:cxn ang="0">
                  <a:pos x="356" y="347"/>
                </a:cxn>
                <a:cxn ang="0">
                  <a:pos x="293" y="314"/>
                </a:cxn>
                <a:cxn ang="0">
                  <a:pos x="243" y="274"/>
                </a:cxn>
                <a:cxn ang="0">
                  <a:pos x="242" y="246"/>
                </a:cxn>
                <a:cxn ang="0">
                  <a:pos x="218" y="305"/>
                </a:cxn>
                <a:cxn ang="0">
                  <a:pos x="170" y="310"/>
                </a:cxn>
                <a:cxn ang="0">
                  <a:pos x="121" y="224"/>
                </a:cxn>
                <a:cxn ang="0">
                  <a:pos x="89" y="216"/>
                </a:cxn>
                <a:cxn ang="0">
                  <a:pos x="94" y="198"/>
                </a:cxn>
                <a:cxn ang="0">
                  <a:pos x="193" y="173"/>
                </a:cxn>
                <a:cxn ang="0">
                  <a:pos x="238" y="174"/>
                </a:cxn>
                <a:cxn ang="0">
                  <a:pos x="124" y="165"/>
                </a:cxn>
                <a:cxn ang="0">
                  <a:pos x="94" y="154"/>
                </a:cxn>
                <a:cxn ang="0">
                  <a:pos x="4" y="93"/>
                </a:cxn>
                <a:cxn ang="0">
                  <a:pos x="1" y="86"/>
                </a:cxn>
                <a:cxn ang="0">
                  <a:pos x="122" y="0"/>
                </a:cxn>
                <a:cxn ang="0">
                  <a:pos x="211" y="30"/>
                </a:cxn>
                <a:cxn ang="0">
                  <a:pos x="268" y="32"/>
                </a:cxn>
                <a:cxn ang="0">
                  <a:pos x="285" y="173"/>
                </a:cxn>
                <a:cxn ang="0">
                  <a:pos x="301" y="181"/>
                </a:cxn>
                <a:cxn ang="0">
                  <a:pos x="306" y="177"/>
                </a:cxn>
                <a:cxn ang="0">
                  <a:pos x="316" y="182"/>
                </a:cxn>
                <a:cxn ang="0">
                  <a:pos x="339" y="233"/>
                </a:cxn>
                <a:cxn ang="0">
                  <a:pos x="392" y="245"/>
                </a:cxn>
                <a:cxn ang="0">
                  <a:pos x="462" y="152"/>
                </a:cxn>
                <a:cxn ang="0">
                  <a:pos x="535" y="116"/>
                </a:cxn>
                <a:cxn ang="0">
                  <a:pos x="585" y="84"/>
                </a:cxn>
                <a:cxn ang="0">
                  <a:pos x="736" y="156"/>
                </a:cxn>
                <a:cxn ang="0">
                  <a:pos x="861" y="182"/>
                </a:cxn>
                <a:cxn ang="0">
                  <a:pos x="857" y="538"/>
                </a:cxn>
                <a:cxn ang="0">
                  <a:pos x="876" y="736"/>
                </a:cxn>
              </a:cxnLst>
              <a:rect l="0" t="0" r="r" b="b"/>
              <a:pathLst>
                <a:path w="879" h="738">
                  <a:moveTo>
                    <a:pt x="873" y="737"/>
                  </a:moveTo>
                  <a:cubicBezTo>
                    <a:pt x="872" y="737"/>
                    <a:pt x="871" y="736"/>
                    <a:pt x="870" y="736"/>
                  </a:cubicBezTo>
                  <a:lnTo>
                    <a:pt x="757" y="648"/>
                  </a:lnTo>
                  <a:lnTo>
                    <a:pt x="686" y="652"/>
                  </a:lnTo>
                  <a:lnTo>
                    <a:pt x="678" y="666"/>
                  </a:lnTo>
                  <a:cubicBezTo>
                    <a:pt x="678" y="668"/>
                    <a:pt x="676" y="669"/>
                    <a:pt x="675" y="669"/>
                  </a:cubicBezTo>
                  <a:lnTo>
                    <a:pt x="581" y="673"/>
                  </a:lnTo>
                  <a:cubicBezTo>
                    <a:pt x="579" y="673"/>
                    <a:pt x="578" y="672"/>
                    <a:pt x="577" y="671"/>
                  </a:cubicBezTo>
                  <a:cubicBezTo>
                    <a:pt x="576" y="669"/>
                    <a:pt x="576" y="668"/>
                    <a:pt x="577" y="666"/>
                  </a:cubicBezTo>
                  <a:lnTo>
                    <a:pt x="619" y="586"/>
                  </a:lnTo>
                  <a:cubicBezTo>
                    <a:pt x="620" y="585"/>
                    <a:pt x="621" y="584"/>
                    <a:pt x="623" y="583"/>
                  </a:cubicBezTo>
                  <a:lnTo>
                    <a:pt x="652" y="579"/>
                  </a:lnTo>
                  <a:lnTo>
                    <a:pt x="668" y="588"/>
                  </a:lnTo>
                  <a:lnTo>
                    <a:pt x="662" y="578"/>
                  </a:lnTo>
                  <a:cubicBezTo>
                    <a:pt x="661" y="577"/>
                    <a:pt x="661" y="575"/>
                    <a:pt x="661" y="574"/>
                  </a:cubicBezTo>
                  <a:cubicBezTo>
                    <a:pt x="662" y="573"/>
                    <a:pt x="663" y="572"/>
                    <a:pt x="664" y="571"/>
                  </a:cubicBezTo>
                  <a:lnTo>
                    <a:pt x="673" y="567"/>
                  </a:lnTo>
                  <a:lnTo>
                    <a:pt x="642" y="550"/>
                  </a:lnTo>
                  <a:cubicBezTo>
                    <a:pt x="641" y="549"/>
                    <a:pt x="640" y="548"/>
                    <a:pt x="640" y="547"/>
                  </a:cubicBezTo>
                  <a:cubicBezTo>
                    <a:pt x="640" y="546"/>
                    <a:pt x="640" y="544"/>
                    <a:pt x="641" y="543"/>
                  </a:cubicBezTo>
                  <a:lnTo>
                    <a:pt x="656" y="520"/>
                  </a:lnTo>
                  <a:lnTo>
                    <a:pt x="602" y="421"/>
                  </a:lnTo>
                  <a:lnTo>
                    <a:pt x="482" y="372"/>
                  </a:lnTo>
                  <a:lnTo>
                    <a:pt x="356" y="347"/>
                  </a:lnTo>
                  <a:lnTo>
                    <a:pt x="321" y="310"/>
                  </a:lnTo>
                  <a:lnTo>
                    <a:pt x="293" y="314"/>
                  </a:lnTo>
                  <a:cubicBezTo>
                    <a:pt x="292" y="314"/>
                    <a:pt x="291" y="313"/>
                    <a:pt x="290" y="313"/>
                  </a:cubicBezTo>
                  <a:lnTo>
                    <a:pt x="243" y="274"/>
                  </a:lnTo>
                  <a:cubicBezTo>
                    <a:pt x="242" y="274"/>
                    <a:pt x="242" y="272"/>
                    <a:pt x="242" y="271"/>
                  </a:cubicBezTo>
                  <a:lnTo>
                    <a:pt x="242" y="246"/>
                  </a:lnTo>
                  <a:lnTo>
                    <a:pt x="221" y="302"/>
                  </a:lnTo>
                  <a:cubicBezTo>
                    <a:pt x="221" y="303"/>
                    <a:pt x="219" y="305"/>
                    <a:pt x="218" y="305"/>
                  </a:cubicBezTo>
                  <a:lnTo>
                    <a:pt x="174" y="314"/>
                  </a:lnTo>
                  <a:cubicBezTo>
                    <a:pt x="172" y="314"/>
                    <a:pt x="170" y="312"/>
                    <a:pt x="170" y="310"/>
                  </a:cubicBezTo>
                  <a:lnTo>
                    <a:pt x="157" y="251"/>
                  </a:lnTo>
                  <a:lnTo>
                    <a:pt x="121" y="224"/>
                  </a:lnTo>
                  <a:lnTo>
                    <a:pt x="93" y="220"/>
                  </a:lnTo>
                  <a:cubicBezTo>
                    <a:pt x="91" y="220"/>
                    <a:pt x="89" y="218"/>
                    <a:pt x="89" y="216"/>
                  </a:cubicBezTo>
                  <a:lnTo>
                    <a:pt x="89" y="203"/>
                  </a:lnTo>
                  <a:cubicBezTo>
                    <a:pt x="89" y="201"/>
                    <a:pt x="91" y="199"/>
                    <a:pt x="94" y="198"/>
                  </a:cubicBezTo>
                  <a:lnTo>
                    <a:pt x="153" y="194"/>
                  </a:lnTo>
                  <a:lnTo>
                    <a:pt x="193" y="173"/>
                  </a:lnTo>
                  <a:lnTo>
                    <a:pt x="230" y="177"/>
                  </a:lnTo>
                  <a:lnTo>
                    <a:pt x="238" y="174"/>
                  </a:lnTo>
                  <a:lnTo>
                    <a:pt x="245" y="145"/>
                  </a:lnTo>
                  <a:lnTo>
                    <a:pt x="124" y="165"/>
                  </a:lnTo>
                  <a:lnTo>
                    <a:pt x="97" y="157"/>
                  </a:lnTo>
                  <a:cubicBezTo>
                    <a:pt x="95" y="156"/>
                    <a:pt x="94" y="155"/>
                    <a:pt x="94" y="154"/>
                  </a:cubicBezTo>
                  <a:lnTo>
                    <a:pt x="74" y="106"/>
                  </a:lnTo>
                  <a:lnTo>
                    <a:pt x="4" y="93"/>
                  </a:lnTo>
                  <a:cubicBezTo>
                    <a:pt x="3" y="93"/>
                    <a:pt x="1" y="92"/>
                    <a:pt x="1" y="91"/>
                  </a:cubicBezTo>
                  <a:cubicBezTo>
                    <a:pt x="0" y="89"/>
                    <a:pt x="0" y="88"/>
                    <a:pt x="1" y="86"/>
                  </a:cubicBezTo>
                  <a:lnTo>
                    <a:pt x="26" y="44"/>
                  </a:lnTo>
                  <a:lnTo>
                    <a:pt x="122" y="0"/>
                  </a:lnTo>
                  <a:lnTo>
                    <a:pt x="166" y="0"/>
                  </a:lnTo>
                  <a:lnTo>
                    <a:pt x="211" y="30"/>
                  </a:lnTo>
                  <a:lnTo>
                    <a:pt x="263" y="29"/>
                  </a:lnTo>
                  <a:cubicBezTo>
                    <a:pt x="265" y="29"/>
                    <a:pt x="267" y="30"/>
                    <a:pt x="268" y="32"/>
                  </a:cubicBezTo>
                  <a:lnTo>
                    <a:pt x="285" y="74"/>
                  </a:lnTo>
                  <a:lnTo>
                    <a:pt x="285" y="173"/>
                  </a:lnTo>
                  <a:lnTo>
                    <a:pt x="299" y="192"/>
                  </a:lnTo>
                  <a:lnTo>
                    <a:pt x="301" y="181"/>
                  </a:lnTo>
                  <a:cubicBezTo>
                    <a:pt x="301" y="180"/>
                    <a:pt x="302" y="178"/>
                    <a:pt x="304" y="178"/>
                  </a:cubicBezTo>
                  <a:cubicBezTo>
                    <a:pt x="304" y="177"/>
                    <a:pt x="305" y="177"/>
                    <a:pt x="306" y="177"/>
                  </a:cubicBezTo>
                  <a:cubicBezTo>
                    <a:pt x="306" y="177"/>
                    <a:pt x="307" y="177"/>
                    <a:pt x="308" y="178"/>
                  </a:cubicBezTo>
                  <a:lnTo>
                    <a:pt x="316" y="182"/>
                  </a:lnTo>
                  <a:cubicBezTo>
                    <a:pt x="317" y="182"/>
                    <a:pt x="318" y="183"/>
                    <a:pt x="318" y="184"/>
                  </a:cubicBezTo>
                  <a:lnTo>
                    <a:pt x="339" y="233"/>
                  </a:lnTo>
                  <a:lnTo>
                    <a:pt x="367" y="245"/>
                  </a:lnTo>
                  <a:lnTo>
                    <a:pt x="392" y="245"/>
                  </a:lnTo>
                  <a:lnTo>
                    <a:pt x="459" y="154"/>
                  </a:lnTo>
                  <a:cubicBezTo>
                    <a:pt x="459" y="153"/>
                    <a:pt x="461" y="152"/>
                    <a:pt x="462" y="152"/>
                  </a:cubicBezTo>
                  <a:lnTo>
                    <a:pt x="515" y="148"/>
                  </a:lnTo>
                  <a:lnTo>
                    <a:pt x="535" y="116"/>
                  </a:lnTo>
                  <a:lnTo>
                    <a:pt x="583" y="85"/>
                  </a:lnTo>
                  <a:cubicBezTo>
                    <a:pt x="584" y="84"/>
                    <a:pt x="584" y="84"/>
                    <a:pt x="585" y="84"/>
                  </a:cubicBezTo>
                  <a:cubicBezTo>
                    <a:pt x="586" y="84"/>
                    <a:pt x="587" y="84"/>
                    <a:pt x="587" y="84"/>
                  </a:cubicBezTo>
                  <a:lnTo>
                    <a:pt x="736" y="156"/>
                  </a:lnTo>
                  <a:lnTo>
                    <a:pt x="857" y="177"/>
                  </a:lnTo>
                  <a:cubicBezTo>
                    <a:pt x="859" y="178"/>
                    <a:pt x="861" y="180"/>
                    <a:pt x="861" y="182"/>
                  </a:cubicBezTo>
                  <a:lnTo>
                    <a:pt x="865" y="389"/>
                  </a:lnTo>
                  <a:lnTo>
                    <a:pt x="857" y="538"/>
                  </a:lnTo>
                  <a:lnTo>
                    <a:pt x="878" y="731"/>
                  </a:lnTo>
                  <a:cubicBezTo>
                    <a:pt x="878" y="733"/>
                    <a:pt x="877" y="735"/>
                    <a:pt x="876" y="736"/>
                  </a:cubicBezTo>
                  <a:cubicBezTo>
                    <a:pt x="875" y="736"/>
                    <a:pt x="874" y="737"/>
                    <a:pt x="873" y="73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0" name="Freeform 605"/>
            <p:cNvSpPr>
              <a:spLocks noChangeArrowheads="1"/>
            </p:cNvSpPr>
            <p:nvPr/>
          </p:nvSpPr>
          <p:spPr bwMode="auto">
            <a:xfrm>
              <a:off x="8069263" y="3779838"/>
              <a:ext cx="26987" cy="12700"/>
            </a:xfrm>
            <a:custGeom>
              <a:avLst/>
              <a:gdLst/>
              <a:ahLst/>
              <a:cxnLst>
                <a:cxn ang="0">
                  <a:pos x="14" y="35"/>
                </a:cxn>
                <a:cxn ang="0">
                  <a:pos x="10" y="32"/>
                </a:cxn>
                <a:cxn ang="0">
                  <a:pos x="1" y="11"/>
                </a:cxn>
                <a:cxn ang="0">
                  <a:pos x="1" y="7"/>
                </a:cxn>
                <a:cxn ang="0">
                  <a:pos x="5" y="4"/>
                </a:cxn>
                <a:cxn ang="0">
                  <a:pos x="39" y="0"/>
                </a:cxn>
                <a:cxn ang="0">
                  <a:pos x="71" y="13"/>
                </a:cxn>
                <a:cxn ang="0">
                  <a:pos x="74" y="18"/>
                </a:cxn>
                <a:cxn ang="0">
                  <a:pos x="70" y="22"/>
                </a:cxn>
                <a:cxn ang="0">
                  <a:pos x="15" y="35"/>
                </a:cxn>
                <a:cxn ang="0">
                  <a:pos x="14" y="35"/>
                </a:cxn>
              </a:cxnLst>
              <a:rect l="0" t="0" r="r" b="b"/>
              <a:pathLst>
                <a:path w="76" h="36">
                  <a:moveTo>
                    <a:pt x="14" y="35"/>
                  </a:moveTo>
                  <a:cubicBezTo>
                    <a:pt x="12" y="35"/>
                    <a:pt x="10" y="34"/>
                    <a:pt x="10" y="32"/>
                  </a:cubicBezTo>
                  <a:lnTo>
                    <a:pt x="1" y="11"/>
                  </a:lnTo>
                  <a:cubicBezTo>
                    <a:pt x="0" y="9"/>
                    <a:pt x="1" y="8"/>
                    <a:pt x="1" y="7"/>
                  </a:cubicBezTo>
                  <a:cubicBezTo>
                    <a:pt x="2" y="5"/>
                    <a:pt x="3" y="5"/>
                    <a:pt x="5" y="4"/>
                  </a:cubicBezTo>
                  <a:lnTo>
                    <a:pt x="39" y="0"/>
                  </a:lnTo>
                  <a:lnTo>
                    <a:pt x="71" y="13"/>
                  </a:lnTo>
                  <a:cubicBezTo>
                    <a:pt x="73" y="14"/>
                    <a:pt x="75" y="16"/>
                    <a:pt x="74" y="18"/>
                  </a:cubicBezTo>
                  <a:cubicBezTo>
                    <a:pt x="74" y="21"/>
                    <a:pt x="72" y="22"/>
                    <a:pt x="70" y="22"/>
                  </a:cubicBezTo>
                  <a:lnTo>
                    <a:pt x="15" y="35"/>
                  </a:lnTo>
                  <a:cubicBezTo>
                    <a:pt x="14" y="35"/>
                    <a:pt x="14" y="35"/>
                    <a:pt x="14" y="35"/>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1" name="Freeform 606"/>
            <p:cNvSpPr>
              <a:spLocks noChangeArrowheads="1"/>
            </p:cNvSpPr>
            <p:nvPr/>
          </p:nvSpPr>
          <p:spPr bwMode="auto">
            <a:xfrm>
              <a:off x="8069263" y="3779838"/>
              <a:ext cx="26987" cy="12700"/>
            </a:xfrm>
            <a:custGeom>
              <a:avLst/>
              <a:gdLst/>
              <a:ahLst/>
              <a:cxnLst>
                <a:cxn ang="0">
                  <a:pos x="14" y="35"/>
                </a:cxn>
                <a:cxn ang="0">
                  <a:pos x="10" y="32"/>
                </a:cxn>
                <a:cxn ang="0">
                  <a:pos x="1" y="11"/>
                </a:cxn>
                <a:cxn ang="0">
                  <a:pos x="1" y="7"/>
                </a:cxn>
                <a:cxn ang="0">
                  <a:pos x="5" y="4"/>
                </a:cxn>
                <a:cxn ang="0">
                  <a:pos x="39" y="0"/>
                </a:cxn>
                <a:cxn ang="0">
                  <a:pos x="71" y="13"/>
                </a:cxn>
                <a:cxn ang="0">
                  <a:pos x="74" y="18"/>
                </a:cxn>
                <a:cxn ang="0">
                  <a:pos x="70" y="22"/>
                </a:cxn>
                <a:cxn ang="0">
                  <a:pos x="15" y="35"/>
                </a:cxn>
                <a:cxn ang="0">
                  <a:pos x="14" y="35"/>
                </a:cxn>
              </a:cxnLst>
              <a:rect l="0" t="0" r="r" b="b"/>
              <a:pathLst>
                <a:path w="76" h="36">
                  <a:moveTo>
                    <a:pt x="14" y="35"/>
                  </a:moveTo>
                  <a:cubicBezTo>
                    <a:pt x="12" y="35"/>
                    <a:pt x="10" y="34"/>
                    <a:pt x="10" y="32"/>
                  </a:cubicBezTo>
                  <a:lnTo>
                    <a:pt x="1" y="11"/>
                  </a:lnTo>
                  <a:cubicBezTo>
                    <a:pt x="0" y="9"/>
                    <a:pt x="1" y="8"/>
                    <a:pt x="1" y="7"/>
                  </a:cubicBezTo>
                  <a:cubicBezTo>
                    <a:pt x="2" y="5"/>
                    <a:pt x="3" y="5"/>
                    <a:pt x="5" y="4"/>
                  </a:cubicBezTo>
                  <a:lnTo>
                    <a:pt x="39" y="0"/>
                  </a:lnTo>
                  <a:lnTo>
                    <a:pt x="71" y="13"/>
                  </a:lnTo>
                  <a:cubicBezTo>
                    <a:pt x="73" y="14"/>
                    <a:pt x="75" y="16"/>
                    <a:pt x="74" y="18"/>
                  </a:cubicBezTo>
                  <a:cubicBezTo>
                    <a:pt x="74" y="21"/>
                    <a:pt x="72" y="22"/>
                    <a:pt x="70" y="22"/>
                  </a:cubicBezTo>
                  <a:lnTo>
                    <a:pt x="15" y="35"/>
                  </a:lnTo>
                  <a:cubicBezTo>
                    <a:pt x="14" y="35"/>
                    <a:pt x="14" y="35"/>
                    <a:pt x="14" y="3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2" name="Freeform 607"/>
            <p:cNvSpPr>
              <a:spLocks noChangeArrowheads="1"/>
            </p:cNvSpPr>
            <p:nvPr/>
          </p:nvSpPr>
          <p:spPr bwMode="auto">
            <a:xfrm>
              <a:off x="8066088" y="3749675"/>
              <a:ext cx="19050" cy="19050"/>
            </a:xfrm>
            <a:custGeom>
              <a:avLst/>
              <a:gdLst/>
              <a:ahLst/>
              <a:cxnLst>
                <a:cxn ang="0">
                  <a:pos x="46" y="51"/>
                </a:cxn>
                <a:cxn ang="0">
                  <a:pos x="20" y="43"/>
                </a:cxn>
                <a:cxn ang="0">
                  <a:pos x="18" y="40"/>
                </a:cxn>
                <a:cxn ang="0">
                  <a:pos x="1" y="6"/>
                </a:cxn>
                <a:cxn ang="0">
                  <a:pos x="1" y="2"/>
                </a:cxn>
                <a:cxn ang="0">
                  <a:pos x="5" y="0"/>
                </a:cxn>
                <a:cxn ang="0">
                  <a:pos x="22" y="0"/>
                </a:cxn>
                <a:cxn ang="0">
                  <a:pos x="26" y="2"/>
                </a:cxn>
                <a:cxn ang="0">
                  <a:pos x="51" y="44"/>
                </a:cxn>
                <a:cxn ang="0">
                  <a:pos x="51" y="49"/>
                </a:cxn>
                <a:cxn ang="0">
                  <a:pos x="47" y="51"/>
                </a:cxn>
                <a:cxn ang="0">
                  <a:pos x="46" y="51"/>
                </a:cxn>
              </a:cxnLst>
              <a:rect l="0" t="0" r="r" b="b"/>
              <a:pathLst>
                <a:path w="53" h="52">
                  <a:moveTo>
                    <a:pt x="46" y="51"/>
                  </a:moveTo>
                  <a:lnTo>
                    <a:pt x="20" y="43"/>
                  </a:lnTo>
                  <a:cubicBezTo>
                    <a:pt x="19" y="42"/>
                    <a:pt x="18" y="41"/>
                    <a:pt x="18" y="40"/>
                  </a:cubicBezTo>
                  <a:lnTo>
                    <a:pt x="1" y="6"/>
                  </a:lnTo>
                  <a:cubicBezTo>
                    <a:pt x="0" y="5"/>
                    <a:pt x="0" y="3"/>
                    <a:pt x="1" y="2"/>
                  </a:cubicBezTo>
                  <a:cubicBezTo>
                    <a:pt x="2" y="0"/>
                    <a:pt x="3" y="0"/>
                    <a:pt x="5" y="0"/>
                  </a:cubicBezTo>
                  <a:lnTo>
                    <a:pt x="22" y="0"/>
                  </a:lnTo>
                  <a:cubicBezTo>
                    <a:pt x="23" y="0"/>
                    <a:pt x="25" y="0"/>
                    <a:pt x="26" y="2"/>
                  </a:cubicBezTo>
                  <a:lnTo>
                    <a:pt x="51" y="44"/>
                  </a:lnTo>
                  <a:cubicBezTo>
                    <a:pt x="52" y="46"/>
                    <a:pt x="52" y="48"/>
                    <a:pt x="51" y="49"/>
                  </a:cubicBezTo>
                  <a:cubicBezTo>
                    <a:pt x="50" y="51"/>
                    <a:pt x="49" y="51"/>
                    <a:pt x="47" y="51"/>
                  </a:cubicBezTo>
                  <a:lnTo>
                    <a:pt x="46" y="51"/>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3" name="Freeform 608"/>
            <p:cNvSpPr>
              <a:spLocks noChangeArrowheads="1"/>
            </p:cNvSpPr>
            <p:nvPr/>
          </p:nvSpPr>
          <p:spPr bwMode="auto">
            <a:xfrm>
              <a:off x="8066088" y="3749675"/>
              <a:ext cx="19050" cy="19050"/>
            </a:xfrm>
            <a:custGeom>
              <a:avLst/>
              <a:gdLst/>
              <a:ahLst/>
              <a:cxnLst>
                <a:cxn ang="0">
                  <a:pos x="47" y="51"/>
                </a:cxn>
                <a:cxn ang="0">
                  <a:pos x="46" y="51"/>
                </a:cxn>
                <a:cxn ang="0">
                  <a:pos x="20" y="43"/>
                </a:cxn>
                <a:cxn ang="0">
                  <a:pos x="18" y="40"/>
                </a:cxn>
                <a:cxn ang="0">
                  <a:pos x="1" y="6"/>
                </a:cxn>
                <a:cxn ang="0">
                  <a:pos x="1" y="2"/>
                </a:cxn>
                <a:cxn ang="0">
                  <a:pos x="5" y="0"/>
                </a:cxn>
                <a:cxn ang="0">
                  <a:pos x="22" y="0"/>
                </a:cxn>
                <a:cxn ang="0">
                  <a:pos x="26" y="2"/>
                </a:cxn>
                <a:cxn ang="0">
                  <a:pos x="51" y="44"/>
                </a:cxn>
                <a:cxn ang="0">
                  <a:pos x="51" y="49"/>
                </a:cxn>
                <a:cxn ang="0">
                  <a:pos x="47" y="51"/>
                </a:cxn>
              </a:cxnLst>
              <a:rect l="0" t="0" r="r" b="b"/>
              <a:pathLst>
                <a:path w="53" h="52">
                  <a:moveTo>
                    <a:pt x="47" y="51"/>
                  </a:moveTo>
                  <a:lnTo>
                    <a:pt x="46" y="51"/>
                  </a:lnTo>
                  <a:lnTo>
                    <a:pt x="20" y="43"/>
                  </a:lnTo>
                  <a:cubicBezTo>
                    <a:pt x="19" y="42"/>
                    <a:pt x="18" y="41"/>
                    <a:pt x="18" y="40"/>
                  </a:cubicBezTo>
                  <a:lnTo>
                    <a:pt x="1" y="6"/>
                  </a:lnTo>
                  <a:cubicBezTo>
                    <a:pt x="0" y="5"/>
                    <a:pt x="0" y="3"/>
                    <a:pt x="1" y="2"/>
                  </a:cubicBezTo>
                  <a:cubicBezTo>
                    <a:pt x="2" y="0"/>
                    <a:pt x="3" y="0"/>
                    <a:pt x="5" y="0"/>
                  </a:cubicBezTo>
                  <a:lnTo>
                    <a:pt x="22" y="0"/>
                  </a:lnTo>
                  <a:cubicBezTo>
                    <a:pt x="23" y="0"/>
                    <a:pt x="25" y="0"/>
                    <a:pt x="26" y="2"/>
                  </a:cubicBezTo>
                  <a:lnTo>
                    <a:pt x="51" y="44"/>
                  </a:lnTo>
                  <a:cubicBezTo>
                    <a:pt x="52" y="46"/>
                    <a:pt x="52" y="48"/>
                    <a:pt x="51" y="49"/>
                  </a:cubicBezTo>
                  <a:cubicBezTo>
                    <a:pt x="50" y="51"/>
                    <a:pt x="49" y="51"/>
                    <a:pt x="47" y="5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4" name="Freeform 609"/>
            <p:cNvSpPr>
              <a:spLocks noChangeArrowheads="1"/>
            </p:cNvSpPr>
            <p:nvPr/>
          </p:nvSpPr>
          <p:spPr bwMode="auto">
            <a:xfrm>
              <a:off x="8069263" y="3670300"/>
              <a:ext cx="46037" cy="96838"/>
            </a:xfrm>
            <a:custGeom>
              <a:avLst/>
              <a:gdLst/>
              <a:ahLst/>
              <a:cxnLst>
                <a:cxn ang="0">
                  <a:pos x="73" y="268"/>
                </a:cxn>
                <a:cxn ang="0">
                  <a:pos x="30" y="213"/>
                </a:cxn>
                <a:cxn ang="0">
                  <a:pos x="0" y="97"/>
                </a:cxn>
                <a:cxn ang="0">
                  <a:pos x="12" y="41"/>
                </a:cxn>
                <a:cxn ang="0">
                  <a:pos x="47" y="1"/>
                </a:cxn>
                <a:cxn ang="0">
                  <a:pos x="51" y="0"/>
                </a:cxn>
                <a:cxn ang="0">
                  <a:pos x="52" y="0"/>
                </a:cxn>
                <a:cxn ang="0">
                  <a:pos x="56" y="4"/>
                </a:cxn>
                <a:cxn ang="0">
                  <a:pos x="60" y="83"/>
                </a:cxn>
                <a:cxn ang="0">
                  <a:pos x="59" y="87"/>
                </a:cxn>
                <a:cxn ang="0">
                  <a:pos x="34" y="115"/>
                </a:cxn>
                <a:cxn ang="0">
                  <a:pos x="37" y="116"/>
                </a:cxn>
                <a:cxn ang="0">
                  <a:pos x="86" y="60"/>
                </a:cxn>
                <a:cxn ang="0">
                  <a:pos x="89" y="59"/>
                </a:cxn>
                <a:cxn ang="0">
                  <a:pos x="92" y="59"/>
                </a:cxn>
                <a:cxn ang="0">
                  <a:pos x="117" y="76"/>
                </a:cxn>
                <a:cxn ang="0">
                  <a:pos x="119" y="79"/>
                </a:cxn>
                <a:cxn ang="0">
                  <a:pos x="119" y="101"/>
                </a:cxn>
                <a:cxn ang="0">
                  <a:pos x="117" y="104"/>
                </a:cxn>
                <a:cxn ang="0">
                  <a:pos x="88" y="126"/>
                </a:cxn>
                <a:cxn ang="0">
                  <a:pos x="126" y="165"/>
                </a:cxn>
                <a:cxn ang="0">
                  <a:pos x="127" y="170"/>
                </a:cxn>
                <a:cxn ang="0">
                  <a:pos x="123" y="173"/>
                </a:cxn>
                <a:cxn ang="0">
                  <a:pos x="122" y="173"/>
                </a:cxn>
                <a:cxn ang="0">
                  <a:pos x="58" y="157"/>
                </a:cxn>
                <a:cxn ang="0">
                  <a:pos x="55" y="162"/>
                </a:cxn>
                <a:cxn ang="0">
                  <a:pos x="56" y="211"/>
                </a:cxn>
                <a:cxn ang="0">
                  <a:pos x="81" y="264"/>
                </a:cxn>
                <a:cxn ang="0">
                  <a:pos x="79" y="270"/>
                </a:cxn>
                <a:cxn ang="0">
                  <a:pos x="76" y="270"/>
                </a:cxn>
                <a:cxn ang="0">
                  <a:pos x="73" y="268"/>
                </a:cxn>
              </a:cxnLst>
              <a:rect l="0" t="0" r="r" b="b"/>
              <a:pathLst>
                <a:path w="129" h="271">
                  <a:moveTo>
                    <a:pt x="73" y="268"/>
                  </a:moveTo>
                  <a:lnTo>
                    <a:pt x="30" y="213"/>
                  </a:lnTo>
                  <a:lnTo>
                    <a:pt x="0" y="97"/>
                  </a:lnTo>
                  <a:lnTo>
                    <a:pt x="12" y="41"/>
                  </a:lnTo>
                  <a:lnTo>
                    <a:pt x="47" y="1"/>
                  </a:lnTo>
                  <a:cubicBezTo>
                    <a:pt x="48" y="0"/>
                    <a:pt x="50" y="0"/>
                    <a:pt x="51" y="0"/>
                  </a:cubicBezTo>
                  <a:lnTo>
                    <a:pt x="52" y="0"/>
                  </a:lnTo>
                  <a:cubicBezTo>
                    <a:pt x="54" y="0"/>
                    <a:pt x="56" y="2"/>
                    <a:pt x="56" y="4"/>
                  </a:cubicBezTo>
                  <a:lnTo>
                    <a:pt x="60" y="83"/>
                  </a:lnTo>
                  <a:cubicBezTo>
                    <a:pt x="60" y="85"/>
                    <a:pt x="59" y="86"/>
                    <a:pt x="59" y="87"/>
                  </a:cubicBezTo>
                  <a:lnTo>
                    <a:pt x="34" y="115"/>
                  </a:lnTo>
                  <a:lnTo>
                    <a:pt x="37" y="116"/>
                  </a:lnTo>
                  <a:lnTo>
                    <a:pt x="86" y="60"/>
                  </a:lnTo>
                  <a:cubicBezTo>
                    <a:pt x="86" y="59"/>
                    <a:pt x="88" y="59"/>
                    <a:pt x="89" y="59"/>
                  </a:cubicBezTo>
                  <a:cubicBezTo>
                    <a:pt x="90" y="59"/>
                    <a:pt x="91" y="59"/>
                    <a:pt x="92" y="59"/>
                  </a:cubicBezTo>
                  <a:lnTo>
                    <a:pt x="117" y="76"/>
                  </a:lnTo>
                  <a:cubicBezTo>
                    <a:pt x="118" y="77"/>
                    <a:pt x="119" y="78"/>
                    <a:pt x="119" y="79"/>
                  </a:cubicBezTo>
                  <a:lnTo>
                    <a:pt x="119" y="101"/>
                  </a:lnTo>
                  <a:cubicBezTo>
                    <a:pt x="119" y="102"/>
                    <a:pt x="119" y="103"/>
                    <a:pt x="117" y="104"/>
                  </a:cubicBezTo>
                  <a:lnTo>
                    <a:pt x="88" y="126"/>
                  </a:lnTo>
                  <a:lnTo>
                    <a:pt x="126" y="165"/>
                  </a:lnTo>
                  <a:cubicBezTo>
                    <a:pt x="128" y="166"/>
                    <a:pt x="128" y="169"/>
                    <a:pt x="127" y="170"/>
                  </a:cubicBezTo>
                  <a:cubicBezTo>
                    <a:pt x="126" y="172"/>
                    <a:pt x="125" y="173"/>
                    <a:pt x="123" y="173"/>
                  </a:cubicBezTo>
                  <a:lnTo>
                    <a:pt x="122" y="173"/>
                  </a:lnTo>
                  <a:lnTo>
                    <a:pt x="58" y="157"/>
                  </a:lnTo>
                  <a:lnTo>
                    <a:pt x="55" y="162"/>
                  </a:lnTo>
                  <a:lnTo>
                    <a:pt x="56" y="211"/>
                  </a:lnTo>
                  <a:lnTo>
                    <a:pt x="81" y="264"/>
                  </a:lnTo>
                  <a:cubicBezTo>
                    <a:pt x="82" y="266"/>
                    <a:pt x="81" y="268"/>
                    <a:pt x="79" y="270"/>
                  </a:cubicBezTo>
                  <a:cubicBezTo>
                    <a:pt x="78" y="270"/>
                    <a:pt x="77" y="270"/>
                    <a:pt x="76" y="270"/>
                  </a:cubicBezTo>
                  <a:cubicBezTo>
                    <a:pt x="75" y="270"/>
                    <a:pt x="74" y="270"/>
                    <a:pt x="73" y="268"/>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5" name="Freeform 610"/>
            <p:cNvSpPr>
              <a:spLocks noChangeArrowheads="1"/>
            </p:cNvSpPr>
            <p:nvPr/>
          </p:nvSpPr>
          <p:spPr bwMode="auto">
            <a:xfrm>
              <a:off x="8069263" y="3670300"/>
              <a:ext cx="46037" cy="96838"/>
            </a:xfrm>
            <a:custGeom>
              <a:avLst/>
              <a:gdLst/>
              <a:ahLst/>
              <a:cxnLst>
                <a:cxn ang="0">
                  <a:pos x="76" y="270"/>
                </a:cxn>
                <a:cxn ang="0">
                  <a:pos x="73" y="268"/>
                </a:cxn>
                <a:cxn ang="0">
                  <a:pos x="30" y="213"/>
                </a:cxn>
                <a:cxn ang="0">
                  <a:pos x="0" y="97"/>
                </a:cxn>
                <a:cxn ang="0">
                  <a:pos x="12" y="41"/>
                </a:cxn>
                <a:cxn ang="0">
                  <a:pos x="47" y="1"/>
                </a:cxn>
                <a:cxn ang="0">
                  <a:pos x="51" y="0"/>
                </a:cxn>
                <a:cxn ang="0">
                  <a:pos x="52" y="0"/>
                </a:cxn>
                <a:cxn ang="0">
                  <a:pos x="56" y="4"/>
                </a:cxn>
                <a:cxn ang="0">
                  <a:pos x="60" y="83"/>
                </a:cxn>
                <a:cxn ang="0">
                  <a:pos x="59" y="87"/>
                </a:cxn>
                <a:cxn ang="0">
                  <a:pos x="34" y="115"/>
                </a:cxn>
                <a:cxn ang="0">
                  <a:pos x="37" y="116"/>
                </a:cxn>
                <a:cxn ang="0">
                  <a:pos x="86" y="60"/>
                </a:cxn>
                <a:cxn ang="0">
                  <a:pos x="89" y="59"/>
                </a:cxn>
                <a:cxn ang="0">
                  <a:pos x="92" y="59"/>
                </a:cxn>
                <a:cxn ang="0">
                  <a:pos x="117" y="76"/>
                </a:cxn>
                <a:cxn ang="0">
                  <a:pos x="119" y="79"/>
                </a:cxn>
                <a:cxn ang="0">
                  <a:pos x="119" y="101"/>
                </a:cxn>
                <a:cxn ang="0">
                  <a:pos x="117" y="104"/>
                </a:cxn>
                <a:cxn ang="0">
                  <a:pos x="88" y="126"/>
                </a:cxn>
                <a:cxn ang="0">
                  <a:pos x="126" y="165"/>
                </a:cxn>
                <a:cxn ang="0">
                  <a:pos x="127" y="170"/>
                </a:cxn>
                <a:cxn ang="0">
                  <a:pos x="123" y="173"/>
                </a:cxn>
                <a:cxn ang="0">
                  <a:pos x="122" y="173"/>
                </a:cxn>
                <a:cxn ang="0">
                  <a:pos x="58" y="157"/>
                </a:cxn>
                <a:cxn ang="0">
                  <a:pos x="55" y="162"/>
                </a:cxn>
                <a:cxn ang="0">
                  <a:pos x="56" y="211"/>
                </a:cxn>
                <a:cxn ang="0">
                  <a:pos x="81" y="264"/>
                </a:cxn>
                <a:cxn ang="0">
                  <a:pos x="79" y="270"/>
                </a:cxn>
                <a:cxn ang="0">
                  <a:pos x="76" y="270"/>
                </a:cxn>
              </a:cxnLst>
              <a:rect l="0" t="0" r="r" b="b"/>
              <a:pathLst>
                <a:path w="129" h="271">
                  <a:moveTo>
                    <a:pt x="76" y="270"/>
                  </a:moveTo>
                  <a:cubicBezTo>
                    <a:pt x="75" y="270"/>
                    <a:pt x="74" y="270"/>
                    <a:pt x="73" y="268"/>
                  </a:cubicBezTo>
                  <a:lnTo>
                    <a:pt x="30" y="213"/>
                  </a:lnTo>
                  <a:lnTo>
                    <a:pt x="0" y="97"/>
                  </a:lnTo>
                  <a:lnTo>
                    <a:pt x="12" y="41"/>
                  </a:lnTo>
                  <a:lnTo>
                    <a:pt x="47" y="1"/>
                  </a:lnTo>
                  <a:cubicBezTo>
                    <a:pt x="48" y="0"/>
                    <a:pt x="50" y="0"/>
                    <a:pt x="51" y="0"/>
                  </a:cubicBezTo>
                  <a:lnTo>
                    <a:pt x="52" y="0"/>
                  </a:lnTo>
                  <a:cubicBezTo>
                    <a:pt x="54" y="0"/>
                    <a:pt x="56" y="2"/>
                    <a:pt x="56" y="4"/>
                  </a:cubicBezTo>
                  <a:lnTo>
                    <a:pt x="60" y="83"/>
                  </a:lnTo>
                  <a:cubicBezTo>
                    <a:pt x="60" y="85"/>
                    <a:pt x="59" y="86"/>
                    <a:pt x="59" y="87"/>
                  </a:cubicBezTo>
                  <a:lnTo>
                    <a:pt x="34" y="115"/>
                  </a:lnTo>
                  <a:lnTo>
                    <a:pt x="37" y="116"/>
                  </a:lnTo>
                  <a:lnTo>
                    <a:pt x="86" y="60"/>
                  </a:lnTo>
                  <a:cubicBezTo>
                    <a:pt x="86" y="59"/>
                    <a:pt x="88" y="59"/>
                    <a:pt x="89" y="59"/>
                  </a:cubicBezTo>
                  <a:cubicBezTo>
                    <a:pt x="90" y="59"/>
                    <a:pt x="91" y="59"/>
                    <a:pt x="92" y="59"/>
                  </a:cubicBezTo>
                  <a:lnTo>
                    <a:pt x="117" y="76"/>
                  </a:lnTo>
                  <a:cubicBezTo>
                    <a:pt x="118" y="77"/>
                    <a:pt x="119" y="78"/>
                    <a:pt x="119" y="79"/>
                  </a:cubicBezTo>
                  <a:lnTo>
                    <a:pt x="119" y="101"/>
                  </a:lnTo>
                  <a:cubicBezTo>
                    <a:pt x="119" y="102"/>
                    <a:pt x="119" y="103"/>
                    <a:pt x="117" y="104"/>
                  </a:cubicBezTo>
                  <a:lnTo>
                    <a:pt x="88" y="126"/>
                  </a:lnTo>
                  <a:lnTo>
                    <a:pt x="126" y="165"/>
                  </a:lnTo>
                  <a:cubicBezTo>
                    <a:pt x="128" y="166"/>
                    <a:pt x="128" y="169"/>
                    <a:pt x="127" y="170"/>
                  </a:cubicBezTo>
                  <a:cubicBezTo>
                    <a:pt x="126" y="172"/>
                    <a:pt x="125" y="173"/>
                    <a:pt x="123" y="173"/>
                  </a:cubicBezTo>
                  <a:lnTo>
                    <a:pt x="122" y="173"/>
                  </a:lnTo>
                  <a:lnTo>
                    <a:pt x="58" y="157"/>
                  </a:lnTo>
                  <a:lnTo>
                    <a:pt x="55" y="162"/>
                  </a:lnTo>
                  <a:lnTo>
                    <a:pt x="56" y="211"/>
                  </a:lnTo>
                  <a:lnTo>
                    <a:pt x="81" y="264"/>
                  </a:lnTo>
                  <a:cubicBezTo>
                    <a:pt x="82" y="266"/>
                    <a:pt x="81" y="268"/>
                    <a:pt x="79" y="270"/>
                  </a:cubicBezTo>
                  <a:cubicBezTo>
                    <a:pt x="78" y="270"/>
                    <a:pt x="77" y="270"/>
                    <a:pt x="76" y="27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6" name="Freeform 611"/>
            <p:cNvSpPr>
              <a:spLocks noChangeArrowheads="1"/>
            </p:cNvSpPr>
            <p:nvPr/>
          </p:nvSpPr>
          <p:spPr bwMode="auto">
            <a:xfrm>
              <a:off x="8094663" y="3659188"/>
              <a:ext cx="15875" cy="22225"/>
            </a:xfrm>
            <a:custGeom>
              <a:avLst/>
              <a:gdLst/>
              <a:ahLst/>
              <a:cxnLst>
                <a:cxn ang="0">
                  <a:pos x="8" y="59"/>
                </a:cxn>
                <a:cxn ang="0">
                  <a:pos x="5" y="56"/>
                </a:cxn>
                <a:cxn ang="0">
                  <a:pos x="1" y="26"/>
                </a:cxn>
                <a:cxn ang="0">
                  <a:pos x="2" y="22"/>
                </a:cxn>
                <a:cxn ang="0">
                  <a:pos x="28" y="1"/>
                </a:cxn>
                <a:cxn ang="0">
                  <a:pos x="31" y="0"/>
                </a:cxn>
                <a:cxn ang="0">
                  <a:pos x="32" y="0"/>
                </a:cxn>
                <a:cxn ang="0">
                  <a:pos x="35" y="3"/>
                </a:cxn>
                <a:cxn ang="0">
                  <a:pos x="44" y="33"/>
                </a:cxn>
                <a:cxn ang="0">
                  <a:pos x="42" y="38"/>
                </a:cxn>
                <a:cxn ang="0">
                  <a:pos x="12" y="59"/>
                </a:cxn>
                <a:cxn ang="0">
                  <a:pos x="10" y="60"/>
                </a:cxn>
                <a:cxn ang="0">
                  <a:pos x="8" y="59"/>
                </a:cxn>
              </a:cxnLst>
              <a:rect l="0" t="0" r="r" b="b"/>
              <a:pathLst>
                <a:path w="45" h="61">
                  <a:moveTo>
                    <a:pt x="8" y="59"/>
                  </a:moveTo>
                  <a:cubicBezTo>
                    <a:pt x="6" y="59"/>
                    <a:pt x="5" y="57"/>
                    <a:pt x="5" y="56"/>
                  </a:cubicBezTo>
                  <a:lnTo>
                    <a:pt x="1" y="26"/>
                  </a:lnTo>
                  <a:cubicBezTo>
                    <a:pt x="0" y="25"/>
                    <a:pt x="1" y="23"/>
                    <a:pt x="2" y="22"/>
                  </a:cubicBezTo>
                  <a:lnTo>
                    <a:pt x="28" y="1"/>
                  </a:lnTo>
                  <a:cubicBezTo>
                    <a:pt x="29" y="0"/>
                    <a:pt x="30" y="0"/>
                    <a:pt x="31" y="0"/>
                  </a:cubicBezTo>
                  <a:lnTo>
                    <a:pt x="32" y="0"/>
                  </a:lnTo>
                  <a:cubicBezTo>
                    <a:pt x="34" y="0"/>
                    <a:pt x="35" y="2"/>
                    <a:pt x="35" y="3"/>
                  </a:cubicBezTo>
                  <a:lnTo>
                    <a:pt x="44" y="33"/>
                  </a:lnTo>
                  <a:cubicBezTo>
                    <a:pt x="44" y="35"/>
                    <a:pt x="44" y="37"/>
                    <a:pt x="42" y="38"/>
                  </a:cubicBezTo>
                  <a:lnTo>
                    <a:pt x="12" y="59"/>
                  </a:lnTo>
                  <a:cubicBezTo>
                    <a:pt x="12" y="60"/>
                    <a:pt x="11" y="60"/>
                    <a:pt x="10" y="60"/>
                  </a:cubicBezTo>
                  <a:cubicBezTo>
                    <a:pt x="9" y="60"/>
                    <a:pt x="8" y="60"/>
                    <a:pt x="8" y="59"/>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7" name="Freeform 612"/>
            <p:cNvSpPr>
              <a:spLocks noChangeArrowheads="1"/>
            </p:cNvSpPr>
            <p:nvPr/>
          </p:nvSpPr>
          <p:spPr bwMode="auto">
            <a:xfrm>
              <a:off x="8094663" y="3659188"/>
              <a:ext cx="15875" cy="22225"/>
            </a:xfrm>
            <a:custGeom>
              <a:avLst/>
              <a:gdLst/>
              <a:ahLst/>
              <a:cxnLst>
                <a:cxn ang="0">
                  <a:pos x="10" y="60"/>
                </a:cxn>
                <a:cxn ang="0">
                  <a:pos x="8" y="59"/>
                </a:cxn>
                <a:cxn ang="0">
                  <a:pos x="5" y="56"/>
                </a:cxn>
                <a:cxn ang="0">
                  <a:pos x="1" y="26"/>
                </a:cxn>
                <a:cxn ang="0">
                  <a:pos x="2" y="22"/>
                </a:cxn>
                <a:cxn ang="0">
                  <a:pos x="28" y="1"/>
                </a:cxn>
                <a:cxn ang="0">
                  <a:pos x="31" y="0"/>
                </a:cxn>
                <a:cxn ang="0">
                  <a:pos x="32" y="0"/>
                </a:cxn>
                <a:cxn ang="0">
                  <a:pos x="35" y="3"/>
                </a:cxn>
                <a:cxn ang="0">
                  <a:pos x="44" y="33"/>
                </a:cxn>
                <a:cxn ang="0">
                  <a:pos x="42" y="38"/>
                </a:cxn>
                <a:cxn ang="0">
                  <a:pos x="12" y="59"/>
                </a:cxn>
                <a:cxn ang="0">
                  <a:pos x="10" y="60"/>
                </a:cxn>
              </a:cxnLst>
              <a:rect l="0" t="0" r="r" b="b"/>
              <a:pathLst>
                <a:path w="45" h="61">
                  <a:moveTo>
                    <a:pt x="10" y="60"/>
                  </a:moveTo>
                  <a:cubicBezTo>
                    <a:pt x="9" y="60"/>
                    <a:pt x="8" y="60"/>
                    <a:pt x="8" y="59"/>
                  </a:cubicBezTo>
                  <a:cubicBezTo>
                    <a:pt x="6" y="59"/>
                    <a:pt x="5" y="57"/>
                    <a:pt x="5" y="56"/>
                  </a:cubicBezTo>
                  <a:lnTo>
                    <a:pt x="1" y="26"/>
                  </a:lnTo>
                  <a:cubicBezTo>
                    <a:pt x="0" y="25"/>
                    <a:pt x="1" y="23"/>
                    <a:pt x="2" y="22"/>
                  </a:cubicBezTo>
                  <a:lnTo>
                    <a:pt x="28" y="1"/>
                  </a:lnTo>
                  <a:cubicBezTo>
                    <a:pt x="29" y="0"/>
                    <a:pt x="30" y="0"/>
                    <a:pt x="31" y="0"/>
                  </a:cubicBezTo>
                  <a:lnTo>
                    <a:pt x="32" y="0"/>
                  </a:lnTo>
                  <a:cubicBezTo>
                    <a:pt x="34" y="0"/>
                    <a:pt x="35" y="2"/>
                    <a:pt x="35" y="3"/>
                  </a:cubicBezTo>
                  <a:lnTo>
                    <a:pt x="44" y="33"/>
                  </a:lnTo>
                  <a:cubicBezTo>
                    <a:pt x="44" y="35"/>
                    <a:pt x="44" y="37"/>
                    <a:pt x="42" y="38"/>
                  </a:cubicBezTo>
                  <a:lnTo>
                    <a:pt x="12" y="59"/>
                  </a:lnTo>
                  <a:cubicBezTo>
                    <a:pt x="12" y="60"/>
                    <a:pt x="11" y="60"/>
                    <a:pt x="10" y="6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8" name="Freeform 613"/>
            <p:cNvSpPr>
              <a:spLocks noChangeArrowheads="1"/>
            </p:cNvSpPr>
            <p:nvPr/>
          </p:nvSpPr>
          <p:spPr bwMode="auto">
            <a:xfrm>
              <a:off x="8027988" y="3827463"/>
              <a:ext cx="41275" cy="30162"/>
            </a:xfrm>
            <a:custGeom>
              <a:avLst/>
              <a:gdLst/>
              <a:ahLst/>
              <a:cxnLst>
                <a:cxn ang="0">
                  <a:pos x="46" y="77"/>
                </a:cxn>
                <a:cxn ang="0">
                  <a:pos x="15" y="51"/>
                </a:cxn>
                <a:cxn ang="0">
                  <a:pos x="1" y="11"/>
                </a:cxn>
                <a:cxn ang="0">
                  <a:pos x="1" y="7"/>
                </a:cxn>
                <a:cxn ang="0">
                  <a:pos x="5" y="5"/>
                </a:cxn>
                <a:cxn ang="0">
                  <a:pos x="64" y="0"/>
                </a:cxn>
                <a:cxn ang="0">
                  <a:pos x="105" y="27"/>
                </a:cxn>
                <a:cxn ang="0">
                  <a:pos x="107" y="29"/>
                </a:cxn>
                <a:cxn ang="0">
                  <a:pos x="111" y="51"/>
                </a:cxn>
                <a:cxn ang="0">
                  <a:pos x="109" y="56"/>
                </a:cxn>
                <a:cxn ang="0">
                  <a:pos x="71" y="81"/>
                </a:cxn>
                <a:cxn ang="0">
                  <a:pos x="69" y="82"/>
                </a:cxn>
                <a:cxn ang="0">
                  <a:pos x="46" y="77"/>
                </a:cxn>
              </a:cxnLst>
              <a:rect l="0" t="0" r="r" b="b"/>
              <a:pathLst>
                <a:path w="113" h="83">
                  <a:moveTo>
                    <a:pt x="46" y="77"/>
                  </a:moveTo>
                  <a:lnTo>
                    <a:pt x="15" y="51"/>
                  </a:lnTo>
                  <a:lnTo>
                    <a:pt x="1" y="11"/>
                  </a:lnTo>
                  <a:cubicBezTo>
                    <a:pt x="0" y="9"/>
                    <a:pt x="0" y="8"/>
                    <a:pt x="1" y="7"/>
                  </a:cubicBezTo>
                  <a:cubicBezTo>
                    <a:pt x="2" y="5"/>
                    <a:pt x="3" y="5"/>
                    <a:pt x="5" y="5"/>
                  </a:cubicBezTo>
                  <a:lnTo>
                    <a:pt x="64" y="0"/>
                  </a:lnTo>
                  <a:lnTo>
                    <a:pt x="105" y="27"/>
                  </a:lnTo>
                  <a:cubicBezTo>
                    <a:pt x="106" y="27"/>
                    <a:pt x="107" y="28"/>
                    <a:pt x="107" y="29"/>
                  </a:cubicBezTo>
                  <a:lnTo>
                    <a:pt x="111" y="51"/>
                  </a:lnTo>
                  <a:cubicBezTo>
                    <a:pt x="112" y="52"/>
                    <a:pt x="111" y="54"/>
                    <a:pt x="109" y="56"/>
                  </a:cubicBezTo>
                  <a:lnTo>
                    <a:pt x="71" y="81"/>
                  </a:lnTo>
                  <a:cubicBezTo>
                    <a:pt x="70" y="81"/>
                    <a:pt x="69" y="82"/>
                    <a:pt x="69" y="82"/>
                  </a:cubicBezTo>
                  <a:lnTo>
                    <a:pt x="46" y="77"/>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19" name="Freeform 614"/>
            <p:cNvSpPr>
              <a:spLocks noChangeArrowheads="1"/>
            </p:cNvSpPr>
            <p:nvPr/>
          </p:nvSpPr>
          <p:spPr bwMode="auto">
            <a:xfrm>
              <a:off x="8027988" y="3827463"/>
              <a:ext cx="41275" cy="30162"/>
            </a:xfrm>
            <a:custGeom>
              <a:avLst/>
              <a:gdLst/>
              <a:ahLst/>
              <a:cxnLst>
                <a:cxn ang="0">
                  <a:pos x="46" y="77"/>
                </a:cxn>
                <a:cxn ang="0">
                  <a:pos x="15" y="51"/>
                </a:cxn>
                <a:cxn ang="0">
                  <a:pos x="1" y="11"/>
                </a:cxn>
                <a:cxn ang="0">
                  <a:pos x="1" y="7"/>
                </a:cxn>
                <a:cxn ang="0">
                  <a:pos x="5" y="5"/>
                </a:cxn>
                <a:cxn ang="0">
                  <a:pos x="64" y="0"/>
                </a:cxn>
                <a:cxn ang="0">
                  <a:pos x="105" y="27"/>
                </a:cxn>
                <a:cxn ang="0">
                  <a:pos x="107" y="29"/>
                </a:cxn>
                <a:cxn ang="0">
                  <a:pos x="111" y="51"/>
                </a:cxn>
                <a:cxn ang="0">
                  <a:pos x="109" y="56"/>
                </a:cxn>
                <a:cxn ang="0">
                  <a:pos x="71" y="81"/>
                </a:cxn>
                <a:cxn ang="0">
                  <a:pos x="69" y="82"/>
                </a:cxn>
                <a:cxn ang="0">
                  <a:pos x="46" y="77"/>
                </a:cxn>
              </a:cxnLst>
              <a:rect l="0" t="0" r="r" b="b"/>
              <a:pathLst>
                <a:path w="113" h="83">
                  <a:moveTo>
                    <a:pt x="46" y="77"/>
                  </a:moveTo>
                  <a:lnTo>
                    <a:pt x="15" y="51"/>
                  </a:lnTo>
                  <a:lnTo>
                    <a:pt x="1" y="11"/>
                  </a:lnTo>
                  <a:cubicBezTo>
                    <a:pt x="0" y="9"/>
                    <a:pt x="0" y="8"/>
                    <a:pt x="1" y="7"/>
                  </a:cubicBezTo>
                  <a:cubicBezTo>
                    <a:pt x="2" y="5"/>
                    <a:pt x="3" y="5"/>
                    <a:pt x="5" y="5"/>
                  </a:cubicBezTo>
                  <a:lnTo>
                    <a:pt x="64" y="0"/>
                  </a:lnTo>
                  <a:lnTo>
                    <a:pt x="105" y="27"/>
                  </a:lnTo>
                  <a:cubicBezTo>
                    <a:pt x="106" y="27"/>
                    <a:pt x="107" y="28"/>
                    <a:pt x="107" y="29"/>
                  </a:cubicBezTo>
                  <a:lnTo>
                    <a:pt x="111" y="51"/>
                  </a:lnTo>
                  <a:cubicBezTo>
                    <a:pt x="112" y="52"/>
                    <a:pt x="111" y="54"/>
                    <a:pt x="109" y="56"/>
                  </a:cubicBezTo>
                  <a:lnTo>
                    <a:pt x="71" y="81"/>
                  </a:lnTo>
                  <a:cubicBezTo>
                    <a:pt x="70" y="81"/>
                    <a:pt x="69" y="82"/>
                    <a:pt x="69" y="82"/>
                  </a:cubicBezTo>
                  <a:lnTo>
                    <a:pt x="46" y="77"/>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0" name="Freeform 615"/>
            <p:cNvSpPr>
              <a:spLocks noChangeArrowheads="1"/>
            </p:cNvSpPr>
            <p:nvPr/>
          </p:nvSpPr>
          <p:spPr bwMode="auto">
            <a:xfrm>
              <a:off x="8008938" y="3790950"/>
              <a:ext cx="30162" cy="9525"/>
            </a:xfrm>
            <a:custGeom>
              <a:avLst/>
              <a:gdLst/>
              <a:ahLst/>
              <a:cxnLst>
                <a:cxn ang="0">
                  <a:pos x="10" y="24"/>
                </a:cxn>
                <a:cxn ang="0">
                  <a:pos x="1" y="11"/>
                </a:cxn>
                <a:cxn ang="0">
                  <a:pos x="1" y="7"/>
                </a:cxn>
                <a:cxn ang="0">
                  <a:pos x="5" y="4"/>
                </a:cxn>
                <a:cxn ang="0">
                  <a:pos x="77" y="0"/>
                </a:cxn>
                <a:cxn ang="0">
                  <a:pos x="82" y="4"/>
                </a:cxn>
                <a:cxn ang="0">
                  <a:pos x="78" y="9"/>
                </a:cxn>
                <a:cxn ang="0">
                  <a:pos x="15" y="26"/>
                </a:cxn>
                <a:cxn ang="0">
                  <a:pos x="13" y="26"/>
                </a:cxn>
                <a:cxn ang="0">
                  <a:pos x="10" y="24"/>
                </a:cxn>
              </a:cxnLst>
              <a:rect l="0" t="0" r="r" b="b"/>
              <a:pathLst>
                <a:path w="83" h="27">
                  <a:moveTo>
                    <a:pt x="10" y="24"/>
                  </a:moveTo>
                  <a:lnTo>
                    <a:pt x="1" y="11"/>
                  </a:lnTo>
                  <a:cubicBezTo>
                    <a:pt x="0" y="10"/>
                    <a:pt x="0" y="8"/>
                    <a:pt x="1" y="7"/>
                  </a:cubicBezTo>
                  <a:cubicBezTo>
                    <a:pt x="2" y="5"/>
                    <a:pt x="3" y="4"/>
                    <a:pt x="5" y="4"/>
                  </a:cubicBezTo>
                  <a:lnTo>
                    <a:pt x="77" y="0"/>
                  </a:lnTo>
                  <a:cubicBezTo>
                    <a:pt x="79" y="0"/>
                    <a:pt x="81" y="2"/>
                    <a:pt x="82" y="4"/>
                  </a:cubicBezTo>
                  <a:cubicBezTo>
                    <a:pt x="82" y="6"/>
                    <a:pt x="81" y="8"/>
                    <a:pt x="78" y="9"/>
                  </a:cubicBezTo>
                  <a:lnTo>
                    <a:pt x="15" y="26"/>
                  </a:lnTo>
                  <a:cubicBezTo>
                    <a:pt x="14" y="26"/>
                    <a:pt x="14" y="26"/>
                    <a:pt x="13" y="26"/>
                  </a:cubicBezTo>
                  <a:cubicBezTo>
                    <a:pt x="12" y="26"/>
                    <a:pt x="11" y="25"/>
                    <a:pt x="10" y="24"/>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1" name="Freeform 616"/>
            <p:cNvSpPr>
              <a:spLocks noChangeArrowheads="1"/>
            </p:cNvSpPr>
            <p:nvPr/>
          </p:nvSpPr>
          <p:spPr bwMode="auto">
            <a:xfrm>
              <a:off x="8008938" y="3790950"/>
              <a:ext cx="30162" cy="9525"/>
            </a:xfrm>
            <a:custGeom>
              <a:avLst/>
              <a:gdLst/>
              <a:ahLst/>
              <a:cxnLst>
                <a:cxn ang="0">
                  <a:pos x="13" y="26"/>
                </a:cxn>
                <a:cxn ang="0">
                  <a:pos x="10" y="24"/>
                </a:cxn>
                <a:cxn ang="0">
                  <a:pos x="1" y="11"/>
                </a:cxn>
                <a:cxn ang="0">
                  <a:pos x="1" y="7"/>
                </a:cxn>
                <a:cxn ang="0">
                  <a:pos x="5" y="4"/>
                </a:cxn>
                <a:cxn ang="0">
                  <a:pos x="77" y="0"/>
                </a:cxn>
                <a:cxn ang="0">
                  <a:pos x="82" y="4"/>
                </a:cxn>
                <a:cxn ang="0">
                  <a:pos x="78" y="9"/>
                </a:cxn>
                <a:cxn ang="0">
                  <a:pos x="15" y="26"/>
                </a:cxn>
                <a:cxn ang="0">
                  <a:pos x="13" y="26"/>
                </a:cxn>
              </a:cxnLst>
              <a:rect l="0" t="0" r="r" b="b"/>
              <a:pathLst>
                <a:path w="83" h="27">
                  <a:moveTo>
                    <a:pt x="13" y="26"/>
                  </a:moveTo>
                  <a:cubicBezTo>
                    <a:pt x="12" y="26"/>
                    <a:pt x="11" y="25"/>
                    <a:pt x="10" y="24"/>
                  </a:cubicBezTo>
                  <a:lnTo>
                    <a:pt x="1" y="11"/>
                  </a:lnTo>
                  <a:cubicBezTo>
                    <a:pt x="0" y="10"/>
                    <a:pt x="0" y="8"/>
                    <a:pt x="1" y="7"/>
                  </a:cubicBezTo>
                  <a:cubicBezTo>
                    <a:pt x="2" y="5"/>
                    <a:pt x="3" y="4"/>
                    <a:pt x="5" y="4"/>
                  </a:cubicBezTo>
                  <a:lnTo>
                    <a:pt x="77" y="0"/>
                  </a:lnTo>
                  <a:cubicBezTo>
                    <a:pt x="79" y="0"/>
                    <a:pt x="81" y="2"/>
                    <a:pt x="82" y="4"/>
                  </a:cubicBezTo>
                  <a:cubicBezTo>
                    <a:pt x="82" y="6"/>
                    <a:pt x="81" y="8"/>
                    <a:pt x="78" y="9"/>
                  </a:cubicBezTo>
                  <a:lnTo>
                    <a:pt x="15" y="26"/>
                  </a:lnTo>
                  <a:cubicBezTo>
                    <a:pt x="14" y="26"/>
                    <a:pt x="14" y="26"/>
                    <a:pt x="13" y="2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2" name="Freeform 617"/>
            <p:cNvSpPr>
              <a:spLocks noChangeArrowheads="1"/>
            </p:cNvSpPr>
            <p:nvPr/>
          </p:nvSpPr>
          <p:spPr bwMode="auto">
            <a:xfrm>
              <a:off x="7978775" y="3787775"/>
              <a:ext cx="30163" cy="14288"/>
            </a:xfrm>
            <a:custGeom>
              <a:avLst/>
              <a:gdLst/>
              <a:ahLst/>
              <a:cxnLst>
                <a:cxn ang="0">
                  <a:pos x="18" y="37"/>
                </a:cxn>
                <a:cxn ang="0">
                  <a:pos x="1" y="7"/>
                </a:cxn>
                <a:cxn ang="0">
                  <a:pos x="1" y="2"/>
                </a:cxn>
                <a:cxn ang="0">
                  <a:pos x="5" y="0"/>
                </a:cxn>
                <a:cxn ang="0">
                  <a:pos x="78" y="9"/>
                </a:cxn>
                <a:cxn ang="0">
                  <a:pos x="82" y="13"/>
                </a:cxn>
                <a:cxn ang="0">
                  <a:pos x="79" y="18"/>
                </a:cxn>
                <a:cxn ang="0">
                  <a:pos x="24" y="39"/>
                </a:cxn>
                <a:cxn ang="0">
                  <a:pos x="22" y="39"/>
                </a:cxn>
                <a:cxn ang="0">
                  <a:pos x="18" y="37"/>
                </a:cxn>
              </a:cxnLst>
              <a:rect l="0" t="0" r="r" b="b"/>
              <a:pathLst>
                <a:path w="83" h="40">
                  <a:moveTo>
                    <a:pt x="18" y="37"/>
                  </a:moveTo>
                  <a:lnTo>
                    <a:pt x="1" y="7"/>
                  </a:lnTo>
                  <a:cubicBezTo>
                    <a:pt x="0" y="6"/>
                    <a:pt x="1" y="4"/>
                    <a:pt x="1" y="2"/>
                  </a:cubicBezTo>
                  <a:cubicBezTo>
                    <a:pt x="2" y="1"/>
                    <a:pt x="4" y="0"/>
                    <a:pt x="5" y="0"/>
                  </a:cubicBezTo>
                  <a:lnTo>
                    <a:pt x="78" y="9"/>
                  </a:lnTo>
                  <a:cubicBezTo>
                    <a:pt x="80" y="9"/>
                    <a:pt x="82" y="11"/>
                    <a:pt x="82" y="13"/>
                  </a:cubicBezTo>
                  <a:cubicBezTo>
                    <a:pt x="82" y="15"/>
                    <a:pt x="81" y="17"/>
                    <a:pt x="79" y="18"/>
                  </a:cubicBezTo>
                  <a:lnTo>
                    <a:pt x="24" y="39"/>
                  </a:lnTo>
                  <a:cubicBezTo>
                    <a:pt x="23" y="39"/>
                    <a:pt x="23" y="39"/>
                    <a:pt x="22" y="39"/>
                  </a:cubicBezTo>
                  <a:cubicBezTo>
                    <a:pt x="21" y="39"/>
                    <a:pt x="19" y="39"/>
                    <a:pt x="18" y="3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3" name="Freeform 618"/>
            <p:cNvSpPr>
              <a:spLocks noChangeArrowheads="1"/>
            </p:cNvSpPr>
            <p:nvPr/>
          </p:nvSpPr>
          <p:spPr bwMode="auto">
            <a:xfrm>
              <a:off x="7978775" y="3787775"/>
              <a:ext cx="30163" cy="14288"/>
            </a:xfrm>
            <a:custGeom>
              <a:avLst/>
              <a:gdLst/>
              <a:ahLst/>
              <a:cxnLst>
                <a:cxn ang="0">
                  <a:pos x="22" y="39"/>
                </a:cxn>
                <a:cxn ang="0">
                  <a:pos x="18" y="37"/>
                </a:cxn>
                <a:cxn ang="0">
                  <a:pos x="1" y="7"/>
                </a:cxn>
                <a:cxn ang="0">
                  <a:pos x="1" y="2"/>
                </a:cxn>
                <a:cxn ang="0">
                  <a:pos x="5" y="0"/>
                </a:cxn>
                <a:cxn ang="0">
                  <a:pos x="78" y="9"/>
                </a:cxn>
                <a:cxn ang="0">
                  <a:pos x="82" y="13"/>
                </a:cxn>
                <a:cxn ang="0">
                  <a:pos x="79" y="18"/>
                </a:cxn>
                <a:cxn ang="0">
                  <a:pos x="24" y="39"/>
                </a:cxn>
                <a:cxn ang="0">
                  <a:pos x="22" y="39"/>
                </a:cxn>
              </a:cxnLst>
              <a:rect l="0" t="0" r="r" b="b"/>
              <a:pathLst>
                <a:path w="83" h="40">
                  <a:moveTo>
                    <a:pt x="22" y="39"/>
                  </a:moveTo>
                  <a:cubicBezTo>
                    <a:pt x="21" y="39"/>
                    <a:pt x="19" y="39"/>
                    <a:pt x="18" y="37"/>
                  </a:cubicBezTo>
                  <a:lnTo>
                    <a:pt x="1" y="7"/>
                  </a:lnTo>
                  <a:cubicBezTo>
                    <a:pt x="0" y="6"/>
                    <a:pt x="1" y="4"/>
                    <a:pt x="1" y="2"/>
                  </a:cubicBezTo>
                  <a:cubicBezTo>
                    <a:pt x="2" y="1"/>
                    <a:pt x="4" y="0"/>
                    <a:pt x="5" y="0"/>
                  </a:cubicBezTo>
                  <a:lnTo>
                    <a:pt x="78" y="9"/>
                  </a:lnTo>
                  <a:cubicBezTo>
                    <a:pt x="80" y="9"/>
                    <a:pt x="82" y="11"/>
                    <a:pt x="82" y="13"/>
                  </a:cubicBezTo>
                  <a:cubicBezTo>
                    <a:pt x="82" y="15"/>
                    <a:pt x="81" y="17"/>
                    <a:pt x="79" y="18"/>
                  </a:cubicBezTo>
                  <a:lnTo>
                    <a:pt x="24" y="39"/>
                  </a:lnTo>
                  <a:cubicBezTo>
                    <a:pt x="23" y="39"/>
                    <a:pt x="23" y="39"/>
                    <a:pt x="22" y="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4" name="Freeform 619"/>
            <p:cNvSpPr>
              <a:spLocks noChangeArrowheads="1"/>
            </p:cNvSpPr>
            <p:nvPr/>
          </p:nvSpPr>
          <p:spPr bwMode="auto">
            <a:xfrm>
              <a:off x="7942263" y="3776663"/>
              <a:ext cx="12700" cy="11112"/>
            </a:xfrm>
            <a:custGeom>
              <a:avLst/>
              <a:gdLst/>
              <a:ahLst/>
              <a:cxnLst>
                <a:cxn ang="0">
                  <a:pos x="6" y="27"/>
                </a:cxn>
                <a:cxn ang="0">
                  <a:pos x="1" y="14"/>
                </a:cxn>
                <a:cxn ang="0">
                  <a:pos x="4" y="8"/>
                </a:cxn>
                <a:cxn ang="0">
                  <a:pos x="30" y="0"/>
                </a:cxn>
                <a:cxn ang="0">
                  <a:pos x="31" y="0"/>
                </a:cxn>
                <a:cxn ang="0">
                  <a:pos x="34" y="1"/>
                </a:cxn>
                <a:cxn ang="0">
                  <a:pos x="36" y="6"/>
                </a:cxn>
                <a:cxn ang="0">
                  <a:pos x="31" y="23"/>
                </a:cxn>
                <a:cxn ang="0">
                  <a:pos x="28" y="26"/>
                </a:cxn>
                <a:cxn ang="0">
                  <a:pos x="11" y="30"/>
                </a:cxn>
                <a:cxn ang="0">
                  <a:pos x="10" y="30"/>
                </a:cxn>
                <a:cxn ang="0">
                  <a:pos x="6" y="27"/>
                </a:cxn>
              </a:cxnLst>
              <a:rect l="0" t="0" r="r" b="b"/>
              <a:pathLst>
                <a:path w="37" h="31">
                  <a:moveTo>
                    <a:pt x="6" y="27"/>
                  </a:moveTo>
                  <a:lnTo>
                    <a:pt x="1" y="14"/>
                  </a:lnTo>
                  <a:cubicBezTo>
                    <a:pt x="0" y="12"/>
                    <a:pt x="2" y="9"/>
                    <a:pt x="4" y="8"/>
                  </a:cubicBezTo>
                  <a:lnTo>
                    <a:pt x="30" y="0"/>
                  </a:lnTo>
                  <a:lnTo>
                    <a:pt x="31" y="0"/>
                  </a:lnTo>
                  <a:cubicBezTo>
                    <a:pt x="32" y="0"/>
                    <a:pt x="33" y="0"/>
                    <a:pt x="34" y="1"/>
                  </a:cubicBezTo>
                  <a:cubicBezTo>
                    <a:pt x="36" y="2"/>
                    <a:pt x="36" y="4"/>
                    <a:pt x="36" y="6"/>
                  </a:cubicBezTo>
                  <a:lnTo>
                    <a:pt x="31" y="23"/>
                  </a:lnTo>
                  <a:cubicBezTo>
                    <a:pt x="31" y="24"/>
                    <a:pt x="30" y="25"/>
                    <a:pt x="28" y="26"/>
                  </a:cubicBezTo>
                  <a:lnTo>
                    <a:pt x="11" y="30"/>
                  </a:lnTo>
                  <a:lnTo>
                    <a:pt x="10" y="30"/>
                  </a:lnTo>
                  <a:cubicBezTo>
                    <a:pt x="8" y="30"/>
                    <a:pt x="6" y="29"/>
                    <a:pt x="6" y="2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5" name="Freeform 620"/>
            <p:cNvSpPr>
              <a:spLocks noChangeArrowheads="1"/>
            </p:cNvSpPr>
            <p:nvPr/>
          </p:nvSpPr>
          <p:spPr bwMode="auto">
            <a:xfrm>
              <a:off x="7942263" y="3776663"/>
              <a:ext cx="12700" cy="11112"/>
            </a:xfrm>
            <a:custGeom>
              <a:avLst/>
              <a:gdLst/>
              <a:ahLst/>
              <a:cxnLst>
                <a:cxn ang="0">
                  <a:pos x="10" y="30"/>
                </a:cxn>
                <a:cxn ang="0">
                  <a:pos x="6" y="27"/>
                </a:cxn>
                <a:cxn ang="0">
                  <a:pos x="1" y="14"/>
                </a:cxn>
                <a:cxn ang="0">
                  <a:pos x="4" y="8"/>
                </a:cxn>
                <a:cxn ang="0">
                  <a:pos x="30" y="0"/>
                </a:cxn>
                <a:cxn ang="0">
                  <a:pos x="31" y="0"/>
                </a:cxn>
                <a:cxn ang="0">
                  <a:pos x="34" y="1"/>
                </a:cxn>
                <a:cxn ang="0">
                  <a:pos x="36" y="6"/>
                </a:cxn>
                <a:cxn ang="0">
                  <a:pos x="31" y="23"/>
                </a:cxn>
                <a:cxn ang="0">
                  <a:pos x="28" y="26"/>
                </a:cxn>
                <a:cxn ang="0">
                  <a:pos x="11" y="30"/>
                </a:cxn>
                <a:cxn ang="0">
                  <a:pos x="10" y="30"/>
                </a:cxn>
              </a:cxnLst>
              <a:rect l="0" t="0" r="r" b="b"/>
              <a:pathLst>
                <a:path w="37" h="31">
                  <a:moveTo>
                    <a:pt x="10" y="30"/>
                  </a:moveTo>
                  <a:cubicBezTo>
                    <a:pt x="8" y="30"/>
                    <a:pt x="6" y="29"/>
                    <a:pt x="6" y="27"/>
                  </a:cubicBezTo>
                  <a:lnTo>
                    <a:pt x="1" y="14"/>
                  </a:lnTo>
                  <a:cubicBezTo>
                    <a:pt x="0" y="12"/>
                    <a:pt x="2" y="9"/>
                    <a:pt x="4" y="8"/>
                  </a:cubicBezTo>
                  <a:lnTo>
                    <a:pt x="30" y="0"/>
                  </a:lnTo>
                  <a:lnTo>
                    <a:pt x="31" y="0"/>
                  </a:lnTo>
                  <a:cubicBezTo>
                    <a:pt x="32" y="0"/>
                    <a:pt x="33" y="0"/>
                    <a:pt x="34" y="1"/>
                  </a:cubicBezTo>
                  <a:cubicBezTo>
                    <a:pt x="36" y="2"/>
                    <a:pt x="36" y="4"/>
                    <a:pt x="36" y="6"/>
                  </a:cubicBezTo>
                  <a:lnTo>
                    <a:pt x="31" y="23"/>
                  </a:lnTo>
                  <a:cubicBezTo>
                    <a:pt x="31" y="24"/>
                    <a:pt x="30" y="25"/>
                    <a:pt x="28" y="26"/>
                  </a:cubicBezTo>
                  <a:lnTo>
                    <a:pt x="11" y="30"/>
                  </a:lnTo>
                  <a:lnTo>
                    <a:pt x="10" y="3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6" name="Freeform 621"/>
            <p:cNvSpPr>
              <a:spLocks noChangeArrowheads="1"/>
            </p:cNvSpPr>
            <p:nvPr/>
          </p:nvSpPr>
          <p:spPr bwMode="auto">
            <a:xfrm>
              <a:off x="7934325" y="3771900"/>
              <a:ext cx="11113" cy="14288"/>
            </a:xfrm>
            <a:custGeom>
              <a:avLst/>
              <a:gdLst/>
              <a:ahLst/>
              <a:cxnLst>
                <a:cxn ang="0">
                  <a:pos x="2" y="38"/>
                </a:cxn>
                <a:cxn ang="0">
                  <a:pos x="0" y="34"/>
                </a:cxn>
                <a:cxn ang="0">
                  <a:pos x="0" y="13"/>
                </a:cxn>
                <a:cxn ang="0">
                  <a:pos x="2" y="9"/>
                </a:cxn>
                <a:cxn ang="0">
                  <a:pos x="19" y="0"/>
                </a:cxn>
                <a:cxn ang="0">
                  <a:pos x="21" y="0"/>
                </a:cxn>
                <a:cxn ang="0">
                  <a:pos x="23" y="0"/>
                </a:cxn>
                <a:cxn ang="0">
                  <a:pos x="26" y="3"/>
                </a:cxn>
                <a:cxn ang="0">
                  <a:pos x="30" y="16"/>
                </a:cxn>
                <a:cxn ang="0">
                  <a:pos x="28" y="21"/>
                </a:cxn>
                <a:cxn ang="0">
                  <a:pos x="7" y="38"/>
                </a:cxn>
                <a:cxn ang="0">
                  <a:pos x="4" y="39"/>
                </a:cxn>
                <a:cxn ang="0">
                  <a:pos x="2" y="38"/>
                </a:cxn>
              </a:cxnLst>
              <a:rect l="0" t="0" r="r" b="b"/>
              <a:pathLst>
                <a:path w="31" h="40">
                  <a:moveTo>
                    <a:pt x="2" y="38"/>
                  </a:moveTo>
                  <a:cubicBezTo>
                    <a:pt x="1" y="38"/>
                    <a:pt x="0" y="36"/>
                    <a:pt x="0" y="34"/>
                  </a:cubicBezTo>
                  <a:lnTo>
                    <a:pt x="0" y="13"/>
                  </a:lnTo>
                  <a:cubicBezTo>
                    <a:pt x="0" y="11"/>
                    <a:pt x="1" y="10"/>
                    <a:pt x="2" y="9"/>
                  </a:cubicBezTo>
                  <a:lnTo>
                    <a:pt x="19" y="0"/>
                  </a:lnTo>
                  <a:cubicBezTo>
                    <a:pt x="20" y="0"/>
                    <a:pt x="20" y="0"/>
                    <a:pt x="21" y="0"/>
                  </a:cubicBezTo>
                  <a:cubicBezTo>
                    <a:pt x="22" y="0"/>
                    <a:pt x="22" y="0"/>
                    <a:pt x="23" y="0"/>
                  </a:cubicBezTo>
                  <a:cubicBezTo>
                    <a:pt x="24" y="1"/>
                    <a:pt x="25" y="2"/>
                    <a:pt x="26" y="3"/>
                  </a:cubicBezTo>
                  <a:lnTo>
                    <a:pt x="30" y="16"/>
                  </a:lnTo>
                  <a:cubicBezTo>
                    <a:pt x="30" y="18"/>
                    <a:pt x="30" y="20"/>
                    <a:pt x="28" y="21"/>
                  </a:cubicBezTo>
                  <a:lnTo>
                    <a:pt x="7" y="38"/>
                  </a:lnTo>
                  <a:cubicBezTo>
                    <a:pt x="6" y="39"/>
                    <a:pt x="5" y="39"/>
                    <a:pt x="4" y="39"/>
                  </a:cubicBezTo>
                  <a:cubicBezTo>
                    <a:pt x="4" y="39"/>
                    <a:pt x="3" y="39"/>
                    <a:pt x="2" y="38"/>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7" name="Freeform 622"/>
            <p:cNvSpPr>
              <a:spLocks noChangeArrowheads="1"/>
            </p:cNvSpPr>
            <p:nvPr/>
          </p:nvSpPr>
          <p:spPr bwMode="auto">
            <a:xfrm>
              <a:off x="7934325" y="3771900"/>
              <a:ext cx="11113" cy="14288"/>
            </a:xfrm>
            <a:custGeom>
              <a:avLst/>
              <a:gdLst/>
              <a:ahLst/>
              <a:cxnLst>
                <a:cxn ang="0">
                  <a:pos x="4" y="39"/>
                </a:cxn>
                <a:cxn ang="0">
                  <a:pos x="2" y="38"/>
                </a:cxn>
                <a:cxn ang="0">
                  <a:pos x="0" y="34"/>
                </a:cxn>
                <a:cxn ang="0">
                  <a:pos x="0" y="13"/>
                </a:cxn>
                <a:cxn ang="0">
                  <a:pos x="2" y="9"/>
                </a:cxn>
                <a:cxn ang="0">
                  <a:pos x="19" y="0"/>
                </a:cxn>
                <a:cxn ang="0">
                  <a:pos x="21" y="0"/>
                </a:cxn>
                <a:cxn ang="0">
                  <a:pos x="23" y="0"/>
                </a:cxn>
                <a:cxn ang="0">
                  <a:pos x="26" y="3"/>
                </a:cxn>
                <a:cxn ang="0">
                  <a:pos x="30" y="16"/>
                </a:cxn>
                <a:cxn ang="0">
                  <a:pos x="28" y="21"/>
                </a:cxn>
                <a:cxn ang="0">
                  <a:pos x="7" y="38"/>
                </a:cxn>
                <a:cxn ang="0">
                  <a:pos x="4" y="39"/>
                </a:cxn>
              </a:cxnLst>
              <a:rect l="0" t="0" r="r" b="b"/>
              <a:pathLst>
                <a:path w="31" h="40">
                  <a:moveTo>
                    <a:pt x="4" y="39"/>
                  </a:moveTo>
                  <a:cubicBezTo>
                    <a:pt x="4" y="39"/>
                    <a:pt x="3" y="39"/>
                    <a:pt x="2" y="38"/>
                  </a:cubicBezTo>
                  <a:cubicBezTo>
                    <a:pt x="1" y="38"/>
                    <a:pt x="0" y="36"/>
                    <a:pt x="0" y="34"/>
                  </a:cubicBezTo>
                  <a:lnTo>
                    <a:pt x="0" y="13"/>
                  </a:lnTo>
                  <a:cubicBezTo>
                    <a:pt x="0" y="11"/>
                    <a:pt x="1" y="10"/>
                    <a:pt x="2" y="9"/>
                  </a:cubicBezTo>
                  <a:lnTo>
                    <a:pt x="19" y="0"/>
                  </a:lnTo>
                  <a:cubicBezTo>
                    <a:pt x="20" y="0"/>
                    <a:pt x="20" y="0"/>
                    <a:pt x="21" y="0"/>
                  </a:cubicBezTo>
                  <a:cubicBezTo>
                    <a:pt x="22" y="0"/>
                    <a:pt x="22" y="0"/>
                    <a:pt x="23" y="0"/>
                  </a:cubicBezTo>
                  <a:cubicBezTo>
                    <a:pt x="24" y="1"/>
                    <a:pt x="25" y="2"/>
                    <a:pt x="26" y="3"/>
                  </a:cubicBezTo>
                  <a:lnTo>
                    <a:pt x="30" y="16"/>
                  </a:lnTo>
                  <a:cubicBezTo>
                    <a:pt x="30" y="18"/>
                    <a:pt x="30" y="20"/>
                    <a:pt x="28" y="21"/>
                  </a:cubicBezTo>
                  <a:lnTo>
                    <a:pt x="7" y="38"/>
                  </a:lnTo>
                  <a:cubicBezTo>
                    <a:pt x="6" y="39"/>
                    <a:pt x="5" y="39"/>
                    <a:pt x="4" y="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8" name="Freeform 623"/>
            <p:cNvSpPr>
              <a:spLocks noChangeArrowheads="1"/>
            </p:cNvSpPr>
            <p:nvPr/>
          </p:nvSpPr>
          <p:spPr bwMode="auto">
            <a:xfrm>
              <a:off x="7935913" y="3857625"/>
              <a:ext cx="9525" cy="9525"/>
            </a:xfrm>
            <a:custGeom>
              <a:avLst/>
              <a:gdLst/>
              <a:ahLst/>
              <a:cxnLst>
                <a:cxn ang="0">
                  <a:pos x="18" y="25"/>
                </a:cxn>
                <a:cxn ang="0">
                  <a:pos x="1" y="8"/>
                </a:cxn>
                <a:cxn ang="0">
                  <a:pos x="0" y="3"/>
                </a:cxn>
                <a:cxn ang="0">
                  <a:pos x="5" y="0"/>
                </a:cxn>
                <a:cxn ang="0">
                  <a:pos x="22" y="0"/>
                </a:cxn>
                <a:cxn ang="0">
                  <a:pos x="27" y="5"/>
                </a:cxn>
                <a:cxn ang="0">
                  <a:pos x="27" y="22"/>
                </a:cxn>
                <a:cxn ang="0">
                  <a:pos x="23" y="26"/>
                </a:cxn>
                <a:cxn ang="0">
                  <a:pos x="22" y="26"/>
                </a:cxn>
                <a:cxn ang="0">
                  <a:pos x="18" y="25"/>
                </a:cxn>
              </a:cxnLst>
              <a:rect l="0" t="0" r="r" b="b"/>
              <a:pathLst>
                <a:path w="28" h="27">
                  <a:moveTo>
                    <a:pt x="18" y="25"/>
                  </a:moveTo>
                  <a:lnTo>
                    <a:pt x="1" y="8"/>
                  </a:lnTo>
                  <a:cubicBezTo>
                    <a:pt x="0" y="7"/>
                    <a:pt x="0" y="5"/>
                    <a:pt x="0" y="3"/>
                  </a:cubicBezTo>
                  <a:cubicBezTo>
                    <a:pt x="1" y="1"/>
                    <a:pt x="3" y="0"/>
                    <a:pt x="5" y="0"/>
                  </a:cubicBezTo>
                  <a:lnTo>
                    <a:pt x="22" y="0"/>
                  </a:lnTo>
                  <a:cubicBezTo>
                    <a:pt x="24" y="0"/>
                    <a:pt x="27" y="2"/>
                    <a:pt x="27" y="5"/>
                  </a:cubicBezTo>
                  <a:lnTo>
                    <a:pt x="27" y="22"/>
                  </a:lnTo>
                  <a:cubicBezTo>
                    <a:pt x="27" y="24"/>
                    <a:pt x="25" y="25"/>
                    <a:pt x="23" y="26"/>
                  </a:cubicBezTo>
                  <a:lnTo>
                    <a:pt x="22" y="26"/>
                  </a:lnTo>
                  <a:cubicBezTo>
                    <a:pt x="20" y="26"/>
                    <a:pt x="19" y="26"/>
                    <a:pt x="18" y="25"/>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29" name="Freeform 624"/>
            <p:cNvSpPr>
              <a:spLocks noChangeArrowheads="1"/>
            </p:cNvSpPr>
            <p:nvPr/>
          </p:nvSpPr>
          <p:spPr bwMode="auto">
            <a:xfrm>
              <a:off x="7935913" y="3857625"/>
              <a:ext cx="9525" cy="9525"/>
            </a:xfrm>
            <a:custGeom>
              <a:avLst/>
              <a:gdLst/>
              <a:ahLst/>
              <a:cxnLst>
                <a:cxn ang="0">
                  <a:pos x="22" y="26"/>
                </a:cxn>
                <a:cxn ang="0">
                  <a:pos x="18" y="25"/>
                </a:cxn>
                <a:cxn ang="0">
                  <a:pos x="1" y="8"/>
                </a:cxn>
                <a:cxn ang="0">
                  <a:pos x="0" y="3"/>
                </a:cxn>
                <a:cxn ang="0">
                  <a:pos x="5" y="0"/>
                </a:cxn>
                <a:cxn ang="0">
                  <a:pos x="22" y="0"/>
                </a:cxn>
                <a:cxn ang="0">
                  <a:pos x="27" y="5"/>
                </a:cxn>
                <a:cxn ang="0">
                  <a:pos x="27" y="22"/>
                </a:cxn>
                <a:cxn ang="0">
                  <a:pos x="23" y="26"/>
                </a:cxn>
                <a:cxn ang="0">
                  <a:pos x="22" y="26"/>
                </a:cxn>
              </a:cxnLst>
              <a:rect l="0" t="0" r="r" b="b"/>
              <a:pathLst>
                <a:path w="28" h="27">
                  <a:moveTo>
                    <a:pt x="22" y="26"/>
                  </a:moveTo>
                  <a:cubicBezTo>
                    <a:pt x="20" y="26"/>
                    <a:pt x="19" y="26"/>
                    <a:pt x="18" y="25"/>
                  </a:cubicBezTo>
                  <a:lnTo>
                    <a:pt x="1" y="8"/>
                  </a:lnTo>
                  <a:cubicBezTo>
                    <a:pt x="0" y="7"/>
                    <a:pt x="0" y="5"/>
                    <a:pt x="0" y="3"/>
                  </a:cubicBezTo>
                  <a:cubicBezTo>
                    <a:pt x="1" y="1"/>
                    <a:pt x="3" y="0"/>
                    <a:pt x="5" y="0"/>
                  </a:cubicBezTo>
                  <a:lnTo>
                    <a:pt x="22" y="0"/>
                  </a:lnTo>
                  <a:cubicBezTo>
                    <a:pt x="24" y="0"/>
                    <a:pt x="27" y="2"/>
                    <a:pt x="27" y="5"/>
                  </a:cubicBezTo>
                  <a:lnTo>
                    <a:pt x="27" y="22"/>
                  </a:lnTo>
                  <a:cubicBezTo>
                    <a:pt x="27" y="24"/>
                    <a:pt x="25" y="25"/>
                    <a:pt x="23" y="26"/>
                  </a:cubicBezTo>
                  <a:lnTo>
                    <a:pt x="22" y="2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0" name="Freeform 625"/>
            <p:cNvSpPr>
              <a:spLocks noChangeArrowheads="1"/>
            </p:cNvSpPr>
            <p:nvPr/>
          </p:nvSpPr>
          <p:spPr bwMode="auto">
            <a:xfrm>
              <a:off x="7927975" y="3867150"/>
              <a:ext cx="19050" cy="42863"/>
            </a:xfrm>
            <a:custGeom>
              <a:avLst/>
              <a:gdLst/>
              <a:ahLst/>
              <a:cxnLst>
                <a:cxn ang="0">
                  <a:pos x="18" y="120"/>
                </a:cxn>
                <a:cxn ang="0">
                  <a:pos x="14" y="117"/>
                </a:cxn>
                <a:cxn ang="0">
                  <a:pos x="1" y="96"/>
                </a:cxn>
                <a:cxn ang="0">
                  <a:pos x="1" y="92"/>
                </a:cxn>
                <a:cxn ang="0">
                  <a:pos x="14" y="58"/>
                </a:cxn>
                <a:cxn ang="0">
                  <a:pos x="26" y="4"/>
                </a:cxn>
                <a:cxn ang="0">
                  <a:pos x="30" y="0"/>
                </a:cxn>
                <a:cxn ang="0">
                  <a:pos x="31" y="0"/>
                </a:cxn>
                <a:cxn ang="0">
                  <a:pos x="35" y="3"/>
                </a:cxn>
                <a:cxn ang="0">
                  <a:pos x="52" y="41"/>
                </a:cxn>
                <a:cxn ang="0">
                  <a:pos x="51" y="46"/>
                </a:cxn>
                <a:cxn ang="0">
                  <a:pos x="36" y="61"/>
                </a:cxn>
                <a:cxn ang="0">
                  <a:pos x="48" y="88"/>
                </a:cxn>
                <a:cxn ang="0">
                  <a:pos x="47" y="93"/>
                </a:cxn>
                <a:cxn ang="0">
                  <a:pos x="21" y="118"/>
                </a:cxn>
                <a:cxn ang="0">
                  <a:pos x="18" y="120"/>
                </a:cxn>
              </a:cxnLst>
              <a:rect l="0" t="0" r="r" b="b"/>
              <a:pathLst>
                <a:path w="54" h="121">
                  <a:moveTo>
                    <a:pt x="18" y="120"/>
                  </a:moveTo>
                  <a:cubicBezTo>
                    <a:pt x="16" y="120"/>
                    <a:pt x="15" y="119"/>
                    <a:pt x="14" y="117"/>
                  </a:cubicBezTo>
                  <a:lnTo>
                    <a:pt x="1" y="96"/>
                  </a:lnTo>
                  <a:cubicBezTo>
                    <a:pt x="1" y="95"/>
                    <a:pt x="0" y="94"/>
                    <a:pt x="1" y="92"/>
                  </a:cubicBezTo>
                  <a:lnTo>
                    <a:pt x="14" y="58"/>
                  </a:lnTo>
                  <a:lnTo>
                    <a:pt x="26" y="4"/>
                  </a:lnTo>
                  <a:cubicBezTo>
                    <a:pt x="27" y="2"/>
                    <a:pt x="28" y="1"/>
                    <a:pt x="30" y="0"/>
                  </a:cubicBezTo>
                  <a:lnTo>
                    <a:pt x="31" y="0"/>
                  </a:lnTo>
                  <a:cubicBezTo>
                    <a:pt x="33" y="0"/>
                    <a:pt x="34" y="1"/>
                    <a:pt x="35" y="3"/>
                  </a:cubicBezTo>
                  <a:lnTo>
                    <a:pt x="52" y="41"/>
                  </a:lnTo>
                  <a:cubicBezTo>
                    <a:pt x="53" y="43"/>
                    <a:pt x="52" y="45"/>
                    <a:pt x="51" y="46"/>
                  </a:cubicBezTo>
                  <a:lnTo>
                    <a:pt x="36" y="61"/>
                  </a:lnTo>
                  <a:lnTo>
                    <a:pt x="48" y="88"/>
                  </a:lnTo>
                  <a:cubicBezTo>
                    <a:pt x="48" y="90"/>
                    <a:pt x="48" y="92"/>
                    <a:pt x="47" y="93"/>
                  </a:cubicBezTo>
                  <a:lnTo>
                    <a:pt x="21" y="118"/>
                  </a:lnTo>
                  <a:cubicBezTo>
                    <a:pt x="21" y="119"/>
                    <a:pt x="19" y="120"/>
                    <a:pt x="18" y="12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1" name="Freeform 626"/>
            <p:cNvSpPr>
              <a:spLocks noChangeArrowheads="1"/>
            </p:cNvSpPr>
            <p:nvPr/>
          </p:nvSpPr>
          <p:spPr bwMode="auto">
            <a:xfrm>
              <a:off x="7927975" y="3867150"/>
              <a:ext cx="19050" cy="42863"/>
            </a:xfrm>
            <a:custGeom>
              <a:avLst/>
              <a:gdLst/>
              <a:ahLst/>
              <a:cxnLst>
                <a:cxn ang="0">
                  <a:pos x="18" y="120"/>
                </a:cxn>
                <a:cxn ang="0">
                  <a:pos x="14" y="117"/>
                </a:cxn>
                <a:cxn ang="0">
                  <a:pos x="1" y="96"/>
                </a:cxn>
                <a:cxn ang="0">
                  <a:pos x="1" y="92"/>
                </a:cxn>
                <a:cxn ang="0">
                  <a:pos x="14" y="58"/>
                </a:cxn>
                <a:cxn ang="0">
                  <a:pos x="26" y="4"/>
                </a:cxn>
                <a:cxn ang="0">
                  <a:pos x="30" y="0"/>
                </a:cxn>
                <a:cxn ang="0">
                  <a:pos x="31" y="0"/>
                </a:cxn>
                <a:cxn ang="0">
                  <a:pos x="35" y="3"/>
                </a:cxn>
                <a:cxn ang="0">
                  <a:pos x="52" y="41"/>
                </a:cxn>
                <a:cxn ang="0">
                  <a:pos x="51" y="46"/>
                </a:cxn>
                <a:cxn ang="0">
                  <a:pos x="36" y="61"/>
                </a:cxn>
                <a:cxn ang="0">
                  <a:pos x="48" y="88"/>
                </a:cxn>
                <a:cxn ang="0">
                  <a:pos x="47" y="93"/>
                </a:cxn>
                <a:cxn ang="0">
                  <a:pos x="21" y="118"/>
                </a:cxn>
                <a:cxn ang="0">
                  <a:pos x="18" y="120"/>
                </a:cxn>
              </a:cxnLst>
              <a:rect l="0" t="0" r="r" b="b"/>
              <a:pathLst>
                <a:path w="54" h="121">
                  <a:moveTo>
                    <a:pt x="18" y="120"/>
                  </a:moveTo>
                  <a:cubicBezTo>
                    <a:pt x="16" y="120"/>
                    <a:pt x="15" y="119"/>
                    <a:pt x="14" y="117"/>
                  </a:cubicBezTo>
                  <a:lnTo>
                    <a:pt x="1" y="96"/>
                  </a:lnTo>
                  <a:cubicBezTo>
                    <a:pt x="1" y="95"/>
                    <a:pt x="0" y="94"/>
                    <a:pt x="1" y="92"/>
                  </a:cubicBezTo>
                  <a:lnTo>
                    <a:pt x="14" y="58"/>
                  </a:lnTo>
                  <a:lnTo>
                    <a:pt x="26" y="4"/>
                  </a:lnTo>
                  <a:cubicBezTo>
                    <a:pt x="27" y="2"/>
                    <a:pt x="28" y="1"/>
                    <a:pt x="30" y="0"/>
                  </a:cubicBezTo>
                  <a:lnTo>
                    <a:pt x="31" y="0"/>
                  </a:lnTo>
                  <a:cubicBezTo>
                    <a:pt x="33" y="0"/>
                    <a:pt x="34" y="1"/>
                    <a:pt x="35" y="3"/>
                  </a:cubicBezTo>
                  <a:lnTo>
                    <a:pt x="52" y="41"/>
                  </a:lnTo>
                  <a:cubicBezTo>
                    <a:pt x="53" y="43"/>
                    <a:pt x="52" y="45"/>
                    <a:pt x="51" y="46"/>
                  </a:cubicBezTo>
                  <a:lnTo>
                    <a:pt x="36" y="61"/>
                  </a:lnTo>
                  <a:lnTo>
                    <a:pt x="48" y="88"/>
                  </a:lnTo>
                  <a:cubicBezTo>
                    <a:pt x="48" y="90"/>
                    <a:pt x="48" y="92"/>
                    <a:pt x="47" y="93"/>
                  </a:cubicBezTo>
                  <a:lnTo>
                    <a:pt x="21" y="118"/>
                  </a:lnTo>
                  <a:cubicBezTo>
                    <a:pt x="21" y="119"/>
                    <a:pt x="19" y="120"/>
                    <a:pt x="18" y="12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2" name="Freeform 627"/>
            <p:cNvSpPr>
              <a:spLocks noChangeArrowheads="1"/>
            </p:cNvSpPr>
            <p:nvPr/>
          </p:nvSpPr>
          <p:spPr bwMode="auto">
            <a:xfrm>
              <a:off x="7902575" y="3889375"/>
              <a:ext cx="11113" cy="12700"/>
            </a:xfrm>
            <a:custGeom>
              <a:avLst/>
              <a:gdLst/>
              <a:ahLst/>
              <a:cxnLst>
                <a:cxn ang="0">
                  <a:pos x="23" y="34"/>
                </a:cxn>
                <a:cxn ang="0">
                  <a:pos x="2" y="21"/>
                </a:cxn>
                <a:cxn ang="0">
                  <a:pos x="0" y="18"/>
                </a:cxn>
                <a:cxn ang="0">
                  <a:pos x="1" y="14"/>
                </a:cxn>
                <a:cxn ang="0">
                  <a:pos x="9" y="2"/>
                </a:cxn>
                <a:cxn ang="0">
                  <a:pos x="13" y="0"/>
                </a:cxn>
                <a:cxn ang="0">
                  <a:pos x="13" y="0"/>
                </a:cxn>
                <a:cxn ang="0">
                  <a:pos x="17" y="2"/>
                </a:cxn>
                <a:cxn ang="0">
                  <a:pos x="30" y="28"/>
                </a:cxn>
                <a:cxn ang="0">
                  <a:pos x="29" y="33"/>
                </a:cxn>
                <a:cxn ang="0">
                  <a:pos x="26" y="35"/>
                </a:cxn>
                <a:cxn ang="0">
                  <a:pos x="23" y="34"/>
                </a:cxn>
              </a:cxnLst>
              <a:rect l="0" t="0" r="r" b="b"/>
              <a:pathLst>
                <a:path w="32" h="36">
                  <a:moveTo>
                    <a:pt x="23" y="34"/>
                  </a:moveTo>
                  <a:lnTo>
                    <a:pt x="2" y="21"/>
                  </a:lnTo>
                  <a:cubicBezTo>
                    <a:pt x="1" y="21"/>
                    <a:pt x="0" y="19"/>
                    <a:pt x="0" y="18"/>
                  </a:cubicBezTo>
                  <a:cubicBezTo>
                    <a:pt x="0" y="17"/>
                    <a:pt x="0" y="16"/>
                    <a:pt x="1" y="14"/>
                  </a:cubicBezTo>
                  <a:lnTo>
                    <a:pt x="9" y="2"/>
                  </a:lnTo>
                  <a:cubicBezTo>
                    <a:pt x="10" y="1"/>
                    <a:pt x="11" y="0"/>
                    <a:pt x="13" y="0"/>
                  </a:cubicBezTo>
                  <a:lnTo>
                    <a:pt x="13" y="0"/>
                  </a:lnTo>
                  <a:cubicBezTo>
                    <a:pt x="15" y="0"/>
                    <a:pt x="17" y="1"/>
                    <a:pt x="17" y="2"/>
                  </a:cubicBezTo>
                  <a:lnTo>
                    <a:pt x="30" y="28"/>
                  </a:lnTo>
                  <a:cubicBezTo>
                    <a:pt x="31" y="30"/>
                    <a:pt x="30" y="32"/>
                    <a:pt x="29" y="33"/>
                  </a:cubicBezTo>
                  <a:cubicBezTo>
                    <a:pt x="28" y="34"/>
                    <a:pt x="27" y="35"/>
                    <a:pt x="26" y="35"/>
                  </a:cubicBezTo>
                  <a:cubicBezTo>
                    <a:pt x="25" y="35"/>
                    <a:pt x="24" y="34"/>
                    <a:pt x="23" y="34"/>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3" name="Freeform 628"/>
            <p:cNvSpPr>
              <a:spLocks noChangeArrowheads="1"/>
            </p:cNvSpPr>
            <p:nvPr/>
          </p:nvSpPr>
          <p:spPr bwMode="auto">
            <a:xfrm>
              <a:off x="7902575" y="3889375"/>
              <a:ext cx="11113" cy="12700"/>
            </a:xfrm>
            <a:custGeom>
              <a:avLst/>
              <a:gdLst/>
              <a:ahLst/>
              <a:cxnLst>
                <a:cxn ang="0">
                  <a:pos x="26" y="35"/>
                </a:cxn>
                <a:cxn ang="0">
                  <a:pos x="23" y="34"/>
                </a:cxn>
                <a:cxn ang="0">
                  <a:pos x="2" y="21"/>
                </a:cxn>
                <a:cxn ang="0">
                  <a:pos x="0" y="18"/>
                </a:cxn>
                <a:cxn ang="0">
                  <a:pos x="1" y="14"/>
                </a:cxn>
                <a:cxn ang="0">
                  <a:pos x="9" y="2"/>
                </a:cxn>
                <a:cxn ang="0">
                  <a:pos x="13" y="0"/>
                </a:cxn>
                <a:cxn ang="0">
                  <a:pos x="13" y="0"/>
                </a:cxn>
                <a:cxn ang="0">
                  <a:pos x="17" y="2"/>
                </a:cxn>
                <a:cxn ang="0">
                  <a:pos x="30" y="28"/>
                </a:cxn>
                <a:cxn ang="0">
                  <a:pos x="29" y="33"/>
                </a:cxn>
                <a:cxn ang="0">
                  <a:pos x="26" y="35"/>
                </a:cxn>
              </a:cxnLst>
              <a:rect l="0" t="0" r="r" b="b"/>
              <a:pathLst>
                <a:path w="32" h="36">
                  <a:moveTo>
                    <a:pt x="26" y="35"/>
                  </a:moveTo>
                  <a:cubicBezTo>
                    <a:pt x="25" y="35"/>
                    <a:pt x="24" y="34"/>
                    <a:pt x="23" y="34"/>
                  </a:cubicBezTo>
                  <a:lnTo>
                    <a:pt x="2" y="21"/>
                  </a:lnTo>
                  <a:cubicBezTo>
                    <a:pt x="1" y="21"/>
                    <a:pt x="0" y="19"/>
                    <a:pt x="0" y="18"/>
                  </a:cubicBezTo>
                  <a:cubicBezTo>
                    <a:pt x="0" y="17"/>
                    <a:pt x="0" y="16"/>
                    <a:pt x="1" y="14"/>
                  </a:cubicBezTo>
                  <a:lnTo>
                    <a:pt x="9" y="2"/>
                  </a:lnTo>
                  <a:cubicBezTo>
                    <a:pt x="10" y="1"/>
                    <a:pt x="11" y="0"/>
                    <a:pt x="13" y="0"/>
                  </a:cubicBezTo>
                  <a:lnTo>
                    <a:pt x="13" y="0"/>
                  </a:lnTo>
                  <a:cubicBezTo>
                    <a:pt x="15" y="0"/>
                    <a:pt x="17" y="1"/>
                    <a:pt x="17" y="2"/>
                  </a:cubicBezTo>
                  <a:lnTo>
                    <a:pt x="30" y="28"/>
                  </a:lnTo>
                  <a:cubicBezTo>
                    <a:pt x="31" y="30"/>
                    <a:pt x="30" y="32"/>
                    <a:pt x="29" y="33"/>
                  </a:cubicBezTo>
                  <a:cubicBezTo>
                    <a:pt x="28" y="34"/>
                    <a:pt x="27" y="35"/>
                    <a:pt x="26" y="3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4" name="Freeform 629"/>
            <p:cNvSpPr>
              <a:spLocks noChangeArrowheads="1"/>
            </p:cNvSpPr>
            <p:nvPr/>
          </p:nvSpPr>
          <p:spPr bwMode="auto">
            <a:xfrm>
              <a:off x="7815263" y="3686175"/>
              <a:ext cx="192087" cy="223838"/>
            </a:xfrm>
            <a:custGeom>
              <a:avLst/>
              <a:gdLst/>
              <a:ahLst/>
              <a:cxnLst>
                <a:cxn ang="0">
                  <a:pos x="39" y="591"/>
                </a:cxn>
                <a:cxn ang="0">
                  <a:pos x="64" y="485"/>
                </a:cxn>
                <a:cxn ang="0">
                  <a:pos x="18" y="444"/>
                </a:cxn>
                <a:cxn ang="0">
                  <a:pos x="0" y="372"/>
                </a:cxn>
                <a:cxn ang="0">
                  <a:pos x="38" y="253"/>
                </a:cxn>
                <a:cxn ang="0">
                  <a:pos x="64" y="152"/>
                </a:cxn>
                <a:cxn ang="0">
                  <a:pos x="117" y="71"/>
                </a:cxn>
                <a:cxn ang="0">
                  <a:pos x="142" y="74"/>
                </a:cxn>
                <a:cxn ang="0">
                  <a:pos x="160" y="41"/>
                </a:cxn>
                <a:cxn ang="0">
                  <a:pos x="337" y="71"/>
                </a:cxn>
                <a:cxn ang="0">
                  <a:pos x="510" y="1"/>
                </a:cxn>
                <a:cxn ang="0">
                  <a:pos x="514" y="0"/>
                </a:cxn>
                <a:cxn ang="0">
                  <a:pos x="530" y="32"/>
                </a:cxn>
                <a:cxn ang="0">
                  <a:pos x="453" y="121"/>
                </a:cxn>
                <a:cxn ang="0">
                  <a:pos x="208" y="110"/>
                </a:cxn>
                <a:cxn ang="0">
                  <a:pos x="128" y="128"/>
                </a:cxn>
                <a:cxn ang="0">
                  <a:pos x="155" y="261"/>
                </a:cxn>
                <a:cxn ang="0">
                  <a:pos x="230" y="220"/>
                </a:cxn>
                <a:cxn ang="0">
                  <a:pos x="264" y="223"/>
                </a:cxn>
                <a:cxn ang="0">
                  <a:pos x="271" y="210"/>
                </a:cxn>
                <a:cxn ang="0">
                  <a:pos x="354" y="186"/>
                </a:cxn>
                <a:cxn ang="0">
                  <a:pos x="379" y="189"/>
                </a:cxn>
                <a:cxn ang="0">
                  <a:pos x="387" y="223"/>
                </a:cxn>
                <a:cxn ang="0">
                  <a:pos x="382" y="228"/>
                </a:cxn>
                <a:cxn ang="0">
                  <a:pos x="296" y="281"/>
                </a:cxn>
                <a:cxn ang="0">
                  <a:pos x="223" y="302"/>
                </a:cxn>
                <a:cxn ang="0">
                  <a:pos x="306" y="416"/>
                </a:cxn>
                <a:cxn ang="0">
                  <a:pos x="317" y="482"/>
                </a:cxn>
                <a:cxn ang="0">
                  <a:pos x="336" y="490"/>
                </a:cxn>
                <a:cxn ang="0">
                  <a:pos x="333" y="511"/>
                </a:cxn>
                <a:cxn ang="0">
                  <a:pos x="258" y="553"/>
                </a:cxn>
                <a:cxn ang="0">
                  <a:pos x="234" y="554"/>
                </a:cxn>
                <a:cxn ang="0">
                  <a:pos x="225" y="492"/>
                </a:cxn>
                <a:cxn ang="0">
                  <a:pos x="170" y="429"/>
                </a:cxn>
                <a:cxn ang="0">
                  <a:pos x="182" y="378"/>
                </a:cxn>
                <a:cxn ang="0">
                  <a:pos x="125" y="407"/>
                </a:cxn>
                <a:cxn ang="0">
                  <a:pos x="137" y="608"/>
                </a:cxn>
                <a:cxn ang="0">
                  <a:pos x="68" y="622"/>
                </a:cxn>
              </a:cxnLst>
              <a:rect l="0" t="0" r="r" b="b"/>
              <a:pathLst>
                <a:path w="532" h="623">
                  <a:moveTo>
                    <a:pt x="65" y="620"/>
                  </a:moveTo>
                  <a:lnTo>
                    <a:pt x="39" y="591"/>
                  </a:lnTo>
                  <a:cubicBezTo>
                    <a:pt x="38" y="589"/>
                    <a:pt x="38" y="588"/>
                    <a:pt x="38" y="586"/>
                  </a:cubicBezTo>
                  <a:lnTo>
                    <a:pt x="64" y="485"/>
                  </a:lnTo>
                  <a:lnTo>
                    <a:pt x="52" y="440"/>
                  </a:lnTo>
                  <a:lnTo>
                    <a:pt x="18" y="444"/>
                  </a:lnTo>
                  <a:cubicBezTo>
                    <a:pt x="15" y="444"/>
                    <a:pt x="13" y="442"/>
                    <a:pt x="13" y="440"/>
                  </a:cubicBezTo>
                  <a:lnTo>
                    <a:pt x="0" y="372"/>
                  </a:lnTo>
                  <a:lnTo>
                    <a:pt x="39" y="298"/>
                  </a:lnTo>
                  <a:lnTo>
                    <a:pt x="38" y="253"/>
                  </a:lnTo>
                  <a:lnTo>
                    <a:pt x="72" y="193"/>
                  </a:lnTo>
                  <a:lnTo>
                    <a:pt x="64" y="152"/>
                  </a:lnTo>
                  <a:lnTo>
                    <a:pt x="94" y="86"/>
                  </a:lnTo>
                  <a:lnTo>
                    <a:pt x="117" y="71"/>
                  </a:lnTo>
                  <a:cubicBezTo>
                    <a:pt x="118" y="71"/>
                    <a:pt x="118" y="71"/>
                    <a:pt x="119" y="71"/>
                  </a:cubicBezTo>
                  <a:lnTo>
                    <a:pt x="142" y="74"/>
                  </a:lnTo>
                  <a:lnTo>
                    <a:pt x="157" y="44"/>
                  </a:lnTo>
                  <a:cubicBezTo>
                    <a:pt x="158" y="43"/>
                    <a:pt x="159" y="42"/>
                    <a:pt x="160" y="41"/>
                  </a:cubicBezTo>
                  <a:lnTo>
                    <a:pt x="186" y="34"/>
                  </a:lnTo>
                  <a:lnTo>
                    <a:pt x="337" y="71"/>
                  </a:lnTo>
                  <a:lnTo>
                    <a:pt x="420" y="71"/>
                  </a:lnTo>
                  <a:lnTo>
                    <a:pt x="510" y="1"/>
                  </a:lnTo>
                  <a:cubicBezTo>
                    <a:pt x="511" y="0"/>
                    <a:pt x="512" y="0"/>
                    <a:pt x="513" y="0"/>
                  </a:cubicBezTo>
                  <a:cubicBezTo>
                    <a:pt x="514" y="0"/>
                    <a:pt x="514" y="0"/>
                    <a:pt x="514" y="0"/>
                  </a:cubicBezTo>
                  <a:cubicBezTo>
                    <a:pt x="516" y="0"/>
                    <a:pt x="517" y="1"/>
                    <a:pt x="518" y="3"/>
                  </a:cubicBezTo>
                  <a:lnTo>
                    <a:pt x="530" y="32"/>
                  </a:lnTo>
                  <a:cubicBezTo>
                    <a:pt x="531" y="34"/>
                    <a:pt x="531" y="36"/>
                    <a:pt x="529" y="36"/>
                  </a:cubicBezTo>
                  <a:lnTo>
                    <a:pt x="453" y="121"/>
                  </a:lnTo>
                  <a:cubicBezTo>
                    <a:pt x="452" y="122"/>
                    <a:pt x="451" y="122"/>
                    <a:pt x="450" y="122"/>
                  </a:cubicBezTo>
                  <a:lnTo>
                    <a:pt x="208" y="110"/>
                  </a:lnTo>
                  <a:lnTo>
                    <a:pt x="135" y="114"/>
                  </a:lnTo>
                  <a:lnTo>
                    <a:pt x="128" y="128"/>
                  </a:lnTo>
                  <a:lnTo>
                    <a:pt x="112" y="210"/>
                  </a:lnTo>
                  <a:lnTo>
                    <a:pt x="155" y="261"/>
                  </a:lnTo>
                  <a:lnTo>
                    <a:pt x="185" y="261"/>
                  </a:lnTo>
                  <a:lnTo>
                    <a:pt x="230" y="220"/>
                  </a:lnTo>
                  <a:cubicBezTo>
                    <a:pt x="231" y="219"/>
                    <a:pt x="232" y="219"/>
                    <a:pt x="234" y="219"/>
                  </a:cubicBezTo>
                  <a:lnTo>
                    <a:pt x="264" y="223"/>
                  </a:lnTo>
                  <a:lnTo>
                    <a:pt x="267" y="214"/>
                  </a:lnTo>
                  <a:cubicBezTo>
                    <a:pt x="268" y="212"/>
                    <a:pt x="270" y="211"/>
                    <a:pt x="271" y="210"/>
                  </a:cubicBezTo>
                  <a:lnTo>
                    <a:pt x="331" y="206"/>
                  </a:lnTo>
                  <a:lnTo>
                    <a:pt x="354" y="186"/>
                  </a:lnTo>
                  <a:cubicBezTo>
                    <a:pt x="354" y="185"/>
                    <a:pt x="355" y="185"/>
                    <a:pt x="357" y="185"/>
                  </a:cubicBezTo>
                  <a:lnTo>
                    <a:pt x="379" y="189"/>
                  </a:lnTo>
                  <a:cubicBezTo>
                    <a:pt x="381" y="190"/>
                    <a:pt x="382" y="191"/>
                    <a:pt x="382" y="193"/>
                  </a:cubicBezTo>
                  <a:lnTo>
                    <a:pt x="387" y="223"/>
                  </a:lnTo>
                  <a:cubicBezTo>
                    <a:pt x="387" y="224"/>
                    <a:pt x="386" y="225"/>
                    <a:pt x="386" y="226"/>
                  </a:cubicBezTo>
                  <a:cubicBezTo>
                    <a:pt x="385" y="227"/>
                    <a:pt x="384" y="228"/>
                    <a:pt x="382" y="228"/>
                  </a:cubicBezTo>
                  <a:lnTo>
                    <a:pt x="338" y="232"/>
                  </a:lnTo>
                  <a:lnTo>
                    <a:pt x="296" y="281"/>
                  </a:lnTo>
                  <a:lnTo>
                    <a:pt x="240" y="304"/>
                  </a:lnTo>
                  <a:lnTo>
                    <a:pt x="223" y="302"/>
                  </a:lnTo>
                  <a:lnTo>
                    <a:pt x="305" y="411"/>
                  </a:lnTo>
                  <a:cubicBezTo>
                    <a:pt x="306" y="412"/>
                    <a:pt x="306" y="414"/>
                    <a:pt x="306" y="416"/>
                  </a:cubicBezTo>
                  <a:lnTo>
                    <a:pt x="294" y="447"/>
                  </a:lnTo>
                  <a:lnTo>
                    <a:pt x="317" y="482"/>
                  </a:lnTo>
                  <a:lnTo>
                    <a:pt x="332" y="486"/>
                  </a:lnTo>
                  <a:cubicBezTo>
                    <a:pt x="334" y="486"/>
                    <a:pt x="336" y="488"/>
                    <a:pt x="336" y="490"/>
                  </a:cubicBezTo>
                  <a:lnTo>
                    <a:pt x="336" y="507"/>
                  </a:lnTo>
                  <a:cubicBezTo>
                    <a:pt x="336" y="509"/>
                    <a:pt x="335" y="511"/>
                    <a:pt x="333" y="511"/>
                  </a:cubicBezTo>
                  <a:lnTo>
                    <a:pt x="282" y="528"/>
                  </a:lnTo>
                  <a:lnTo>
                    <a:pt x="258" y="553"/>
                  </a:lnTo>
                  <a:cubicBezTo>
                    <a:pt x="257" y="553"/>
                    <a:pt x="256" y="554"/>
                    <a:pt x="255" y="554"/>
                  </a:cubicBezTo>
                  <a:lnTo>
                    <a:pt x="234" y="554"/>
                  </a:lnTo>
                  <a:cubicBezTo>
                    <a:pt x="231" y="554"/>
                    <a:pt x="229" y="552"/>
                    <a:pt x="229" y="550"/>
                  </a:cubicBezTo>
                  <a:lnTo>
                    <a:pt x="225" y="492"/>
                  </a:lnTo>
                  <a:lnTo>
                    <a:pt x="184" y="451"/>
                  </a:lnTo>
                  <a:lnTo>
                    <a:pt x="170" y="429"/>
                  </a:lnTo>
                  <a:cubicBezTo>
                    <a:pt x="170" y="428"/>
                    <a:pt x="169" y="427"/>
                    <a:pt x="170" y="425"/>
                  </a:cubicBezTo>
                  <a:lnTo>
                    <a:pt x="182" y="378"/>
                  </a:lnTo>
                  <a:lnTo>
                    <a:pt x="166" y="369"/>
                  </a:lnTo>
                  <a:lnTo>
                    <a:pt x="125" y="407"/>
                  </a:lnTo>
                  <a:lnTo>
                    <a:pt x="132" y="425"/>
                  </a:lnTo>
                  <a:lnTo>
                    <a:pt x="137" y="608"/>
                  </a:lnTo>
                  <a:cubicBezTo>
                    <a:pt x="137" y="611"/>
                    <a:pt x="135" y="613"/>
                    <a:pt x="133" y="613"/>
                  </a:cubicBezTo>
                  <a:lnTo>
                    <a:pt x="68" y="622"/>
                  </a:lnTo>
                  <a:cubicBezTo>
                    <a:pt x="67" y="622"/>
                    <a:pt x="66" y="621"/>
                    <a:pt x="65" y="62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5" name="Freeform 630"/>
            <p:cNvSpPr>
              <a:spLocks noChangeArrowheads="1"/>
            </p:cNvSpPr>
            <p:nvPr/>
          </p:nvSpPr>
          <p:spPr bwMode="auto">
            <a:xfrm>
              <a:off x="7815263" y="3686175"/>
              <a:ext cx="192087" cy="223838"/>
            </a:xfrm>
            <a:custGeom>
              <a:avLst/>
              <a:gdLst/>
              <a:ahLst/>
              <a:cxnLst>
                <a:cxn ang="0">
                  <a:pos x="65" y="620"/>
                </a:cxn>
                <a:cxn ang="0">
                  <a:pos x="38" y="586"/>
                </a:cxn>
                <a:cxn ang="0">
                  <a:pos x="52" y="440"/>
                </a:cxn>
                <a:cxn ang="0">
                  <a:pos x="13" y="440"/>
                </a:cxn>
                <a:cxn ang="0">
                  <a:pos x="39" y="298"/>
                </a:cxn>
                <a:cxn ang="0">
                  <a:pos x="72" y="193"/>
                </a:cxn>
                <a:cxn ang="0">
                  <a:pos x="94" y="86"/>
                </a:cxn>
                <a:cxn ang="0">
                  <a:pos x="119" y="71"/>
                </a:cxn>
                <a:cxn ang="0">
                  <a:pos x="157" y="44"/>
                </a:cxn>
                <a:cxn ang="0">
                  <a:pos x="186" y="34"/>
                </a:cxn>
                <a:cxn ang="0">
                  <a:pos x="420" y="71"/>
                </a:cxn>
                <a:cxn ang="0">
                  <a:pos x="513" y="0"/>
                </a:cxn>
                <a:cxn ang="0">
                  <a:pos x="518" y="3"/>
                </a:cxn>
                <a:cxn ang="0">
                  <a:pos x="529" y="36"/>
                </a:cxn>
                <a:cxn ang="0">
                  <a:pos x="450" y="122"/>
                </a:cxn>
                <a:cxn ang="0">
                  <a:pos x="135" y="114"/>
                </a:cxn>
                <a:cxn ang="0">
                  <a:pos x="112" y="210"/>
                </a:cxn>
                <a:cxn ang="0">
                  <a:pos x="185" y="261"/>
                </a:cxn>
                <a:cxn ang="0">
                  <a:pos x="234" y="219"/>
                </a:cxn>
                <a:cxn ang="0">
                  <a:pos x="267" y="214"/>
                </a:cxn>
                <a:cxn ang="0">
                  <a:pos x="331" y="206"/>
                </a:cxn>
                <a:cxn ang="0">
                  <a:pos x="357" y="185"/>
                </a:cxn>
                <a:cxn ang="0">
                  <a:pos x="382" y="193"/>
                </a:cxn>
                <a:cxn ang="0">
                  <a:pos x="386" y="226"/>
                </a:cxn>
                <a:cxn ang="0">
                  <a:pos x="338" y="232"/>
                </a:cxn>
                <a:cxn ang="0">
                  <a:pos x="240" y="304"/>
                </a:cxn>
                <a:cxn ang="0">
                  <a:pos x="305" y="411"/>
                </a:cxn>
                <a:cxn ang="0">
                  <a:pos x="294" y="447"/>
                </a:cxn>
                <a:cxn ang="0">
                  <a:pos x="332" y="486"/>
                </a:cxn>
                <a:cxn ang="0">
                  <a:pos x="336" y="507"/>
                </a:cxn>
                <a:cxn ang="0">
                  <a:pos x="282" y="528"/>
                </a:cxn>
                <a:cxn ang="0">
                  <a:pos x="255" y="554"/>
                </a:cxn>
                <a:cxn ang="0">
                  <a:pos x="229" y="550"/>
                </a:cxn>
                <a:cxn ang="0">
                  <a:pos x="184" y="451"/>
                </a:cxn>
                <a:cxn ang="0">
                  <a:pos x="170" y="425"/>
                </a:cxn>
                <a:cxn ang="0">
                  <a:pos x="166" y="369"/>
                </a:cxn>
                <a:cxn ang="0">
                  <a:pos x="132" y="425"/>
                </a:cxn>
                <a:cxn ang="0">
                  <a:pos x="133" y="613"/>
                </a:cxn>
              </a:cxnLst>
              <a:rect l="0" t="0" r="r" b="b"/>
              <a:pathLst>
                <a:path w="532" h="623">
                  <a:moveTo>
                    <a:pt x="68" y="622"/>
                  </a:moveTo>
                  <a:cubicBezTo>
                    <a:pt x="67" y="622"/>
                    <a:pt x="66" y="621"/>
                    <a:pt x="65" y="620"/>
                  </a:cubicBezTo>
                  <a:lnTo>
                    <a:pt x="39" y="591"/>
                  </a:lnTo>
                  <a:cubicBezTo>
                    <a:pt x="38" y="589"/>
                    <a:pt x="38" y="588"/>
                    <a:pt x="38" y="586"/>
                  </a:cubicBezTo>
                  <a:lnTo>
                    <a:pt x="64" y="485"/>
                  </a:lnTo>
                  <a:lnTo>
                    <a:pt x="52" y="440"/>
                  </a:lnTo>
                  <a:lnTo>
                    <a:pt x="18" y="444"/>
                  </a:lnTo>
                  <a:cubicBezTo>
                    <a:pt x="15" y="444"/>
                    <a:pt x="13" y="442"/>
                    <a:pt x="13" y="440"/>
                  </a:cubicBezTo>
                  <a:lnTo>
                    <a:pt x="0" y="372"/>
                  </a:lnTo>
                  <a:lnTo>
                    <a:pt x="39" y="298"/>
                  </a:lnTo>
                  <a:lnTo>
                    <a:pt x="38" y="253"/>
                  </a:lnTo>
                  <a:lnTo>
                    <a:pt x="72" y="193"/>
                  </a:lnTo>
                  <a:lnTo>
                    <a:pt x="64" y="152"/>
                  </a:lnTo>
                  <a:lnTo>
                    <a:pt x="94" y="86"/>
                  </a:lnTo>
                  <a:lnTo>
                    <a:pt x="117" y="71"/>
                  </a:lnTo>
                  <a:cubicBezTo>
                    <a:pt x="118" y="71"/>
                    <a:pt x="118" y="71"/>
                    <a:pt x="119" y="71"/>
                  </a:cubicBezTo>
                  <a:lnTo>
                    <a:pt x="142" y="74"/>
                  </a:lnTo>
                  <a:lnTo>
                    <a:pt x="157" y="44"/>
                  </a:lnTo>
                  <a:cubicBezTo>
                    <a:pt x="158" y="43"/>
                    <a:pt x="159" y="42"/>
                    <a:pt x="160" y="41"/>
                  </a:cubicBezTo>
                  <a:lnTo>
                    <a:pt x="186" y="34"/>
                  </a:lnTo>
                  <a:lnTo>
                    <a:pt x="337" y="71"/>
                  </a:lnTo>
                  <a:lnTo>
                    <a:pt x="420" y="71"/>
                  </a:lnTo>
                  <a:lnTo>
                    <a:pt x="510" y="1"/>
                  </a:lnTo>
                  <a:cubicBezTo>
                    <a:pt x="511" y="0"/>
                    <a:pt x="512" y="0"/>
                    <a:pt x="513" y="0"/>
                  </a:cubicBezTo>
                  <a:cubicBezTo>
                    <a:pt x="514" y="0"/>
                    <a:pt x="514" y="0"/>
                    <a:pt x="514" y="0"/>
                  </a:cubicBezTo>
                  <a:cubicBezTo>
                    <a:pt x="516" y="0"/>
                    <a:pt x="517" y="1"/>
                    <a:pt x="518" y="3"/>
                  </a:cubicBezTo>
                  <a:lnTo>
                    <a:pt x="530" y="32"/>
                  </a:lnTo>
                  <a:cubicBezTo>
                    <a:pt x="531" y="34"/>
                    <a:pt x="531" y="36"/>
                    <a:pt x="529" y="36"/>
                  </a:cubicBezTo>
                  <a:lnTo>
                    <a:pt x="453" y="121"/>
                  </a:lnTo>
                  <a:cubicBezTo>
                    <a:pt x="452" y="122"/>
                    <a:pt x="451" y="122"/>
                    <a:pt x="450" y="122"/>
                  </a:cubicBezTo>
                  <a:lnTo>
                    <a:pt x="208" y="110"/>
                  </a:lnTo>
                  <a:lnTo>
                    <a:pt x="135" y="114"/>
                  </a:lnTo>
                  <a:lnTo>
                    <a:pt x="128" y="128"/>
                  </a:lnTo>
                  <a:lnTo>
                    <a:pt x="112" y="210"/>
                  </a:lnTo>
                  <a:lnTo>
                    <a:pt x="155" y="261"/>
                  </a:lnTo>
                  <a:lnTo>
                    <a:pt x="185" y="261"/>
                  </a:lnTo>
                  <a:lnTo>
                    <a:pt x="230" y="220"/>
                  </a:lnTo>
                  <a:cubicBezTo>
                    <a:pt x="231" y="219"/>
                    <a:pt x="232" y="219"/>
                    <a:pt x="234" y="219"/>
                  </a:cubicBezTo>
                  <a:lnTo>
                    <a:pt x="264" y="223"/>
                  </a:lnTo>
                  <a:lnTo>
                    <a:pt x="267" y="214"/>
                  </a:lnTo>
                  <a:cubicBezTo>
                    <a:pt x="268" y="212"/>
                    <a:pt x="270" y="211"/>
                    <a:pt x="271" y="210"/>
                  </a:cubicBezTo>
                  <a:lnTo>
                    <a:pt x="331" y="206"/>
                  </a:lnTo>
                  <a:lnTo>
                    <a:pt x="354" y="186"/>
                  </a:lnTo>
                  <a:cubicBezTo>
                    <a:pt x="354" y="185"/>
                    <a:pt x="355" y="185"/>
                    <a:pt x="357" y="185"/>
                  </a:cubicBezTo>
                  <a:lnTo>
                    <a:pt x="379" y="189"/>
                  </a:lnTo>
                  <a:cubicBezTo>
                    <a:pt x="381" y="190"/>
                    <a:pt x="382" y="191"/>
                    <a:pt x="382" y="193"/>
                  </a:cubicBezTo>
                  <a:lnTo>
                    <a:pt x="387" y="223"/>
                  </a:lnTo>
                  <a:cubicBezTo>
                    <a:pt x="387" y="224"/>
                    <a:pt x="386" y="225"/>
                    <a:pt x="386" y="226"/>
                  </a:cubicBezTo>
                  <a:cubicBezTo>
                    <a:pt x="385" y="227"/>
                    <a:pt x="384" y="228"/>
                    <a:pt x="382" y="228"/>
                  </a:cubicBezTo>
                  <a:lnTo>
                    <a:pt x="338" y="232"/>
                  </a:lnTo>
                  <a:lnTo>
                    <a:pt x="296" y="281"/>
                  </a:lnTo>
                  <a:lnTo>
                    <a:pt x="240" y="304"/>
                  </a:lnTo>
                  <a:lnTo>
                    <a:pt x="223" y="302"/>
                  </a:lnTo>
                  <a:lnTo>
                    <a:pt x="305" y="411"/>
                  </a:lnTo>
                  <a:cubicBezTo>
                    <a:pt x="306" y="412"/>
                    <a:pt x="306" y="414"/>
                    <a:pt x="306" y="416"/>
                  </a:cubicBezTo>
                  <a:lnTo>
                    <a:pt x="294" y="447"/>
                  </a:lnTo>
                  <a:lnTo>
                    <a:pt x="317" y="482"/>
                  </a:lnTo>
                  <a:lnTo>
                    <a:pt x="332" y="486"/>
                  </a:lnTo>
                  <a:cubicBezTo>
                    <a:pt x="334" y="486"/>
                    <a:pt x="336" y="488"/>
                    <a:pt x="336" y="490"/>
                  </a:cubicBezTo>
                  <a:lnTo>
                    <a:pt x="336" y="507"/>
                  </a:lnTo>
                  <a:cubicBezTo>
                    <a:pt x="336" y="509"/>
                    <a:pt x="335" y="511"/>
                    <a:pt x="333" y="511"/>
                  </a:cubicBezTo>
                  <a:lnTo>
                    <a:pt x="282" y="528"/>
                  </a:lnTo>
                  <a:lnTo>
                    <a:pt x="258" y="553"/>
                  </a:lnTo>
                  <a:cubicBezTo>
                    <a:pt x="257" y="553"/>
                    <a:pt x="256" y="554"/>
                    <a:pt x="255" y="554"/>
                  </a:cubicBezTo>
                  <a:lnTo>
                    <a:pt x="234" y="554"/>
                  </a:lnTo>
                  <a:cubicBezTo>
                    <a:pt x="231" y="554"/>
                    <a:pt x="229" y="552"/>
                    <a:pt x="229" y="550"/>
                  </a:cubicBezTo>
                  <a:lnTo>
                    <a:pt x="225" y="492"/>
                  </a:lnTo>
                  <a:lnTo>
                    <a:pt x="184" y="451"/>
                  </a:lnTo>
                  <a:lnTo>
                    <a:pt x="170" y="429"/>
                  </a:lnTo>
                  <a:cubicBezTo>
                    <a:pt x="170" y="428"/>
                    <a:pt x="169" y="427"/>
                    <a:pt x="170" y="425"/>
                  </a:cubicBezTo>
                  <a:lnTo>
                    <a:pt x="182" y="378"/>
                  </a:lnTo>
                  <a:lnTo>
                    <a:pt x="166" y="369"/>
                  </a:lnTo>
                  <a:lnTo>
                    <a:pt x="125" y="407"/>
                  </a:lnTo>
                  <a:lnTo>
                    <a:pt x="132" y="425"/>
                  </a:lnTo>
                  <a:lnTo>
                    <a:pt x="137" y="608"/>
                  </a:lnTo>
                  <a:cubicBezTo>
                    <a:pt x="137" y="611"/>
                    <a:pt x="135" y="613"/>
                    <a:pt x="133" y="613"/>
                  </a:cubicBezTo>
                  <a:lnTo>
                    <a:pt x="68" y="62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6" name="Freeform 631"/>
            <p:cNvSpPr>
              <a:spLocks noChangeArrowheads="1"/>
            </p:cNvSpPr>
            <p:nvPr/>
          </p:nvSpPr>
          <p:spPr bwMode="auto">
            <a:xfrm>
              <a:off x="7704138" y="3941763"/>
              <a:ext cx="12700" cy="9525"/>
            </a:xfrm>
            <a:custGeom>
              <a:avLst/>
              <a:gdLst/>
              <a:ahLst/>
              <a:cxnLst>
                <a:cxn ang="0">
                  <a:pos x="17" y="26"/>
                </a:cxn>
                <a:cxn ang="0">
                  <a:pos x="14" y="24"/>
                </a:cxn>
                <a:cxn ang="0">
                  <a:pos x="1" y="7"/>
                </a:cxn>
                <a:cxn ang="0">
                  <a:pos x="1" y="2"/>
                </a:cxn>
                <a:cxn ang="0">
                  <a:pos x="5" y="0"/>
                </a:cxn>
                <a:cxn ang="0">
                  <a:pos x="31" y="4"/>
                </a:cxn>
                <a:cxn ang="0">
                  <a:pos x="35" y="7"/>
                </a:cxn>
                <a:cxn ang="0">
                  <a:pos x="34" y="12"/>
                </a:cxn>
                <a:cxn ang="0">
                  <a:pos x="21" y="25"/>
                </a:cxn>
                <a:cxn ang="0">
                  <a:pos x="17" y="26"/>
                </a:cxn>
              </a:cxnLst>
              <a:rect l="0" t="0" r="r" b="b"/>
              <a:pathLst>
                <a:path w="36" h="27">
                  <a:moveTo>
                    <a:pt x="17" y="26"/>
                  </a:moveTo>
                  <a:cubicBezTo>
                    <a:pt x="16" y="26"/>
                    <a:pt x="15" y="25"/>
                    <a:pt x="14" y="24"/>
                  </a:cubicBezTo>
                  <a:lnTo>
                    <a:pt x="1" y="7"/>
                  </a:lnTo>
                  <a:cubicBezTo>
                    <a:pt x="0" y="6"/>
                    <a:pt x="0" y="4"/>
                    <a:pt x="1" y="2"/>
                  </a:cubicBezTo>
                  <a:cubicBezTo>
                    <a:pt x="2" y="0"/>
                    <a:pt x="3" y="0"/>
                    <a:pt x="5" y="0"/>
                  </a:cubicBezTo>
                  <a:lnTo>
                    <a:pt x="31" y="4"/>
                  </a:lnTo>
                  <a:cubicBezTo>
                    <a:pt x="33" y="4"/>
                    <a:pt x="34" y="5"/>
                    <a:pt x="35" y="7"/>
                  </a:cubicBezTo>
                  <a:cubicBezTo>
                    <a:pt x="35" y="9"/>
                    <a:pt x="35" y="11"/>
                    <a:pt x="34" y="12"/>
                  </a:cubicBezTo>
                  <a:lnTo>
                    <a:pt x="21" y="25"/>
                  </a:lnTo>
                  <a:cubicBezTo>
                    <a:pt x="20" y="25"/>
                    <a:pt x="19" y="26"/>
                    <a:pt x="17" y="26"/>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7" name="Freeform 632"/>
            <p:cNvSpPr>
              <a:spLocks noChangeArrowheads="1"/>
            </p:cNvSpPr>
            <p:nvPr/>
          </p:nvSpPr>
          <p:spPr bwMode="auto">
            <a:xfrm>
              <a:off x="7704138" y="3941763"/>
              <a:ext cx="12700" cy="9525"/>
            </a:xfrm>
            <a:custGeom>
              <a:avLst/>
              <a:gdLst/>
              <a:ahLst/>
              <a:cxnLst>
                <a:cxn ang="0">
                  <a:pos x="17" y="26"/>
                </a:cxn>
                <a:cxn ang="0">
                  <a:pos x="14" y="24"/>
                </a:cxn>
                <a:cxn ang="0">
                  <a:pos x="1" y="7"/>
                </a:cxn>
                <a:cxn ang="0">
                  <a:pos x="1" y="2"/>
                </a:cxn>
                <a:cxn ang="0">
                  <a:pos x="5" y="0"/>
                </a:cxn>
                <a:cxn ang="0">
                  <a:pos x="31" y="4"/>
                </a:cxn>
                <a:cxn ang="0">
                  <a:pos x="35" y="7"/>
                </a:cxn>
                <a:cxn ang="0">
                  <a:pos x="34" y="12"/>
                </a:cxn>
                <a:cxn ang="0">
                  <a:pos x="21" y="25"/>
                </a:cxn>
                <a:cxn ang="0">
                  <a:pos x="17" y="26"/>
                </a:cxn>
              </a:cxnLst>
              <a:rect l="0" t="0" r="r" b="b"/>
              <a:pathLst>
                <a:path w="36" h="27">
                  <a:moveTo>
                    <a:pt x="17" y="26"/>
                  </a:moveTo>
                  <a:cubicBezTo>
                    <a:pt x="16" y="26"/>
                    <a:pt x="15" y="25"/>
                    <a:pt x="14" y="24"/>
                  </a:cubicBezTo>
                  <a:lnTo>
                    <a:pt x="1" y="7"/>
                  </a:lnTo>
                  <a:cubicBezTo>
                    <a:pt x="0" y="6"/>
                    <a:pt x="0" y="4"/>
                    <a:pt x="1" y="2"/>
                  </a:cubicBezTo>
                  <a:cubicBezTo>
                    <a:pt x="2" y="0"/>
                    <a:pt x="3" y="0"/>
                    <a:pt x="5" y="0"/>
                  </a:cubicBezTo>
                  <a:lnTo>
                    <a:pt x="31" y="4"/>
                  </a:lnTo>
                  <a:cubicBezTo>
                    <a:pt x="33" y="4"/>
                    <a:pt x="34" y="5"/>
                    <a:pt x="35" y="7"/>
                  </a:cubicBezTo>
                  <a:cubicBezTo>
                    <a:pt x="35" y="9"/>
                    <a:pt x="35" y="11"/>
                    <a:pt x="34" y="12"/>
                  </a:cubicBezTo>
                  <a:lnTo>
                    <a:pt x="21" y="25"/>
                  </a:lnTo>
                  <a:cubicBezTo>
                    <a:pt x="20" y="25"/>
                    <a:pt x="19" y="26"/>
                    <a:pt x="17" y="2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8" name="Freeform 633"/>
            <p:cNvSpPr>
              <a:spLocks noChangeArrowheads="1"/>
            </p:cNvSpPr>
            <p:nvPr/>
          </p:nvSpPr>
          <p:spPr bwMode="auto">
            <a:xfrm>
              <a:off x="7629525" y="3943350"/>
              <a:ext cx="42863" cy="12700"/>
            </a:xfrm>
            <a:custGeom>
              <a:avLst/>
              <a:gdLst/>
              <a:ahLst/>
              <a:cxnLst>
                <a:cxn ang="0">
                  <a:pos x="17" y="30"/>
                </a:cxn>
                <a:cxn ang="0">
                  <a:pos x="14" y="28"/>
                </a:cxn>
                <a:cxn ang="0">
                  <a:pos x="2" y="12"/>
                </a:cxn>
                <a:cxn ang="0">
                  <a:pos x="1" y="7"/>
                </a:cxn>
                <a:cxn ang="0">
                  <a:pos x="5" y="4"/>
                </a:cxn>
                <a:cxn ang="0">
                  <a:pos x="103" y="0"/>
                </a:cxn>
                <a:cxn ang="0">
                  <a:pos x="107" y="2"/>
                </a:cxn>
                <a:cxn ang="0">
                  <a:pos x="115" y="19"/>
                </a:cxn>
                <a:cxn ang="0">
                  <a:pos x="115" y="24"/>
                </a:cxn>
                <a:cxn ang="0">
                  <a:pos x="112" y="26"/>
                </a:cxn>
                <a:cxn ang="0">
                  <a:pos x="64" y="35"/>
                </a:cxn>
                <a:cxn ang="0">
                  <a:pos x="17" y="30"/>
                </a:cxn>
              </a:cxnLst>
              <a:rect l="0" t="0" r="r" b="b"/>
              <a:pathLst>
                <a:path w="117" h="36">
                  <a:moveTo>
                    <a:pt x="17" y="30"/>
                  </a:moveTo>
                  <a:cubicBezTo>
                    <a:pt x="16" y="30"/>
                    <a:pt x="15" y="30"/>
                    <a:pt x="14" y="28"/>
                  </a:cubicBezTo>
                  <a:lnTo>
                    <a:pt x="2" y="12"/>
                  </a:lnTo>
                  <a:cubicBezTo>
                    <a:pt x="0" y="10"/>
                    <a:pt x="0" y="8"/>
                    <a:pt x="1" y="7"/>
                  </a:cubicBezTo>
                  <a:cubicBezTo>
                    <a:pt x="2" y="5"/>
                    <a:pt x="3" y="4"/>
                    <a:pt x="5" y="4"/>
                  </a:cubicBezTo>
                  <a:lnTo>
                    <a:pt x="103" y="0"/>
                  </a:lnTo>
                  <a:cubicBezTo>
                    <a:pt x="104" y="0"/>
                    <a:pt x="106" y="1"/>
                    <a:pt x="107" y="2"/>
                  </a:cubicBezTo>
                  <a:lnTo>
                    <a:pt x="115" y="19"/>
                  </a:lnTo>
                  <a:cubicBezTo>
                    <a:pt x="116" y="21"/>
                    <a:pt x="116" y="22"/>
                    <a:pt x="115" y="24"/>
                  </a:cubicBezTo>
                  <a:cubicBezTo>
                    <a:pt x="115" y="25"/>
                    <a:pt x="113" y="26"/>
                    <a:pt x="112" y="26"/>
                  </a:cubicBezTo>
                  <a:cubicBezTo>
                    <a:pt x="112" y="26"/>
                    <a:pt x="65" y="35"/>
                    <a:pt x="64" y="35"/>
                  </a:cubicBezTo>
                  <a:lnTo>
                    <a:pt x="17" y="3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39" name="Freeform 634"/>
            <p:cNvSpPr>
              <a:spLocks noChangeArrowheads="1"/>
            </p:cNvSpPr>
            <p:nvPr/>
          </p:nvSpPr>
          <p:spPr bwMode="auto">
            <a:xfrm>
              <a:off x="7629525" y="3943350"/>
              <a:ext cx="42863" cy="12700"/>
            </a:xfrm>
            <a:custGeom>
              <a:avLst/>
              <a:gdLst/>
              <a:ahLst/>
              <a:cxnLst>
                <a:cxn ang="0">
                  <a:pos x="17" y="30"/>
                </a:cxn>
                <a:cxn ang="0">
                  <a:pos x="14" y="28"/>
                </a:cxn>
                <a:cxn ang="0">
                  <a:pos x="2" y="12"/>
                </a:cxn>
                <a:cxn ang="0">
                  <a:pos x="1" y="7"/>
                </a:cxn>
                <a:cxn ang="0">
                  <a:pos x="5" y="4"/>
                </a:cxn>
                <a:cxn ang="0">
                  <a:pos x="103" y="0"/>
                </a:cxn>
                <a:cxn ang="0">
                  <a:pos x="107" y="2"/>
                </a:cxn>
                <a:cxn ang="0">
                  <a:pos x="115" y="19"/>
                </a:cxn>
                <a:cxn ang="0">
                  <a:pos x="115" y="24"/>
                </a:cxn>
                <a:cxn ang="0">
                  <a:pos x="112" y="26"/>
                </a:cxn>
                <a:cxn ang="0">
                  <a:pos x="64" y="35"/>
                </a:cxn>
                <a:cxn ang="0">
                  <a:pos x="17" y="30"/>
                </a:cxn>
              </a:cxnLst>
              <a:rect l="0" t="0" r="r" b="b"/>
              <a:pathLst>
                <a:path w="117" h="36">
                  <a:moveTo>
                    <a:pt x="17" y="30"/>
                  </a:moveTo>
                  <a:cubicBezTo>
                    <a:pt x="16" y="30"/>
                    <a:pt x="15" y="30"/>
                    <a:pt x="14" y="28"/>
                  </a:cubicBezTo>
                  <a:lnTo>
                    <a:pt x="2" y="12"/>
                  </a:lnTo>
                  <a:cubicBezTo>
                    <a:pt x="0" y="10"/>
                    <a:pt x="0" y="8"/>
                    <a:pt x="1" y="7"/>
                  </a:cubicBezTo>
                  <a:cubicBezTo>
                    <a:pt x="2" y="5"/>
                    <a:pt x="3" y="4"/>
                    <a:pt x="5" y="4"/>
                  </a:cubicBezTo>
                  <a:lnTo>
                    <a:pt x="103" y="0"/>
                  </a:lnTo>
                  <a:cubicBezTo>
                    <a:pt x="104" y="0"/>
                    <a:pt x="106" y="1"/>
                    <a:pt x="107" y="2"/>
                  </a:cubicBezTo>
                  <a:lnTo>
                    <a:pt x="115" y="19"/>
                  </a:lnTo>
                  <a:cubicBezTo>
                    <a:pt x="116" y="21"/>
                    <a:pt x="116" y="22"/>
                    <a:pt x="115" y="24"/>
                  </a:cubicBezTo>
                  <a:cubicBezTo>
                    <a:pt x="115" y="25"/>
                    <a:pt x="113" y="26"/>
                    <a:pt x="112" y="26"/>
                  </a:cubicBezTo>
                  <a:cubicBezTo>
                    <a:pt x="112" y="26"/>
                    <a:pt x="65" y="35"/>
                    <a:pt x="64" y="35"/>
                  </a:cubicBezTo>
                  <a:lnTo>
                    <a:pt x="17" y="3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0" name="Freeform 635"/>
            <p:cNvSpPr>
              <a:spLocks noChangeArrowheads="1"/>
            </p:cNvSpPr>
            <p:nvPr/>
          </p:nvSpPr>
          <p:spPr bwMode="auto">
            <a:xfrm>
              <a:off x="7683500" y="3979863"/>
              <a:ext cx="36513" cy="26987"/>
            </a:xfrm>
            <a:custGeom>
              <a:avLst/>
              <a:gdLst/>
              <a:ahLst/>
              <a:cxnLst>
                <a:cxn ang="0">
                  <a:pos x="64" y="73"/>
                </a:cxn>
                <a:cxn ang="0">
                  <a:pos x="60" y="71"/>
                </a:cxn>
                <a:cxn ang="0">
                  <a:pos x="35" y="35"/>
                </a:cxn>
                <a:cxn ang="0">
                  <a:pos x="3" y="27"/>
                </a:cxn>
                <a:cxn ang="0">
                  <a:pos x="0" y="22"/>
                </a:cxn>
                <a:cxn ang="0">
                  <a:pos x="0" y="5"/>
                </a:cxn>
                <a:cxn ang="0">
                  <a:pos x="5" y="0"/>
                </a:cxn>
                <a:cxn ang="0">
                  <a:pos x="76" y="0"/>
                </a:cxn>
                <a:cxn ang="0">
                  <a:pos x="80" y="2"/>
                </a:cxn>
                <a:cxn ang="0">
                  <a:pos x="97" y="19"/>
                </a:cxn>
                <a:cxn ang="0">
                  <a:pos x="97" y="24"/>
                </a:cxn>
                <a:cxn ang="0">
                  <a:pos x="68" y="71"/>
                </a:cxn>
                <a:cxn ang="0">
                  <a:pos x="64" y="73"/>
                </a:cxn>
              </a:cxnLst>
              <a:rect l="0" t="0" r="r" b="b"/>
              <a:pathLst>
                <a:path w="100" h="74">
                  <a:moveTo>
                    <a:pt x="64" y="73"/>
                  </a:moveTo>
                  <a:cubicBezTo>
                    <a:pt x="62" y="73"/>
                    <a:pt x="61" y="73"/>
                    <a:pt x="60" y="71"/>
                  </a:cubicBezTo>
                  <a:lnTo>
                    <a:pt x="35" y="35"/>
                  </a:lnTo>
                  <a:lnTo>
                    <a:pt x="3" y="27"/>
                  </a:lnTo>
                  <a:cubicBezTo>
                    <a:pt x="1" y="26"/>
                    <a:pt x="0" y="24"/>
                    <a:pt x="0" y="22"/>
                  </a:cubicBezTo>
                  <a:lnTo>
                    <a:pt x="0" y="5"/>
                  </a:lnTo>
                  <a:cubicBezTo>
                    <a:pt x="0" y="3"/>
                    <a:pt x="2" y="0"/>
                    <a:pt x="5" y="0"/>
                  </a:cubicBezTo>
                  <a:lnTo>
                    <a:pt x="76" y="0"/>
                  </a:lnTo>
                  <a:cubicBezTo>
                    <a:pt x="78" y="0"/>
                    <a:pt x="79" y="1"/>
                    <a:pt x="80" y="2"/>
                  </a:cubicBezTo>
                  <a:lnTo>
                    <a:pt x="97" y="19"/>
                  </a:lnTo>
                  <a:cubicBezTo>
                    <a:pt x="98" y="20"/>
                    <a:pt x="99" y="23"/>
                    <a:pt x="97" y="24"/>
                  </a:cubicBezTo>
                  <a:lnTo>
                    <a:pt x="68" y="71"/>
                  </a:lnTo>
                  <a:cubicBezTo>
                    <a:pt x="67" y="72"/>
                    <a:pt x="66" y="73"/>
                    <a:pt x="64" y="7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1" name="Freeform 636"/>
            <p:cNvSpPr>
              <a:spLocks noChangeArrowheads="1"/>
            </p:cNvSpPr>
            <p:nvPr/>
          </p:nvSpPr>
          <p:spPr bwMode="auto">
            <a:xfrm>
              <a:off x="7683500" y="3979863"/>
              <a:ext cx="36513" cy="26987"/>
            </a:xfrm>
            <a:custGeom>
              <a:avLst/>
              <a:gdLst/>
              <a:ahLst/>
              <a:cxnLst>
                <a:cxn ang="0">
                  <a:pos x="64" y="73"/>
                </a:cxn>
                <a:cxn ang="0">
                  <a:pos x="60" y="71"/>
                </a:cxn>
                <a:cxn ang="0">
                  <a:pos x="35" y="35"/>
                </a:cxn>
                <a:cxn ang="0">
                  <a:pos x="3" y="27"/>
                </a:cxn>
                <a:cxn ang="0">
                  <a:pos x="0" y="22"/>
                </a:cxn>
                <a:cxn ang="0">
                  <a:pos x="0" y="5"/>
                </a:cxn>
                <a:cxn ang="0">
                  <a:pos x="5" y="0"/>
                </a:cxn>
                <a:cxn ang="0">
                  <a:pos x="76" y="0"/>
                </a:cxn>
                <a:cxn ang="0">
                  <a:pos x="80" y="2"/>
                </a:cxn>
                <a:cxn ang="0">
                  <a:pos x="97" y="19"/>
                </a:cxn>
                <a:cxn ang="0">
                  <a:pos x="97" y="24"/>
                </a:cxn>
                <a:cxn ang="0">
                  <a:pos x="68" y="71"/>
                </a:cxn>
                <a:cxn ang="0">
                  <a:pos x="64" y="73"/>
                </a:cxn>
              </a:cxnLst>
              <a:rect l="0" t="0" r="r" b="b"/>
              <a:pathLst>
                <a:path w="100" h="74">
                  <a:moveTo>
                    <a:pt x="64" y="73"/>
                  </a:moveTo>
                  <a:cubicBezTo>
                    <a:pt x="62" y="73"/>
                    <a:pt x="61" y="73"/>
                    <a:pt x="60" y="71"/>
                  </a:cubicBezTo>
                  <a:lnTo>
                    <a:pt x="35" y="35"/>
                  </a:lnTo>
                  <a:lnTo>
                    <a:pt x="3" y="27"/>
                  </a:lnTo>
                  <a:cubicBezTo>
                    <a:pt x="1" y="26"/>
                    <a:pt x="0" y="24"/>
                    <a:pt x="0" y="22"/>
                  </a:cubicBezTo>
                  <a:lnTo>
                    <a:pt x="0" y="5"/>
                  </a:lnTo>
                  <a:cubicBezTo>
                    <a:pt x="0" y="3"/>
                    <a:pt x="2" y="0"/>
                    <a:pt x="5" y="0"/>
                  </a:cubicBezTo>
                  <a:lnTo>
                    <a:pt x="76" y="0"/>
                  </a:lnTo>
                  <a:cubicBezTo>
                    <a:pt x="78" y="0"/>
                    <a:pt x="79" y="1"/>
                    <a:pt x="80" y="2"/>
                  </a:cubicBezTo>
                  <a:lnTo>
                    <a:pt x="97" y="19"/>
                  </a:lnTo>
                  <a:cubicBezTo>
                    <a:pt x="98" y="20"/>
                    <a:pt x="99" y="23"/>
                    <a:pt x="97" y="24"/>
                  </a:cubicBezTo>
                  <a:lnTo>
                    <a:pt x="68" y="71"/>
                  </a:lnTo>
                  <a:cubicBezTo>
                    <a:pt x="67" y="72"/>
                    <a:pt x="66" y="73"/>
                    <a:pt x="64" y="7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2" name="Freeform 637"/>
            <p:cNvSpPr>
              <a:spLocks noChangeArrowheads="1"/>
            </p:cNvSpPr>
            <p:nvPr/>
          </p:nvSpPr>
          <p:spPr bwMode="auto">
            <a:xfrm>
              <a:off x="7726363" y="3983038"/>
              <a:ext cx="26987" cy="25400"/>
            </a:xfrm>
            <a:custGeom>
              <a:avLst/>
              <a:gdLst/>
              <a:ahLst/>
              <a:cxnLst>
                <a:cxn ang="0">
                  <a:pos x="5" y="68"/>
                </a:cxn>
                <a:cxn ang="0">
                  <a:pos x="2" y="67"/>
                </a:cxn>
                <a:cxn ang="0">
                  <a:pos x="1" y="63"/>
                </a:cxn>
                <a:cxn ang="0">
                  <a:pos x="9" y="25"/>
                </a:cxn>
                <a:cxn ang="0">
                  <a:pos x="31" y="1"/>
                </a:cxn>
                <a:cxn ang="0">
                  <a:pos x="35" y="0"/>
                </a:cxn>
                <a:cxn ang="0">
                  <a:pos x="36" y="0"/>
                </a:cxn>
                <a:cxn ang="0">
                  <a:pos x="70" y="13"/>
                </a:cxn>
                <a:cxn ang="0">
                  <a:pos x="73" y="18"/>
                </a:cxn>
                <a:cxn ang="0">
                  <a:pos x="65" y="65"/>
                </a:cxn>
                <a:cxn ang="0">
                  <a:pos x="60" y="68"/>
                </a:cxn>
                <a:cxn ang="0">
                  <a:pos x="5" y="68"/>
                </a:cxn>
              </a:cxnLst>
              <a:rect l="0" t="0" r="r" b="b"/>
              <a:pathLst>
                <a:path w="75" h="69">
                  <a:moveTo>
                    <a:pt x="5" y="68"/>
                  </a:moveTo>
                  <a:cubicBezTo>
                    <a:pt x="4" y="68"/>
                    <a:pt x="2" y="68"/>
                    <a:pt x="2" y="67"/>
                  </a:cubicBezTo>
                  <a:cubicBezTo>
                    <a:pt x="1" y="66"/>
                    <a:pt x="0" y="64"/>
                    <a:pt x="1" y="63"/>
                  </a:cubicBezTo>
                  <a:lnTo>
                    <a:pt x="9" y="25"/>
                  </a:lnTo>
                  <a:lnTo>
                    <a:pt x="31" y="1"/>
                  </a:lnTo>
                  <a:cubicBezTo>
                    <a:pt x="32" y="0"/>
                    <a:pt x="34" y="0"/>
                    <a:pt x="35" y="0"/>
                  </a:cubicBezTo>
                  <a:lnTo>
                    <a:pt x="36" y="0"/>
                  </a:lnTo>
                  <a:lnTo>
                    <a:pt x="70" y="13"/>
                  </a:lnTo>
                  <a:cubicBezTo>
                    <a:pt x="73" y="14"/>
                    <a:pt x="74" y="16"/>
                    <a:pt x="73" y="18"/>
                  </a:cubicBezTo>
                  <a:lnTo>
                    <a:pt x="65" y="65"/>
                  </a:lnTo>
                  <a:cubicBezTo>
                    <a:pt x="64" y="67"/>
                    <a:pt x="62" y="68"/>
                    <a:pt x="60" y="68"/>
                  </a:cubicBezTo>
                  <a:lnTo>
                    <a:pt x="5" y="68"/>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3" name="Freeform 638"/>
            <p:cNvSpPr>
              <a:spLocks noChangeArrowheads="1"/>
            </p:cNvSpPr>
            <p:nvPr/>
          </p:nvSpPr>
          <p:spPr bwMode="auto">
            <a:xfrm>
              <a:off x="7726363" y="3983038"/>
              <a:ext cx="26987" cy="25400"/>
            </a:xfrm>
            <a:custGeom>
              <a:avLst/>
              <a:gdLst/>
              <a:ahLst/>
              <a:cxnLst>
                <a:cxn ang="0">
                  <a:pos x="5" y="68"/>
                </a:cxn>
                <a:cxn ang="0">
                  <a:pos x="2" y="67"/>
                </a:cxn>
                <a:cxn ang="0">
                  <a:pos x="1" y="63"/>
                </a:cxn>
                <a:cxn ang="0">
                  <a:pos x="9" y="25"/>
                </a:cxn>
                <a:cxn ang="0">
                  <a:pos x="31" y="1"/>
                </a:cxn>
                <a:cxn ang="0">
                  <a:pos x="35" y="0"/>
                </a:cxn>
                <a:cxn ang="0">
                  <a:pos x="36" y="0"/>
                </a:cxn>
                <a:cxn ang="0">
                  <a:pos x="70" y="13"/>
                </a:cxn>
                <a:cxn ang="0">
                  <a:pos x="73" y="18"/>
                </a:cxn>
                <a:cxn ang="0">
                  <a:pos x="65" y="65"/>
                </a:cxn>
                <a:cxn ang="0">
                  <a:pos x="60" y="68"/>
                </a:cxn>
                <a:cxn ang="0">
                  <a:pos x="5" y="68"/>
                </a:cxn>
              </a:cxnLst>
              <a:rect l="0" t="0" r="r" b="b"/>
              <a:pathLst>
                <a:path w="75" h="69">
                  <a:moveTo>
                    <a:pt x="5" y="68"/>
                  </a:moveTo>
                  <a:cubicBezTo>
                    <a:pt x="4" y="68"/>
                    <a:pt x="2" y="68"/>
                    <a:pt x="2" y="67"/>
                  </a:cubicBezTo>
                  <a:cubicBezTo>
                    <a:pt x="1" y="66"/>
                    <a:pt x="0" y="64"/>
                    <a:pt x="1" y="63"/>
                  </a:cubicBezTo>
                  <a:lnTo>
                    <a:pt x="9" y="25"/>
                  </a:lnTo>
                  <a:lnTo>
                    <a:pt x="31" y="1"/>
                  </a:lnTo>
                  <a:cubicBezTo>
                    <a:pt x="32" y="0"/>
                    <a:pt x="34" y="0"/>
                    <a:pt x="35" y="0"/>
                  </a:cubicBezTo>
                  <a:lnTo>
                    <a:pt x="36" y="0"/>
                  </a:lnTo>
                  <a:lnTo>
                    <a:pt x="70" y="13"/>
                  </a:lnTo>
                  <a:cubicBezTo>
                    <a:pt x="73" y="14"/>
                    <a:pt x="74" y="16"/>
                    <a:pt x="73" y="18"/>
                  </a:cubicBezTo>
                  <a:lnTo>
                    <a:pt x="65" y="65"/>
                  </a:lnTo>
                  <a:cubicBezTo>
                    <a:pt x="64" y="67"/>
                    <a:pt x="62" y="68"/>
                    <a:pt x="60" y="68"/>
                  </a:cubicBezTo>
                  <a:lnTo>
                    <a:pt x="5" y="6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4" name="Freeform 639"/>
            <p:cNvSpPr>
              <a:spLocks noChangeArrowheads="1"/>
            </p:cNvSpPr>
            <p:nvPr/>
          </p:nvSpPr>
          <p:spPr bwMode="auto">
            <a:xfrm>
              <a:off x="7750175" y="3979863"/>
              <a:ext cx="76200" cy="34925"/>
            </a:xfrm>
            <a:custGeom>
              <a:avLst/>
              <a:gdLst/>
              <a:ahLst/>
              <a:cxnLst>
                <a:cxn ang="0">
                  <a:pos x="22" y="92"/>
                </a:cxn>
                <a:cxn ang="0">
                  <a:pos x="1" y="54"/>
                </a:cxn>
                <a:cxn ang="0">
                  <a:pos x="2" y="48"/>
                </a:cxn>
                <a:cxn ang="0">
                  <a:pos x="27" y="27"/>
                </a:cxn>
                <a:cxn ang="0">
                  <a:pos x="30" y="26"/>
                </a:cxn>
                <a:cxn ang="0">
                  <a:pos x="73" y="30"/>
                </a:cxn>
                <a:cxn ang="0">
                  <a:pos x="103" y="51"/>
                </a:cxn>
                <a:cxn ang="0">
                  <a:pos x="117" y="46"/>
                </a:cxn>
                <a:cxn ang="0">
                  <a:pos x="91" y="30"/>
                </a:cxn>
                <a:cxn ang="0">
                  <a:pos x="90" y="24"/>
                </a:cxn>
                <a:cxn ang="0">
                  <a:pos x="103" y="3"/>
                </a:cxn>
                <a:cxn ang="0">
                  <a:pos x="106" y="0"/>
                </a:cxn>
                <a:cxn ang="0">
                  <a:pos x="107" y="0"/>
                </a:cxn>
                <a:cxn ang="0">
                  <a:pos x="110" y="2"/>
                </a:cxn>
                <a:cxn ang="0">
                  <a:pos x="129" y="21"/>
                </a:cxn>
                <a:cxn ang="0">
                  <a:pos x="153" y="17"/>
                </a:cxn>
                <a:cxn ang="0">
                  <a:pos x="158" y="20"/>
                </a:cxn>
                <a:cxn ang="0">
                  <a:pos x="163" y="35"/>
                </a:cxn>
                <a:cxn ang="0">
                  <a:pos x="180" y="19"/>
                </a:cxn>
                <a:cxn ang="0">
                  <a:pos x="183" y="17"/>
                </a:cxn>
                <a:cxn ang="0">
                  <a:pos x="184" y="17"/>
                </a:cxn>
                <a:cxn ang="0">
                  <a:pos x="187" y="20"/>
                </a:cxn>
                <a:cxn ang="0">
                  <a:pos x="208" y="53"/>
                </a:cxn>
                <a:cxn ang="0">
                  <a:pos x="209" y="58"/>
                </a:cxn>
                <a:cxn ang="0">
                  <a:pos x="205" y="60"/>
                </a:cxn>
                <a:cxn ang="0">
                  <a:pos x="163" y="73"/>
                </a:cxn>
                <a:cxn ang="0">
                  <a:pos x="162" y="73"/>
                </a:cxn>
                <a:cxn ang="0">
                  <a:pos x="159" y="72"/>
                </a:cxn>
                <a:cxn ang="0">
                  <a:pos x="148" y="61"/>
                </a:cxn>
                <a:cxn ang="0">
                  <a:pos x="27" y="94"/>
                </a:cxn>
                <a:cxn ang="0">
                  <a:pos x="26" y="94"/>
                </a:cxn>
                <a:cxn ang="0">
                  <a:pos x="22" y="92"/>
                </a:cxn>
              </a:cxnLst>
              <a:rect l="0" t="0" r="r" b="b"/>
              <a:pathLst>
                <a:path w="210" h="95">
                  <a:moveTo>
                    <a:pt x="22" y="92"/>
                  </a:moveTo>
                  <a:lnTo>
                    <a:pt x="1" y="54"/>
                  </a:lnTo>
                  <a:cubicBezTo>
                    <a:pt x="0" y="52"/>
                    <a:pt x="0" y="49"/>
                    <a:pt x="2" y="48"/>
                  </a:cubicBezTo>
                  <a:lnTo>
                    <a:pt x="27" y="27"/>
                  </a:lnTo>
                  <a:cubicBezTo>
                    <a:pt x="28" y="26"/>
                    <a:pt x="29" y="26"/>
                    <a:pt x="30" y="26"/>
                  </a:cubicBezTo>
                  <a:lnTo>
                    <a:pt x="73" y="30"/>
                  </a:lnTo>
                  <a:lnTo>
                    <a:pt x="103" y="51"/>
                  </a:lnTo>
                  <a:lnTo>
                    <a:pt x="117" y="46"/>
                  </a:lnTo>
                  <a:lnTo>
                    <a:pt x="91" y="30"/>
                  </a:lnTo>
                  <a:cubicBezTo>
                    <a:pt x="89" y="29"/>
                    <a:pt x="88" y="26"/>
                    <a:pt x="90" y="24"/>
                  </a:cubicBezTo>
                  <a:lnTo>
                    <a:pt x="103" y="3"/>
                  </a:lnTo>
                  <a:cubicBezTo>
                    <a:pt x="103" y="1"/>
                    <a:pt x="105" y="1"/>
                    <a:pt x="106" y="0"/>
                  </a:cubicBezTo>
                  <a:lnTo>
                    <a:pt x="107" y="0"/>
                  </a:lnTo>
                  <a:cubicBezTo>
                    <a:pt x="108" y="0"/>
                    <a:pt x="109" y="1"/>
                    <a:pt x="110" y="2"/>
                  </a:cubicBezTo>
                  <a:lnTo>
                    <a:pt x="129" y="21"/>
                  </a:lnTo>
                  <a:lnTo>
                    <a:pt x="153" y="17"/>
                  </a:lnTo>
                  <a:cubicBezTo>
                    <a:pt x="155" y="17"/>
                    <a:pt x="157" y="18"/>
                    <a:pt x="158" y="20"/>
                  </a:cubicBezTo>
                  <a:lnTo>
                    <a:pt x="163" y="35"/>
                  </a:lnTo>
                  <a:lnTo>
                    <a:pt x="180" y="19"/>
                  </a:lnTo>
                  <a:cubicBezTo>
                    <a:pt x="181" y="18"/>
                    <a:pt x="182" y="17"/>
                    <a:pt x="183" y="17"/>
                  </a:cubicBezTo>
                  <a:lnTo>
                    <a:pt x="184" y="17"/>
                  </a:lnTo>
                  <a:cubicBezTo>
                    <a:pt x="185" y="18"/>
                    <a:pt x="186" y="18"/>
                    <a:pt x="187" y="20"/>
                  </a:cubicBezTo>
                  <a:lnTo>
                    <a:pt x="208" y="53"/>
                  </a:lnTo>
                  <a:cubicBezTo>
                    <a:pt x="209" y="55"/>
                    <a:pt x="209" y="56"/>
                    <a:pt x="209" y="58"/>
                  </a:cubicBezTo>
                  <a:cubicBezTo>
                    <a:pt x="208" y="59"/>
                    <a:pt x="207" y="60"/>
                    <a:pt x="205" y="60"/>
                  </a:cubicBezTo>
                  <a:lnTo>
                    <a:pt x="163" y="73"/>
                  </a:lnTo>
                  <a:lnTo>
                    <a:pt x="162" y="73"/>
                  </a:lnTo>
                  <a:cubicBezTo>
                    <a:pt x="161" y="73"/>
                    <a:pt x="159" y="73"/>
                    <a:pt x="159" y="72"/>
                  </a:cubicBezTo>
                  <a:lnTo>
                    <a:pt x="148" y="61"/>
                  </a:lnTo>
                  <a:lnTo>
                    <a:pt x="27" y="94"/>
                  </a:lnTo>
                  <a:cubicBezTo>
                    <a:pt x="27" y="94"/>
                    <a:pt x="27" y="94"/>
                    <a:pt x="26" y="94"/>
                  </a:cubicBezTo>
                  <a:cubicBezTo>
                    <a:pt x="24" y="94"/>
                    <a:pt x="23" y="94"/>
                    <a:pt x="22" y="92"/>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5" name="Freeform 640"/>
            <p:cNvSpPr>
              <a:spLocks noChangeArrowheads="1"/>
            </p:cNvSpPr>
            <p:nvPr/>
          </p:nvSpPr>
          <p:spPr bwMode="auto">
            <a:xfrm>
              <a:off x="7750175" y="3979863"/>
              <a:ext cx="76200" cy="34925"/>
            </a:xfrm>
            <a:custGeom>
              <a:avLst/>
              <a:gdLst/>
              <a:ahLst/>
              <a:cxnLst>
                <a:cxn ang="0">
                  <a:pos x="26" y="94"/>
                </a:cxn>
                <a:cxn ang="0">
                  <a:pos x="22" y="92"/>
                </a:cxn>
                <a:cxn ang="0">
                  <a:pos x="1" y="54"/>
                </a:cxn>
                <a:cxn ang="0">
                  <a:pos x="2" y="48"/>
                </a:cxn>
                <a:cxn ang="0">
                  <a:pos x="27" y="27"/>
                </a:cxn>
                <a:cxn ang="0">
                  <a:pos x="30" y="26"/>
                </a:cxn>
                <a:cxn ang="0">
                  <a:pos x="73" y="30"/>
                </a:cxn>
                <a:cxn ang="0">
                  <a:pos x="103" y="51"/>
                </a:cxn>
                <a:cxn ang="0">
                  <a:pos x="117" y="46"/>
                </a:cxn>
                <a:cxn ang="0">
                  <a:pos x="91" y="30"/>
                </a:cxn>
                <a:cxn ang="0">
                  <a:pos x="90" y="24"/>
                </a:cxn>
                <a:cxn ang="0">
                  <a:pos x="103" y="3"/>
                </a:cxn>
                <a:cxn ang="0">
                  <a:pos x="106" y="0"/>
                </a:cxn>
                <a:cxn ang="0">
                  <a:pos x="107" y="0"/>
                </a:cxn>
                <a:cxn ang="0">
                  <a:pos x="110" y="2"/>
                </a:cxn>
                <a:cxn ang="0">
                  <a:pos x="129" y="21"/>
                </a:cxn>
                <a:cxn ang="0">
                  <a:pos x="153" y="17"/>
                </a:cxn>
                <a:cxn ang="0">
                  <a:pos x="158" y="20"/>
                </a:cxn>
                <a:cxn ang="0">
                  <a:pos x="163" y="35"/>
                </a:cxn>
                <a:cxn ang="0">
                  <a:pos x="180" y="19"/>
                </a:cxn>
                <a:cxn ang="0">
                  <a:pos x="183" y="17"/>
                </a:cxn>
                <a:cxn ang="0">
                  <a:pos x="184" y="17"/>
                </a:cxn>
                <a:cxn ang="0">
                  <a:pos x="187" y="20"/>
                </a:cxn>
                <a:cxn ang="0">
                  <a:pos x="208" y="53"/>
                </a:cxn>
                <a:cxn ang="0">
                  <a:pos x="209" y="58"/>
                </a:cxn>
                <a:cxn ang="0">
                  <a:pos x="205" y="60"/>
                </a:cxn>
                <a:cxn ang="0">
                  <a:pos x="163" y="73"/>
                </a:cxn>
                <a:cxn ang="0">
                  <a:pos x="162" y="73"/>
                </a:cxn>
                <a:cxn ang="0">
                  <a:pos x="159" y="72"/>
                </a:cxn>
                <a:cxn ang="0">
                  <a:pos x="148" y="61"/>
                </a:cxn>
                <a:cxn ang="0">
                  <a:pos x="27" y="94"/>
                </a:cxn>
                <a:cxn ang="0">
                  <a:pos x="26" y="94"/>
                </a:cxn>
              </a:cxnLst>
              <a:rect l="0" t="0" r="r" b="b"/>
              <a:pathLst>
                <a:path w="210" h="95">
                  <a:moveTo>
                    <a:pt x="26" y="94"/>
                  </a:moveTo>
                  <a:cubicBezTo>
                    <a:pt x="24" y="94"/>
                    <a:pt x="23" y="94"/>
                    <a:pt x="22" y="92"/>
                  </a:cubicBezTo>
                  <a:lnTo>
                    <a:pt x="1" y="54"/>
                  </a:lnTo>
                  <a:cubicBezTo>
                    <a:pt x="0" y="52"/>
                    <a:pt x="0" y="49"/>
                    <a:pt x="2" y="48"/>
                  </a:cubicBezTo>
                  <a:lnTo>
                    <a:pt x="27" y="27"/>
                  </a:lnTo>
                  <a:cubicBezTo>
                    <a:pt x="28" y="26"/>
                    <a:pt x="29" y="26"/>
                    <a:pt x="30" y="26"/>
                  </a:cubicBezTo>
                  <a:lnTo>
                    <a:pt x="73" y="30"/>
                  </a:lnTo>
                  <a:lnTo>
                    <a:pt x="103" y="51"/>
                  </a:lnTo>
                  <a:lnTo>
                    <a:pt x="117" y="46"/>
                  </a:lnTo>
                  <a:lnTo>
                    <a:pt x="91" y="30"/>
                  </a:lnTo>
                  <a:cubicBezTo>
                    <a:pt x="89" y="29"/>
                    <a:pt x="88" y="26"/>
                    <a:pt x="90" y="24"/>
                  </a:cubicBezTo>
                  <a:lnTo>
                    <a:pt x="103" y="3"/>
                  </a:lnTo>
                  <a:cubicBezTo>
                    <a:pt x="103" y="1"/>
                    <a:pt x="105" y="1"/>
                    <a:pt x="106" y="0"/>
                  </a:cubicBezTo>
                  <a:lnTo>
                    <a:pt x="107" y="0"/>
                  </a:lnTo>
                  <a:cubicBezTo>
                    <a:pt x="108" y="0"/>
                    <a:pt x="109" y="1"/>
                    <a:pt x="110" y="2"/>
                  </a:cubicBezTo>
                  <a:lnTo>
                    <a:pt x="129" y="21"/>
                  </a:lnTo>
                  <a:lnTo>
                    <a:pt x="153" y="17"/>
                  </a:lnTo>
                  <a:cubicBezTo>
                    <a:pt x="155" y="17"/>
                    <a:pt x="157" y="18"/>
                    <a:pt x="158" y="20"/>
                  </a:cubicBezTo>
                  <a:lnTo>
                    <a:pt x="163" y="35"/>
                  </a:lnTo>
                  <a:lnTo>
                    <a:pt x="180" y="19"/>
                  </a:lnTo>
                  <a:cubicBezTo>
                    <a:pt x="181" y="18"/>
                    <a:pt x="182" y="17"/>
                    <a:pt x="183" y="17"/>
                  </a:cubicBezTo>
                  <a:lnTo>
                    <a:pt x="184" y="17"/>
                  </a:lnTo>
                  <a:cubicBezTo>
                    <a:pt x="185" y="18"/>
                    <a:pt x="186" y="18"/>
                    <a:pt x="187" y="20"/>
                  </a:cubicBezTo>
                  <a:lnTo>
                    <a:pt x="208" y="53"/>
                  </a:lnTo>
                  <a:cubicBezTo>
                    <a:pt x="209" y="55"/>
                    <a:pt x="209" y="56"/>
                    <a:pt x="209" y="58"/>
                  </a:cubicBezTo>
                  <a:cubicBezTo>
                    <a:pt x="208" y="59"/>
                    <a:pt x="207" y="60"/>
                    <a:pt x="205" y="60"/>
                  </a:cubicBezTo>
                  <a:lnTo>
                    <a:pt x="163" y="73"/>
                  </a:lnTo>
                  <a:lnTo>
                    <a:pt x="162" y="73"/>
                  </a:lnTo>
                  <a:cubicBezTo>
                    <a:pt x="161" y="73"/>
                    <a:pt x="159" y="73"/>
                    <a:pt x="159" y="72"/>
                  </a:cubicBezTo>
                  <a:lnTo>
                    <a:pt x="148" y="61"/>
                  </a:lnTo>
                  <a:lnTo>
                    <a:pt x="27" y="94"/>
                  </a:lnTo>
                  <a:cubicBezTo>
                    <a:pt x="27" y="94"/>
                    <a:pt x="27" y="94"/>
                    <a:pt x="26" y="94"/>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6" name="Freeform 641"/>
            <p:cNvSpPr>
              <a:spLocks noChangeArrowheads="1"/>
            </p:cNvSpPr>
            <p:nvPr/>
          </p:nvSpPr>
          <p:spPr bwMode="auto">
            <a:xfrm>
              <a:off x="7818438" y="4016375"/>
              <a:ext cx="57150" cy="34925"/>
            </a:xfrm>
            <a:custGeom>
              <a:avLst/>
              <a:gdLst/>
              <a:ahLst/>
              <a:cxnLst>
                <a:cxn ang="0">
                  <a:pos x="108" y="93"/>
                </a:cxn>
                <a:cxn ang="0">
                  <a:pos x="52" y="51"/>
                </a:cxn>
                <a:cxn ang="0">
                  <a:pos x="13" y="52"/>
                </a:cxn>
                <a:cxn ang="0">
                  <a:pos x="9" y="48"/>
                </a:cxn>
                <a:cxn ang="0">
                  <a:pos x="0" y="19"/>
                </a:cxn>
                <a:cxn ang="0">
                  <a:pos x="1" y="15"/>
                </a:cxn>
                <a:cxn ang="0">
                  <a:pos x="4" y="13"/>
                </a:cxn>
                <a:cxn ang="0">
                  <a:pos x="77" y="0"/>
                </a:cxn>
                <a:cxn ang="0">
                  <a:pos x="79" y="1"/>
                </a:cxn>
                <a:cxn ang="0">
                  <a:pos x="134" y="34"/>
                </a:cxn>
                <a:cxn ang="0">
                  <a:pos x="157" y="70"/>
                </a:cxn>
                <a:cxn ang="0">
                  <a:pos x="157" y="74"/>
                </a:cxn>
                <a:cxn ang="0">
                  <a:pos x="155" y="77"/>
                </a:cxn>
                <a:cxn ang="0">
                  <a:pos x="112" y="94"/>
                </a:cxn>
                <a:cxn ang="0">
                  <a:pos x="111" y="94"/>
                </a:cxn>
                <a:cxn ang="0">
                  <a:pos x="108" y="93"/>
                </a:cxn>
              </a:cxnLst>
              <a:rect l="0" t="0" r="r" b="b"/>
              <a:pathLst>
                <a:path w="159" h="95">
                  <a:moveTo>
                    <a:pt x="108" y="93"/>
                  </a:moveTo>
                  <a:lnTo>
                    <a:pt x="52" y="51"/>
                  </a:lnTo>
                  <a:lnTo>
                    <a:pt x="13" y="52"/>
                  </a:lnTo>
                  <a:cubicBezTo>
                    <a:pt x="11" y="52"/>
                    <a:pt x="9" y="50"/>
                    <a:pt x="9" y="48"/>
                  </a:cubicBezTo>
                  <a:lnTo>
                    <a:pt x="0" y="19"/>
                  </a:lnTo>
                  <a:cubicBezTo>
                    <a:pt x="0" y="17"/>
                    <a:pt x="0" y="16"/>
                    <a:pt x="1" y="15"/>
                  </a:cubicBezTo>
                  <a:cubicBezTo>
                    <a:pt x="1" y="14"/>
                    <a:pt x="3" y="13"/>
                    <a:pt x="4" y="13"/>
                  </a:cubicBezTo>
                  <a:lnTo>
                    <a:pt x="77" y="0"/>
                  </a:lnTo>
                  <a:cubicBezTo>
                    <a:pt x="78" y="0"/>
                    <a:pt x="78" y="0"/>
                    <a:pt x="79" y="1"/>
                  </a:cubicBezTo>
                  <a:lnTo>
                    <a:pt x="134" y="34"/>
                  </a:lnTo>
                  <a:lnTo>
                    <a:pt x="157" y="70"/>
                  </a:lnTo>
                  <a:cubicBezTo>
                    <a:pt x="158" y="71"/>
                    <a:pt x="158" y="72"/>
                    <a:pt x="157" y="74"/>
                  </a:cubicBezTo>
                  <a:cubicBezTo>
                    <a:pt x="157" y="75"/>
                    <a:pt x="156" y="76"/>
                    <a:pt x="155" y="77"/>
                  </a:cubicBezTo>
                  <a:lnTo>
                    <a:pt x="112" y="94"/>
                  </a:lnTo>
                  <a:lnTo>
                    <a:pt x="111" y="94"/>
                  </a:lnTo>
                  <a:cubicBezTo>
                    <a:pt x="110" y="94"/>
                    <a:pt x="108" y="94"/>
                    <a:pt x="108" y="9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7" name="Freeform 642"/>
            <p:cNvSpPr>
              <a:spLocks noChangeArrowheads="1"/>
            </p:cNvSpPr>
            <p:nvPr/>
          </p:nvSpPr>
          <p:spPr bwMode="auto">
            <a:xfrm>
              <a:off x="7818438" y="4016375"/>
              <a:ext cx="57150" cy="34925"/>
            </a:xfrm>
            <a:custGeom>
              <a:avLst/>
              <a:gdLst/>
              <a:ahLst/>
              <a:cxnLst>
                <a:cxn ang="0">
                  <a:pos x="111" y="94"/>
                </a:cxn>
                <a:cxn ang="0">
                  <a:pos x="108" y="93"/>
                </a:cxn>
                <a:cxn ang="0">
                  <a:pos x="52" y="51"/>
                </a:cxn>
                <a:cxn ang="0">
                  <a:pos x="13" y="52"/>
                </a:cxn>
                <a:cxn ang="0">
                  <a:pos x="9" y="48"/>
                </a:cxn>
                <a:cxn ang="0">
                  <a:pos x="0" y="19"/>
                </a:cxn>
                <a:cxn ang="0">
                  <a:pos x="1" y="15"/>
                </a:cxn>
                <a:cxn ang="0">
                  <a:pos x="4" y="13"/>
                </a:cxn>
                <a:cxn ang="0">
                  <a:pos x="77" y="0"/>
                </a:cxn>
                <a:cxn ang="0">
                  <a:pos x="79" y="1"/>
                </a:cxn>
                <a:cxn ang="0">
                  <a:pos x="134" y="34"/>
                </a:cxn>
                <a:cxn ang="0">
                  <a:pos x="157" y="70"/>
                </a:cxn>
                <a:cxn ang="0">
                  <a:pos x="157" y="74"/>
                </a:cxn>
                <a:cxn ang="0">
                  <a:pos x="155" y="77"/>
                </a:cxn>
                <a:cxn ang="0">
                  <a:pos x="112" y="94"/>
                </a:cxn>
                <a:cxn ang="0">
                  <a:pos x="111" y="94"/>
                </a:cxn>
              </a:cxnLst>
              <a:rect l="0" t="0" r="r" b="b"/>
              <a:pathLst>
                <a:path w="159" h="95">
                  <a:moveTo>
                    <a:pt x="111" y="94"/>
                  </a:moveTo>
                  <a:cubicBezTo>
                    <a:pt x="110" y="94"/>
                    <a:pt x="108" y="94"/>
                    <a:pt x="108" y="93"/>
                  </a:cubicBezTo>
                  <a:lnTo>
                    <a:pt x="52" y="51"/>
                  </a:lnTo>
                  <a:lnTo>
                    <a:pt x="13" y="52"/>
                  </a:lnTo>
                  <a:cubicBezTo>
                    <a:pt x="11" y="52"/>
                    <a:pt x="9" y="50"/>
                    <a:pt x="9" y="48"/>
                  </a:cubicBezTo>
                  <a:lnTo>
                    <a:pt x="0" y="19"/>
                  </a:lnTo>
                  <a:cubicBezTo>
                    <a:pt x="0" y="17"/>
                    <a:pt x="0" y="16"/>
                    <a:pt x="1" y="15"/>
                  </a:cubicBezTo>
                  <a:cubicBezTo>
                    <a:pt x="1" y="14"/>
                    <a:pt x="3" y="13"/>
                    <a:pt x="4" y="13"/>
                  </a:cubicBezTo>
                  <a:lnTo>
                    <a:pt x="77" y="0"/>
                  </a:lnTo>
                  <a:cubicBezTo>
                    <a:pt x="78" y="0"/>
                    <a:pt x="78" y="0"/>
                    <a:pt x="79" y="1"/>
                  </a:cubicBezTo>
                  <a:lnTo>
                    <a:pt x="134" y="34"/>
                  </a:lnTo>
                  <a:lnTo>
                    <a:pt x="157" y="70"/>
                  </a:lnTo>
                  <a:cubicBezTo>
                    <a:pt x="158" y="71"/>
                    <a:pt x="158" y="72"/>
                    <a:pt x="157" y="74"/>
                  </a:cubicBezTo>
                  <a:cubicBezTo>
                    <a:pt x="157" y="75"/>
                    <a:pt x="156" y="76"/>
                    <a:pt x="155" y="77"/>
                  </a:cubicBezTo>
                  <a:lnTo>
                    <a:pt x="112" y="94"/>
                  </a:lnTo>
                  <a:lnTo>
                    <a:pt x="111" y="9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8" name="Freeform 643"/>
            <p:cNvSpPr>
              <a:spLocks noChangeArrowheads="1"/>
            </p:cNvSpPr>
            <p:nvPr/>
          </p:nvSpPr>
          <p:spPr bwMode="auto">
            <a:xfrm>
              <a:off x="7843838" y="3978275"/>
              <a:ext cx="96837" cy="31750"/>
            </a:xfrm>
            <a:custGeom>
              <a:avLst/>
              <a:gdLst/>
              <a:ahLst/>
              <a:cxnLst>
                <a:cxn ang="0">
                  <a:pos x="5" y="73"/>
                </a:cxn>
                <a:cxn ang="0">
                  <a:pos x="2" y="71"/>
                </a:cxn>
                <a:cxn ang="0">
                  <a:pos x="1" y="68"/>
                </a:cxn>
                <a:cxn ang="0">
                  <a:pos x="5" y="38"/>
                </a:cxn>
                <a:cxn ang="0">
                  <a:pos x="8" y="34"/>
                </a:cxn>
                <a:cxn ang="0">
                  <a:pos x="67" y="13"/>
                </a:cxn>
                <a:cxn ang="0">
                  <a:pos x="69" y="13"/>
                </a:cxn>
                <a:cxn ang="0">
                  <a:pos x="71" y="13"/>
                </a:cxn>
                <a:cxn ang="0">
                  <a:pos x="137" y="46"/>
                </a:cxn>
                <a:cxn ang="0">
                  <a:pos x="186" y="34"/>
                </a:cxn>
                <a:cxn ang="0">
                  <a:pos x="217" y="46"/>
                </a:cxn>
                <a:cxn ang="0">
                  <a:pos x="251" y="23"/>
                </a:cxn>
                <a:cxn ang="0">
                  <a:pos x="251" y="5"/>
                </a:cxn>
                <a:cxn ang="0">
                  <a:pos x="255" y="0"/>
                </a:cxn>
                <a:cxn ang="0">
                  <a:pos x="255" y="0"/>
                </a:cxn>
                <a:cxn ang="0">
                  <a:pos x="260" y="3"/>
                </a:cxn>
                <a:cxn ang="0">
                  <a:pos x="268" y="29"/>
                </a:cxn>
                <a:cxn ang="0">
                  <a:pos x="267" y="34"/>
                </a:cxn>
                <a:cxn ang="0">
                  <a:pos x="233" y="64"/>
                </a:cxn>
                <a:cxn ang="0">
                  <a:pos x="107" y="86"/>
                </a:cxn>
                <a:cxn ang="0">
                  <a:pos x="5" y="73"/>
                </a:cxn>
              </a:cxnLst>
              <a:rect l="0" t="0" r="r" b="b"/>
              <a:pathLst>
                <a:path w="270" h="87">
                  <a:moveTo>
                    <a:pt x="5" y="73"/>
                  </a:moveTo>
                  <a:cubicBezTo>
                    <a:pt x="4" y="73"/>
                    <a:pt x="2" y="72"/>
                    <a:pt x="2" y="71"/>
                  </a:cubicBezTo>
                  <a:cubicBezTo>
                    <a:pt x="1" y="70"/>
                    <a:pt x="0" y="69"/>
                    <a:pt x="1" y="68"/>
                  </a:cubicBezTo>
                  <a:lnTo>
                    <a:pt x="5" y="38"/>
                  </a:lnTo>
                  <a:cubicBezTo>
                    <a:pt x="5" y="36"/>
                    <a:pt x="6" y="35"/>
                    <a:pt x="8" y="34"/>
                  </a:cubicBezTo>
                  <a:lnTo>
                    <a:pt x="67" y="13"/>
                  </a:lnTo>
                  <a:cubicBezTo>
                    <a:pt x="68" y="13"/>
                    <a:pt x="68" y="13"/>
                    <a:pt x="69" y="13"/>
                  </a:cubicBezTo>
                  <a:cubicBezTo>
                    <a:pt x="70" y="13"/>
                    <a:pt x="70" y="13"/>
                    <a:pt x="71" y="13"/>
                  </a:cubicBezTo>
                  <a:lnTo>
                    <a:pt x="137" y="46"/>
                  </a:lnTo>
                  <a:lnTo>
                    <a:pt x="186" y="34"/>
                  </a:lnTo>
                  <a:lnTo>
                    <a:pt x="217" y="46"/>
                  </a:lnTo>
                  <a:lnTo>
                    <a:pt x="251" y="23"/>
                  </a:lnTo>
                  <a:lnTo>
                    <a:pt x="251" y="5"/>
                  </a:lnTo>
                  <a:cubicBezTo>
                    <a:pt x="251" y="3"/>
                    <a:pt x="252" y="1"/>
                    <a:pt x="255" y="0"/>
                  </a:cubicBezTo>
                  <a:lnTo>
                    <a:pt x="255" y="0"/>
                  </a:lnTo>
                  <a:cubicBezTo>
                    <a:pt x="257" y="0"/>
                    <a:pt x="259" y="1"/>
                    <a:pt x="260" y="3"/>
                  </a:cubicBezTo>
                  <a:lnTo>
                    <a:pt x="268" y="29"/>
                  </a:lnTo>
                  <a:cubicBezTo>
                    <a:pt x="269" y="31"/>
                    <a:pt x="268" y="32"/>
                    <a:pt x="267" y="34"/>
                  </a:cubicBezTo>
                  <a:lnTo>
                    <a:pt x="233" y="64"/>
                  </a:lnTo>
                  <a:lnTo>
                    <a:pt x="107" y="86"/>
                  </a:lnTo>
                  <a:lnTo>
                    <a:pt x="5" y="73"/>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49" name="Freeform 644"/>
            <p:cNvSpPr>
              <a:spLocks noChangeArrowheads="1"/>
            </p:cNvSpPr>
            <p:nvPr/>
          </p:nvSpPr>
          <p:spPr bwMode="auto">
            <a:xfrm>
              <a:off x="7843838" y="3978275"/>
              <a:ext cx="96837" cy="31750"/>
            </a:xfrm>
            <a:custGeom>
              <a:avLst/>
              <a:gdLst/>
              <a:ahLst/>
              <a:cxnLst>
                <a:cxn ang="0">
                  <a:pos x="5" y="73"/>
                </a:cxn>
                <a:cxn ang="0">
                  <a:pos x="2" y="71"/>
                </a:cxn>
                <a:cxn ang="0">
                  <a:pos x="1" y="68"/>
                </a:cxn>
                <a:cxn ang="0">
                  <a:pos x="5" y="38"/>
                </a:cxn>
                <a:cxn ang="0">
                  <a:pos x="8" y="34"/>
                </a:cxn>
                <a:cxn ang="0">
                  <a:pos x="67" y="13"/>
                </a:cxn>
                <a:cxn ang="0">
                  <a:pos x="69" y="13"/>
                </a:cxn>
                <a:cxn ang="0">
                  <a:pos x="71" y="13"/>
                </a:cxn>
                <a:cxn ang="0">
                  <a:pos x="137" y="46"/>
                </a:cxn>
                <a:cxn ang="0">
                  <a:pos x="186" y="34"/>
                </a:cxn>
                <a:cxn ang="0">
                  <a:pos x="217" y="46"/>
                </a:cxn>
                <a:cxn ang="0">
                  <a:pos x="251" y="23"/>
                </a:cxn>
                <a:cxn ang="0">
                  <a:pos x="251" y="5"/>
                </a:cxn>
                <a:cxn ang="0">
                  <a:pos x="255" y="0"/>
                </a:cxn>
                <a:cxn ang="0">
                  <a:pos x="255" y="0"/>
                </a:cxn>
                <a:cxn ang="0">
                  <a:pos x="260" y="3"/>
                </a:cxn>
                <a:cxn ang="0">
                  <a:pos x="268" y="29"/>
                </a:cxn>
                <a:cxn ang="0">
                  <a:pos x="267" y="34"/>
                </a:cxn>
                <a:cxn ang="0">
                  <a:pos x="233" y="64"/>
                </a:cxn>
                <a:cxn ang="0">
                  <a:pos x="107" y="86"/>
                </a:cxn>
                <a:cxn ang="0">
                  <a:pos x="5" y="73"/>
                </a:cxn>
              </a:cxnLst>
              <a:rect l="0" t="0" r="r" b="b"/>
              <a:pathLst>
                <a:path w="270" h="87">
                  <a:moveTo>
                    <a:pt x="5" y="73"/>
                  </a:moveTo>
                  <a:cubicBezTo>
                    <a:pt x="4" y="73"/>
                    <a:pt x="2" y="72"/>
                    <a:pt x="2" y="71"/>
                  </a:cubicBezTo>
                  <a:cubicBezTo>
                    <a:pt x="1" y="70"/>
                    <a:pt x="0" y="69"/>
                    <a:pt x="1" y="68"/>
                  </a:cubicBezTo>
                  <a:lnTo>
                    <a:pt x="5" y="38"/>
                  </a:lnTo>
                  <a:cubicBezTo>
                    <a:pt x="5" y="36"/>
                    <a:pt x="6" y="35"/>
                    <a:pt x="8" y="34"/>
                  </a:cubicBezTo>
                  <a:lnTo>
                    <a:pt x="67" y="13"/>
                  </a:lnTo>
                  <a:cubicBezTo>
                    <a:pt x="68" y="13"/>
                    <a:pt x="68" y="13"/>
                    <a:pt x="69" y="13"/>
                  </a:cubicBezTo>
                  <a:cubicBezTo>
                    <a:pt x="70" y="13"/>
                    <a:pt x="70" y="13"/>
                    <a:pt x="71" y="13"/>
                  </a:cubicBezTo>
                  <a:lnTo>
                    <a:pt x="137" y="46"/>
                  </a:lnTo>
                  <a:lnTo>
                    <a:pt x="186" y="34"/>
                  </a:lnTo>
                  <a:lnTo>
                    <a:pt x="217" y="46"/>
                  </a:lnTo>
                  <a:lnTo>
                    <a:pt x="251" y="23"/>
                  </a:lnTo>
                  <a:lnTo>
                    <a:pt x="251" y="5"/>
                  </a:lnTo>
                  <a:cubicBezTo>
                    <a:pt x="251" y="3"/>
                    <a:pt x="252" y="1"/>
                    <a:pt x="255" y="0"/>
                  </a:cubicBezTo>
                  <a:lnTo>
                    <a:pt x="255" y="0"/>
                  </a:lnTo>
                  <a:cubicBezTo>
                    <a:pt x="257" y="0"/>
                    <a:pt x="259" y="1"/>
                    <a:pt x="260" y="3"/>
                  </a:cubicBezTo>
                  <a:lnTo>
                    <a:pt x="268" y="29"/>
                  </a:lnTo>
                  <a:cubicBezTo>
                    <a:pt x="269" y="31"/>
                    <a:pt x="268" y="32"/>
                    <a:pt x="267" y="34"/>
                  </a:cubicBezTo>
                  <a:lnTo>
                    <a:pt x="233" y="64"/>
                  </a:lnTo>
                  <a:lnTo>
                    <a:pt x="107" y="86"/>
                  </a:lnTo>
                  <a:lnTo>
                    <a:pt x="5" y="73"/>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0" name="Freeform 645"/>
            <p:cNvSpPr>
              <a:spLocks noChangeArrowheads="1"/>
            </p:cNvSpPr>
            <p:nvPr/>
          </p:nvSpPr>
          <p:spPr bwMode="auto">
            <a:xfrm>
              <a:off x="7947025" y="3983038"/>
              <a:ext cx="15875" cy="14287"/>
            </a:xfrm>
            <a:custGeom>
              <a:avLst/>
              <a:gdLst/>
              <a:ahLst/>
              <a:cxnLst>
                <a:cxn ang="0">
                  <a:pos x="6" y="39"/>
                </a:cxn>
                <a:cxn ang="0">
                  <a:pos x="2" y="37"/>
                </a:cxn>
                <a:cxn ang="0">
                  <a:pos x="1" y="33"/>
                </a:cxn>
                <a:cxn ang="0">
                  <a:pos x="9" y="3"/>
                </a:cxn>
                <a:cxn ang="0">
                  <a:pos x="13" y="0"/>
                </a:cxn>
                <a:cxn ang="0">
                  <a:pos x="14" y="0"/>
                </a:cxn>
                <a:cxn ang="0">
                  <a:pos x="17" y="1"/>
                </a:cxn>
                <a:cxn ang="0">
                  <a:pos x="27" y="11"/>
                </a:cxn>
                <a:cxn ang="0">
                  <a:pos x="36" y="1"/>
                </a:cxn>
                <a:cxn ang="0">
                  <a:pos x="39" y="0"/>
                </a:cxn>
                <a:cxn ang="0">
                  <a:pos x="42" y="0"/>
                </a:cxn>
                <a:cxn ang="0">
                  <a:pos x="44" y="6"/>
                </a:cxn>
                <a:cxn ang="0">
                  <a:pos x="35" y="35"/>
                </a:cxn>
                <a:cxn ang="0">
                  <a:pos x="31" y="39"/>
                </a:cxn>
                <a:cxn ang="0">
                  <a:pos x="6" y="39"/>
                </a:cxn>
              </a:cxnLst>
              <a:rect l="0" t="0" r="r" b="b"/>
              <a:pathLst>
                <a:path w="45" h="40">
                  <a:moveTo>
                    <a:pt x="6" y="39"/>
                  </a:moveTo>
                  <a:cubicBezTo>
                    <a:pt x="4" y="39"/>
                    <a:pt x="3" y="38"/>
                    <a:pt x="2" y="37"/>
                  </a:cubicBezTo>
                  <a:cubicBezTo>
                    <a:pt x="1" y="36"/>
                    <a:pt x="0" y="34"/>
                    <a:pt x="1" y="33"/>
                  </a:cubicBezTo>
                  <a:lnTo>
                    <a:pt x="9" y="3"/>
                  </a:lnTo>
                  <a:cubicBezTo>
                    <a:pt x="10" y="2"/>
                    <a:pt x="11" y="0"/>
                    <a:pt x="13" y="0"/>
                  </a:cubicBezTo>
                  <a:lnTo>
                    <a:pt x="14" y="0"/>
                  </a:lnTo>
                  <a:cubicBezTo>
                    <a:pt x="15" y="0"/>
                    <a:pt x="16" y="0"/>
                    <a:pt x="17" y="1"/>
                  </a:cubicBezTo>
                  <a:lnTo>
                    <a:pt x="27" y="11"/>
                  </a:lnTo>
                  <a:lnTo>
                    <a:pt x="36" y="1"/>
                  </a:lnTo>
                  <a:cubicBezTo>
                    <a:pt x="37" y="0"/>
                    <a:pt x="38" y="0"/>
                    <a:pt x="39" y="0"/>
                  </a:cubicBezTo>
                  <a:cubicBezTo>
                    <a:pt x="40" y="0"/>
                    <a:pt x="41" y="0"/>
                    <a:pt x="42" y="0"/>
                  </a:cubicBezTo>
                  <a:cubicBezTo>
                    <a:pt x="44" y="2"/>
                    <a:pt x="44" y="4"/>
                    <a:pt x="44" y="6"/>
                  </a:cubicBezTo>
                  <a:lnTo>
                    <a:pt x="35" y="35"/>
                  </a:lnTo>
                  <a:cubicBezTo>
                    <a:pt x="35" y="37"/>
                    <a:pt x="33" y="39"/>
                    <a:pt x="31" y="39"/>
                  </a:cubicBezTo>
                  <a:lnTo>
                    <a:pt x="6" y="39"/>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1" name="Freeform 646"/>
            <p:cNvSpPr>
              <a:spLocks noChangeArrowheads="1"/>
            </p:cNvSpPr>
            <p:nvPr/>
          </p:nvSpPr>
          <p:spPr bwMode="auto">
            <a:xfrm>
              <a:off x="7947025" y="3983038"/>
              <a:ext cx="15875" cy="14287"/>
            </a:xfrm>
            <a:custGeom>
              <a:avLst/>
              <a:gdLst/>
              <a:ahLst/>
              <a:cxnLst>
                <a:cxn ang="0">
                  <a:pos x="6" y="39"/>
                </a:cxn>
                <a:cxn ang="0">
                  <a:pos x="2" y="37"/>
                </a:cxn>
                <a:cxn ang="0">
                  <a:pos x="1" y="33"/>
                </a:cxn>
                <a:cxn ang="0">
                  <a:pos x="9" y="3"/>
                </a:cxn>
                <a:cxn ang="0">
                  <a:pos x="13" y="0"/>
                </a:cxn>
                <a:cxn ang="0">
                  <a:pos x="14" y="0"/>
                </a:cxn>
                <a:cxn ang="0">
                  <a:pos x="17" y="1"/>
                </a:cxn>
                <a:cxn ang="0">
                  <a:pos x="27" y="11"/>
                </a:cxn>
                <a:cxn ang="0">
                  <a:pos x="36" y="1"/>
                </a:cxn>
                <a:cxn ang="0">
                  <a:pos x="39" y="0"/>
                </a:cxn>
                <a:cxn ang="0">
                  <a:pos x="42" y="0"/>
                </a:cxn>
                <a:cxn ang="0">
                  <a:pos x="44" y="6"/>
                </a:cxn>
                <a:cxn ang="0">
                  <a:pos x="35" y="35"/>
                </a:cxn>
                <a:cxn ang="0">
                  <a:pos x="31" y="39"/>
                </a:cxn>
                <a:cxn ang="0">
                  <a:pos x="6" y="39"/>
                </a:cxn>
              </a:cxnLst>
              <a:rect l="0" t="0" r="r" b="b"/>
              <a:pathLst>
                <a:path w="45" h="40">
                  <a:moveTo>
                    <a:pt x="6" y="39"/>
                  </a:moveTo>
                  <a:cubicBezTo>
                    <a:pt x="4" y="39"/>
                    <a:pt x="3" y="38"/>
                    <a:pt x="2" y="37"/>
                  </a:cubicBezTo>
                  <a:cubicBezTo>
                    <a:pt x="1" y="36"/>
                    <a:pt x="0" y="34"/>
                    <a:pt x="1" y="33"/>
                  </a:cubicBezTo>
                  <a:lnTo>
                    <a:pt x="9" y="3"/>
                  </a:lnTo>
                  <a:cubicBezTo>
                    <a:pt x="10" y="2"/>
                    <a:pt x="11" y="0"/>
                    <a:pt x="13" y="0"/>
                  </a:cubicBezTo>
                  <a:lnTo>
                    <a:pt x="14" y="0"/>
                  </a:lnTo>
                  <a:cubicBezTo>
                    <a:pt x="15" y="0"/>
                    <a:pt x="16" y="0"/>
                    <a:pt x="17" y="1"/>
                  </a:cubicBezTo>
                  <a:lnTo>
                    <a:pt x="27" y="11"/>
                  </a:lnTo>
                  <a:lnTo>
                    <a:pt x="36" y="1"/>
                  </a:lnTo>
                  <a:cubicBezTo>
                    <a:pt x="37" y="0"/>
                    <a:pt x="38" y="0"/>
                    <a:pt x="39" y="0"/>
                  </a:cubicBezTo>
                  <a:cubicBezTo>
                    <a:pt x="40" y="0"/>
                    <a:pt x="41" y="0"/>
                    <a:pt x="42" y="0"/>
                  </a:cubicBezTo>
                  <a:cubicBezTo>
                    <a:pt x="44" y="2"/>
                    <a:pt x="44" y="4"/>
                    <a:pt x="44" y="6"/>
                  </a:cubicBezTo>
                  <a:lnTo>
                    <a:pt x="35" y="35"/>
                  </a:lnTo>
                  <a:cubicBezTo>
                    <a:pt x="35" y="37"/>
                    <a:pt x="33" y="39"/>
                    <a:pt x="31" y="39"/>
                  </a:cubicBezTo>
                  <a:lnTo>
                    <a:pt x="6" y="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2" name="Freeform 647"/>
            <p:cNvSpPr>
              <a:spLocks noChangeArrowheads="1"/>
            </p:cNvSpPr>
            <p:nvPr/>
          </p:nvSpPr>
          <p:spPr bwMode="auto">
            <a:xfrm>
              <a:off x="7966075" y="3983038"/>
              <a:ext cx="11113" cy="15875"/>
            </a:xfrm>
            <a:custGeom>
              <a:avLst/>
              <a:gdLst/>
              <a:ahLst/>
              <a:cxnLst>
                <a:cxn ang="0">
                  <a:pos x="18" y="43"/>
                </a:cxn>
                <a:cxn ang="0">
                  <a:pos x="15" y="42"/>
                </a:cxn>
                <a:cxn ang="0">
                  <a:pos x="2" y="29"/>
                </a:cxn>
                <a:cxn ang="0">
                  <a:pos x="2" y="22"/>
                </a:cxn>
                <a:cxn ang="0">
                  <a:pos x="23" y="1"/>
                </a:cxn>
                <a:cxn ang="0">
                  <a:pos x="27" y="0"/>
                </a:cxn>
                <a:cxn ang="0">
                  <a:pos x="29" y="0"/>
                </a:cxn>
                <a:cxn ang="0">
                  <a:pos x="31" y="6"/>
                </a:cxn>
                <a:cxn ang="0">
                  <a:pos x="23" y="40"/>
                </a:cxn>
                <a:cxn ang="0">
                  <a:pos x="19" y="43"/>
                </a:cxn>
                <a:cxn ang="0">
                  <a:pos x="19" y="43"/>
                </a:cxn>
                <a:cxn ang="0">
                  <a:pos x="18" y="43"/>
                </a:cxn>
              </a:cxnLst>
              <a:rect l="0" t="0" r="r" b="b"/>
              <a:pathLst>
                <a:path w="33" h="44">
                  <a:moveTo>
                    <a:pt x="18" y="43"/>
                  </a:moveTo>
                  <a:cubicBezTo>
                    <a:pt x="17" y="43"/>
                    <a:pt x="16" y="43"/>
                    <a:pt x="15" y="42"/>
                  </a:cubicBezTo>
                  <a:lnTo>
                    <a:pt x="2" y="29"/>
                  </a:lnTo>
                  <a:cubicBezTo>
                    <a:pt x="0" y="27"/>
                    <a:pt x="0" y="24"/>
                    <a:pt x="2" y="22"/>
                  </a:cubicBezTo>
                  <a:lnTo>
                    <a:pt x="23" y="1"/>
                  </a:lnTo>
                  <a:cubicBezTo>
                    <a:pt x="24" y="0"/>
                    <a:pt x="25" y="0"/>
                    <a:pt x="27" y="0"/>
                  </a:cubicBezTo>
                  <a:cubicBezTo>
                    <a:pt x="28" y="0"/>
                    <a:pt x="28" y="0"/>
                    <a:pt x="29" y="0"/>
                  </a:cubicBezTo>
                  <a:cubicBezTo>
                    <a:pt x="31" y="2"/>
                    <a:pt x="32" y="4"/>
                    <a:pt x="31" y="6"/>
                  </a:cubicBezTo>
                  <a:lnTo>
                    <a:pt x="23" y="40"/>
                  </a:lnTo>
                  <a:cubicBezTo>
                    <a:pt x="22" y="41"/>
                    <a:pt x="21" y="42"/>
                    <a:pt x="19" y="43"/>
                  </a:cubicBezTo>
                  <a:lnTo>
                    <a:pt x="19" y="43"/>
                  </a:lnTo>
                  <a:lnTo>
                    <a:pt x="18" y="43"/>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3" name="Freeform 648"/>
            <p:cNvSpPr>
              <a:spLocks noChangeArrowheads="1"/>
            </p:cNvSpPr>
            <p:nvPr/>
          </p:nvSpPr>
          <p:spPr bwMode="auto">
            <a:xfrm>
              <a:off x="7966075" y="3983038"/>
              <a:ext cx="11113" cy="15875"/>
            </a:xfrm>
            <a:custGeom>
              <a:avLst/>
              <a:gdLst/>
              <a:ahLst/>
              <a:cxnLst>
                <a:cxn ang="0">
                  <a:pos x="18" y="43"/>
                </a:cxn>
                <a:cxn ang="0">
                  <a:pos x="15" y="42"/>
                </a:cxn>
                <a:cxn ang="0">
                  <a:pos x="2" y="29"/>
                </a:cxn>
                <a:cxn ang="0">
                  <a:pos x="2" y="22"/>
                </a:cxn>
                <a:cxn ang="0">
                  <a:pos x="23" y="1"/>
                </a:cxn>
                <a:cxn ang="0">
                  <a:pos x="27" y="0"/>
                </a:cxn>
                <a:cxn ang="0">
                  <a:pos x="29" y="0"/>
                </a:cxn>
                <a:cxn ang="0">
                  <a:pos x="31" y="6"/>
                </a:cxn>
                <a:cxn ang="0">
                  <a:pos x="23" y="40"/>
                </a:cxn>
                <a:cxn ang="0">
                  <a:pos x="19" y="43"/>
                </a:cxn>
                <a:cxn ang="0">
                  <a:pos x="19" y="43"/>
                </a:cxn>
              </a:cxnLst>
              <a:rect l="0" t="0" r="r" b="b"/>
              <a:pathLst>
                <a:path w="33" h="44">
                  <a:moveTo>
                    <a:pt x="18" y="43"/>
                  </a:moveTo>
                  <a:cubicBezTo>
                    <a:pt x="17" y="43"/>
                    <a:pt x="16" y="43"/>
                    <a:pt x="15" y="42"/>
                  </a:cubicBezTo>
                  <a:lnTo>
                    <a:pt x="2" y="29"/>
                  </a:lnTo>
                  <a:cubicBezTo>
                    <a:pt x="0" y="27"/>
                    <a:pt x="0" y="24"/>
                    <a:pt x="2" y="22"/>
                  </a:cubicBezTo>
                  <a:lnTo>
                    <a:pt x="23" y="1"/>
                  </a:lnTo>
                  <a:cubicBezTo>
                    <a:pt x="24" y="0"/>
                    <a:pt x="25" y="0"/>
                    <a:pt x="27" y="0"/>
                  </a:cubicBezTo>
                  <a:cubicBezTo>
                    <a:pt x="28" y="0"/>
                    <a:pt x="28" y="0"/>
                    <a:pt x="29" y="0"/>
                  </a:cubicBezTo>
                  <a:cubicBezTo>
                    <a:pt x="31" y="2"/>
                    <a:pt x="32" y="4"/>
                    <a:pt x="31" y="6"/>
                  </a:cubicBezTo>
                  <a:lnTo>
                    <a:pt x="23" y="40"/>
                  </a:lnTo>
                  <a:cubicBezTo>
                    <a:pt x="22" y="41"/>
                    <a:pt x="21" y="42"/>
                    <a:pt x="19" y="43"/>
                  </a:cubicBezTo>
                  <a:lnTo>
                    <a:pt x="19" y="43"/>
                  </a:lnTo>
                </a:path>
              </a:pathLst>
            </a:custGeom>
            <a:noFill/>
            <a:ln w="3600" cap="rnd">
              <a:solidFill>
                <a:srgbClr val="FFFFFF"/>
              </a:solidFill>
              <a:round/>
              <a:headEnd/>
              <a:tailEnd/>
            </a:ln>
            <a:effectLst/>
          </p:spPr>
          <p:txBody>
            <a:bodyPr>
              <a:prstTxWarp prst="textNoShape">
                <a:avLst/>
              </a:prstTxWarp>
            </a:bodyPr>
            <a:lstStyle/>
            <a:p>
              <a:pPr>
                <a:buNone/>
              </a:pPr>
              <a:endParaRPr lang="en-US" dirty="0">
                <a:latin typeface="Arial" pitchFamily="34" charset="0"/>
                <a:cs typeface="Arial" pitchFamily="34" charset="0"/>
              </a:endParaRPr>
            </a:p>
          </p:txBody>
        </p:sp>
        <p:sp>
          <p:nvSpPr>
            <p:cNvPr id="654" name="Freeform 649"/>
            <p:cNvSpPr>
              <a:spLocks noChangeArrowheads="1"/>
            </p:cNvSpPr>
            <p:nvPr/>
          </p:nvSpPr>
          <p:spPr bwMode="auto">
            <a:xfrm>
              <a:off x="7980363" y="3983038"/>
              <a:ext cx="23812" cy="11112"/>
            </a:xfrm>
            <a:custGeom>
              <a:avLst/>
              <a:gdLst/>
              <a:ahLst/>
              <a:cxnLst>
                <a:cxn ang="0">
                  <a:pos x="13" y="28"/>
                </a:cxn>
                <a:cxn ang="0">
                  <a:pos x="1" y="7"/>
                </a:cxn>
                <a:cxn ang="0">
                  <a:pos x="1" y="2"/>
                </a:cxn>
                <a:cxn ang="0">
                  <a:pos x="5" y="0"/>
                </a:cxn>
                <a:cxn ang="0">
                  <a:pos x="60" y="8"/>
                </a:cxn>
                <a:cxn ang="0">
                  <a:pos x="64" y="13"/>
                </a:cxn>
                <a:cxn ang="0">
                  <a:pos x="61" y="18"/>
                </a:cxn>
                <a:cxn ang="0">
                  <a:pos x="19" y="30"/>
                </a:cxn>
                <a:cxn ang="0">
                  <a:pos x="17" y="30"/>
                </a:cxn>
                <a:cxn ang="0">
                  <a:pos x="13" y="28"/>
                </a:cxn>
              </a:cxnLst>
              <a:rect l="0" t="0" r="r" b="b"/>
              <a:pathLst>
                <a:path w="66" h="31">
                  <a:moveTo>
                    <a:pt x="13" y="28"/>
                  </a:moveTo>
                  <a:lnTo>
                    <a:pt x="1" y="7"/>
                  </a:lnTo>
                  <a:cubicBezTo>
                    <a:pt x="0" y="5"/>
                    <a:pt x="0" y="3"/>
                    <a:pt x="1" y="2"/>
                  </a:cubicBezTo>
                  <a:cubicBezTo>
                    <a:pt x="2" y="1"/>
                    <a:pt x="3" y="0"/>
                    <a:pt x="5" y="0"/>
                  </a:cubicBezTo>
                  <a:lnTo>
                    <a:pt x="60" y="8"/>
                  </a:lnTo>
                  <a:cubicBezTo>
                    <a:pt x="63" y="9"/>
                    <a:pt x="64" y="11"/>
                    <a:pt x="64" y="13"/>
                  </a:cubicBezTo>
                  <a:cubicBezTo>
                    <a:pt x="65" y="15"/>
                    <a:pt x="63" y="17"/>
                    <a:pt x="61" y="18"/>
                  </a:cubicBezTo>
                  <a:lnTo>
                    <a:pt x="19" y="30"/>
                  </a:lnTo>
                  <a:cubicBezTo>
                    <a:pt x="18" y="30"/>
                    <a:pt x="18" y="30"/>
                    <a:pt x="17" y="30"/>
                  </a:cubicBezTo>
                  <a:cubicBezTo>
                    <a:pt x="16" y="30"/>
                    <a:pt x="14" y="30"/>
                    <a:pt x="13" y="28"/>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5" name="Freeform 650"/>
            <p:cNvSpPr>
              <a:spLocks noChangeArrowheads="1"/>
            </p:cNvSpPr>
            <p:nvPr/>
          </p:nvSpPr>
          <p:spPr bwMode="auto">
            <a:xfrm>
              <a:off x="7980363" y="3983038"/>
              <a:ext cx="23812" cy="11112"/>
            </a:xfrm>
            <a:custGeom>
              <a:avLst/>
              <a:gdLst/>
              <a:ahLst/>
              <a:cxnLst>
                <a:cxn ang="0">
                  <a:pos x="17" y="30"/>
                </a:cxn>
                <a:cxn ang="0">
                  <a:pos x="13" y="28"/>
                </a:cxn>
                <a:cxn ang="0">
                  <a:pos x="1" y="7"/>
                </a:cxn>
                <a:cxn ang="0">
                  <a:pos x="1" y="2"/>
                </a:cxn>
                <a:cxn ang="0">
                  <a:pos x="5" y="0"/>
                </a:cxn>
                <a:cxn ang="0">
                  <a:pos x="60" y="8"/>
                </a:cxn>
                <a:cxn ang="0">
                  <a:pos x="64" y="13"/>
                </a:cxn>
                <a:cxn ang="0">
                  <a:pos x="61" y="18"/>
                </a:cxn>
                <a:cxn ang="0">
                  <a:pos x="19" y="30"/>
                </a:cxn>
                <a:cxn ang="0">
                  <a:pos x="17" y="30"/>
                </a:cxn>
              </a:cxnLst>
              <a:rect l="0" t="0" r="r" b="b"/>
              <a:pathLst>
                <a:path w="66" h="31">
                  <a:moveTo>
                    <a:pt x="17" y="30"/>
                  </a:moveTo>
                  <a:cubicBezTo>
                    <a:pt x="16" y="30"/>
                    <a:pt x="14" y="30"/>
                    <a:pt x="13" y="28"/>
                  </a:cubicBezTo>
                  <a:lnTo>
                    <a:pt x="1" y="7"/>
                  </a:lnTo>
                  <a:cubicBezTo>
                    <a:pt x="0" y="5"/>
                    <a:pt x="0" y="3"/>
                    <a:pt x="1" y="2"/>
                  </a:cubicBezTo>
                  <a:cubicBezTo>
                    <a:pt x="2" y="1"/>
                    <a:pt x="3" y="0"/>
                    <a:pt x="5" y="0"/>
                  </a:cubicBezTo>
                  <a:lnTo>
                    <a:pt x="60" y="8"/>
                  </a:lnTo>
                  <a:cubicBezTo>
                    <a:pt x="63" y="9"/>
                    <a:pt x="64" y="11"/>
                    <a:pt x="64" y="13"/>
                  </a:cubicBezTo>
                  <a:cubicBezTo>
                    <a:pt x="65" y="15"/>
                    <a:pt x="63" y="17"/>
                    <a:pt x="61" y="18"/>
                  </a:cubicBezTo>
                  <a:lnTo>
                    <a:pt x="19" y="30"/>
                  </a:lnTo>
                  <a:cubicBezTo>
                    <a:pt x="18" y="30"/>
                    <a:pt x="18" y="30"/>
                    <a:pt x="17" y="3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6" name="Freeform 651"/>
            <p:cNvSpPr>
              <a:spLocks noChangeArrowheads="1"/>
            </p:cNvSpPr>
            <p:nvPr/>
          </p:nvSpPr>
          <p:spPr bwMode="auto">
            <a:xfrm>
              <a:off x="7932738" y="4051300"/>
              <a:ext cx="19050" cy="17463"/>
            </a:xfrm>
            <a:custGeom>
              <a:avLst/>
              <a:gdLst/>
              <a:ahLst/>
              <a:cxnLst>
                <a:cxn ang="0">
                  <a:pos x="1" y="45"/>
                </a:cxn>
                <a:cxn ang="0">
                  <a:pos x="2" y="39"/>
                </a:cxn>
                <a:cxn ang="0">
                  <a:pos x="45" y="2"/>
                </a:cxn>
                <a:cxn ang="0">
                  <a:pos x="48" y="0"/>
                </a:cxn>
                <a:cxn ang="0">
                  <a:pos x="50" y="1"/>
                </a:cxn>
                <a:cxn ang="0">
                  <a:pos x="52" y="7"/>
                </a:cxn>
                <a:cxn ang="0">
                  <a:pos x="39" y="36"/>
                </a:cxn>
                <a:cxn ang="0">
                  <a:pos x="36" y="39"/>
                </a:cxn>
                <a:cxn ang="0">
                  <a:pos x="7" y="47"/>
                </a:cxn>
                <a:cxn ang="0">
                  <a:pos x="5" y="48"/>
                </a:cxn>
                <a:cxn ang="0">
                  <a:pos x="1" y="45"/>
                </a:cxn>
              </a:cxnLst>
              <a:rect l="0" t="0" r="r" b="b"/>
              <a:pathLst>
                <a:path w="54" h="49">
                  <a:moveTo>
                    <a:pt x="1" y="45"/>
                  </a:moveTo>
                  <a:cubicBezTo>
                    <a:pt x="0" y="43"/>
                    <a:pt x="1" y="41"/>
                    <a:pt x="2" y="39"/>
                  </a:cubicBezTo>
                  <a:lnTo>
                    <a:pt x="45" y="2"/>
                  </a:lnTo>
                  <a:cubicBezTo>
                    <a:pt x="45" y="1"/>
                    <a:pt x="47" y="0"/>
                    <a:pt x="48" y="0"/>
                  </a:cubicBezTo>
                  <a:cubicBezTo>
                    <a:pt x="49" y="0"/>
                    <a:pt x="50" y="1"/>
                    <a:pt x="50" y="1"/>
                  </a:cubicBezTo>
                  <a:cubicBezTo>
                    <a:pt x="52" y="2"/>
                    <a:pt x="53" y="5"/>
                    <a:pt x="52" y="7"/>
                  </a:cubicBezTo>
                  <a:lnTo>
                    <a:pt x="39" y="36"/>
                  </a:lnTo>
                  <a:cubicBezTo>
                    <a:pt x="39" y="38"/>
                    <a:pt x="38" y="39"/>
                    <a:pt x="36" y="39"/>
                  </a:cubicBezTo>
                  <a:lnTo>
                    <a:pt x="7" y="47"/>
                  </a:lnTo>
                  <a:cubicBezTo>
                    <a:pt x="6" y="48"/>
                    <a:pt x="6" y="48"/>
                    <a:pt x="5" y="48"/>
                  </a:cubicBezTo>
                  <a:cubicBezTo>
                    <a:pt x="4" y="48"/>
                    <a:pt x="2" y="47"/>
                    <a:pt x="1" y="4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7" name="Freeform 652"/>
            <p:cNvSpPr>
              <a:spLocks noChangeArrowheads="1"/>
            </p:cNvSpPr>
            <p:nvPr/>
          </p:nvSpPr>
          <p:spPr bwMode="auto">
            <a:xfrm>
              <a:off x="7932738" y="4051300"/>
              <a:ext cx="19050" cy="17463"/>
            </a:xfrm>
            <a:custGeom>
              <a:avLst/>
              <a:gdLst/>
              <a:ahLst/>
              <a:cxnLst>
                <a:cxn ang="0">
                  <a:pos x="5" y="48"/>
                </a:cxn>
                <a:cxn ang="0">
                  <a:pos x="1" y="45"/>
                </a:cxn>
                <a:cxn ang="0">
                  <a:pos x="2" y="39"/>
                </a:cxn>
                <a:cxn ang="0">
                  <a:pos x="45" y="2"/>
                </a:cxn>
                <a:cxn ang="0">
                  <a:pos x="48" y="0"/>
                </a:cxn>
                <a:cxn ang="0">
                  <a:pos x="50" y="1"/>
                </a:cxn>
                <a:cxn ang="0">
                  <a:pos x="52" y="7"/>
                </a:cxn>
                <a:cxn ang="0">
                  <a:pos x="39" y="36"/>
                </a:cxn>
                <a:cxn ang="0">
                  <a:pos x="36" y="39"/>
                </a:cxn>
                <a:cxn ang="0">
                  <a:pos x="7" y="47"/>
                </a:cxn>
                <a:cxn ang="0">
                  <a:pos x="5" y="48"/>
                </a:cxn>
              </a:cxnLst>
              <a:rect l="0" t="0" r="r" b="b"/>
              <a:pathLst>
                <a:path w="54" h="49">
                  <a:moveTo>
                    <a:pt x="5" y="48"/>
                  </a:moveTo>
                  <a:cubicBezTo>
                    <a:pt x="4" y="48"/>
                    <a:pt x="2" y="47"/>
                    <a:pt x="1" y="45"/>
                  </a:cubicBezTo>
                  <a:cubicBezTo>
                    <a:pt x="0" y="43"/>
                    <a:pt x="1" y="41"/>
                    <a:pt x="2" y="39"/>
                  </a:cubicBezTo>
                  <a:lnTo>
                    <a:pt x="45" y="2"/>
                  </a:lnTo>
                  <a:cubicBezTo>
                    <a:pt x="45" y="1"/>
                    <a:pt x="47" y="0"/>
                    <a:pt x="48" y="0"/>
                  </a:cubicBezTo>
                  <a:cubicBezTo>
                    <a:pt x="49" y="0"/>
                    <a:pt x="50" y="1"/>
                    <a:pt x="50" y="1"/>
                  </a:cubicBezTo>
                  <a:cubicBezTo>
                    <a:pt x="52" y="2"/>
                    <a:pt x="53" y="5"/>
                    <a:pt x="52" y="7"/>
                  </a:cubicBezTo>
                  <a:lnTo>
                    <a:pt x="39" y="36"/>
                  </a:lnTo>
                  <a:cubicBezTo>
                    <a:pt x="39" y="38"/>
                    <a:pt x="38" y="39"/>
                    <a:pt x="36" y="39"/>
                  </a:cubicBezTo>
                  <a:lnTo>
                    <a:pt x="7" y="47"/>
                  </a:lnTo>
                  <a:cubicBezTo>
                    <a:pt x="6" y="48"/>
                    <a:pt x="6" y="48"/>
                    <a:pt x="5" y="4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8" name="Freeform 653"/>
            <p:cNvSpPr>
              <a:spLocks noChangeArrowheads="1"/>
            </p:cNvSpPr>
            <p:nvPr/>
          </p:nvSpPr>
          <p:spPr bwMode="auto">
            <a:xfrm>
              <a:off x="7954963" y="3989388"/>
              <a:ext cx="112712" cy="63500"/>
            </a:xfrm>
            <a:custGeom>
              <a:avLst/>
              <a:gdLst/>
              <a:ahLst/>
              <a:cxnLst>
                <a:cxn ang="0">
                  <a:pos x="4" y="170"/>
                </a:cxn>
                <a:cxn ang="0">
                  <a:pos x="1" y="168"/>
                </a:cxn>
                <a:cxn ang="0">
                  <a:pos x="0" y="164"/>
                </a:cxn>
                <a:cxn ang="0">
                  <a:pos x="21" y="100"/>
                </a:cxn>
                <a:cxn ang="0">
                  <a:pos x="24" y="98"/>
                </a:cxn>
                <a:cxn ang="0">
                  <a:pos x="100" y="60"/>
                </a:cxn>
                <a:cxn ang="0">
                  <a:pos x="128" y="23"/>
                </a:cxn>
                <a:cxn ang="0">
                  <a:pos x="131" y="21"/>
                </a:cxn>
                <a:cxn ang="0">
                  <a:pos x="305" y="0"/>
                </a:cxn>
                <a:cxn ang="0">
                  <a:pos x="309" y="1"/>
                </a:cxn>
                <a:cxn ang="0">
                  <a:pos x="310" y="5"/>
                </a:cxn>
                <a:cxn ang="0">
                  <a:pos x="306" y="31"/>
                </a:cxn>
                <a:cxn ang="0">
                  <a:pos x="303" y="34"/>
                </a:cxn>
                <a:cxn ang="0">
                  <a:pos x="133" y="94"/>
                </a:cxn>
                <a:cxn ang="0">
                  <a:pos x="102" y="147"/>
                </a:cxn>
                <a:cxn ang="0">
                  <a:pos x="36" y="174"/>
                </a:cxn>
                <a:cxn ang="0">
                  <a:pos x="34" y="174"/>
                </a:cxn>
                <a:cxn ang="0">
                  <a:pos x="4" y="170"/>
                </a:cxn>
              </a:cxnLst>
              <a:rect l="0" t="0" r="r" b="b"/>
              <a:pathLst>
                <a:path w="311" h="175">
                  <a:moveTo>
                    <a:pt x="4" y="170"/>
                  </a:moveTo>
                  <a:cubicBezTo>
                    <a:pt x="3" y="170"/>
                    <a:pt x="1" y="169"/>
                    <a:pt x="1" y="168"/>
                  </a:cubicBezTo>
                  <a:cubicBezTo>
                    <a:pt x="0" y="167"/>
                    <a:pt x="0" y="165"/>
                    <a:pt x="0" y="164"/>
                  </a:cubicBezTo>
                  <a:lnTo>
                    <a:pt x="21" y="100"/>
                  </a:lnTo>
                  <a:cubicBezTo>
                    <a:pt x="22" y="99"/>
                    <a:pt x="23" y="98"/>
                    <a:pt x="24" y="98"/>
                  </a:cubicBezTo>
                  <a:lnTo>
                    <a:pt x="100" y="60"/>
                  </a:lnTo>
                  <a:lnTo>
                    <a:pt x="128" y="23"/>
                  </a:lnTo>
                  <a:cubicBezTo>
                    <a:pt x="129" y="22"/>
                    <a:pt x="130" y="21"/>
                    <a:pt x="131" y="21"/>
                  </a:cubicBezTo>
                  <a:lnTo>
                    <a:pt x="305" y="0"/>
                  </a:lnTo>
                  <a:cubicBezTo>
                    <a:pt x="307" y="0"/>
                    <a:pt x="308" y="0"/>
                    <a:pt x="309" y="1"/>
                  </a:cubicBezTo>
                  <a:cubicBezTo>
                    <a:pt x="310" y="2"/>
                    <a:pt x="310" y="4"/>
                    <a:pt x="310" y="5"/>
                  </a:cubicBezTo>
                  <a:lnTo>
                    <a:pt x="306" y="31"/>
                  </a:lnTo>
                  <a:cubicBezTo>
                    <a:pt x="305" y="32"/>
                    <a:pt x="304" y="34"/>
                    <a:pt x="303" y="34"/>
                  </a:cubicBezTo>
                  <a:lnTo>
                    <a:pt x="133" y="94"/>
                  </a:lnTo>
                  <a:lnTo>
                    <a:pt x="102" y="147"/>
                  </a:lnTo>
                  <a:lnTo>
                    <a:pt x="36" y="174"/>
                  </a:lnTo>
                  <a:cubicBezTo>
                    <a:pt x="35" y="174"/>
                    <a:pt x="35" y="174"/>
                    <a:pt x="34" y="174"/>
                  </a:cubicBezTo>
                  <a:lnTo>
                    <a:pt x="4" y="17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59" name="Freeform 654"/>
            <p:cNvSpPr>
              <a:spLocks noChangeArrowheads="1"/>
            </p:cNvSpPr>
            <p:nvPr/>
          </p:nvSpPr>
          <p:spPr bwMode="auto">
            <a:xfrm>
              <a:off x="7954963" y="3989388"/>
              <a:ext cx="112712" cy="63500"/>
            </a:xfrm>
            <a:custGeom>
              <a:avLst/>
              <a:gdLst/>
              <a:ahLst/>
              <a:cxnLst>
                <a:cxn ang="0">
                  <a:pos x="4" y="170"/>
                </a:cxn>
                <a:cxn ang="0">
                  <a:pos x="1" y="168"/>
                </a:cxn>
                <a:cxn ang="0">
                  <a:pos x="0" y="164"/>
                </a:cxn>
                <a:cxn ang="0">
                  <a:pos x="21" y="100"/>
                </a:cxn>
                <a:cxn ang="0">
                  <a:pos x="24" y="98"/>
                </a:cxn>
                <a:cxn ang="0">
                  <a:pos x="100" y="60"/>
                </a:cxn>
                <a:cxn ang="0">
                  <a:pos x="128" y="23"/>
                </a:cxn>
                <a:cxn ang="0">
                  <a:pos x="131" y="21"/>
                </a:cxn>
                <a:cxn ang="0">
                  <a:pos x="305" y="0"/>
                </a:cxn>
                <a:cxn ang="0">
                  <a:pos x="309" y="1"/>
                </a:cxn>
                <a:cxn ang="0">
                  <a:pos x="310" y="5"/>
                </a:cxn>
                <a:cxn ang="0">
                  <a:pos x="306" y="31"/>
                </a:cxn>
                <a:cxn ang="0">
                  <a:pos x="303" y="34"/>
                </a:cxn>
                <a:cxn ang="0">
                  <a:pos x="133" y="94"/>
                </a:cxn>
                <a:cxn ang="0">
                  <a:pos x="102" y="147"/>
                </a:cxn>
                <a:cxn ang="0">
                  <a:pos x="36" y="174"/>
                </a:cxn>
                <a:cxn ang="0">
                  <a:pos x="34" y="174"/>
                </a:cxn>
                <a:cxn ang="0">
                  <a:pos x="4" y="170"/>
                </a:cxn>
              </a:cxnLst>
              <a:rect l="0" t="0" r="r" b="b"/>
              <a:pathLst>
                <a:path w="311" h="175">
                  <a:moveTo>
                    <a:pt x="4" y="170"/>
                  </a:moveTo>
                  <a:cubicBezTo>
                    <a:pt x="3" y="170"/>
                    <a:pt x="1" y="169"/>
                    <a:pt x="1" y="168"/>
                  </a:cubicBezTo>
                  <a:cubicBezTo>
                    <a:pt x="0" y="167"/>
                    <a:pt x="0" y="165"/>
                    <a:pt x="0" y="164"/>
                  </a:cubicBezTo>
                  <a:lnTo>
                    <a:pt x="21" y="100"/>
                  </a:lnTo>
                  <a:cubicBezTo>
                    <a:pt x="22" y="99"/>
                    <a:pt x="23" y="98"/>
                    <a:pt x="24" y="98"/>
                  </a:cubicBezTo>
                  <a:lnTo>
                    <a:pt x="100" y="60"/>
                  </a:lnTo>
                  <a:lnTo>
                    <a:pt x="128" y="23"/>
                  </a:lnTo>
                  <a:cubicBezTo>
                    <a:pt x="129" y="22"/>
                    <a:pt x="130" y="21"/>
                    <a:pt x="131" y="21"/>
                  </a:cubicBezTo>
                  <a:lnTo>
                    <a:pt x="305" y="0"/>
                  </a:lnTo>
                  <a:cubicBezTo>
                    <a:pt x="307" y="0"/>
                    <a:pt x="308" y="0"/>
                    <a:pt x="309" y="1"/>
                  </a:cubicBezTo>
                  <a:cubicBezTo>
                    <a:pt x="310" y="2"/>
                    <a:pt x="310" y="4"/>
                    <a:pt x="310" y="5"/>
                  </a:cubicBezTo>
                  <a:lnTo>
                    <a:pt x="306" y="31"/>
                  </a:lnTo>
                  <a:cubicBezTo>
                    <a:pt x="305" y="32"/>
                    <a:pt x="304" y="34"/>
                    <a:pt x="303" y="34"/>
                  </a:cubicBezTo>
                  <a:lnTo>
                    <a:pt x="133" y="94"/>
                  </a:lnTo>
                  <a:lnTo>
                    <a:pt x="102" y="147"/>
                  </a:lnTo>
                  <a:lnTo>
                    <a:pt x="36" y="174"/>
                  </a:lnTo>
                  <a:cubicBezTo>
                    <a:pt x="35" y="174"/>
                    <a:pt x="35" y="174"/>
                    <a:pt x="34" y="174"/>
                  </a:cubicBezTo>
                  <a:lnTo>
                    <a:pt x="4" y="17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0" name="Freeform 655"/>
            <p:cNvSpPr>
              <a:spLocks noChangeArrowheads="1"/>
            </p:cNvSpPr>
            <p:nvPr/>
          </p:nvSpPr>
          <p:spPr bwMode="auto">
            <a:xfrm>
              <a:off x="8024813" y="3962400"/>
              <a:ext cx="33337" cy="19050"/>
            </a:xfrm>
            <a:custGeom>
              <a:avLst/>
              <a:gdLst/>
              <a:ahLst/>
              <a:cxnLst>
                <a:cxn ang="0">
                  <a:pos x="1" y="50"/>
                </a:cxn>
                <a:cxn ang="0">
                  <a:pos x="0" y="47"/>
                </a:cxn>
                <a:cxn ang="0">
                  <a:pos x="0" y="17"/>
                </a:cxn>
                <a:cxn ang="0">
                  <a:pos x="3" y="13"/>
                </a:cxn>
                <a:cxn ang="0">
                  <a:pos x="63" y="0"/>
                </a:cxn>
                <a:cxn ang="0">
                  <a:pos x="64" y="0"/>
                </a:cxn>
                <a:cxn ang="0">
                  <a:pos x="66" y="0"/>
                </a:cxn>
                <a:cxn ang="0">
                  <a:pos x="87" y="13"/>
                </a:cxn>
                <a:cxn ang="0">
                  <a:pos x="90" y="17"/>
                </a:cxn>
                <a:cxn ang="0">
                  <a:pos x="87" y="21"/>
                </a:cxn>
                <a:cxn ang="0">
                  <a:pos x="54" y="42"/>
                </a:cxn>
                <a:cxn ang="0">
                  <a:pos x="4" y="52"/>
                </a:cxn>
                <a:cxn ang="0">
                  <a:pos x="1" y="50"/>
                </a:cxn>
              </a:cxnLst>
              <a:rect l="0" t="0" r="r" b="b"/>
              <a:pathLst>
                <a:path w="91" h="53">
                  <a:moveTo>
                    <a:pt x="1" y="50"/>
                  </a:moveTo>
                  <a:cubicBezTo>
                    <a:pt x="0" y="50"/>
                    <a:pt x="0" y="48"/>
                    <a:pt x="0" y="47"/>
                  </a:cubicBezTo>
                  <a:lnTo>
                    <a:pt x="0" y="17"/>
                  </a:lnTo>
                  <a:cubicBezTo>
                    <a:pt x="0" y="15"/>
                    <a:pt x="1" y="13"/>
                    <a:pt x="3" y="13"/>
                  </a:cubicBezTo>
                  <a:lnTo>
                    <a:pt x="63" y="0"/>
                  </a:lnTo>
                  <a:cubicBezTo>
                    <a:pt x="63" y="0"/>
                    <a:pt x="63" y="0"/>
                    <a:pt x="64" y="0"/>
                  </a:cubicBezTo>
                  <a:cubicBezTo>
                    <a:pt x="65" y="0"/>
                    <a:pt x="65" y="0"/>
                    <a:pt x="66" y="0"/>
                  </a:cubicBezTo>
                  <a:lnTo>
                    <a:pt x="87" y="13"/>
                  </a:lnTo>
                  <a:cubicBezTo>
                    <a:pt x="89" y="14"/>
                    <a:pt x="90" y="16"/>
                    <a:pt x="90" y="17"/>
                  </a:cubicBezTo>
                  <a:cubicBezTo>
                    <a:pt x="90" y="19"/>
                    <a:pt x="89" y="20"/>
                    <a:pt x="87" y="21"/>
                  </a:cubicBezTo>
                  <a:lnTo>
                    <a:pt x="54" y="42"/>
                  </a:lnTo>
                  <a:lnTo>
                    <a:pt x="4" y="52"/>
                  </a:lnTo>
                  <a:cubicBezTo>
                    <a:pt x="3" y="52"/>
                    <a:pt x="2" y="51"/>
                    <a:pt x="1" y="5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1" name="Freeform 656"/>
            <p:cNvSpPr>
              <a:spLocks noChangeArrowheads="1"/>
            </p:cNvSpPr>
            <p:nvPr/>
          </p:nvSpPr>
          <p:spPr bwMode="auto">
            <a:xfrm>
              <a:off x="8024813" y="3962400"/>
              <a:ext cx="33337" cy="19050"/>
            </a:xfrm>
            <a:custGeom>
              <a:avLst/>
              <a:gdLst/>
              <a:ahLst/>
              <a:cxnLst>
                <a:cxn ang="0">
                  <a:pos x="4" y="52"/>
                </a:cxn>
                <a:cxn ang="0">
                  <a:pos x="1" y="50"/>
                </a:cxn>
                <a:cxn ang="0">
                  <a:pos x="0" y="47"/>
                </a:cxn>
                <a:cxn ang="0">
                  <a:pos x="0" y="17"/>
                </a:cxn>
                <a:cxn ang="0">
                  <a:pos x="3" y="13"/>
                </a:cxn>
                <a:cxn ang="0">
                  <a:pos x="63" y="0"/>
                </a:cxn>
                <a:cxn ang="0">
                  <a:pos x="64" y="0"/>
                </a:cxn>
                <a:cxn ang="0">
                  <a:pos x="66" y="0"/>
                </a:cxn>
                <a:cxn ang="0">
                  <a:pos x="87" y="13"/>
                </a:cxn>
                <a:cxn ang="0">
                  <a:pos x="90" y="17"/>
                </a:cxn>
                <a:cxn ang="0">
                  <a:pos x="87" y="21"/>
                </a:cxn>
                <a:cxn ang="0">
                  <a:pos x="54" y="42"/>
                </a:cxn>
                <a:cxn ang="0">
                  <a:pos x="4" y="52"/>
                </a:cxn>
              </a:cxnLst>
              <a:rect l="0" t="0" r="r" b="b"/>
              <a:pathLst>
                <a:path w="91" h="53">
                  <a:moveTo>
                    <a:pt x="4" y="52"/>
                  </a:moveTo>
                  <a:cubicBezTo>
                    <a:pt x="3" y="52"/>
                    <a:pt x="2" y="51"/>
                    <a:pt x="1" y="50"/>
                  </a:cubicBezTo>
                  <a:cubicBezTo>
                    <a:pt x="0" y="50"/>
                    <a:pt x="0" y="48"/>
                    <a:pt x="0" y="47"/>
                  </a:cubicBezTo>
                  <a:lnTo>
                    <a:pt x="0" y="17"/>
                  </a:lnTo>
                  <a:cubicBezTo>
                    <a:pt x="0" y="15"/>
                    <a:pt x="1" y="13"/>
                    <a:pt x="3" y="13"/>
                  </a:cubicBezTo>
                  <a:lnTo>
                    <a:pt x="63" y="0"/>
                  </a:lnTo>
                  <a:cubicBezTo>
                    <a:pt x="63" y="0"/>
                    <a:pt x="63" y="0"/>
                    <a:pt x="64" y="0"/>
                  </a:cubicBezTo>
                  <a:cubicBezTo>
                    <a:pt x="65" y="0"/>
                    <a:pt x="65" y="0"/>
                    <a:pt x="66" y="0"/>
                  </a:cubicBezTo>
                  <a:lnTo>
                    <a:pt x="87" y="13"/>
                  </a:lnTo>
                  <a:cubicBezTo>
                    <a:pt x="89" y="14"/>
                    <a:pt x="90" y="16"/>
                    <a:pt x="90" y="17"/>
                  </a:cubicBezTo>
                  <a:cubicBezTo>
                    <a:pt x="90" y="19"/>
                    <a:pt x="89" y="20"/>
                    <a:pt x="87" y="21"/>
                  </a:cubicBezTo>
                  <a:lnTo>
                    <a:pt x="54" y="42"/>
                  </a:lnTo>
                  <a:lnTo>
                    <a:pt x="4" y="5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2" name="Freeform 657"/>
            <p:cNvSpPr>
              <a:spLocks noChangeArrowheads="1"/>
            </p:cNvSpPr>
            <p:nvPr/>
          </p:nvSpPr>
          <p:spPr bwMode="auto">
            <a:xfrm>
              <a:off x="8183563" y="3951288"/>
              <a:ext cx="19050" cy="31750"/>
            </a:xfrm>
            <a:custGeom>
              <a:avLst/>
              <a:gdLst/>
              <a:ahLst/>
              <a:cxnLst>
                <a:cxn ang="0">
                  <a:pos x="17" y="86"/>
                </a:cxn>
                <a:cxn ang="0">
                  <a:pos x="14" y="83"/>
                </a:cxn>
                <a:cxn ang="0">
                  <a:pos x="1" y="62"/>
                </a:cxn>
                <a:cxn ang="0">
                  <a:pos x="1" y="58"/>
                </a:cxn>
                <a:cxn ang="0">
                  <a:pos x="26" y="3"/>
                </a:cxn>
                <a:cxn ang="0">
                  <a:pos x="30" y="0"/>
                </a:cxn>
                <a:cxn ang="0">
                  <a:pos x="32" y="0"/>
                </a:cxn>
                <a:cxn ang="0">
                  <a:pos x="49" y="4"/>
                </a:cxn>
                <a:cxn ang="0">
                  <a:pos x="52" y="9"/>
                </a:cxn>
                <a:cxn ang="0">
                  <a:pos x="52" y="43"/>
                </a:cxn>
                <a:cxn ang="0">
                  <a:pos x="21" y="84"/>
                </a:cxn>
                <a:cxn ang="0">
                  <a:pos x="18" y="86"/>
                </a:cxn>
                <a:cxn ang="0">
                  <a:pos x="17" y="86"/>
                </a:cxn>
              </a:cxnLst>
              <a:rect l="0" t="0" r="r" b="b"/>
              <a:pathLst>
                <a:path w="53" h="87">
                  <a:moveTo>
                    <a:pt x="17" y="86"/>
                  </a:moveTo>
                  <a:cubicBezTo>
                    <a:pt x="16" y="85"/>
                    <a:pt x="15" y="85"/>
                    <a:pt x="14" y="83"/>
                  </a:cubicBezTo>
                  <a:lnTo>
                    <a:pt x="1" y="62"/>
                  </a:lnTo>
                  <a:cubicBezTo>
                    <a:pt x="0" y="61"/>
                    <a:pt x="0" y="59"/>
                    <a:pt x="1" y="58"/>
                  </a:cubicBezTo>
                  <a:lnTo>
                    <a:pt x="26" y="3"/>
                  </a:lnTo>
                  <a:cubicBezTo>
                    <a:pt x="27" y="1"/>
                    <a:pt x="29" y="0"/>
                    <a:pt x="30" y="0"/>
                  </a:cubicBezTo>
                  <a:cubicBezTo>
                    <a:pt x="31" y="0"/>
                    <a:pt x="31" y="0"/>
                    <a:pt x="32" y="0"/>
                  </a:cubicBezTo>
                  <a:lnTo>
                    <a:pt x="49" y="4"/>
                  </a:lnTo>
                  <a:cubicBezTo>
                    <a:pt x="51" y="5"/>
                    <a:pt x="52" y="7"/>
                    <a:pt x="52" y="9"/>
                  </a:cubicBezTo>
                  <a:lnTo>
                    <a:pt x="52" y="43"/>
                  </a:lnTo>
                  <a:lnTo>
                    <a:pt x="21" y="84"/>
                  </a:lnTo>
                  <a:cubicBezTo>
                    <a:pt x="20" y="85"/>
                    <a:pt x="19" y="86"/>
                    <a:pt x="18" y="86"/>
                  </a:cubicBezTo>
                  <a:lnTo>
                    <a:pt x="17" y="86"/>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3" name="Freeform 658"/>
            <p:cNvSpPr>
              <a:spLocks noChangeArrowheads="1"/>
            </p:cNvSpPr>
            <p:nvPr/>
          </p:nvSpPr>
          <p:spPr bwMode="auto">
            <a:xfrm>
              <a:off x="8183563" y="3951288"/>
              <a:ext cx="19050" cy="31750"/>
            </a:xfrm>
            <a:custGeom>
              <a:avLst/>
              <a:gdLst/>
              <a:ahLst/>
              <a:cxnLst>
                <a:cxn ang="0">
                  <a:pos x="17" y="86"/>
                </a:cxn>
                <a:cxn ang="0">
                  <a:pos x="14" y="83"/>
                </a:cxn>
                <a:cxn ang="0">
                  <a:pos x="1" y="62"/>
                </a:cxn>
                <a:cxn ang="0">
                  <a:pos x="1" y="58"/>
                </a:cxn>
                <a:cxn ang="0">
                  <a:pos x="26" y="3"/>
                </a:cxn>
                <a:cxn ang="0">
                  <a:pos x="30" y="0"/>
                </a:cxn>
                <a:cxn ang="0">
                  <a:pos x="32" y="0"/>
                </a:cxn>
                <a:cxn ang="0">
                  <a:pos x="49" y="4"/>
                </a:cxn>
                <a:cxn ang="0">
                  <a:pos x="52" y="9"/>
                </a:cxn>
                <a:cxn ang="0">
                  <a:pos x="52" y="43"/>
                </a:cxn>
                <a:cxn ang="0">
                  <a:pos x="21" y="84"/>
                </a:cxn>
                <a:cxn ang="0">
                  <a:pos x="18" y="86"/>
                </a:cxn>
                <a:cxn ang="0">
                  <a:pos x="17" y="86"/>
                </a:cxn>
              </a:cxnLst>
              <a:rect l="0" t="0" r="r" b="b"/>
              <a:pathLst>
                <a:path w="53" h="87">
                  <a:moveTo>
                    <a:pt x="17" y="86"/>
                  </a:moveTo>
                  <a:cubicBezTo>
                    <a:pt x="16" y="85"/>
                    <a:pt x="15" y="85"/>
                    <a:pt x="14" y="83"/>
                  </a:cubicBezTo>
                  <a:lnTo>
                    <a:pt x="1" y="62"/>
                  </a:lnTo>
                  <a:cubicBezTo>
                    <a:pt x="0" y="61"/>
                    <a:pt x="0" y="59"/>
                    <a:pt x="1" y="58"/>
                  </a:cubicBezTo>
                  <a:lnTo>
                    <a:pt x="26" y="3"/>
                  </a:lnTo>
                  <a:cubicBezTo>
                    <a:pt x="27" y="1"/>
                    <a:pt x="29" y="0"/>
                    <a:pt x="30" y="0"/>
                  </a:cubicBezTo>
                  <a:cubicBezTo>
                    <a:pt x="31" y="0"/>
                    <a:pt x="31" y="0"/>
                    <a:pt x="32" y="0"/>
                  </a:cubicBezTo>
                  <a:lnTo>
                    <a:pt x="49" y="4"/>
                  </a:lnTo>
                  <a:cubicBezTo>
                    <a:pt x="51" y="5"/>
                    <a:pt x="52" y="7"/>
                    <a:pt x="52" y="9"/>
                  </a:cubicBezTo>
                  <a:lnTo>
                    <a:pt x="52" y="43"/>
                  </a:lnTo>
                  <a:lnTo>
                    <a:pt x="21" y="84"/>
                  </a:lnTo>
                  <a:cubicBezTo>
                    <a:pt x="20" y="85"/>
                    <a:pt x="19" y="86"/>
                    <a:pt x="18" y="86"/>
                  </a:cubicBezTo>
                  <a:lnTo>
                    <a:pt x="17" y="86"/>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4" name="Freeform 659"/>
            <p:cNvSpPr>
              <a:spLocks noChangeArrowheads="1"/>
            </p:cNvSpPr>
            <p:nvPr/>
          </p:nvSpPr>
          <p:spPr bwMode="auto">
            <a:xfrm>
              <a:off x="8270875" y="3924300"/>
              <a:ext cx="15875" cy="23813"/>
            </a:xfrm>
            <a:custGeom>
              <a:avLst/>
              <a:gdLst/>
              <a:ahLst/>
              <a:cxnLst>
                <a:cxn ang="0">
                  <a:pos x="21" y="64"/>
                </a:cxn>
                <a:cxn ang="0">
                  <a:pos x="18" y="62"/>
                </a:cxn>
                <a:cxn ang="0">
                  <a:pos x="1" y="37"/>
                </a:cxn>
                <a:cxn ang="0">
                  <a:pos x="1" y="31"/>
                </a:cxn>
                <a:cxn ang="0">
                  <a:pos x="5" y="30"/>
                </a:cxn>
                <a:cxn ang="0">
                  <a:pos x="6" y="30"/>
                </a:cxn>
                <a:cxn ang="0">
                  <a:pos x="11" y="31"/>
                </a:cxn>
                <a:cxn ang="0">
                  <a:pos x="4" y="6"/>
                </a:cxn>
                <a:cxn ang="0">
                  <a:pos x="6" y="1"/>
                </a:cxn>
                <a:cxn ang="0">
                  <a:pos x="9" y="0"/>
                </a:cxn>
                <a:cxn ang="0">
                  <a:pos x="12" y="1"/>
                </a:cxn>
                <a:cxn ang="0">
                  <a:pos x="42" y="27"/>
                </a:cxn>
                <a:cxn ang="0">
                  <a:pos x="42" y="32"/>
                </a:cxn>
                <a:cxn ang="0">
                  <a:pos x="26" y="62"/>
                </a:cxn>
                <a:cxn ang="0">
                  <a:pos x="22" y="64"/>
                </a:cxn>
                <a:cxn ang="0">
                  <a:pos x="21" y="64"/>
                </a:cxn>
              </a:cxnLst>
              <a:rect l="0" t="0" r="r" b="b"/>
              <a:pathLst>
                <a:path w="45" h="65">
                  <a:moveTo>
                    <a:pt x="21" y="64"/>
                  </a:moveTo>
                  <a:cubicBezTo>
                    <a:pt x="20" y="64"/>
                    <a:pt x="18" y="64"/>
                    <a:pt x="18" y="62"/>
                  </a:cubicBezTo>
                  <a:lnTo>
                    <a:pt x="1" y="37"/>
                  </a:lnTo>
                  <a:cubicBezTo>
                    <a:pt x="0" y="35"/>
                    <a:pt x="0" y="33"/>
                    <a:pt x="1" y="31"/>
                  </a:cubicBezTo>
                  <a:cubicBezTo>
                    <a:pt x="2" y="30"/>
                    <a:pt x="3" y="30"/>
                    <a:pt x="5" y="30"/>
                  </a:cubicBezTo>
                  <a:lnTo>
                    <a:pt x="6" y="30"/>
                  </a:lnTo>
                  <a:lnTo>
                    <a:pt x="11" y="31"/>
                  </a:lnTo>
                  <a:lnTo>
                    <a:pt x="4" y="6"/>
                  </a:lnTo>
                  <a:cubicBezTo>
                    <a:pt x="4" y="4"/>
                    <a:pt x="5" y="2"/>
                    <a:pt x="6" y="1"/>
                  </a:cubicBezTo>
                  <a:cubicBezTo>
                    <a:pt x="7" y="0"/>
                    <a:pt x="8" y="0"/>
                    <a:pt x="9" y="0"/>
                  </a:cubicBezTo>
                  <a:cubicBezTo>
                    <a:pt x="10" y="0"/>
                    <a:pt x="11" y="0"/>
                    <a:pt x="12" y="1"/>
                  </a:cubicBezTo>
                  <a:lnTo>
                    <a:pt x="42" y="27"/>
                  </a:lnTo>
                  <a:cubicBezTo>
                    <a:pt x="43" y="28"/>
                    <a:pt x="44" y="31"/>
                    <a:pt x="42" y="32"/>
                  </a:cubicBezTo>
                  <a:lnTo>
                    <a:pt x="26" y="62"/>
                  </a:lnTo>
                  <a:cubicBezTo>
                    <a:pt x="25" y="64"/>
                    <a:pt x="23" y="64"/>
                    <a:pt x="22" y="64"/>
                  </a:cubicBezTo>
                  <a:lnTo>
                    <a:pt x="21" y="64"/>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5" name="Freeform 660"/>
            <p:cNvSpPr>
              <a:spLocks noChangeArrowheads="1"/>
            </p:cNvSpPr>
            <p:nvPr/>
          </p:nvSpPr>
          <p:spPr bwMode="auto">
            <a:xfrm>
              <a:off x="8270875" y="3924300"/>
              <a:ext cx="15875" cy="23813"/>
            </a:xfrm>
            <a:custGeom>
              <a:avLst/>
              <a:gdLst/>
              <a:ahLst/>
              <a:cxnLst>
                <a:cxn ang="0">
                  <a:pos x="21" y="64"/>
                </a:cxn>
                <a:cxn ang="0">
                  <a:pos x="18" y="62"/>
                </a:cxn>
                <a:cxn ang="0">
                  <a:pos x="1" y="37"/>
                </a:cxn>
                <a:cxn ang="0">
                  <a:pos x="1" y="31"/>
                </a:cxn>
                <a:cxn ang="0">
                  <a:pos x="5" y="30"/>
                </a:cxn>
                <a:cxn ang="0">
                  <a:pos x="6" y="30"/>
                </a:cxn>
                <a:cxn ang="0">
                  <a:pos x="11" y="31"/>
                </a:cxn>
                <a:cxn ang="0">
                  <a:pos x="4" y="6"/>
                </a:cxn>
                <a:cxn ang="0">
                  <a:pos x="6" y="1"/>
                </a:cxn>
                <a:cxn ang="0">
                  <a:pos x="9" y="0"/>
                </a:cxn>
                <a:cxn ang="0">
                  <a:pos x="12" y="1"/>
                </a:cxn>
                <a:cxn ang="0">
                  <a:pos x="42" y="27"/>
                </a:cxn>
                <a:cxn ang="0">
                  <a:pos x="42" y="32"/>
                </a:cxn>
                <a:cxn ang="0">
                  <a:pos x="26" y="62"/>
                </a:cxn>
                <a:cxn ang="0">
                  <a:pos x="22" y="64"/>
                </a:cxn>
                <a:cxn ang="0">
                  <a:pos x="21" y="64"/>
                </a:cxn>
              </a:cxnLst>
              <a:rect l="0" t="0" r="r" b="b"/>
              <a:pathLst>
                <a:path w="45" h="65">
                  <a:moveTo>
                    <a:pt x="21" y="64"/>
                  </a:moveTo>
                  <a:cubicBezTo>
                    <a:pt x="20" y="64"/>
                    <a:pt x="18" y="64"/>
                    <a:pt x="18" y="62"/>
                  </a:cubicBezTo>
                  <a:lnTo>
                    <a:pt x="1" y="37"/>
                  </a:lnTo>
                  <a:cubicBezTo>
                    <a:pt x="0" y="35"/>
                    <a:pt x="0" y="33"/>
                    <a:pt x="1" y="31"/>
                  </a:cubicBezTo>
                  <a:cubicBezTo>
                    <a:pt x="2" y="30"/>
                    <a:pt x="3" y="30"/>
                    <a:pt x="5" y="30"/>
                  </a:cubicBezTo>
                  <a:lnTo>
                    <a:pt x="6" y="30"/>
                  </a:lnTo>
                  <a:lnTo>
                    <a:pt x="11" y="31"/>
                  </a:lnTo>
                  <a:lnTo>
                    <a:pt x="4" y="6"/>
                  </a:lnTo>
                  <a:cubicBezTo>
                    <a:pt x="4" y="4"/>
                    <a:pt x="5" y="2"/>
                    <a:pt x="6" y="1"/>
                  </a:cubicBezTo>
                  <a:cubicBezTo>
                    <a:pt x="7" y="0"/>
                    <a:pt x="8" y="0"/>
                    <a:pt x="9" y="0"/>
                  </a:cubicBezTo>
                  <a:cubicBezTo>
                    <a:pt x="10" y="0"/>
                    <a:pt x="11" y="0"/>
                    <a:pt x="12" y="1"/>
                  </a:cubicBezTo>
                  <a:lnTo>
                    <a:pt x="42" y="27"/>
                  </a:lnTo>
                  <a:cubicBezTo>
                    <a:pt x="43" y="28"/>
                    <a:pt x="44" y="31"/>
                    <a:pt x="42" y="32"/>
                  </a:cubicBezTo>
                  <a:lnTo>
                    <a:pt x="26" y="62"/>
                  </a:lnTo>
                  <a:cubicBezTo>
                    <a:pt x="25" y="64"/>
                    <a:pt x="23" y="64"/>
                    <a:pt x="22" y="64"/>
                  </a:cubicBezTo>
                  <a:lnTo>
                    <a:pt x="21" y="6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6" name="Freeform 661"/>
            <p:cNvSpPr>
              <a:spLocks noChangeArrowheads="1"/>
            </p:cNvSpPr>
            <p:nvPr/>
          </p:nvSpPr>
          <p:spPr bwMode="auto">
            <a:xfrm>
              <a:off x="8275638" y="3917950"/>
              <a:ext cx="14287" cy="19050"/>
            </a:xfrm>
            <a:custGeom>
              <a:avLst/>
              <a:gdLst/>
              <a:ahLst/>
              <a:cxnLst>
                <a:cxn ang="0">
                  <a:pos x="32" y="51"/>
                </a:cxn>
                <a:cxn ang="0">
                  <a:pos x="2" y="25"/>
                </a:cxn>
                <a:cxn ang="0">
                  <a:pos x="0" y="22"/>
                </a:cxn>
                <a:cxn ang="0">
                  <a:pos x="0" y="5"/>
                </a:cxn>
                <a:cxn ang="0">
                  <a:pos x="3" y="1"/>
                </a:cxn>
                <a:cxn ang="0">
                  <a:pos x="5" y="0"/>
                </a:cxn>
                <a:cxn ang="0">
                  <a:pos x="8" y="1"/>
                </a:cxn>
                <a:cxn ang="0">
                  <a:pos x="34" y="22"/>
                </a:cxn>
                <a:cxn ang="0">
                  <a:pos x="39" y="46"/>
                </a:cxn>
                <a:cxn ang="0">
                  <a:pos x="37" y="51"/>
                </a:cxn>
                <a:cxn ang="0">
                  <a:pos x="35" y="52"/>
                </a:cxn>
                <a:cxn ang="0">
                  <a:pos x="32" y="51"/>
                </a:cxn>
              </a:cxnLst>
              <a:rect l="0" t="0" r="r" b="b"/>
              <a:pathLst>
                <a:path w="41" h="53">
                  <a:moveTo>
                    <a:pt x="32" y="51"/>
                  </a:moveTo>
                  <a:lnTo>
                    <a:pt x="2" y="25"/>
                  </a:lnTo>
                  <a:cubicBezTo>
                    <a:pt x="1" y="24"/>
                    <a:pt x="0" y="23"/>
                    <a:pt x="0" y="22"/>
                  </a:cubicBezTo>
                  <a:lnTo>
                    <a:pt x="0" y="5"/>
                  </a:lnTo>
                  <a:cubicBezTo>
                    <a:pt x="0" y="3"/>
                    <a:pt x="1" y="1"/>
                    <a:pt x="3" y="1"/>
                  </a:cubicBezTo>
                  <a:cubicBezTo>
                    <a:pt x="4" y="0"/>
                    <a:pt x="5" y="0"/>
                    <a:pt x="5" y="0"/>
                  </a:cubicBezTo>
                  <a:cubicBezTo>
                    <a:pt x="6" y="0"/>
                    <a:pt x="7" y="1"/>
                    <a:pt x="8" y="1"/>
                  </a:cubicBezTo>
                  <a:lnTo>
                    <a:pt x="34" y="22"/>
                  </a:lnTo>
                  <a:lnTo>
                    <a:pt x="39" y="46"/>
                  </a:lnTo>
                  <a:cubicBezTo>
                    <a:pt x="40" y="48"/>
                    <a:pt x="39" y="50"/>
                    <a:pt x="37" y="51"/>
                  </a:cubicBezTo>
                  <a:cubicBezTo>
                    <a:pt x="36" y="52"/>
                    <a:pt x="36" y="52"/>
                    <a:pt x="35" y="52"/>
                  </a:cubicBezTo>
                  <a:cubicBezTo>
                    <a:pt x="34" y="52"/>
                    <a:pt x="33" y="52"/>
                    <a:pt x="32" y="51"/>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7" name="Freeform 662"/>
            <p:cNvSpPr>
              <a:spLocks noChangeArrowheads="1"/>
            </p:cNvSpPr>
            <p:nvPr/>
          </p:nvSpPr>
          <p:spPr bwMode="auto">
            <a:xfrm>
              <a:off x="8275638" y="3917950"/>
              <a:ext cx="14287" cy="19050"/>
            </a:xfrm>
            <a:custGeom>
              <a:avLst/>
              <a:gdLst/>
              <a:ahLst/>
              <a:cxnLst>
                <a:cxn ang="0">
                  <a:pos x="35" y="52"/>
                </a:cxn>
                <a:cxn ang="0">
                  <a:pos x="32" y="51"/>
                </a:cxn>
                <a:cxn ang="0">
                  <a:pos x="2" y="25"/>
                </a:cxn>
                <a:cxn ang="0">
                  <a:pos x="0" y="22"/>
                </a:cxn>
                <a:cxn ang="0">
                  <a:pos x="0" y="5"/>
                </a:cxn>
                <a:cxn ang="0">
                  <a:pos x="3" y="1"/>
                </a:cxn>
                <a:cxn ang="0">
                  <a:pos x="5" y="0"/>
                </a:cxn>
                <a:cxn ang="0">
                  <a:pos x="8" y="1"/>
                </a:cxn>
                <a:cxn ang="0">
                  <a:pos x="34" y="22"/>
                </a:cxn>
                <a:cxn ang="0">
                  <a:pos x="39" y="46"/>
                </a:cxn>
                <a:cxn ang="0">
                  <a:pos x="37" y="51"/>
                </a:cxn>
                <a:cxn ang="0">
                  <a:pos x="35" y="52"/>
                </a:cxn>
              </a:cxnLst>
              <a:rect l="0" t="0" r="r" b="b"/>
              <a:pathLst>
                <a:path w="41" h="53">
                  <a:moveTo>
                    <a:pt x="35" y="52"/>
                  </a:moveTo>
                  <a:cubicBezTo>
                    <a:pt x="34" y="52"/>
                    <a:pt x="33" y="52"/>
                    <a:pt x="32" y="51"/>
                  </a:cubicBezTo>
                  <a:lnTo>
                    <a:pt x="2" y="25"/>
                  </a:lnTo>
                  <a:cubicBezTo>
                    <a:pt x="1" y="24"/>
                    <a:pt x="0" y="23"/>
                    <a:pt x="0" y="22"/>
                  </a:cubicBezTo>
                  <a:lnTo>
                    <a:pt x="0" y="5"/>
                  </a:lnTo>
                  <a:cubicBezTo>
                    <a:pt x="0" y="3"/>
                    <a:pt x="1" y="1"/>
                    <a:pt x="3" y="1"/>
                  </a:cubicBezTo>
                  <a:cubicBezTo>
                    <a:pt x="4" y="0"/>
                    <a:pt x="5" y="0"/>
                    <a:pt x="5" y="0"/>
                  </a:cubicBezTo>
                  <a:cubicBezTo>
                    <a:pt x="6" y="0"/>
                    <a:pt x="7" y="1"/>
                    <a:pt x="8" y="1"/>
                  </a:cubicBezTo>
                  <a:lnTo>
                    <a:pt x="34" y="22"/>
                  </a:lnTo>
                  <a:lnTo>
                    <a:pt x="39" y="46"/>
                  </a:lnTo>
                  <a:cubicBezTo>
                    <a:pt x="40" y="48"/>
                    <a:pt x="39" y="50"/>
                    <a:pt x="37" y="51"/>
                  </a:cubicBezTo>
                  <a:cubicBezTo>
                    <a:pt x="36" y="52"/>
                    <a:pt x="36" y="52"/>
                    <a:pt x="35" y="5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8" name="Freeform 663"/>
            <p:cNvSpPr>
              <a:spLocks noChangeArrowheads="1"/>
            </p:cNvSpPr>
            <p:nvPr/>
          </p:nvSpPr>
          <p:spPr bwMode="auto">
            <a:xfrm>
              <a:off x="8277225" y="3898900"/>
              <a:ext cx="14288" cy="33338"/>
            </a:xfrm>
            <a:custGeom>
              <a:avLst/>
              <a:gdLst/>
              <a:ahLst/>
              <a:cxnLst>
                <a:cxn ang="0">
                  <a:pos x="32" y="90"/>
                </a:cxn>
                <a:cxn ang="0">
                  <a:pos x="11" y="81"/>
                </a:cxn>
                <a:cxn ang="0">
                  <a:pos x="8" y="77"/>
                </a:cxn>
                <a:cxn ang="0">
                  <a:pos x="8" y="46"/>
                </a:cxn>
                <a:cxn ang="0">
                  <a:pos x="2" y="43"/>
                </a:cxn>
                <a:cxn ang="0">
                  <a:pos x="0" y="40"/>
                </a:cxn>
                <a:cxn ang="0">
                  <a:pos x="0" y="37"/>
                </a:cxn>
                <a:cxn ang="0">
                  <a:pos x="17" y="3"/>
                </a:cxn>
                <a:cxn ang="0">
                  <a:pos x="20" y="0"/>
                </a:cxn>
                <a:cxn ang="0">
                  <a:pos x="21" y="0"/>
                </a:cxn>
                <a:cxn ang="0">
                  <a:pos x="24" y="1"/>
                </a:cxn>
                <a:cxn ang="0">
                  <a:pos x="37" y="9"/>
                </a:cxn>
                <a:cxn ang="0">
                  <a:pos x="39" y="13"/>
                </a:cxn>
                <a:cxn ang="0">
                  <a:pos x="39" y="85"/>
                </a:cxn>
                <a:cxn ang="0">
                  <a:pos x="37" y="89"/>
                </a:cxn>
                <a:cxn ang="0">
                  <a:pos x="34" y="90"/>
                </a:cxn>
                <a:cxn ang="0">
                  <a:pos x="32" y="90"/>
                </a:cxn>
              </a:cxnLst>
              <a:rect l="0" t="0" r="r" b="b"/>
              <a:pathLst>
                <a:path w="40" h="91">
                  <a:moveTo>
                    <a:pt x="32" y="90"/>
                  </a:moveTo>
                  <a:lnTo>
                    <a:pt x="11" y="81"/>
                  </a:lnTo>
                  <a:cubicBezTo>
                    <a:pt x="9" y="80"/>
                    <a:pt x="8" y="79"/>
                    <a:pt x="8" y="77"/>
                  </a:cubicBezTo>
                  <a:lnTo>
                    <a:pt x="8" y="46"/>
                  </a:lnTo>
                  <a:lnTo>
                    <a:pt x="2" y="43"/>
                  </a:lnTo>
                  <a:cubicBezTo>
                    <a:pt x="1" y="42"/>
                    <a:pt x="0" y="41"/>
                    <a:pt x="0" y="40"/>
                  </a:cubicBezTo>
                  <a:cubicBezTo>
                    <a:pt x="0" y="39"/>
                    <a:pt x="0" y="38"/>
                    <a:pt x="0" y="37"/>
                  </a:cubicBezTo>
                  <a:lnTo>
                    <a:pt x="17" y="3"/>
                  </a:lnTo>
                  <a:cubicBezTo>
                    <a:pt x="18" y="2"/>
                    <a:pt x="19" y="1"/>
                    <a:pt x="20" y="0"/>
                  </a:cubicBezTo>
                  <a:cubicBezTo>
                    <a:pt x="21" y="0"/>
                    <a:pt x="21" y="0"/>
                    <a:pt x="21" y="0"/>
                  </a:cubicBezTo>
                  <a:cubicBezTo>
                    <a:pt x="22" y="0"/>
                    <a:pt x="23" y="0"/>
                    <a:pt x="24" y="1"/>
                  </a:cubicBezTo>
                  <a:lnTo>
                    <a:pt x="37" y="9"/>
                  </a:lnTo>
                  <a:cubicBezTo>
                    <a:pt x="38" y="10"/>
                    <a:pt x="39" y="12"/>
                    <a:pt x="39" y="13"/>
                  </a:cubicBezTo>
                  <a:lnTo>
                    <a:pt x="39" y="85"/>
                  </a:lnTo>
                  <a:cubicBezTo>
                    <a:pt x="39" y="87"/>
                    <a:pt x="38" y="88"/>
                    <a:pt x="37" y="89"/>
                  </a:cubicBezTo>
                  <a:cubicBezTo>
                    <a:pt x="36" y="90"/>
                    <a:pt x="35" y="90"/>
                    <a:pt x="34" y="90"/>
                  </a:cubicBezTo>
                  <a:cubicBezTo>
                    <a:pt x="33" y="90"/>
                    <a:pt x="33" y="90"/>
                    <a:pt x="32" y="9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69" name="Freeform 664"/>
            <p:cNvSpPr>
              <a:spLocks noChangeArrowheads="1"/>
            </p:cNvSpPr>
            <p:nvPr/>
          </p:nvSpPr>
          <p:spPr bwMode="auto">
            <a:xfrm>
              <a:off x="8277225" y="3898900"/>
              <a:ext cx="14288" cy="33338"/>
            </a:xfrm>
            <a:custGeom>
              <a:avLst/>
              <a:gdLst/>
              <a:ahLst/>
              <a:cxnLst>
                <a:cxn ang="0">
                  <a:pos x="34" y="90"/>
                </a:cxn>
                <a:cxn ang="0">
                  <a:pos x="32" y="90"/>
                </a:cxn>
                <a:cxn ang="0">
                  <a:pos x="11" y="81"/>
                </a:cxn>
                <a:cxn ang="0">
                  <a:pos x="8" y="77"/>
                </a:cxn>
                <a:cxn ang="0">
                  <a:pos x="8" y="46"/>
                </a:cxn>
                <a:cxn ang="0">
                  <a:pos x="2" y="43"/>
                </a:cxn>
                <a:cxn ang="0">
                  <a:pos x="0" y="40"/>
                </a:cxn>
                <a:cxn ang="0">
                  <a:pos x="0" y="37"/>
                </a:cxn>
                <a:cxn ang="0">
                  <a:pos x="17" y="3"/>
                </a:cxn>
                <a:cxn ang="0">
                  <a:pos x="20" y="0"/>
                </a:cxn>
                <a:cxn ang="0">
                  <a:pos x="21" y="0"/>
                </a:cxn>
                <a:cxn ang="0">
                  <a:pos x="24" y="1"/>
                </a:cxn>
                <a:cxn ang="0">
                  <a:pos x="37" y="9"/>
                </a:cxn>
                <a:cxn ang="0">
                  <a:pos x="39" y="13"/>
                </a:cxn>
                <a:cxn ang="0">
                  <a:pos x="39" y="85"/>
                </a:cxn>
                <a:cxn ang="0">
                  <a:pos x="37" y="89"/>
                </a:cxn>
                <a:cxn ang="0">
                  <a:pos x="34" y="90"/>
                </a:cxn>
              </a:cxnLst>
              <a:rect l="0" t="0" r="r" b="b"/>
              <a:pathLst>
                <a:path w="40" h="91">
                  <a:moveTo>
                    <a:pt x="34" y="90"/>
                  </a:moveTo>
                  <a:cubicBezTo>
                    <a:pt x="33" y="90"/>
                    <a:pt x="33" y="90"/>
                    <a:pt x="32" y="90"/>
                  </a:cubicBezTo>
                  <a:lnTo>
                    <a:pt x="11" y="81"/>
                  </a:lnTo>
                  <a:cubicBezTo>
                    <a:pt x="9" y="80"/>
                    <a:pt x="8" y="79"/>
                    <a:pt x="8" y="77"/>
                  </a:cubicBezTo>
                  <a:lnTo>
                    <a:pt x="8" y="46"/>
                  </a:lnTo>
                  <a:lnTo>
                    <a:pt x="2" y="43"/>
                  </a:lnTo>
                  <a:cubicBezTo>
                    <a:pt x="1" y="42"/>
                    <a:pt x="0" y="41"/>
                    <a:pt x="0" y="40"/>
                  </a:cubicBezTo>
                  <a:cubicBezTo>
                    <a:pt x="0" y="39"/>
                    <a:pt x="0" y="38"/>
                    <a:pt x="0" y="37"/>
                  </a:cubicBezTo>
                  <a:lnTo>
                    <a:pt x="17" y="3"/>
                  </a:lnTo>
                  <a:cubicBezTo>
                    <a:pt x="18" y="2"/>
                    <a:pt x="19" y="1"/>
                    <a:pt x="20" y="0"/>
                  </a:cubicBezTo>
                  <a:cubicBezTo>
                    <a:pt x="21" y="0"/>
                    <a:pt x="21" y="0"/>
                    <a:pt x="21" y="0"/>
                  </a:cubicBezTo>
                  <a:cubicBezTo>
                    <a:pt x="22" y="0"/>
                    <a:pt x="23" y="0"/>
                    <a:pt x="24" y="1"/>
                  </a:cubicBezTo>
                  <a:lnTo>
                    <a:pt x="37" y="9"/>
                  </a:lnTo>
                  <a:cubicBezTo>
                    <a:pt x="38" y="10"/>
                    <a:pt x="39" y="12"/>
                    <a:pt x="39" y="13"/>
                  </a:cubicBezTo>
                  <a:lnTo>
                    <a:pt x="39" y="85"/>
                  </a:lnTo>
                  <a:cubicBezTo>
                    <a:pt x="39" y="87"/>
                    <a:pt x="38" y="88"/>
                    <a:pt x="37" y="89"/>
                  </a:cubicBezTo>
                  <a:cubicBezTo>
                    <a:pt x="36" y="90"/>
                    <a:pt x="35" y="90"/>
                    <a:pt x="34" y="9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0" name="Freeform 665"/>
            <p:cNvSpPr>
              <a:spLocks noChangeArrowheads="1"/>
            </p:cNvSpPr>
            <p:nvPr/>
          </p:nvSpPr>
          <p:spPr bwMode="auto">
            <a:xfrm>
              <a:off x="8239125" y="3897313"/>
              <a:ext cx="11113" cy="19050"/>
            </a:xfrm>
            <a:custGeom>
              <a:avLst/>
              <a:gdLst/>
              <a:ahLst/>
              <a:cxnLst>
                <a:cxn ang="0">
                  <a:pos x="0" y="46"/>
                </a:cxn>
                <a:cxn ang="0">
                  <a:pos x="4" y="8"/>
                </a:cxn>
                <a:cxn ang="0">
                  <a:pos x="8" y="4"/>
                </a:cxn>
                <a:cxn ang="0">
                  <a:pos x="25" y="0"/>
                </a:cxn>
                <a:cxn ang="0">
                  <a:pos x="25" y="0"/>
                </a:cxn>
                <a:cxn ang="0">
                  <a:pos x="29" y="2"/>
                </a:cxn>
                <a:cxn ang="0">
                  <a:pos x="30" y="7"/>
                </a:cxn>
                <a:cxn ang="0">
                  <a:pos x="9" y="49"/>
                </a:cxn>
                <a:cxn ang="0">
                  <a:pos x="5" y="52"/>
                </a:cxn>
                <a:cxn ang="0">
                  <a:pos x="3" y="51"/>
                </a:cxn>
                <a:cxn ang="0">
                  <a:pos x="0" y="46"/>
                </a:cxn>
              </a:cxnLst>
              <a:rect l="0" t="0" r="r" b="b"/>
              <a:pathLst>
                <a:path w="32" h="53">
                  <a:moveTo>
                    <a:pt x="0" y="46"/>
                  </a:moveTo>
                  <a:lnTo>
                    <a:pt x="4" y="8"/>
                  </a:lnTo>
                  <a:cubicBezTo>
                    <a:pt x="4" y="6"/>
                    <a:pt x="6" y="5"/>
                    <a:pt x="8" y="4"/>
                  </a:cubicBezTo>
                  <a:lnTo>
                    <a:pt x="25" y="0"/>
                  </a:lnTo>
                  <a:lnTo>
                    <a:pt x="25" y="0"/>
                  </a:lnTo>
                  <a:cubicBezTo>
                    <a:pt x="27" y="0"/>
                    <a:pt x="29" y="1"/>
                    <a:pt x="29" y="2"/>
                  </a:cubicBezTo>
                  <a:cubicBezTo>
                    <a:pt x="31" y="3"/>
                    <a:pt x="31" y="5"/>
                    <a:pt x="30" y="7"/>
                  </a:cubicBezTo>
                  <a:lnTo>
                    <a:pt x="9" y="49"/>
                  </a:lnTo>
                  <a:cubicBezTo>
                    <a:pt x="8" y="51"/>
                    <a:pt x="6" y="52"/>
                    <a:pt x="5" y="52"/>
                  </a:cubicBezTo>
                  <a:cubicBezTo>
                    <a:pt x="5" y="52"/>
                    <a:pt x="4" y="52"/>
                    <a:pt x="3" y="51"/>
                  </a:cubicBezTo>
                  <a:cubicBezTo>
                    <a:pt x="1" y="51"/>
                    <a:pt x="0" y="49"/>
                    <a:pt x="0" y="46"/>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1" name="Freeform 666"/>
            <p:cNvSpPr>
              <a:spLocks noChangeArrowheads="1"/>
            </p:cNvSpPr>
            <p:nvPr/>
          </p:nvSpPr>
          <p:spPr bwMode="auto">
            <a:xfrm>
              <a:off x="8239125" y="3897313"/>
              <a:ext cx="11113" cy="19050"/>
            </a:xfrm>
            <a:custGeom>
              <a:avLst/>
              <a:gdLst/>
              <a:ahLst/>
              <a:cxnLst>
                <a:cxn ang="0">
                  <a:pos x="3" y="51"/>
                </a:cxn>
                <a:cxn ang="0">
                  <a:pos x="0" y="46"/>
                </a:cxn>
                <a:cxn ang="0">
                  <a:pos x="4" y="8"/>
                </a:cxn>
                <a:cxn ang="0">
                  <a:pos x="8" y="4"/>
                </a:cxn>
                <a:cxn ang="0">
                  <a:pos x="25" y="0"/>
                </a:cxn>
                <a:cxn ang="0">
                  <a:pos x="25" y="0"/>
                </a:cxn>
                <a:cxn ang="0">
                  <a:pos x="29" y="2"/>
                </a:cxn>
                <a:cxn ang="0">
                  <a:pos x="30" y="7"/>
                </a:cxn>
                <a:cxn ang="0">
                  <a:pos x="9" y="49"/>
                </a:cxn>
                <a:cxn ang="0">
                  <a:pos x="5" y="52"/>
                </a:cxn>
                <a:cxn ang="0">
                  <a:pos x="3" y="51"/>
                </a:cxn>
              </a:cxnLst>
              <a:rect l="0" t="0" r="r" b="b"/>
              <a:pathLst>
                <a:path w="32" h="53">
                  <a:moveTo>
                    <a:pt x="3" y="51"/>
                  </a:moveTo>
                  <a:cubicBezTo>
                    <a:pt x="1" y="51"/>
                    <a:pt x="0" y="49"/>
                    <a:pt x="0" y="46"/>
                  </a:cubicBezTo>
                  <a:lnTo>
                    <a:pt x="4" y="8"/>
                  </a:lnTo>
                  <a:cubicBezTo>
                    <a:pt x="4" y="6"/>
                    <a:pt x="6" y="5"/>
                    <a:pt x="8" y="4"/>
                  </a:cubicBezTo>
                  <a:lnTo>
                    <a:pt x="25" y="0"/>
                  </a:lnTo>
                  <a:lnTo>
                    <a:pt x="25" y="0"/>
                  </a:lnTo>
                  <a:cubicBezTo>
                    <a:pt x="27" y="0"/>
                    <a:pt x="29" y="1"/>
                    <a:pt x="29" y="2"/>
                  </a:cubicBezTo>
                  <a:cubicBezTo>
                    <a:pt x="31" y="3"/>
                    <a:pt x="31" y="5"/>
                    <a:pt x="30" y="7"/>
                  </a:cubicBezTo>
                  <a:lnTo>
                    <a:pt x="9" y="49"/>
                  </a:lnTo>
                  <a:cubicBezTo>
                    <a:pt x="8" y="51"/>
                    <a:pt x="6" y="52"/>
                    <a:pt x="5" y="52"/>
                  </a:cubicBezTo>
                  <a:cubicBezTo>
                    <a:pt x="5" y="52"/>
                    <a:pt x="4" y="52"/>
                    <a:pt x="3" y="5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2" name="Freeform 667"/>
            <p:cNvSpPr>
              <a:spLocks noChangeArrowheads="1"/>
            </p:cNvSpPr>
            <p:nvPr/>
          </p:nvSpPr>
          <p:spPr bwMode="auto">
            <a:xfrm>
              <a:off x="8085138" y="3821113"/>
              <a:ext cx="92075" cy="34925"/>
            </a:xfrm>
            <a:custGeom>
              <a:avLst/>
              <a:gdLst/>
              <a:ahLst/>
              <a:cxnLst>
                <a:cxn ang="0">
                  <a:pos x="244" y="97"/>
                </a:cxn>
                <a:cxn ang="0">
                  <a:pos x="155" y="55"/>
                </a:cxn>
                <a:cxn ang="0">
                  <a:pos x="116" y="64"/>
                </a:cxn>
                <a:cxn ang="0">
                  <a:pos x="115" y="64"/>
                </a:cxn>
                <a:cxn ang="0">
                  <a:pos x="112" y="63"/>
                </a:cxn>
                <a:cxn ang="0">
                  <a:pos x="89" y="48"/>
                </a:cxn>
                <a:cxn ang="0">
                  <a:pos x="58" y="67"/>
                </a:cxn>
                <a:cxn ang="0">
                  <a:pos x="55" y="68"/>
                </a:cxn>
                <a:cxn ang="0">
                  <a:pos x="53" y="67"/>
                </a:cxn>
                <a:cxn ang="0">
                  <a:pos x="27" y="45"/>
                </a:cxn>
                <a:cxn ang="0">
                  <a:pos x="13" y="66"/>
                </a:cxn>
                <a:cxn ang="0">
                  <a:pos x="9" y="68"/>
                </a:cxn>
                <a:cxn ang="0">
                  <a:pos x="8" y="68"/>
                </a:cxn>
                <a:cxn ang="0">
                  <a:pos x="4" y="64"/>
                </a:cxn>
                <a:cxn ang="0">
                  <a:pos x="0" y="43"/>
                </a:cxn>
                <a:cxn ang="0">
                  <a:pos x="1" y="39"/>
                </a:cxn>
                <a:cxn ang="0">
                  <a:pos x="26" y="6"/>
                </a:cxn>
                <a:cxn ang="0">
                  <a:pos x="30" y="4"/>
                </a:cxn>
                <a:cxn ang="0">
                  <a:pos x="140" y="0"/>
                </a:cxn>
                <a:cxn ang="0">
                  <a:pos x="222" y="21"/>
                </a:cxn>
                <a:cxn ang="0">
                  <a:pos x="225" y="23"/>
                </a:cxn>
                <a:cxn ang="0">
                  <a:pos x="255" y="78"/>
                </a:cxn>
                <a:cxn ang="0">
                  <a:pos x="255" y="82"/>
                </a:cxn>
                <a:cxn ang="0">
                  <a:pos x="251" y="94"/>
                </a:cxn>
                <a:cxn ang="0">
                  <a:pos x="248" y="97"/>
                </a:cxn>
                <a:cxn ang="0">
                  <a:pos x="246" y="98"/>
                </a:cxn>
                <a:cxn ang="0">
                  <a:pos x="244" y="97"/>
                </a:cxn>
              </a:cxnLst>
              <a:rect l="0" t="0" r="r" b="b"/>
              <a:pathLst>
                <a:path w="256" h="99">
                  <a:moveTo>
                    <a:pt x="244" y="97"/>
                  </a:moveTo>
                  <a:lnTo>
                    <a:pt x="155" y="55"/>
                  </a:lnTo>
                  <a:lnTo>
                    <a:pt x="116" y="64"/>
                  </a:lnTo>
                  <a:lnTo>
                    <a:pt x="115" y="64"/>
                  </a:lnTo>
                  <a:cubicBezTo>
                    <a:pt x="114" y="64"/>
                    <a:pt x="113" y="64"/>
                    <a:pt x="112" y="63"/>
                  </a:cubicBezTo>
                  <a:lnTo>
                    <a:pt x="89" y="48"/>
                  </a:lnTo>
                  <a:lnTo>
                    <a:pt x="58" y="67"/>
                  </a:lnTo>
                  <a:cubicBezTo>
                    <a:pt x="57" y="68"/>
                    <a:pt x="56" y="68"/>
                    <a:pt x="55" y="68"/>
                  </a:cubicBezTo>
                  <a:cubicBezTo>
                    <a:pt x="54" y="68"/>
                    <a:pt x="53" y="68"/>
                    <a:pt x="53" y="67"/>
                  </a:cubicBezTo>
                  <a:lnTo>
                    <a:pt x="27" y="45"/>
                  </a:lnTo>
                  <a:lnTo>
                    <a:pt x="13" y="66"/>
                  </a:lnTo>
                  <a:cubicBezTo>
                    <a:pt x="12" y="67"/>
                    <a:pt x="10" y="68"/>
                    <a:pt x="9" y="68"/>
                  </a:cubicBezTo>
                  <a:lnTo>
                    <a:pt x="8" y="68"/>
                  </a:lnTo>
                  <a:cubicBezTo>
                    <a:pt x="6" y="68"/>
                    <a:pt x="5" y="66"/>
                    <a:pt x="4" y="64"/>
                  </a:cubicBezTo>
                  <a:lnTo>
                    <a:pt x="0" y="43"/>
                  </a:lnTo>
                  <a:cubicBezTo>
                    <a:pt x="0" y="42"/>
                    <a:pt x="0" y="41"/>
                    <a:pt x="1" y="39"/>
                  </a:cubicBezTo>
                  <a:lnTo>
                    <a:pt x="26" y="6"/>
                  </a:lnTo>
                  <a:cubicBezTo>
                    <a:pt x="27" y="4"/>
                    <a:pt x="29" y="4"/>
                    <a:pt x="30" y="4"/>
                  </a:cubicBezTo>
                  <a:lnTo>
                    <a:pt x="140" y="0"/>
                  </a:lnTo>
                  <a:lnTo>
                    <a:pt x="222" y="21"/>
                  </a:lnTo>
                  <a:cubicBezTo>
                    <a:pt x="223" y="21"/>
                    <a:pt x="224" y="22"/>
                    <a:pt x="225" y="23"/>
                  </a:cubicBezTo>
                  <a:lnTo>
                    <a:pt x="255" y="78"/>
                  </a:lnTo>
                  <a:cubicBezTo>
                    <a:pt x="255" y="79"/>
                    <a:pt x="255" y="81"/>
                    <a:pt x="255" y="82"/>
                  </a:cubicBezTo>
                  <a:lnTo>
                    <a:pt x="251" y="94"/>
                  </a:lnTo>
                  <a:cubicBezTo>
                    <a:pt x="250" y="96"/>
                    <a:pt x="249" y="97"/>
                    <a:pt x="248" y="97"/>
                  </a:cubicBezTo>
                  <a:cubicBezTo>
                    <a:pt x="247" y="98"/>
                    <a:pt x="247" y="98"/>
                    <a:pt x="246" y="98"/>
                  </a:cubicBezTo>
                  <a:cubicBezTo>
                    <a:pt x="245" y="98"/>
                    <a:pt x="245" y="98"/>
                    <a:pt x="244" y="9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3" name="Freeform 668"/>
            <p:cNvSpPr>
              <a:spLocks noChangeArrowheads="1"/>
            </p:cNvSpPr>
            <p:nvPr/>
          </p:nvSpPr>
          <p:spPr bwMode="auto">
            <a:xfrm>
              <a:off x="8085138" y="3821113"/>
              <a:ext cx="92075" cy="34925"/>
            </a:xfrm>
            <a:custGeom>
              <a:avLst/>
              <a:gdLst/>
              <a:ahLst/>
              <a:cxnLst>
                <a:cxn ang="0">
                  <a:pos x="246" y="98"/>
                </a:cxn>
                <a:cxn ang="0">
                  <a:pos x="244" y="97"/>
                </a:cxn>
                <a:cxn ang="0">
                  <a:pos x="155" y="55"/>
                </a:cxn>
                <a:cxn ang="0">
                  <a:pos x="116" y="64"/>
                </a:cxn>
                <a:cxn ang="0">
                  <a:pos x="115" y="64"/>
                </a:cxn>
                <a:cxn ang="0">
                  <a:pos x="112" y="63"/>
                </a:cxn>
                <a:cxn ang="0">
                  <a:pos x="89" y="48"/>
                </a:cxn>
                <a:cxn ang="0">
                  <a:pos x="58" y="67"/>
                </a:cxn>
                <a:cxn ang="0">
                  <a:pos x="55" y="68"/>
                </a:cxn>
                <a:cxn ang="0">
                  <a:pos x="53" y="67"/>
                </a:cxn>
                <a:cxn ang="0">
                  <a:pos x="27" y="45"/>
                </a:cxn>
                <a:cxn ang="0">
                  <a:pos x="13" y="66"/>
                </a:cxn>
                <a:cxn ang="0">
                  <a:pos x="9" y="68"/>
                </a:cxn>
                <a:cxn ang="0">
                  <a:pos x="8" y="68"/>
                </a:cxn>
                <a:cxn ang="0">
                  <a:pos x="4" y="64"/>
                </a:cxn>
                <a:cxn ang="0">
                  <a:pos x="0" y="43"/>
                </a:cxn>
                <a:cxn ang="0">
                  <a:pos x="1" y="39"/>
                </a:cxn>
                <a:cxn ang="0">
                  <a:pos x="26" y="6"/>
                </a:cxn>
                <a:cxn ang="0">
                  <a:pos x="30" y="4"/>
                </a:cxn>
                <a:cxn ang="0">
                  <a:pos x="140" y="0"/>
                </a:cxn>
                <a:cxn ang="0">
                  <a:pos x="222" y="21"/>
                </a:cxn>
                <a:cxn ang="0">
                  <a:pos x="225" y="23"/>
                </a:cxn>
                <a:cxn ang="0">
                  <a:pos x="255" y="78"/>
                </a:cxn>
                <a:cxn ang="0">
                  <a:pos x="255" y="82"/>
                </a:cxn>
                <a:cxn ang="0">
                  <a:pos x="251" y="94"/>
                </a:cxn>
                <a:cxn ang="0">
                  <a:pos x="248" y="97"/>
                </a:cxn>
                <a:cxn ang="0">
                  <a:pos x="246" y="98"/>
                </a:cxn>
              </a:cxnLst>
              <a:rect l="0" t="0" r="r" b="b"/>
              <a:pathLst>
                <a:path w="256" h="99">
                  <a:moveTo>
                    <a:pt x="246" y="98"/>
                  </a:moveTo>
                  <a:cubicBezTo>
                    <a:pt x="245" y="98"/>
                    <a:pt x="245" y="98"/>
                    <a:pt x="244" y="97"/>
                  </a:cubicBezTo>
                  <a:lnTo>
                    <a:pt x="155" y="55"/>
                  </a:lnTo>
                  <a:lnTo>
                    <a:pt x="116" y="64"/>
                  </a:lnTo>
                  <a:lnTo>
                    <a:pt x="115" y="64"/>
                  </a:lnTo>
                  <a:cubicBezTo>
                    <a:pt x="114" y="64"/>
                    <a:pt x="113" y="64"/>
                    <a:pt x="112" y="63"/>
                  </a:cubicBezTo>
                  <a:lnTo>
                    <a:pt x="89" y="48"/>
                  </a:lnTo>
                  <a:lnTo>
                    <a:pt x="58" y="67"/>
                  </a:lnTo>
                  <a:cubicBezTo>
                    <a:pt x="57" y="68"/>
                    <a:pt x="56" y="68"/>
                    <a:pt x="55" y="68"/>
                  </a:cubicBezTo>
                  <a:cubicBezTo>
                    <a:pt x="54" y="68"/>
                    <a:pt x="53" y="68"/>
                    <a:pt x="53" y="67"/>
                  </a:cubicBezTo>
                  <a:lnTo>
                    <a:pt x="27" y="45"/>
                  </a:lnTo>
                  <a:lnTo>
                    <a:pt x="13" y="66"/>
                  </a:lnTo>
                  <a:cubicBezTo>
                    <a:pt x="12" y="67"/>
                    <a:pt x="10" y="68"/>
                    <a:pt x="9" y="68"/>
                  </a:cubicBezTo>
                  <a:lnTo>
                    <a:pt x="8" y="68"/>
                  </a:lnTo>
                  <a:cubicBezTo>
                    <a:pt x="6" y="68"/>
                    <a:pt x="5" y="66"/>
                    <a:pt x="4" y="64"/>
                  </a:cubicBezTo>
                  <a:lnTo>
                    <a:pt x="0" y="43"/>
                  </a:lnTo>
                  <a:cubicBezTo>
                    <a:pt x="0" y="42"/>
                    <a:pt x="0" y="41"/>
                    <a:pt x="1" y="39"/>
                  </a:cubicBezTo>
                  <a:lnTo>
                    <a:pt x="26" y="6"/>
                  </a:lnTo>
                  <a:cubicBezTo>
                    <a:pt x="27" y="4"/>
                    <a:pt x="29" y="4"/>
                    <a:pt x="30" y="4"/>
                  </a:cubicBezTo>
                  <a:lnTo>
                    <a:pt x="140" y="0"/>
                  </a:lnTo>
                  <a:lnTo>
                    <a:pt x="222" y="21"/>
                  </a:lnTo>
                  <a:cubicBezTo>
                    <a:pt x="223" y="21"/>
                    <a:pt x="224" y="22"/>
                    <a:pt x="225" y="23"/>
                  </a:cubicBezTo>
                  <a:lnTo>
                    <a:pt x="255" y="78"/>
                  </a:lnTo>
                  <a:cubicBezTo>
                    <a:pt x="255" y="79"/>
                    <a:pt x="255" y="81"/>
                    <a:pt x="255" y="82"/>
                  </a:cubicBezTo>
                  <a:lnTo>
                    <a:pt x="251" y="94"/>
                  </a:lnTo>
                  <a:cubicBezTo>
                    <a:pt x="250" y="96"/>
                    <a:pt x="249" y="97"/>
                    <a:pt x="248" y="97"/>
                  </a:cubicBezTo>
                  <a:cubicBezTo>
                    <a:pt x="247" y="98"/>
                    <a:pt x="247" y="98"/>
                    <a:pt x="246" y="9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4" name="Freeform 669"/>
            <p:cNvSpPr>
              <a:spLocks noChangeArrowheads="1"/>
            </p:cNvSpPr>
            <p:nvPr/>
          </p:nvSpPr>
          <p:spPr bwMode="auto">
            <a:xfrm>
              <a:off x="8140700" y="3789363"/>
              <a:ext cx="20638" cy="14287"/>
            </a:xfrm>
            <a:custGeom>
              <a:avLst/>
              <a:gdLst/>
              <a:ahLst/>
              <a:cxnLst>
                <a:cxn ang="0">
                  <a:pos x="23" y="37"/>
                </a:cxn>
                <a:cxn ang="0">
                  <a:pos x="2" y="16"/>
                </a:cxn>
                <a:cxn ang="0">
                  <a:pos x="1" y="11"/>
                </a:cxn>
                <a:cxn ang="0">
                  <a:pos x="5" y="8"/>
                </a:cxn>
                <a:cxn ang="0">
                  <a:pos x="48" y="0"/>
                </a:cxn>
                <a:cxn ang="0">
                  <a:pos x="50" y="0"/>
                </a:cxn>
                <a:cxn ang="0">
                  <a:pos x="53" y="3"/>
                </a:cxn>
                <a:cxn ang="0">
                  <a:pos x="57" y="24"/>
                </a:cxn>
                <a:cxn ang="0">
                  <a:pos x="54" y="30"/>
                </a:cxn>
                <a:cxn ang="0">
                  <a:pos x="28" y="38"/>
                </a:cxn>
                <a:cxn ang="0">
                  <a:pos x="27" y="39"/>
                </a:cxn>
                <a:cxn ang="0">
                  <a:pos x="23" y="37"/>
                </a:cxn>
              </a:cxnLst>
              <a:rect l="0" t="0" r="r" b="b"/>
              <a:pathLst>
                <a:path w="58" h="40">
                  <a:moveTo>
                    <a:pt x="23" y="37"/>
                  </a:moveTo>
                  <a:lnTo>
                    <a:pt x="2" y="16"/>
                  </a:lnTo>
                  <a:cubicBezTo>
                    <a:pt x="1" y="15"/>
                    <a:pt x="0" y="13"/>
                    <a:pt x="1" y="11"/>
                  </a:cubicBezTo>
                  <a:cubicBezTo>
                    <a:pt x="1" y="10"/>
                    <a:pt x="3" y="8"/>
                    <a:pt x="5" y="8"/>
                  </a:cubicBezTo>
                  <a:lnTo>
                    <a:pt x="48" y="0"/>
                  </a:lnTo>
                  <a:cubicBezTo>
                    <a:pt x="49" y="0"/>
                    <a:pt x="50" y="0"/>
                    <a:pt x="50" y="0"/>
                  </a:cubicBezTo>
                  <a:cubicBezTo>
                    <a:pt x="52" y="1"/>
                    <a:pt x="52" y="2"/>
                    <a:pt x="53" y="3"/>
                  </a:cubicBezTo>
                  <a:lnTo>
                    <a:pt x="57" y="24"/>
                  </a:lnTo>
                  <a:cubicBezTo>
                    <a:pt x="57" y="27"/>
                    <a:pt x="56" y="29"/>
                    <a:pt x="54" y="30"/>
                  </a:cubicBezTo>
                  <a:lnTo>
                    <a:pt x="28" y="38"/>
                  </a:lnTo>
                  <a:lnTo>
                    <a:pt x="27" y="39"/>
                  </a:lnTo>
                  <a:cubicBezTo>
                    <a:pt x="25" y="39"/>
                    <a:pt x="24" y="38"/>
                    <a:pt x="23" y="3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5" name="Freeform 670"/>
            <p:cNvSpPr>
              <a:spLocks noChangeArrowheads="1"/>
            </p:cNvSpPr>
            <p:nvPr/>
          </p:nvSpPr>
          <p:spPr bwMode="auto">
            <a:xfrm>
              <a:off x="8140700" y="3789363"/>
              <a:ext cx="20638" cy="14287"/>
            </a:xfrm>
            <a:custGeom>
              <a:avLst/>
              <a:gdLst/>
              <a:ahLst/>
              <a:cxnLst>
                <a:cxn ang="0">
                  <a:pos x="27" y="39"/>
                </a:cxn>
                <a:cxn ang="0">
                  <a:pos x="23" y="37"/>
                </a:cxn>
                <a:cxn ang="0">
                  <a:pos x="2" y="16"/>
                </a:cxn>
                <a:cxn ang="0">
                  <a:pos x="1" y="11"/>
                </a:cxn>
                <a:cxn ang="0">
                  <a:pos x="5" y="8"/>
                </a:cxn>
                <a:cxn ang="0">
                  <a:pos x="48" y="0"/>
                </a:cxn>
                <a:cxn ang="0">
                  <a:pos x="50" y="0"/>
                </a:cxn>
                <a:cxn ang="0">
                  <a:pos x="53" y="3"/>
                </a:cxn>
                <a:cxn ang="0">
                  <a:pos x="57" y="24"/>
                </a:cxn>
                <a:cxn ang="0">
                  <a:pos x="54" y="30"/>
                </a:cxn>
                <a:cxn ang="0">
                  <a:pos x="28" y="38"/>
                </a:cxn>
                <a:cxn ang="0">
                  <a:pos x="27" y="39"/>
                </a:cxn>
              </a:cxnLst>
              <a:rect l="0" t="0" r="r" b="b"/>
              <a:pathLst>
                <a:path w="58" h="40">
                  <a:moveTo>
                    <a:pt x="27" y="39"/>
                  </a:moveTo>
                  <a:cubicBezTo>
                    <a:pt x="25" y="39"/>
                    <a:pt x="24" y="38"/>
                    <a:pt x="23" y="37"/>
                  </a:cubicBezTo>
                  <a:lnTo>
                    <a:pt x="2" y="16"/>
                  </a:lnTo>
                  <a:cubicBezTo>
                    <a:pt x="1" y="15"/>
                    <a:pt x="0" y="13"/>
                    <a:pt x="1" y="11"/>
                  </a:cubicBezTo>
                  <a:cubicBezTo>
                    <a:pt x="1" y="10"/>
                    <a:pt x="3" y="8"/>
                    <a:pt x="5" y="8"/>
                  </a:cubicBezTo>
                  <a:lnTo>
                    <a:pt x="48" y="0"/>
                  </a:lnTo>
                  <a:cubicBezTo>
                    <a:pt x="49" y="0"/>
                    <a:pt x="50" y="0"/>
                    <a:pt x="50" y="0"/>
                  </a:cubicBezTo>
                  <a:cubicBezTo>
                    <a:pt x="52" y="1"/>
                    <a:pt x="52" y="2"/>
                    <a:pt x="53" y="3"/>
                  </a:cubicBezTo>
                  <a:lnTo>
                    <a:pt x="57" y="24"/>
                  </a:lnTo>
                  <a:cubicBezTo>
                    <a:pt x="57" y="27"/>
                    <a:pt x="56" y="29"/>
                    <a:pt x="54" y="30"/>
                  </a:cubicBezTo>
                  <a:lnTo>
                    <a:pt x="28" y="38"/>
                  </a:lnTo>
                  <a:lnTo>
                    <a:pt x="27" y="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6" name="Freeform 671"/>
            <p:cNvSpPr>
              <a:spLocks noChangeArrowheads="1"/>
            </p:cNvSpPr>
            <p:nvPr/>
          </p:nvSpPr>
          <p:spPr bwMode="auto">
            <a:xfrm>
              <a:off x="8167688" y="3765550"/>
              <a:ext cx="12700" cy="12700"/>
            </a:xfrm>
            <a:custGeom>
              <a:avLst/>
              <a:gdLst/>
              <a:ahLst/>
              <a:cxnLst>
                <a:cxn ang="0">
                  <a:pos x="12" y="31"/>
                </a:cxn>
                <a:cxn ang="0">
                  <a:pos x="9" y="28"/>
                </a:cxn>
                <a:cxn ang="0">
                  <a:pos x="0" y="11"/>
                </a:cxn>
                <a:cxn ang="0">
                  <a:pos x="0" y="7"/>
                </a:cxn>
                <a:cxn ang="0">
                  <a:pos x="4" y="5"/>
                </a:cxn>
                <a:cxn ang="0">
                  <a:pos x="30" y="0"/>
                </a:cxn>
                <a:cxn ang="0">
                  <a:pos x="33" y="1"/>
                </a:cxn>
                <a:cxn ang="0">
                  <a:pos x="35" y="5"/>
                </a:cxn>
                <a:cxn ang="0">
                  <a:pos x="35" y="30"/>
                </a:cxn>
                <a:cxn ang="0">
                  <a:pos x="33" y="34"/>
                </a:cxn>
                <a:cxn ang="0">
                  <a:pos x="30" y="35"/>
                </a:cxn>
                <a:cxn ang="0">
                  <a:pos x="29" y="35"/>
                </a:cxn>
                <a:cxn ang="0">
                  <a:pos x="12" y="31"/>
                </a:cxn>
              </a:cxnLst>
              <a:rect l="0" t="0" r="r" b="b"/>
              <a:pathLst>
                <a:path w="36" h="36">
                  <a:moveTo>
                    <a:pt x="12" y="31"/>
                  </a:moveTo>
                  <a:cubicBezTo>
                    <a:pt x="11" y="30"/>
                    <a:pt x="10" y="29"/>
                    <a:pt x="9" y="28"/>
                  </a:cubicBezTo>
                  <a:lnTo>
                    <a:pt x="0" y="11"/>
                  </a:lnTo>
                  <a:cubicBezTo>
                    <a:pt x="0" y="10"/>
                    <a:pt x="0" y="8"/>
                    <a:pt x="0" y="7"/>
                  </a:cubicBezTo>
                  <a:cubicBezTo>
                    <a:pt x="1" y="6"/>
                    <a:pt x="2" y="5"/>
                    <a:pt x="4" y="5"/>
                  </a:cubicBezTo>
                  <a:lnTo>
                    <a:pt x="30" y="0"/>
                  </a:lnTo>
                  <a:cubicBezTo>
                    <a:pt x="31" y="0"/>
                    <a:pt x="32" y="1"/>
                    <a:pt x="33" y="1"/>
                  </a:cubicBezTo>
                  <a:cubicBezTo>
                    <a:pt x="34" y="2"/>
                    <a:pt x="35" y="3"/>
                    <a:pt x="35" y="5"/>
                  </a:cubicBezTo>
                  <a:lnTo>
                    <a:pt x="35" y="30"/>
                  </a:lnTo>
                  <a:cubicBezTo>
                    <a:pt x="35" y="32"/>
                    <a:pt x="34" y="33"/>
                    <a:pt x="33" y="34"/>
                  </a:cubicBezTo>
                  <a:cubicBezTo>
                    <a:pt x="32" y="35"/>
                    <a:pt x="31" y="35"/>
                    <a:pt x="30" y="35"/>
                  </a:cubicBezTo>
                  <a:lnTo>
                    <a:pt x="29" y="35"/>
                  </a:lnTo>
                  <a:lnTo>
                    <a:pt x="12" y="31"/>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7" name="Freeform 672"/>
            <p:cNvSpPr>
              <a:spLocks noChangeArrowheads="1"/>
            </p:cNvSpPr>
            <p:nvPr/>
          </p:nvSpPr>
          <p:spPr bwMode="auto">
            <a:xfrm>
              <a:off x="8167688" y="3765550"/>
              <a:ext cx="12700" cy="12700"/>
            </a:xfrm>
            <a:custGeom>
              <a:avLst/>
              <a:gdLst/>
              <a:ahLst/>
              <a:cxnLst>
                <a:cxn ang="0">
                  <a:pos x="29" y="35"/>
                </a:cxn>
                <a:cxn ang="0">
                  <a:pos x="12" y="31"/>
                </a:cxn>
                <a:cxn ang="0">
                  <a:pos x="9" y="28"/>
                </a:cxn>
                <a:cxn ang="0">
                  <a:pos x="0" y="11"/>
                </a:cxn>
                <a:cxn ang="0">
                  <a:pos x="0" y="7"/>
                </a:cxn>
                <a:cxn ang="0">
                  <a:pos x="4" y="5"/>
                </a:cxn>
                <a:cxn ang="0">
                  <a:pos x="30" y="0"/>
                </a:cxn>
                <a:cxn ang="0">
                  <a:pos x="33" y="1"/>
                </a:cxn>
                <a:cxn ang="0">
                  <a:pos x="35" y="5"/>
                </a:cxn>
                <a:cxn ang="0">
                  <a:pos x="35" y="30"/>
                </a:cxn>
                <a:cxn ang="0">
                  <a:pos x="33" y="34"/>
                </a:cxn>
                <a:cxn ang="0">
                  <a:pos x="30" y="35"/>
                </a:cxn>
                <a:cxn ang="0">
                  <a:pos x="29" y="35"/>
                </a:cxn>
              </a:cxnLst>
              <a:rect l="0" t="0" r="r" b="b"/>
              <a:pathLst>
                <a:path w="36" h="36">
                  <a:moveTo>
                    <a:pt x="29" y="35"/>
                  </a:moveTo>
                  <a:lnTo>
                    <a:pt x="12" y="31"/>
                  </a:lnTo>
                  <a:cubicBezTo>
                    <a:pt x="11" y="30"/>
                    <a:pt x="10" y="29"/>
                    <a:pt x="9" y="28"/>
                  </a:cubicBezTo>
                  <a:lnTo>
                    <a:pt x="0" y="11"/>
                  </a:lnTo>
                  <a:cubicBezTo>
                    <a:pt x="0" y="10"/>
                    <a:pt x="0" y="8"/>
                    <a:pt x="0" y="7"/>
                  </a:cubicBezTo>
                  <a:cubicBezTo>
                    <a:pt x="1" y="6"/>
                    <a:pt x="2" y="5"/>
                    <a:pt x="4" y="5"/>
                  </a:cubicBezTo>
                  <a:lnTo>
                    <a:pt x="30" y="0"/>
                  </a:lnTo>
                  <a:cubicBezTo>
                    <a:pt x="31" y="0"/>
                    <a:pt x="32" y="1"/>
                    <a:pt x="33" y="1"/>
                  </a:cubicBezTo>
                  <a:cubicBezTo>
                    <a:pt x="34" y="2"/>
                    <a:pt x="35" y="3"/>
                    <a:pt x="35" y="5"/>
                  </a:cubicBezTo>
                  <a:lnTo>
                    <a:pt x="35" y="30"/>
                  </a:lnTo>
                  <a:cubicBezTo>
                    <a:pt x="35" y="32"/>
                    <a:pt x="34" y="33"/>
                    <a:pt x="33" y="34"/>
                  </a:cubicBezTo>
                  <a:cubicBezTo>
                    <a:pt x="32" y="35"/>
                    <a:pt x="31" y="35"/>
                    <a:pt x="30" y="35"/>
                  </a:cubicBezTo>
                  <a:lnTo>
                    <a:pt x="29" y="3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8" name="Freeform 673"/>
            <p:cNvSpPr>
              <a:spLocks noChangeArrowheads="1"/>
            </p:cNvSpPr>
            <p:nvPr/>
          </p:nvSpPr>
          <p:spPr bwMode="auto">
            <a:xfrm>
              <a:off x="8161338" y="3738563"/>
              <a:ext cx="28575" cy="15875"/>
            </a:xfrm>
            <a:custGeom>
              <a:avLst/>
              <a:gdLst/>
              <a:ahLst/>
              <a:cxnLst>
                <a:cxn ang="0">
                  <a:pos x="36" y="42"/>
                </a:cxn>
                <a:cxn ang="0">
                  <a:pos x="2" y="17"/>
                </a:cxn>
                <a:cxn ang="0">
                  <a:pos x="0" y="12"/>
                </a:cxn>
                <a:cxn ang="0">
                  <a:pos x="3" y="9"/>
                </a:cxn>
                <a:cxn ang="0">
                  <a:pos x="24" y="0"/>
                </a:cxn>
                <a:cxn ang="0">
                  <a:pos x="26" y="0"/>
                </a:cxn>
                <a:cxn ang="0">
                  <a:pos x="28" y="0"/>
                </a:cxn>
                <a:cxn ang="0">
                  <a:pos x="74" y="22"/>
                </a:cxn>
                <a:cxn ang="0">
                  <a:pos x="77" y="26"/>
                </a:cxn>
                <a:cxn ang="0">
                  <a:pos x="74" y="30"/>
                </a:cxn>
                <a:cxn ang="0">
                  <a:pos x="40" y="43"/>
                </a:cxn>
                <a:cxn ang="0">
                  <a:pos x="38" y="43"/>
                </a:cxn>
                <a:cxn ang="0">
                  <a:pos x="36" y="42"/>
                </a:cxn>
              </a:cxnLst>
              <a:rect l="0" t="0" r="r" b="b"/>
              <a:pathLst>
                <a:path w="78" h="44">
                  <a:moveTo>
                    <a:pt x="36" y="42"/>
                  </a:moveTo>
                  <a:lnTo>
                    <a:pt x="2" y="17"/>
                  </a:lnTo>
                  <a:cubicBezTo>
                    <a:pt x="0" y="16"/>
                    <a:pt x="0" y="14"/>
                    <a:pt x="0" y="12"/>
                  </a:cubicBezTo>
                  <a:cubicBezTo>
                    <a:pt x="0" y="11"/>
                    <a:pt x="1" y="9"/>
                    <a:pt x="3" y="9"/>
                  </a:cubicBezTo>
                  <a:lnTo>
                    <a:pt x="24" y="0"/>
                  </a:lnTo>
                  <a:cubicBezTo>
                    <a:pt x="24" y="0"/>
                    <a:pt x="25" y="0"/>
                    <a:pt x="26" y="0"/>
                  </a:cubicBezTo>
                  <a:cubicBezTo>
                    <a:pt x="26" y="0"/>
                    <a:pt x="27" y="0"/>
                    <a:pt x="28" y="0"/>
                  </a:cubicBezTo>
                  <a:lnTo>
                    <a:pt x="74" y="22"/>
                  </a:lnTo>
                  <a:cubicBezTo>
                    <a:pt x="76" y="22"/>
                    <a:pt x="77" y="24"/>
                    <a:pt x="77" y="26"/>
                  </a:cubicBezTo>
                  <a:cubicBezTo>
                    <a:pt x="77" y="28"/>
                    <a:pt x="76" y="30"/>
                    <a:pt x="74" y="30"/>
                  </a:cubicBezTo>
                  <a:lnTo>
                    <a:pt x="40" y="43"/>
                  </a:lnTo>
                  <a:cubicBezTo>
                    <a:pt x="40" y="43"/>
                    <a:pt x="39" y="43"/>
                    <a:pt x="38" y="43"/>
                  </a:cubicBezTo>
                  <a:cubicBezTo>
                    <a:pt x="37" y="43"/>
                    <a:pt x="36" y="43"/>
                    <a:pt x="36" y="42"/>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79" name="Freeform 674"/>
            <p:cNvSpPr>
              <a:spLocks noChangeArrowheads="1"/>
            </p:cNvSpPr>
            <p:nvPr/>
          </p:nvSpPr>
          <p:spPr bwMode="auto">
            <a:xfrm>
              <a:off x="8161338" y="3738563"/>
              <a:ext cx="28575" cy="15875"/>
            </a:xfrm>
            <a:custGeom>
              <a:avLst/>
              <a:gdLst/>
              <a:ahLst/>
              <a:cxnLst>
                <a:cxn ang="0">
                  <a:pos x="38" y="43"/>
                </a:cxn>
                <a:cxn ang="0">
                  <a:pos x="36" y="42"/>
                </a:cxn>
                <a:cxn ang="0">
                  <a:pos x="2" y="17"/>
                </a:cxn>
                <a:cxn ang="0">
                  <a:pos x="0" y="12"/>
                </a:cxn>
                <a:cxn ang="0">
                  <a:pos x="3" y="9"/>
                </a:cxn>
                <a:cxn ang="0">
                  <a:pos x="24" y="0"/>
                </a:cxn>
                <a:cxn ang="0">
                  <a:pos x="26" y="0"/>
                </a:cxn>
                <a:cxn ang="0">
                  <a:pos x="28" y="0"/>
                </a:cxn>
                <a:cxn ang="0">
                  <a:pos x="74" y="22"/>
                </a:cxn>
                <a:cxn ang="0">
                  <a:pos x="77" y="26"/>
                </a:cxn>
                <a:cxn ang="0">
                  <a:pos x="74" y="30"/>
                </a:cxn>
                <a:cxn ang="0">
                  <a:pos x="40" y="43"/>
                </a:cxn>
                <a:cxn ang="0">
                  <a:pos x="38" y="43"/>
                </a:cxn>
              </a:cxnLst>
              <a:rect l="0" t="0" r="r" b="b"/>
              <a:pathLst>
                <a:path w="78" h="44">
                  <a:moveTo>
                    <a:pt x="38" y="43"/>
                  </a:moveTo>
                  <a:cubicBezTo>
                    <a:pt x="37" y="43"/>
                    <a:pt x="36" y="43"/>
                    <a:pt x="36" y="42"/>
                  </a:cubicBezTo>
                  <a:lnTo>
                    <a:pt x="2" y="17"/>
                  </a:lnTo>
                  <a:cubicBezTo>
                    <a:pt x="0" y="16"/>
                    <a:pt x="0" y="14"/>
                    <a:pt x="0" y="12"/>
                  </a:cubicBezTo>
                  <a:cubicBezTo>
                    <a:pt x="0" y="11"/>
                    <a:pt x="1" y="9"/>
                    <a:pt x="3" y="9"/>
                  </a:cubicBezTo>
                  <a:lnTo>
                    <a:pt x="24" y="0"/>
                  </a:lnTo>
                  <a:cubicBezTo>
                    <a:pt x="24" y="0"/>
                    <a:pt x="25" y="0"/>
                    <a:pt x="26" y="0"/>
                  </a:cubicBezTo>
                  <a:cubicBezTo>
                    <a:pt x="26" y="0"/>
                    <a:pt x="27" y="0"/>
                    <a:pt x="28" y="0"/>
                  </a:cubicBezTo>
                  <a:lnTo>
                    <a:pt x="74" y="22"/>
                  </a:lnTo>
                  <a:cubicBezTo>
                    <a:pt x="76" y="22"/>
                    <a:pt x="77" y="24"/>
                    <a:pt x="77" y="26"/>
                  </a:cubicBezTo>
                  <a:cubicBezTo>
                    <a:pt x="77" y="28"/>
                    <a:pt x="76" y="30"/>
                    <a:pt x="74" y="30"/>
                  </a:cubicBezTo>
                  <a:lnTo>
                    <a:pt x="40" y="43"/>
                  </a:lnTo>
                  <a:cubicBezTo>
                    <a:pt x="40" y="43"/>
                    <a:pt x="39" y="43"/>
                    <a:pt x="38" y="4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0" name="Freeform 675"/>
            <p:cNvSpPr>
              <a:spLocks noChangeArrowheads="1"/>
            </p:cNvSpPr>
            <p:nvPr/>
          </p:nvSpPr>
          <p:spPr bwMode="auto">
            <a:xfrm>
              <a:off x="8316913" y="3783013"/>
              <a:ext cx="42862" cy="12700"/>
            </a:xfrm>
            <a:custGeom>
              <a:avLst/>
              <a:gdLst/>
              <a:ahLst/>
              <a:cxnLst>
                <a:cxn ang="0">
                  <a:pos x="4" y="22"/>
                </a:cxn>
                <a:cxn ang="0">
                  <a:pos x="0" y="18"/>
                </a:cxn>
                <a:cxn ang="0">
                  <a:pos x="2" y="13"/>
                </a:cxn>
                <a:cxn ang="0">
                  <a:pos x="28" y="0"/>
                </a:cxn>
                <a:cxn ang="0">
                  <a:pos x="103" y="17"/>
                </a:cxn>
                <a:cxn ang="0">
                  <a:pos x="114" y="26"/>
                </a:cxn>
                <a:cxn ang="0">
                  <a:pos x="115" y="32"/>
                </a:cxn>
                <a:cxn ang="0">
                  <a:pos x="110" y="34"/>
                </a:cxn>
                <a:cxn ang="0">
                  <a:pos x="4" y="22"/>
                </a:cxn>
              </a:cxnLst>
              <a:rect l="0" t="0" r="r" b="b"/>
              <a:pathLst>
                <a:path w="117" h="35">
                  <a:moveTo>
                    <a:pt x="4" y="22"/>
                  </a:moveTo>
                  <a:cubicBezTo>
                    <a:pt x="2" y="21"/>
                    <a:pt x="0" y="20"/>
                    <a:pt x="0" y="18"/>
                  </a:cubicBezTo>
                  <a:cubicBezTo>
                    <a:pt x="0" y="16"/>
                    <a:pt x="1" y="14"/>
                    <a:pt x="2" y="13"/>
                  </a:cubicBezTo>
                  <a:lnTo>
                    <a:pt x="28" y="0"/>
                  </a:lnTo>
                  <a:lnTo>
                    <a:pt x="103" y="17"/>
                  </a:lnTo>
                  <a:lnTo>
                    <a:pt x="114" y="26"/>
                  </a:lnTo>
                  <a:cubicBezTo>
                    <a:pt x="115" y="28"/>
                    <a:pt x="116" y="30"/>
                    <a:pt x="115" y="32"/>
                  </a:cubicBezTo>
                  <a:cubicBezTo>
                    <a:pt x="114" y="33"/>
                    <a:pt x="112" y="34"/>
                    <a:pt x="110" y="34"/>
                  </a:cubicBezTo>
                  <a:lnTo>
                    <a:pt x="4" y="22"/>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1" name="Freeform 676"/>
            <p:cNvSpPr>
              <a:spLocks noChangeArrowheads="1"/>
            </p:cNvSpPr>
            <p:nvPr/>
          </p:nvSpPr>
          <p:spPr bwMode="auto">
            <a:xfrm>
              <a:off x="8316913" y="3783013"/>
              <a:ext cx="42862" cy="12700"/>
            </a:xfrm>
            <a:custGeom>
              <a:avLst/>
              <a:gdLst/>
              <a:ahLst/>
              <a:cxnLst>
                <a:cxn ang="0">
                  <a:pos x="4" y="22"/>
                </a:cxn>
                <a:cxn ang="0">
                  <a:pos x="0" y="18"/>
                </a:cxn>
                <a:cxn ang="0">
                  <a:pos x="2" y="13"/>
                </a:cxn>
                <a:cxn ang="0">
                  <a:pos x="28" y="0"/>
                </a:cxn>
                <a:cxn ang="0">
                  <a:pos x="103" y="17"/>
                </a:cxn>
                <a:cxn ang="0">
                  <a:pos x="114" y="26"/>
                </a:cxn>
                <a:cxn ang="0">
                  <a:pos x="115" y="32"/>
                </a:cxn>
                <a:cxn ang="0">
                  <a:pos x="110" y="34"/>
                </a:cxn>
                <a:cxn ang="0">
                  <a:pos x="4" y="22"/>
                </a:cxn>
              </a:cxnLst>
              <a:rect l="0" t="0" r="r" b="b"/>
              <a:pathLst>
                <a:path w="117" h="35">
                  <a:moveTo>
                    <a:pt x="4" y="22"/>
                  </a:moveTo>
                  <a:cubicBezTo>
                    <a:pt x="2" y="21"/>
                    <a:pt x="0" y="20"/>
                    <a:pt x="0" y="18"/>
                  </a:cubicBezTo>
                  <a:cubicBezTo>
                    <a:pt x="0" y="16"/>
                    <a:pt x="1" y="14"/>
                    <a:pt x="2" y="13"/>
                  </a:cubicBezTo>
                  <a:lnTo>
                    <a:pt x="28" y="0"/>
                  </a:lnTo>
                  <a:lnTo>
                    <a:pt x="103" y="17"/>
                  </a:lnTo>
                  <a:lnTo>
                    <a:pt x="114" y="26"/>
                  </a:lnTo>
                  <a:cubicBezTo>
                    <a:pt x="115" y="28"/>
                    <a:pt x="116" y="30"/>
                    <a:pt x="115" y="32"/>
                  </a:cubicBezTo>
                  <a:cubicBezTo>
                    <a:pt x="114" y="33"/>
                    <a:pt x="112" y="34"/>
                    <a:pt x="110" y="34"/>
                  </a:cubicBezTo>
                  <a:lnTo>
                    <a:pt x="4" y="2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2" name="Freeform 677"/>
            <p:cNvSpPr>
              <a:spLocks noChangeArrowheads="1"/>
            </p:cNvSpPr>
            <p:nvPr/>
          </p:nvSpPr>
          <p:spPr bwMode="auto">
            <a:xfrm>
              <a:off x="8313738" y="3760788"/>
              <a:ext cx="28575" cy="17462"/>
            </a:xfrm>
            <a:custGeom>
              <a:avLst/>
              <a:gdLst/>
              <a:ahLst/>
              <a:cxnLst>
                <a:cxn ang="0">
                  <a:pos x="49" y="47"/>
                </a:cxn>
                <a:cxn ang="0">
                  <a:pos x="2" y="8"/>
                </a:cxn>
                <a:cxn ang="0">
                  <a:pos x="1" y="3"/>
                </a:cxn>
                <a:cxn ang="0">
                  <a:pos x="5" y="0"/>
                </a:cxn>
                <a:cxn ang="0">
                  <a:pos x="35" y="0"/>
                </a:cxn>
                <a:cxn ang="0">
                  <a:pos x="38" y="1"/>
                </a:cxn>
                <a:cxn ang="0">
                  <a:pos x="76" y="35"/>
                </a:cxn>
                <a:cxn ang="0">
                  <a:pos x="77" y="40"/>
                </a:cxn>
                <a:cxn ang="0">
                  <a:pos x="74" y="43"/>
                </a:cxn>
                <a:cxn ang="0">
                  <a:pos x="52" y="48"/>
                </a:cxn>
                <a:cxn ang="0">
                  <a:pos x="49" y="47"/>
                </a:cxn>
              </a:cxnLst>
              <a:rect l="0" t="0" r="r" b="b"/>
              <a:pathLst>
                <a:path w="79" h="49">
                  <a:moveTo>
                    <a:pt x="49" y="47"/>
                  </a:moveTo>
                  <a:lnTo>
                    <a:pt x="2" y="8"/>
                  </a:lnTo>
                  <a:cubicBezTo>
                    <a:pt x="1" y="7"/>
                    <a:pt x="0" y="5"/>
                    <a:pt x="1" y="3"/>
                  </a:cubicBezTo>
                  <a:cubicBezTo>
                    <a:pt x="1" y="1"/>
                    <a:pt x="3" y="0"/>
                    <a:pt x="5" y="0"/>
                  </a:cubicBezTo>
                  <a:lnTo>
                    <a:pt x="35" y="0"/>
                  </a:lnTo>
                  <a:cubicBezTo>
                    <a:pt x="36" y="0"/>
                    <a:pt x="37" y="1"/>
                    <a:pt x="38" y="1"/>
                  </a:cubicBezTo>
                  <a:lnTo>
                    <a:pt x="76" y="35"/>
                  </a:lnTo>
                  <a:cubicBezTo>
                    <a:pt x="77" y="36"/>
                    <a:pt x="78" y="38"/>
                    <a:pt x="77" y="40"/>
                  </a:cubicBezTo>
                  <a:cubicBezTo>
                    <a:pt x="77" y="42"/>
                    <a:pt x="76" y="43"/>
                    <a:pt x="74" y="43"/>
                  </a:cubicBezTo>
                  <a:lnTo>
                    <a:pt x="52" y="48"/>
                  </a:lnTo>
                  <a:cubicBezTo>
                    <a:pt x="51" y="48"/>
                    <a:pt x="50" y="47"/>
                    <a:pt x="49" y="47"/>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3" name="Freeform 678"/>
            <p:cNvSpPr>
              <a:spLocks noChangeArrowheads="1"/>
            </p:cNvSpPr>
            <p:nvPr/>
          </p:nvSpPr>
          <p:spPr bwMode="auto">
            <a:xfrm>
              <a:off x="8313738" y="3760788"/>
              <a:ext cx="28575" cy="17462"/>
            </a:xfrm>
            <a:custGeom>
              <a:avLst/>
              <a:gdLst/>
              <a:ahLst/>
              <a:cxnLst>
                <a:cxn ang="0">
                  <a:pos x="52" y="48"/>
                </a:cxn>
                <a:cxn ang="0">
                  <a:pos x="49" y="47"/>
                </a:cxn>
                <a:cxn ang="0">
                  <a:pos x="2" y="8"/>
                </a:cxn>
                <a:cxn ang="0">
                  <a:pos x="1" y="3"/>
                </a:cxn>
                <a:cxn ang="0">
                  <a:pos x="5" y="0"/>
                </a:cxn>
                <a:cxn ang="0">
                  <a:pos x="35" y="0"/>
                </a:cxn>
                <a:cxn ang="0">
                  <a:pos x="38" y="1"/>
                </a:cxn>
                <a:cxn ang="0">
                  <a:pos x="76" y="35"/>
                </a:cxn>
                <a:cxn ang="0">
                  <a:pos x="77" y="40"/>
                </a:cxn>
                <a:cxn ang="0">
                  <a:pos x="74" y="43"/>
                </a:cxn>
                <a:cxn ang="0">
                  <a:pos x="52" y="48"/>
                </a:cxn>
              </a:cxnLst>
              <a:rect l="0" t="0" r="r" b="b"/>
              <a:pathLst>
                <a:path w="79" h="49">
                  <a:moveTo>
                    <a:pt x="52" y="48"/>
                  </a:moveTo>
                  <a:cubicBezTo>
                    <a:pt x="51" y="48"/>
                    <a:pt x="50" y="47"/>
                    <a:pt x="49" y="47"/>
                  </a:cubicBezTo>
                  <a:lnTo>
                    <a:pt x="2" y="8"/>
                  </a:lnTo>
                  <a:cubicBezTo>
                    <a:pt x="1" y="7"/>
                    <a:pt x="0" y="5"/>
                    <a:pt x="1" y="3"/>
                  </a:cubicBezTo>
                  <a:cubicBezTo>
                    <a:pt x="1" y="1"/>
                    <a:pt x="3" y="0"/>
                    <a:pt x="5" y="0"/>
                  </a:cubicBezTo>
                  <a:lnTo>
                    <a:pt x="35" y="0"/>
                  </a:lnTo>
                  <a:cubicBezTo>
                    <a:pt x="36" y="0"/>
                    <a:pt x="37" y="1"/>
                    <a:pt x="38" y="1"/>
                  </a:cubicBezTo>
                  <a:lnTo>
                    <a:pt x="76" y="35"/>
                  </a:lnTo>
                  <a:cubicBezTo>
                    <a:pt x="77" y="36"/>
                    <a:pt x="78" y="38"/>
                    <a:pt x="77" y="40"/>
                  </a:cubicBezTo>
                  <a:cubicBezTo>
                    <a:pt x="77" y="42"/>
                    <a:pt x="76" y="43"/>
                    <a:pt x="74" y="43"/>
                  </a:cubicBezTo>
                  <a:lnTo>
                    <a:pt x="52" y="4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4" name="Freeform 679"/>
            <p:cNvSpPr>
              <a:spLocks noChangeArrowheads="1"/>
            </p:cNvSpPr>
            <p:nvPr/>
          </p:nvSpPr>
          <p:spPr bwMode="auto">
            <a:xfrm>
              <a:off x="8089900" y="3843338"/>
              <a:ext cx="11113" cy="12700"/>
            </a:xfrm>
            <a:custGeom>
              <a:avLst/>
              <a:gdLst/>
              <a:ahLst/>
              <a:cxnLst>
                <a:cxn ang="0">
                  <a:pos x="0" y="30"/>
                </a:cxn>
                <a:cxn ang="0">
                  <a:pos x="0" y="13"/>
                </a:cxn>
                <a:cxn ang="0">
                  <a:pos x="3" y="8"/>
                </a:cxn>
                <a:cxn ang="0">
                  <a:pos x="24" y="0"/>
                </a:cxn>
                <a:cxn ang="0">
                  <a:pos x="26" y="0"/>
                </a:cxn>
                <a:cxn ang="0">
                  <a:pos x="29" y="2"/>
                </a:cxn>
                <a:cxn ang="0">
                  <a:pos x="29" y="7"/>
                </a:cxn>
                <a:cxn ang="0">
                  <a:pos x="8" y="33"/>
                </a:cxn>
                <a:cxn ang="0">
                  <a:pos x="4" y="34"/>
                </a:cxn>
                <a:cxn ang="0">
                  <a:pos x="3" y="34"/>
                </a:cxn>
                <a:cxn ang="0">
                  <a:pos x="0" y="30"/>
                </a:cxn>
              </a:cxnLst>
              <a:rect l="0" t="0" r="r" b="b"/>
              <a:pathLst>
                <a:path w="32" h="35">
                  <a:moveTo>
                    <a:pt x="0" y="30"/>
                  </a:moveTo>
                  <a:lnTo>
                    <a:pt x="0" y="13"/>
                  </a:lnTo>
                  <a:cubicBezTo>
                    <a:pt x="0" y="11"/>
                    <a:pt x="1" y="9"/>
                    <a:pt x="3" y="8"/>
                  </a:cubicBezTo>
                  <a:lnTo>
                    <a:pt x="24" y="0"/>
                  </a:lnTo>
                  <a:cubicBezTo>
                    <a:pt x="24" y="0"/>
                    <a:pt x="25" y="0"/>
                    <a:pt x="26" y="0"/>
                  </a:cubicBezTo>
                  <a:cubicBezTo>
                    <a:pt x="27" y="0"/>
                    <a:pt x="28" y="0"/>
                    <a:pt x="29" y="2"/>
                  </a:cubicBezTo>
                  <a:cubicBezTo>
                    <a:pt x="31" y="3"/>
                    <a:pt x="31" y="6"/>
                    <a:pt x="29" y="7"/>
                  </a:cubicBezTo>
                  <a:lnTo>
                    <a:pt x="8" y="33"/>
                  </a:lnTo>
                  <a:cubicBezTo>
                    <a:pt x="7" y="34"/>
                    <a:pt x="6" y="34"/>
                    <a:pt x="4" y="34"/>
                  </a:cubicBezTo>
                  <a:lnTo>
                    <a:pt x="3" y="34"/>
                  </a:lnTo>
                  <a:cubicBezTo>
                    <a:pt x="1" y="33"/>
                    <a:pt x="0" y="32"/>
                    <a:pt x="0" y="30"/>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5" name="Freeform 680"/>
            <p:cNvSpPr>
              <a:spLocks noChangeArrowheads="1"/>
            </p:cNvSpPr>
            <p:nvPr/>
          </p:nvSpPr>
          <p:spPr bwMode="auto">
            <a:xfrm>
              <a:off x="8089900" y="3843338"/>
              <a:ext cx="11113" cy="12700"/>
            </a:xfrm>
            <a:custGeom>
              <a:avLst/>
              <a:gdLst/>
              <a:ahLst/>
              <a:cxnLst>
                <a:cxn ang="0">
                  <a:pos x="3" y="34"/>
                </a:cxn>
                <a:cxn ang="0">
                  <a:pos x="0" y="30"/>
                </a:cxn>
                <a:cxn ang="0">
                  <a:pos x="0" y="13"/>
                </a:cxn>
                <a:cxn ang="0">
                  <a:pos x="3" y="8"/>
                </a:cxn>
                <a:cxn ang="0">
                  <a:pos x="24" y="0"/>
                </a:cxn>
                <a:cxn ang="0">
                  <a:pos x="26" y="0"/>
                </a:cxn>
                <a:cxn ang="0">
                  <a:pos x="29" y="2"/>
                </a:cxn>
                <a:cxn ang="0">
                  <a:pos x="29" y="7"/>
                </a:cxn>
                <a:cxn ang="0">
                  <a:pos x="8" y="33"/>
                </a:cxn>
                <a:cxn ang="0">
                  <a:pos x="4" y="34"/>
                </a:cxn>
                <a:cxn ang="0">
                  <a:pos x="3" y="34"/>
                </a:cxn>
              </a:cxnLst>
              <a:rect l="0" t="0" r="r" b="b"/>
              <a:pathLst>
                <a:path w="32" h="35">
                  <a:moveTo>
                    <a:pt x="3" y="34"/>
                  </a:moveTo>
                  <a:cubicBezTo>
                    <a:pt x="1" y="33"/>
                    <a:pt x="0" y="32"/>
                    <a:pt x="0" y="30"/>
                  </a:cubicBezTo>
                  <a:lnTo>
                    <a:pt x="0" y="13"/>
                  </a:lnTo>
                  <a:cubicBezTo>
                    <a:pt x="0" y="11"/>
                    <a:pt x="1" y="9"/>
                    <a:pt x="3" y="8"/>
                  </a:cubicBezTo>
                  <a:lnTo>
                    <a:pt x="24" y="0"/>
                  </a:lnTo>
                  <a:cubicBezTo>
                    <a:pt x="24" y="0"/>
                    <a:pt x="25" y="0"/>
                    <a:pt x="26" y="0"/>
                  </a:cubicBezTo>
                  <a:cubicBezTo>
                    <a:pt x="27" y="0"/>
                    <a:pt x="28" y="0"/>
                    <a:pt x="29" y="2"/>
                  </a:cubicBezTo>
                  <a:cubicBezTo>
                    <a:pt x="31" y="3"/>
                    <a:pt x="31" y="6"/>
                    <a:pt x="29" y="7"/>
                  </a:cubicBezTo>
                  <a:lnTo>
                    <a:pt x="8" y="33"/>
                  </a:lnTo>
                  <a:cubicBezTo>
                    <a:pt x="7" y="34"/>
                    <a:pt x="6" y="34"/>
                    <a:pt x="4" y="34"/>
                  </a:cubicBezTo>
                  <a:lnTo>
                    <a:pt x="3" y="3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6" name="Freeform 681"/>
            <p:cNvSpPr>
              <a:spLocks noChangeArrowheads="1"/>
            </p:cNvSpPr>
            <p:nvPr/>
          </p:nvSpPr>
          <p:spPr bwMode="auto">
            <a:xfrm>
              <a:off x="7731125" y="3836988"/>
              <a:ext cx="12700" cy="26987"/>
            </a:xfrm>
            <a:custGeom>
              <a:avLst/>
              <a:gdLst/>
              <a:ahLst/>
              <a:cxnLst>
                <a:cxn ang="0">
                  <a:pos x="9" y="69"/>
                </a:cxn>
                <a:cxn ang="0">
                  <a:pos x="0" y="26"/>
                </a:cxn>
                <a:cxn ang="0">
                  <a:pos x="1" y="23"/>
                </a:cxn>
                <a:cxn ang="0">
                  <a:pos x="13" y="2"/>
                </a:cxn>
                <a:cxn ang="0">
                  <a:pos x="18" y="0"/>
                </a:cxn>
                <a:cxn ang="0">
                  <a:pos x="18" y="0"/>
                </a:cxn>
                <a:cxn ang="0">
                  <a:pos x="22" y="3"/>
                </a:cxn>
                <a:cxn ang="0">
                  <a:pos x="35" y="50"/>
                </a:cxn>
                <a:cxn ang="0">
                  <a:pos x="33" y="54"/>
                </a:cxn>
                <a:cxn ang="0">
                  <a:pos x="17" y="71"/>
                </a:cxn>
                <a:cxn ang="0">
                  <a:pos x="13" y="72"/>
                </a:cxn>
                <a:cxn ang="0">
                  <a:pos x="12" y="72"/>
                </a:cxn>
                <a:cxn ang="0">
                  <a:pos x="9" y="69"/>
                </a:cxn>
              </a:cxnLst>
              <a:rect l="0" t="0" r="r" b="b"/>
              <a:pathLst>
                <a:path w="36" h="74">
                  <a:moveTo>
                    <a:pt x="9" y="69"/>
                  </a:moveTo>
                  <a:lnTo>
                    <a:pt x="0" y="26"/>
                  </a:lnTo>
                  <a:cubicBezTo>
                    <a:pt x="0" y="25"/>
                    <a:pt x="0" y="24"/>
                    <a:pt x="1" y="23"/>
                  </a:cubicBezTo>
                  <a:lnTo>
                    <a:pt x="13" y="2"/>
                  </a:lnTo>
                  <a:cubicBezTo>
                    <a:pt x="14" y="0"/>
                    <a:pt x="16" y="0"/>
                    <a:pt x="18" y="0"/>
                  </a:cubicBezTo>
                  <a:lnTo>
                    <a:pt x="18" y="0"/>
                  </a:lnTo>
                  <a:cubicBezTo>
                    <a:pt x="20" y="0"/>
                    <a:pt x="22" y="1"/>
                    <a:pt x="22" y="3"/>
                  </a:cubicBezTo>
                  <a:lnTo>
                    <a:pt x="35" y="50"/>
                  </a:lnTo>
                  <a:cubicBezTo>
                    <a:pt x="35" y="51"/>
                    <a:pt x="35" y="53"/>
                    <a:pt x="33" y="54"/>
                  </a:cubicBezTo>
                  <a:lnTo>
                    <a:pt x="17" y="71"/>
                  </a:lnTo>
                  <a:cubicBezTo>
                    <a:pt x="16" y="72"/>
                    <a:pt x="15" y="72"/>
                    <a:pt x="13" y="72"/>
                  </a:cubicBezTo>
                  <a:cubicBezTo>
                    <a:pt x="13" y="73"/>
                    <a:pt x="12" y="72"/>
                    <a:pt x="12" y="72"/>
                  </a:cubicBezTo>
                  <a:cubicBezTo>
                    <a:pt x="10" y="72"/>
                    <a:pt x="9" y="70"/>
                    <a:pt x="9" y="69"/>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7" name="Freeform 682"/>
            <p:cNvSpPr>
              <a:spLocks noChangeArrowheads="1"/>
            </p:cNvSpPr>
            <p:nvPr/>
          </p:nvSpPr>
          <p:spPr bwMode="auto">
            <a:xfrm>
              <a:off x="7731125" y="3836988"/>
              <a:ext cx="12700" cy="26987"/>
            </a:xfrm>
            <a:custGeom>
              <a:avLst/>
              <a:gdLst/>
              <a:ahLst/>
              <a:cxnLst>
                <a:cxn ang="0">
                  <a:pos x="12" y="72"/>
                </a:cxn>
                <a:cxn ang="0">
                  <a:pos x="9" y="69"/>
                </a:cxn>
                <a:cxn ang="0">
                  <a:pos x="0" y="26"/>
                </a:cxn>
                <a:cxn ang="0">
                  <a:pos x="1" y="23"/>
                </a:cxn>
                <a:cxn ang="0">
                  <a:pos x="13" y="2"/>
                </a:cxn>
                <a:cxn ang="0">
                  <a:pos x="18" y="0"/>
                </a:cxn>
                <a:cxn ang="0">
                  <a:pos x="18" y="0"/>
                </a:cxn>
                <a:cxn ang="0">
                  <a:pos x="22" y="3"/>
                </a:cxn>
                <a:cxn ang="0">
                  <a:pos x="35" y="50"/>
                </a:cxn>
                <a:cxn ang="0">
                  <a:pos x="33" y="54"/>
                </a:cxn>
                <a:cxn ang="0">
                  <a:pos x="17" y="71"/>
                </a:cxn>
                <a:cxn ang="0">
                  <a:pos x="13" y="72"/>
                </a:cxn>
                <a:cxn ang="0">
                  <a:pos x="12" y="72"/>
                </a:cxn>
              </a:cxnLst>
              <a:rect l="0" t="0" r="r" b="b"/>
              <a:pathLst>
                <a:path w="36" h="74">
                  <a:moveTo>
                    <a:pt x="12" y="72"/>
                  </a:moveTo>
                  <a:cubicBezTo>
                    <a:pt x="10" y="72"/>
                    <a:pt x="9" y="70"/>
                    <a:pt x="9" y="69"/>
                  </a:cubicBezTo>
                  <a:lnTo>
                    <a:pt x="0" y="26"/>
                  </a:lnTo>
                  <a:cubicBezTo>
                    <a:pt x="0" y="25"/>
                    <a:pt x="0" y="24"/>
                    <a:pt x="1" y="23"/>
                  </a:cubicBezTo>
                  <a:lnTo>
                    <a:pt x="13" y="2"/>
                  </a:lnTo>
                  <a:cubicBezTo>
                    <a:pt x="14" y="0"/>
                    <a:pt x="16" y="0"/>
                    <a:pt x="18" y="0"/>
                  </a:cubicBezTo>
                  <a:lnTo>
                    <a:pt x="18" y="0"/>
                  </a:lnTo>
                  <a:cubicBezTo>
                    <a:pt x="20" y="0"/>
                    <a:pt x="22" y="1"/>
                    <a:pt x="22" y="3"/>
                  </a:cubicBezTo>
                  <a:lnTo>
                    <a:pt x="35" y="50"/>
                  </a:lnTo>
                  <a:cubicBezTo>
                    <a:pt x="35" y="51"/>
                    <a:pt x="35" y="53"/>
                    <a:pt x="33" y="54"/>
                  </a:cubicBezTo>
                  <a:lnTo>
                    <a:pt x="17" y="71"/>
                  </a:lnTo>
                  <a:cubicBezTo>
                    <a:pt x="16" y="72"/>
                    <a:pt x="15" y="72"/>
                    <a:pt x="13" y="72"/>
                  </a:cubicBezTo>
                  <a:cubicBezTo>
                    <a:pt x="13" y="73"/>
                    <a:pt x="12" y="72"/>
                    <a:pt x="12" y="72"/>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8" name="Freeform 683"/>
            <p:cNvSpPr>
              <a:spLocks noChangeArrowheads="1"/>
            </p:cNvSpPr>
            <p:nvPr/>
          </p:nvSpPr>
          <p:spPr bwMode="auto">
            <a:xfrm>
              <a:off x="7515225" y="3606800"/>
              <a:ext cx="303213" cy="257175"/>
            </a:xfrm>
            <a:custGeom>
              <a:avLst/>
              <a:gdLst/>
              <a:ahLst/>
              <a:cxnLst>
                <a:cxn ang="0">
                  <a:pos x="483" y="712"/>
                </a:cxn>
                <a:cxn ang="0">
                  <a:pos x="448" y="652"/>
                </a:cxn>
                <a:cxn ang="0">
                  <a:pos x="398" y="656"/>
                </a:cxn>
                <a:cxn ang="0">
                  <a:pos x="344" y="622"/>
                </a:cxn>
                <a:cxn ang="0">
                  <a:pos x="251" y="664"/>
                </a:cxn>
                <a:cxn ang="0">
                  <a:pos x="246" y="660"/>
                </a:cxn>
                <a:cxn ang="0">
                  <a:pos x="189" y="621"/>
                </a:cxn>
                <a:cxn ang="0">
                  <a:pos x="114" y="614"/>
                </a:cxn>
                <a:cxn ang="0">
                  <a:pos x="60" y="429"/>
                </a:cxn>
                <a:cxn ang="0">
                  <a:pos x="21" y="407"/>
                </a:cxn>
                <a:cxn ang="0">
                  <a:pos x="17" y="236"/>
                </a:cxn>
                <a:cxn ang="0">
                  <a:pos x="58" y="195"/>
                </a:cxn>
                <a:cxn ang="0">
                  <a:pos x="61" y="195"/>
                </a:cxn>
                <a:cxn ang="0">
                  <a:pos x="98" y="264"/>
                </a:cxn>
                <a:cxn ang="0">
                  <a:pos x="229" y="282"/>
                </a:cxn>
                <a:cxn ang="0">
                  <a:pos x="331" y="237"/>
                </a:cxn>
                <a:cxn ang="0">
                  <a:pos x="440" y="250"/>
                </a:cxn>
                <a:cxn ang="0">
                  <a:pos x="484" y="209"/>
                </a:cxn>
                <a:cxn ang="0">
                  <a:pos x="576" y="4"/>
                </a:cxn>
                <a:cxn ang="0">
                  <a:pos x="726" y="17"/>
                </a:cxn>
                <a:cxn ang="0">
                  <a:pos x="727" y="25"/>
                </a:cxn>
                <a:cxn ang="0">
                  <a:pos x="745" y="61"/>
                </a:cxn>
                <a:cxn ang="0">
                  <a:pos x="743" y="68"/>
                </a:cxn>
                <a:cxn ang="0">
                  <a:pos x="767" y="176"/>
                </a:cxn>
                <a:cxn ang="0">
                  <a:pos x="760" y="211"/>
                </a:cxn>
                <a:cxn ang="0">
                  <a:pos x="839" y="297"/>
                </a:cxn>
                <a:cxn ang="0">
                  <a:pos x="792" y="305"/>
                </a:cxn>
                <a:cxn ang="0">
                  <a:pos x="768" y="288"/>
                </a:cxn>
                <a:cxn ang="0">
                  <a:pos x="766" y="303"/>
                </a:cxn>
                <a:cxn ang="0">
                  <a:pos x="721" y="410"/>
                </a:cxn>
                <a:cxn ang="0">
                  <a:pos x="621" y="516"/>
                </a:cxn>
                <a:cxn ang="0">
                  <a:pos x="648" y="556"/>
                </a:cxn>
                <a:cxn ang="0">
                  <a:pos x="502" y="714"/>
                </a:cxn>
                <a:cxn ang="0">
                  <a:pos x="488" y="715"/>
                </a:cxn>
              </a:cxnLst>
              <a:rect l="0" t="0" r="r" b="b"/>
              <a:pathLst>
                <a:path w="841" h="716">
                  <a:moveTo>
                    <a:pt x="488" y="715"/>
                  </a:moveTo>
                  <a:cubicBezTo>
                    <a:pt x="486" y="715"/>
                    <a:pt x="484" y="714"/>
                    <a:pt x="483" y="712"/>
                  </a:cubicBezTo>
                  <a:lnTo>
                    <a:pt x="466" y="665"/>
                  </a:lnTo>
                  <a:lnTo>
                    <a:pt x="448" y="652"/>
                  </a:lnTo>
                  <a:lnTo>
                    <a:pt x="403" y="660"/>
                  </a:lnTo>
                  <a:cubicBezTo>
                    <a:pt x="401" y="660"/>
                    <a:pt x="399" y="658"/>
                    <a:pt x="398" y="656"/>
                  </a:cubicBezTo>
                  <a:lnTo>
                    <a:pt x="395" y="638"/>
                  </a:lnTo>
                  <a:lnTo>
                    <a:pt x="344" y="622"/>
                  </a:lnTo>
                  <a:lnTo>
                    <a:pt x="308" y="650"/>
                  </a:lnTo>
                  <a:lnTo>
                    <a:pt x="251" y="664"/>
                  </a:lnTo>
                  <a:cubicBezTo>
                    <a:pt x="251" y="664"/>
                    <a:pt x="251" y="664"/>
                    <a:pt x="250" y="664"/>
                  </a:cubicBezTo>
                  <a:cubicBezTo>
                    <a:pt x="248" y="664"/>
                    <a:pt x="246" y="663"/>
                    <a:pt x="246" y="660"/>
                  </a:cubicBezTo>
                  <a:lnTo>
                    <a:pt x="230" y="602"/>
                  </a:lnTo>
                  <a:lnTo>
                    <a:pt x="189" y="621"/>
                  </a:lnTo>
                  <a:lnTo>
                    <a:pt x="119" y="617"/>
                  </a:lnTo>
                  <a:cubicBezTo>
                    <a:pt x="117" y="617"/>
                    <a:pt x="115" y="616"/>
                    <a:pt x="114" y="614"/>
                  </a:cubicBezTo>
                  <a:lnTo>
                    <a:pt x="80" y="470"/>
                  </a:lnTo>
                  <a:lnTo>
                    <a:pt x="60" y="429"/>
                  </a:lnTo>
                  <a:lnTo>
                    <a:pt x="23" y="410"/>
                  </a:lnTo>
                  <a:cubicBezTo>
                    <a:pt x="22" y="409"/>
                    <a:pt x="21" y="408"/>
                    <a:pt x="21" y="407"/>
                  </a:cubicBezTo>
                  <a:lnTo>
                    <a:pt x="0" y="326"/>
                  </a:lnTo>
                  <a:lnTo>
                    <a:pt x="17" y="236"/>
                  </a:lnTo>
                  <a:lnTo>
                    <a:pt x="48" y="200"/>
                  </a:lnTo>
                  <a:lnTo>
                    <a:pt x="58" y="195"/>
                  </a:lnTo>
                  <a:cubicBezTo>
                    <a:pt x="58" y="195"/>
                    <a:pt x="59" y="195"/>
                    <a:pt x="60" y="195"/>
                  </a:cubicBezTo>
                  <a:lnTo>
                    <a:pt x="61" y="195"/>
                  </a:lnTo>
                  <a:cubicBezTo>
                    <a:pt x="62" y="195"/>
                    <a:pt x="63" y="196"/>
                    <a:pt x="64" y="197"/>
                  </a:cubicBezTo>
                  <a:lnTo>
                    <a:pt x="98" y="264"/>
                  </a:lnTo>
                  <a:lnTo>
                    <a:pt x="138" y="283"/>
                  </a:lnTo>
                  <a:lnTo>
                    <a:pt x="229" y="282"/>
                  </a:lnTo>
                  <a:lnTo>
                    <a:pt x="285" y="238"/>
                  </a:lnTo>
                  <a:lnTo>
                    <a:pt x="331" y="237"/>
                  </a:lnTo>
                  <a:lnTo>
                    <a:pt x="380" y="262"/>
                  </a:lnTo>
                  <a:lnTo>
                    <a:pt x="440" y="250"/>
                  </a:lnTo>
                  <a:lnTo>
                    <a:pt x="464" y="233"/>
                  </a:lnTo>
                  <a:lnTo>
                    <a:pt x="484" y="209"/>
                  </a:lnTo>
                  <a:lnTo>
                    <a:pt x="572" y="7"/>
                  </a:lnTo>
                  <a:cubicBezTo>
                    <a:pt x="573" y="5"/>
                    <a:pt x="575" y="4"/>
                    <a:pt x="576" y="4"/>
                  </a:cubicBezTo>
                  <a:lnTo>
                    <a:pt x="682" y="0"/>
                  </a:lnTo>
                  <a:lnTo>
                    <a:pt x="726" y="17"/>
                  </a:lnTo>
                  <a:cubicBezTo>
                    <a:pt x="728" y="18"/>
                    <a:pt x="729" y="19"/>
                    <a:pt x="729" y="21"/>
                  </a:cubicBezTo>
                  <a:cubicBezTo>
                    <a:pt x="730" y="23"/>
                    <a:pt x="729" y="25"/>
                    <a:pt x="727" y="25"/>
                  </a:cubicBezTo>
                  <a:lnTo>
                    <a:pt x="719" y="31"/>
                  </a:lnTo>
                  <a:lnTo>
                    <a:pt x="745" y="61"/>
                  </a:lnTo>
                  <a:cubicBezTo>
                    <a:pt x="746" y="62"/>
                    <a:pt x="747" y="64"/>
                    <a:pt x="746" y="65"/>
                  </a:cubicBezTo>
                  <a:cubicBezTo>
                    <a:pt x="746" y="67"/>
                    <a:pt x="744" y="68"/>
                    <a:pt x="743" y="68"/>
                  </a:cubicBezTo>
                  <a:lnTo>
                    <a:pt x="703" y="76"/>
                  </a:lnTo>
                  <a:lnTo>
                    <a:pt x="767" y="176"/>
                  </a:lnTo>
                  <a:cubicBezTo>
                    <a:pt x="768" y="177"/>
                    <a:pt x="768" y="178"/>
                    <a:pt x="767" y="179"/>
                  </a:cubicBezTo>
                  <a:lnTo>
                    <a:pt x="760" y="211"/>
                  </a:lnTo>
                  <a:lnTo>
                    <a:pt x="838" y="292"/>
                  </a:lnTo>
                  <a:cubicBezTo>
                    <a:pt x="839" y="294"/>
                    <a:pt x="840" y="295"/>
                    <a:pt x="839" y="297"/>
                  </a:cubicBezTo>
                  <a:cubicBezTo>
                    <a:pt x="839" y="299"/>
                    <a:pt x="837" y="300"/>
                    <a:pt x="835" y="300"/>
                  </a:cubicBezTo>
                  <a:lnTo>
                    <a:pt x="792" y="305"/>
                  </a:lnTo>
                  <a:cubicBezTo>
                    <a:pt x="792" y="305"/>
                    <a:pt x="791" y="304"/>
                    <a:pt x="790" y="304"/>
                  </a:cubicBezTo>
                  <a:lnTo>
                    <a:pt x="768" y="288"/>
                  </a:lnTo>
                  <a:lnTo>
                    <a:pt x="768" y="300"/>
                  </a:lnTo>
                  <a:cubicBezTo>
                    <a:pt x="768" y="301"/>
                    <a:pt x="767" y="302"/>
                    <a:pt x="766" y="303"/>
                  </a:cubicBezTo>
                  <a:lnTo>
                    <a:pt x="728" y="341"/>
                  </a:lnTo>
                  <a:lnTo>
                    <a:pt x="721" y="410"/>
                  </a:lnTo>
                  <a:lnTo>
                    <a:pt x="686" y="467"/>
                  </a:lnTo>
                  <a:lnTo>
                    <a:pt x="621" y="516"/>
                  </a:lnTo>
                  <a:lnTo>
                    <a:pt x="648" y="551"/>
                  </a:lnTo>
                  <a:cubicBezTo>
                    <a:pt x="649" y="552"/>
                    <a:pt x="649" y="554"/>
                    <a:pt x="648" y="556"/>
                  </a:cubicBezTo>
                  <a:lnTo>
                    <a:pt x="598" y="662"/>
                  </a:lnTo>
                  <a:lnTo>
                    <a:pt x="502" y="714"/>
                  </a:lnTo>
                  <a:cubicBezTo>
                    <a:pt x="502" y="715"/>
                    <a:pt x="501" y="715"/>
                    <a:pt x="500" y="715"/>
                  </a:cubicBezTo>
                  <a:lnTo>
                    <a:pt x="488" y="715"/>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9" name="Freeform 684"/>
            <p:cNvSpPr>
              <a:spLocks noChangeArrowheads="1"/>
            </p:cNvSpPr>
            <p:nvPr/>
          </p:nvSpPr>
          <p:spPr bwMode="auto">
            <a:xfrm>
              <a:off x="7515225" y="3606800"/>
              <a:ext cx="303213" cy="257175"/>
            </a:xfrm>
            <a:custGeom>
              <a:avLst/>
              <a:gdLst/>
              <a:ahLst/>
              <a:cxnLst>
                <a:cxn ang="0">
                  <a:pos x="483" y="712"/>
                </a:cxn>
                <a:cxn ang="0">
                  <a:pos x="448" y="652"/>
                </a:cxn>
                <a:cxn ang="0">
                  <a:pos x="398" y="656"/>
                </a:cxn>
                <a:cxn ang="0">
                  <a:pos x="344" y="622"/>
                </a:cxn>
                <a:cxn ang="0">
                  <a:pos x="251" y="664"/>
                </a:cxn>
                <a:cxn ang="0">
                  <a:pos x="246" y="660"/>
                </a:cxn>
                <a:cxn ang="0">
                  <a:pos x="189" y="621"/>
                </a:cxn>
                <a:cxn ang="0">
                  <a:pos x="114" y="614"/>
                </a:cxn>
                <a:cxn ang="0">
                  <a:pos x="60" y="429"/>
                </a:cxn>
                <a:cxn ang="0">
                  <a:pos x="21" y="407"/>
                </a:cxn>
                <a:cxn ang="0">
                  <a:pos x="17" y="236"/>
                </a:cxn>
                <a:cxn ang="0">
                  <a:pos x="58" y="195"/>
                </a:cxn>
                <a:cxn ang="0">
                  <a:pos x="61" y="195"/>
                </a:cxn>
                <a:cxn ang="0">
                  <a:pos x="98" y="264"/>
                </a:cxn>
                <a:cxn ang="0">
                  <a:pos x="229" y="282"/>
                </a:cxn>
                <a:cxn ang="0">
                  <a:pos x="331" y="237"/>
                </a:cxn>
                <a:cxn ang="0">
                  <a:pos x="440" y="250"/>
                </a:cxn>
                <a:cxn ang="0">
                  <a:pos x="484" y="209"/>
                </a:cxn>
                <a:cxn ang="0">
                  <a:pos x="576" y="4"/>
                </a:cxn>
                <a:cxn ang="0">
                  <a:pos x="726" y="17"/>
                </a:cxn>
                <a:cxn ang="0">
                  <a:pos x="727" y="25"/>
                </a:cxn>
                <a:cxn ang="0">
                  <a:pos x="745" y="61"/>
                </a:cxn>
                <a:cxn ang="0">
                  <a:pos x="743" y="68"/>
                </a:cxn>
                <a:cxn ang="0">
                  <a:pos x="767" y="176"/>
                </a:cxn>
                <a:cxn ang="0">
                  <a:pos x="760" y="211"/>
                </a:cxn>
                <a:cxn ang="0">
                  <a:pos x="839" y="297"/>
                </a:cxn>
                <a:cxn ang="0">
                  <a:pos x="792" y="305"/>
                </a:cxn>
                <a:cxn ang="0">
                  <a:pos x="768" y="288"/>
                </a:cxn>
                <a:cxn ang="0">
                  <a:pos x="766" y="303"/>
                </a:cxn>
                <a:cxn ang="0">
                  <a:pos x="721" y="410"/>
                </a:cxn>
                <a:cxn ang="0">
                  <a:pos x="621" y="516"/>
                </a:cxn>
                <a:cxn ang="0">
                  <a:pos x="648" y="556"/>
                </a:cxn>
                <a:cxn ang="0">
                  <a:pos x="502" y="714"/>
                </a:cxn>
                <a:cxn ang="0">
                  <a:pos x="488" y="715"/>
                </a:cxn>
              </a:cxnLst>
              <a:rect l="0" t="0" r="r" b="b"/>
              <a:pathLst>
                <a:path w="841" h="716">
                  <a:moveTo>
                    <a:pt x="488" y="715"/>
                  </a:moveTo>
                  <a:cubicBezTo>
                    <a:pt x="486" y="715"/>
                    <a:pt x="484" y="714"/>
                    <a:pt x="483" y="712"/>
                  </a:cubicBezTo>
                  <a:lnTo>
                    <a:pt x="466" y="665"/>
                  </a:lnTo>
                  <a:lnTo>
                    <a:pt x="448" y="652"/>
                  </a:lnTo>
                  <a:lnTo>
                    <a:pt x="403" y="660"/>
                  </a:lnTo>
                  <a:cubicBezTo>
                    <a:pt x="401" y="660"/>
                    <a:pt x="399" y="658"/>
                    <a:pt x="398" y="656"/>
                  </a:cubicBezTo>
                  <a:lnTo>
                    <a:pt x="395" y="638"/>
                  </a:lnTo>
                  <a:lnTo>
                    <a:pt x="344" y="622"/>
                  </a:lnTo>
                  <a:lnTo>
                    <a:pt x="308" y="650"/>
                  </a:lnTo>
                  <a:lnTo>
                    <a:pt x="251" y="664"/>
                  </a:lnTo>
                  <a:cubicBezTo>
                    <a:pt x="251" y="664"/>
                    <a:pt x="251" y="664"/>
                    <a:pt x="250" y="664"/>
                  </a:cubicBezTo>
                  <a:cubicBezTo>
                    <a:pt x="248" y="664"/>
                    <a:pt x="246" y="663"/>
                    <a:pt x="246" y="660"/>
                  </a:cubicBezTo>
                  <a:lnTo>
                    <a:pt x="230" y="602"/>
                  </a:lnTo>
                  <a:lnTo>
                    <a:pt x="189" y="621"/>
                  </a:lnTo>
                  <a:lnTo>
                    <a:pt x="119" y="617"/>
                  </a:lnTo>
                  <a:cubicBezTo>
                    <a:pt x="117" y="617"/>
                    <a:pt x="115" y="616"/>
                    <a:pt x="114" y="614"/>
                  </a:cubicBezTo>
                  <a:lnTo>
                    <a:pt x="80" y="470"/>
                  </a:lnTo>
                  <a:lnTo>
                    <a:pt x="60" y="429"/>
                  </a:lnTo>
                  <a:lnTo>
                    <a:pt x="23" y="410"/>
                  </a:lnTo>
                  <a:cubicBezTo>
                    <a:pt x="22" y="409"/>
                    <a:pt x="21" y="408"/>
                    <a:pt x="21" y="407"/>
                  </a:cubicBezTo>
                  <a:lnTo>
                    <a:pt x="0" y="326"/>
                  </a:lnTo>
                  <a:lnTo>
                    <a:pt x="17" y="236"/>
                  </a:lnTo>
                  <a:lnTo>
                    <a:pt x="48" y="200"/>
                  </a:lnTo>
                  <a:lnTo>
                    <a:pt x="58" y="195"/>
                  </a:lnTo>
                  <a:cubicBezTo>
                    <a:pt x="58" y="195"/>
                    <a:pt x="59" y="195"/>
                    <a:pt x="60" y="195"/>
                  </a:cubicBezTo>
                  <a:lnTo>
                    <a:pt x="61" y="195"/>
                  </a:lnTo>
                  <a:cubicBezTo>
                    <a:pt x="62" y="195"/>
                    <a:pt x="63" y="196"/>
                    <a:pt x="64" y="197"/>
                  </a:cubicBezTo>
                  <a:lnTo>
                    <a:pt x="98" y="264"/>
                  </a:lnTo>
                  <a:lnTo>
                    <a:pt x="138" y="283"/>
                  </a:lnTo>
                  <a:lnTo>
                    <a:pt x="229" y="282"/>
                  </a:lnTo>
                  <a:lnTo>
                    <a:pt x="285" y="238"/>
                  </a:lnTo>
                  <a:lnTo>
                    <a:pt x="331" y="237"/>
                  </a:lnTo>
                  <a:lnTo>
                    <a:pt x="380" y="262"/>
                  </a:lnTo>
                  <a:lnTo>
                    <a:pt x="440" y="250"/>
                  </a:lnTo>
                  <a:lnTo>
                    <a:pt x="464" y="233"/>
                  </a:lnTo>
                  <a:lnTo>
                    <a:pt x="484" y="209"/>
                  </a:lnTo>
                  <a:lnTo>
                    <a:pt x="572" y="7"/>
                  </a:lnTo>
                  <a:cubicBezTo>
                    <a:pt x="573" y="5"/>
                    <a:pt x="575" y="4"/>
                    <a:pt x="576" y="4"/>
                  </a:cubicBezTo>
                  <a:lnTo>
                    <a:pt x="682" y="0"/>
                  </a:lnTo>
                  <a:lnTo>
                    <a:pt x="726" y="17"/>
                  </a:lnTo>
                  <a:cubicBezTo>
                    <a:pt x="728" y="18"/>
                    <a:pt x="729" y="19"/>
                    <a:pt x="729" y="21"/>
                  </a:cubicBezTo>
                  <a:cubicBezTo>
                    <a:pt x="730" y="23"/>
                    <a:pt x="729" y="25"/>
                    <a:pt x="727" y="25"/>
                  </a:cubicBezTo>
                  <a:lnTo>
                    <a:pt x="719" y="31"/>
                  </a:lnTo>
                  <a:lnTo>
                    <a:pt x="745" y="61"/>
                  </a:lnTo>
                  <a:cubicBezTo>
                    <a:pt x="746" y="62"/>
                    <a:pt x="747" y="64"/>
                    <a:pt x="746" y="65"/>
                  </a:cubicBezTo>
                  <a:cubicBezTo>
                    <a:pt x="746" y="67"/>
                    <a:pt x="744" y="68"/>
                    <a:pt x="743" y="68"/>
                  </a:cubicBezTo>
                  <a:lnTo>
                    <a:pt x="703" y="76"/>
                  </a:lnTo>
                  <a:lnTo>
                    <a:pt x="767" y="176"/>
                  </a:lnTo>
                  <a:cubicBezTo>
                    <a:pt x="768" y="177"/>
                    <a:pt x="768" y="178"/>
                    <a:pt x="767" y="179"/>
                  </a:cubicBezTo>
                  <a:lnTo>
                    <a:pt x="760" y="211"/>
                  </a:lnTo>
                  <a:lnTo>
                    <a:pt x="838" y="292"/>
                  </a:lnTo>
                  <a:cubicBezTo>
                    <a:pt x="839" y="294"/>
                    <a:pt x="840" y="295"/>
                    <a:pt x="839" y="297"/>
                  </a:cubicBezTo>
                  <a:cubicBezTo>
                    <a:pt x="839" y="299"/>
                    <a:pt x="837" y="300"/>
                    <a:pt x="835" y="300"/>
                  </a:cubicBezTo>
                  <a:lnTo>
                    <a:pt x="792" y="305"/>
                  </a:lnTo>
                  <a:cubicBezTo>
                    <a:pt x="792" y="305"/>
                    <a:pt x="791" y="304"/>
                    <a:pt x="790" y="304"/>
                  </a:cubicBezTo>
                  <a:lnTo>
                    <a:pt x="768" y="288"/>
                  </a:lnTo>
                  <a:lnTo>
                    <a:pt x="768" y="300"/>
                  </a:lnTo>
                  <a:cubicBezTo>
                    <a:pt x="768" y="301"/>
                    <a:pt x="767" y="302"/>
                    <a:pt x="766" y="303"/>
                  </a:cubicBezTo>
                  <a:lnTo>
                    <a:pt x="728" y="341"/>
                  </a:lnTo>
                  <a:lnTo>
                    <a:pt x="721" y="410"/>
                  </a:lnTo>
                  <a:lnTo>
                    <a:pt x="686" y="467"/>
                  </a:lnTo>
                  <a:lnTo>
                    <a:pt x="621" y="516"/>
                  </a:lnTo>
                  <a:lnTo>
                    <a:pt x="648" y="551"/>
                  </a:lnTo>
                  <a:cubicBezTo>
                    <a:pt x="649" y="552"/>
                    <a:pt x="649" y="554"/>
                    <a:pt x="648" y="556"/>
                  </a:cubicBezTo>
                  <a:lnTo>
                    <a:pt x="598" y="662"/>
                  </a:lnTo>
                  <a:lnTo>
                    <a:pt x="502" y="714"/>
                  </a:lnTo>
                  <a:cubicBezTo>
                    <a:pt x="502" y="715"/>
                    <a:pt x="501" y="715"/>
                    <a:pt x="500" y="715"/>
                  </a:cubicBezTo>
                  <a:lnTo>
                    <a:pt x="488" y="71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0" name="Freeform 685"/>
            <p:cNvSpPr>
              <a:spLocks noChangeArrowheads="1"/>
            </p:cNvSpPr>
            <p:nvPr/>
          </p:nvSpPr>
          <p:spPr bwMode="auto">
            <a:xfrm>
              <a:off x="7405688" y="3914775"/>
              <a:ext cx="280987" cy="90488"/>
            </a:xfrm>
            <a:custGeom>
              <a:avLst/>
              <a:gdLst/>
              <a:ahLst/>
              <a:cxnLst>
                <a:cxn ang="0">
                  <a:pos x="660" y="208"/>
                </a:cxn>
                <a:cxn ang="0">
                  <a:pos x="624" y="216"/>
                </a:cxn>
                <a:cxn ang="0">
                  <a:pos x="576" y="208"/>
                </a:cxn>
                <a:cxn ang="0">
                  <a:pos x="539" y="212"/>
                </a:cxn>
                <a:cxn ang="0">
                  <a:pos x="465" y="199"/>
                </a:cxn>
                <a:cxn ang="0">
                  <a:pos x="371" y="157"/>
                </a:cxn>
                <a:cxn ang="0">
                  <a:pos x="297" y="153"/>
                </a:cxn>
                <a:cxn ang="0">
                  <a:pos x="274" y="165"/>
                </a:cxn>
                <a:cxn ang="0">
                  <a:pos x="143" y="136"/>
                </a:cxn>
                <a:cxn ang="0">
                  <a:pos x="96" y="114"/>
                </a:cxn>
                <a:cxn ang="0">
                  <a:pos x="93" y="111"/>
                </a:cxn>
                <a:cxn ang="0">
                  <a:pos x="94" y="107"/>
                </a:cxn>
                <a:cxn ang="0">
                  <a:pos x="101" y="100"/>
                </a:cxn>
                <a:cxn ang="0">
                  <a:pos x="12" y="81"/>
                </a:cxn>
                <a:cxn ang="0">
                  <a:pos x="9" y="78"/>
                </a:cxn>
                <a:cxn ang="0">
                  <a:pos x="0" y="61"/>
                </a:cxn>
                <a:cxn ang="0">
                  <a:pos x="1" y="56"/>
                </a:cxn>
                <a:cxn ang="0">
                  <a:pos x="5" y="54"/>
                </a:cxn>
                <a:cxn ang="0">
                  <a:pos x="32" y="58"/>
                </a:cxn>
                <a:cxn ang="0">
                  <a:pos x="64" y="10"/>
                </a:cxn>
                <a:cxn ang="0">
                  <a:pos x="83" y="0"/>
                </a:cxn>
                <a:cxn ang="0">
                  <a:pos x="85" y="0"/>
                </a:cxn>
                <a:cxn ang="0">
                  <a:pos x="86" y="0"/>
                </a:cxn>
                <a:cxn ang="0">
                  <a:pos x="137" y="12"/>
                </a:cxn>
                <a:cxn ang="0">
                  <a:pos x="177" y="0"/>
                </a:cxn>
                <a:cxn ang="0">
                  <a:pos x="178" y="0"/>
                </a:cxn>
                <a:cxn ang="0">
                  <a:pos x="183" y="2"/>
                </a:cxn>
                <a:cxn ang="0">
                  <a:pos x="190" y="21"/>
                </a:cxn>
                <a:cxn ang="0">
                  <a:pos x="255" y="29"/>
                </a:cxn>
                <a:cxn ang="0">
                  <a:pos x="309" y="77"/>
                </a:cxn>
                <a:cxn ang="0">
                  <a:pos x="426" y="84"/>
                </a:cxn>
                <a:cxn ang="0">
                  <a:pos x="450" y="52"/>
                </a:cxn>
                <a:cxn ang="0">
                  <a:pos x="472" y="38"/>
                </a:cxn>
                <a:cxn ang="0">
                  <a:pos x="475" y="38"/>
                </a:cxn>
                <a:cxn ang="0">
                  <a:pos x="478" y="39"/>
                </a:cxn>
                <a:cxn ang="0">
                  <a:pos x="498" y="62"/>
                </a:cxn>
                <a:cxn ang="0">
                  <a:pos x="520" y="55"/>
                </a:cxn>
                <a:cxn ang="0">
                  <a:pos x="607" y="80"/>
                </a:cxn>
                <a:cxn ang="0">
                  <a:pos x="651" y="143"/>
                </a:cxn>
                <a:cxn ang="0">
                  <a:pos x="768" y="156"/>
                </a:cxn>
                <a:cxn ang="0">
                  <a:pos x="772" y="161"/>
                </a:cxn>
                <a:cxn ang="0">
                  <a:pos x="767" y="212"/>
                </a:cxn>
                <a:cxn ang="0">
                  <a:pos x="780" y="244"/>
                </a:cxn>
                <a:cxn ang="0">
                  <a:pos x="779" y="249"/>
                </a:cxn>
                <a:cxn ang="0">
                  <a:pos x="776" y="250"/>
                </a:cxn>
                <a:cxn ang="0">
                  <a:pos x="774" y="250"/>
                </a:cxn>
                <a:cxn ang="0">
                  <a:pos x="660" y="208"/>
                </a:cxn>
              </a:cxnLst>
              <a:rect l="0" t="0" r="r" b="b"/>
              <a:pathLst>
                <a:path w="782" h="251">
                  <a:moveTo>
                    <a:pt x="660" y="208"/>
                  </a:moveTo>
                  <a:lnTo>
                    <a:pt x="624" y="216"/>
                  </a:lnTo>
                  <a:lnTo>
                    <a:pt x="576" y="208"/>
                  </a:lnTo>
                  <a:lnTo>
                    <a:pt x="539" y="212"/>
                  </a:lnTo>
                  <a:lnTo>
                    <a:pt x="465" y="199"/>
                  </a:lnTo>
                  <a:lnTo>
                    <a:pt x="371" y="157"/>
                  </a:lnTo>
                  <a:lnTo>
                    <a:pt x="297" y="153"/>
                  </a:lnTo>
                  <a:lnTo>
                    <a:pt x="274" y="165"/>
                  </a:lnTo>
                  <a:lnTo>
                    <a:pt x="143" y="136"/>
                  </a:lnTo>
                  <a:lnTo>
                    <a:pt x="96" y="114"/>
                  </a:lnTo>
                  <a:cubicBezTo>
                    <a:pt x="94" y="114"/>
                    <a:pt x="93" y="112"/>
                    <a:pt x="93" y="111"/>
                  </a:cubicBezTo>
                  <a:cubicBezTo>
                    <a:pt x="93" y="109"/>
                    <a:pt x="93" y="108"/>
                    <a:pt x="94" y="107"/>
                  </a:cubicBezTo>
                  <a:lnTo>
                    <a:pt x="101" y="100"/>
                  </a:lnTo>
                  <a:lnTo>
                    <a:pt x="12" y="81"/>
                  </a:lnTo>
                  <a:cubicBezTo>
                    <a:pt x="11" y="80"/>
                    <a:pt x="9" y="80"/>
                    <a:pt x="9" y="78"/>
                  </a:cubicBezTo>
                  <a:lnTo>
                    <a:pt x="0" y="61"/>
                  </a:lnTo>
                  <a:cubicBezTo>
                    <a:pt x="0" y="60"/>
                    <a:pt x="0" y="58"/>
                    <a:pt x="1" y="56"/>
                  </a:cubicBezTo>
                  <a:cubicBezTo>
                    <a:pt x="2" y="55"/>
                    <a:pt x="3" y="54"/>
                    <a:pt x="5" y="54"/>
                  </a:cubicBezTo>
                  <a:lnTo>
                    <a:pt x="32" y="58"/>
                  </a:lnTo>
                  <a:lnTo>
                    <a:pt x="64" y="10"/>
                  </a:lnTo>
                  <a:lnTo>
                    <a:pt x="83" y="0"/>
                  </a:lnTo>
                  <a:cubicBezTo>
                    <a:pt x="84" y="0"/>
                    <a:pt x="84" y="0"/>
                    <a:pt x="85" y="0"/>
                  </a:cubicBezTo>
                  <a:lnTo>
                    <a:pt x="86" y="0"/>
                  </a:lnTo>
                  <a:lnTo>
                    <a:pt x="137" y="12"/>
                  </a:lnTo>
                  <a:lnTo>
                    <a:pt x="177" y="0"/>
                  </a:lnTo>
                  <a:lnTo>
                    <a:pt x="178" y="0"/>
                  </a:lnTo>
                  <a:cubicBezTo>
                    <a:pt x="180" y="0"/>
                    <a:pt x="182" y="1"/>
                    <a:pt x="183" y="2"/>
                  </a:cubicBezTo>
                  <a:lnTo>
                    <a:pt x="190" y="21"/>
                  </a:lnTo>
                  <a:lnTo>
                    <a:pt x="255" y="29"/>
                  </a:lnTo>
                  <a:lnTo>
                    <a:pt x="309" y="77"/>
                  </a:lnTo>
                  <a:lnTo>
                    <a:pt x="426" y="84"/>
                  </a:lnTo>
                  <a:lnTo>
                    <a:pt x="450" y="52"/>
                  </a:lnTo>
                  <a:lnTo>
                    <a:pt x="472" y="38"/>
                  </a:lnTo>
                  <a:cubicBezTo>
                    <a:pt x="473" y="38"/>
                    <a:pt x="474" y="38"/>
                    <a:pt x="475" y="38"/>
                  </a:cubicBezTo>
                  <a:cubicBezTo>
                    <a:pt x="476" y="38"/>
                    <a:pt x="478" y="38"/>
                    <a:pt x="478" y="39"/>
                  </a:cubicBezTo>
                  <a:lnTo>
                    <a:pt x="498" y="62"/>
                  </a:lnTo>
                  <a:lnTo>
                    <a:pt x="520" y="55"/>
                  </a:lnTo>
                  <a:lnTo>
                    <a:pt x="607" y="80"/>
                  </a:lnTo>
                  <a:lnTo>
                    <a:pt x="651" y="143"/>
                  </a:lnTo>
                  <a:lnTo>
                    <a:pt x="768" y="156"/>
                  </a:lnTo>
                  <a:cubicBezTo>
                    <a:pt x="770" y="156"/>
                    <a:pt x="772" y="158"/>
                    <a:pt x="772" y="161"/>
                  </a:cubicBezTo>
                  <a:lnTo>
                    <a:pt x="767" y="212"/>
                  </a:lnTo>
                  <a:lnTo>
                    <a:pt x="780" y="244"/>
                  </a:lnTo>
                  <a:cubicBezTo>
                    <a:pt x="781" y="245"/>
                    <a:pt x="780" y="247"/>
                    <a:pt x="779" y="249"/>
                  </a:cubicBezTo>
                  <a:cubicBezTo>
                    <a:pt x="778" y="250"/>
                    <a:pt x="777" y="250"/>
                    <a:pt x="776" y="250"/>
                  </a:cubicBezTo>
                  <a:lnTo>
                    <a:pt x="774" y="250"/>
                  </a:lnTo>
                  <a:lnTo>
                    <a:pt x="660" y="208"/>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1" name="Freeform 686"/>
            <p:cNvSpPr>
              <a:spLocks noChangeArrowheads="1"/>
            </p:cNvSpPr>
            <p:nvPr/>
          </p:nvSpPr>
          <p:spPr bwMode="auto">
            <a:xfrm>
              <a:off x="7405688" y="3914775"/>
              <a:ext cx="280987" cy="90488"/>
            </a:xfrm>
            <a:custGeom>
              <a:avLst/>
              <a:gdLst/>
              <a:ahLst/>
              <a:cxnLst>
                <a:cxn ang="0">
                  <a:pos x="774" y="250"/>
                </a:cxn>
                <a:cxn ang="0">
                  <a:pos x="660" y="208"/>
                </a:cxn>
                <a:cxn ang="0">
                  <a:pos x="624" y="216"/>
                </a:cxn>
                <a:cxn ang="0">
                  <a:pos x="576" y="208"/>
                </a:cxn>
                <a:cxn ang="0">
                  <a:pos x="539" y="212"/>
                </a:cxn>
                <a:cxn ang="0">
                  <a:pos x="465" y="199"/>
                </a:cxn>
                <a:cxn ang="0">
                  <a:pos x="371" y="157"/>
                </a:cxn>
                <a:cxn ang="0">
                  <a:pos x="297" y="153"/>
                </a:cxn>
                <a:cxn ang="0">
                  <a:pos x="274" y="165"/>
                </a:cxn>
                <a:cxn ang="0">
                  <a:pos x="143" y="136"/>
                </a:cxn>
                <a:cxn ang="0">
                  <a:pos x="96" y="114"/>
                </a:cxn>
                <a:cxn ang="0">
                  <a:pos x="93" y="111"/>
                </a:cxn>
                <a:cxn ang="0">
                  <a:pos x="94" y="107"/>
                </a:cxn>
                <a:cxn ang="0">
                  <a:pos x="101" y="100"/>
                </a:cxn>
                <a:cxn ang="0">
                  <a:pos x="12" y="81"/>
                </a:cxn>
                <a:cxn ang="0">
                  <a:pos x="9" y="78"/>
                </a:cxn>
                <a:cxn ang="0">
                  <a:pos x="0" y="61"/>
                </a:cxn>
                <a:cxn ang="0">
                  <a:pos x="1" y="56"/>
                </a:cxn>
                <a:cxn ang="0">
                  <a:pos x="5" y="54"/>
                </a:cxn>
                <a:cxn ang="0">
                  <a:pos x="32" y="58"/>
                </a:cxn>
                <a:cxn ang="0">
                  <a:pos x="64" y="10"/>
                </a:cxn>
                <a:cxn ang="0">
                  <a:pos x="83" y="0"/>
                </a:cxn>
                <a:cxn ang="0">
                  <a:pos x="85" y="0"/>
                </a:cxn>
                <a:cxn ang="0">
                  <a:pos x="86" y="0"/>
                </a:cxn>
                <a:cxn ang="0">
                  <a:pos x="137" y="12"/>
                </a:cxn>
                <a:cxn ang="0">
                  <a:pos x="177" y="0"/>
                </a:cxn>
                <a:cxn ang="0">
                  <a:pos x="178" y="0"/>
                </a:cxn>
                <a:cxn ang="0">
                  <a:pos x="183" y="2"/>
                </a:cxn>
                <a:cxn ang="0">
                  <a:pos x="190" y="21"/>
                </a:cxn>
                <a:cxn ang="0">
                  <a:pos x="255" y="29"/>
                </a:cxn>
                <a:cxn ang="0">
                  <a:pos x="309" y="77"/>
                </a:cxn>
                <a:cxn ang="0">
                  <a:pos x="426" y="84"/>
                </a:cxn>
                <a:cxn ang="0">
                  <a:pos x="450" y="52"/>
                </a:cxn>
                <a:cxn ang="0">
                  <a:pos x="472" y="38"/>
                </a:cxn>
                <a:cxn ang="0">
                  <a:pos x="475" y="38"/>
                </a:cxn>
                <a:cxn ang="0">
                  <a:pos x="478" y="39"/>
                </a:cxn>
                <a:cxn ang="0">
                  <a:pos x="498" y="62"/>
                </a:cxn>
                <a:cxn ang="0">
                  <a:pos x="520" y="55"/>
                </a:cxn>
                <a:cxn ang="0">
                  <a:pos x="607" y="80"/>
                </a:cxn>
                <a:cxn ang="0">
                  <a:pos x="651" y="143"/>
                </a:cxn>
                <a:cxn ang="0">
                  <a:pos x="768" y="156"/>
                </a:cxn>
                <a:cxn ang="0">
                  <a:pos x="772" y="161"/>
                </a:cxn>
                <a:cxn ang="0">
                  <a:pos x="767" y="212"/>
                </a:cxn>
                <a:cxn ang="0">
                  <a:pos x="780" y="244"/>
                </a:cxn>
                <a:cxn ang="0">
                  <a:pos x="779" y="249"/>
                </a:cxn>
                <a:cxn ang="0">
                  <a:pos x="776" y="250"/>
                </a:cxn>
                <a:cxn ang="0">
                  <a:pos x="774" y="250"/>
                </a:cxn>
              </a:cxnLst>
              <a:rect l="0" t="0" r="r" b="b"/>
              <a:pathLst>
                <a:path w="782" h="251">
                  <a:moveTo>
                    <a:pt x="774" y="250"/>
                  </a:moveTo>
                  <a:lnTo>
                    <a:pt x="660" y="208"/>
                  </a:lnTo>
                  <a:lnTo>
                    <a:pt x="624" y="216"/>
                  </a:lnTo>
                  <a:lnTo>
                    <a:pt x="576" y="208"/>
                  </a:lnTo>
                  <a:lnTo>
                    <a:pt x="539" y="212"/>
                  </a:lnTo>
                  <a:lnTo>
                    <a:pt x="465" y="199"/>
                  </a:lnTo>
                  <a:lnTo>
                    <a:pt x="371" y="157"/>
                  </a:lnTo>
                  <a:lnTo>
                    <a:pt x="297" y="153"/>
                  </a:lnTo>
                  <a:lnTo>
                    <a:pt x="274" y="165"/>
                  </a:lnTo>
                  <a:lnTo>
                    <a:pt x="143" y="136"/>
                  </a:lnTo>
                  <a:lnTo>
                    <a:pt x="96" y="114"/>
                  </a:lnTo>
                  <a:cubicBezTo>
                    <a:pt x="94" y="114"/>
                    <a:pt x="93" y="112"/>
                    <a:pt x="93" y="111"/>
                  </a:cubicBezTo>
                  <a:cubicBezTo>
                    <a:pt x="93" y="109"/>
                    <a:pt x="93" y="108"/>
                    <a:pt x="94" y="107"/>
                  </a:cubicBezTo>
                  <a:lnTo>
                    <a:pt x="101" y="100"/>
                  </a:lnTo>
                  <a:lnTo>
                    <a:pt x="12" y="81"/>
                  </a:lnTo>
                  <a:cubicBezTo>
                    <a:pt x="11" y="80"/>
                    <a:pt x="9" y="80"/>
                    <a:pt x="9" y="78"/>
                  </a:cubicBezTo>
                  <a:lnTo>
                    <a:pt x="0" y="61"/>
                  </a:lnTo>
                  <a:cubicBezTo>
                    <a:pt x="0" y="60"/>
                    <a:pt x="0" y="58"/>
                    <a:pt x="1" y="56"/>
                  </a:cubicBezTo>
                  <a:cubicBezTo>
                    <a:pt x="2" y="55"/>
                    <a:pt x="3" y="54"/>
                    <a:pt x="5" y="54"/>
                  </a:cubicBezTo>
                  <a:lnTo>
                    <a:pt x="32" y="58"/>
                  </a:lnTo>
                  <a:lnTo>
                    <a:pt x="64" y="10"/>
                  </a:lnTo>
                  <a:lnTo>
                    <a:pt x="83" y="0"/>
                  </a:lnTo>
                  <a:cubicBezTo>
                    <a:pt x="84" y="0"/>
                    <a:pt x="84" y="0"/>
                    <a:pt x="85" y="0"/>
                  </a:cubicBezTo>
                  <a:lnTo>
                    <a:pt x="86" y="0"/>
                  </a:lnTo>
                  <a:lnTo>
                    <a:pt x="137" y="12"/>
                  </a:lnTo>
                  <a:lnTo>
                    <a:pt x="177" y="0"/>
                  </a:lnTo>
                  <a:lnTo>
                    <a:pt x="178" y="0"/>
                  </a:lnTo>
                  <a:cubicBezTo>
                    <a:pt x="180" y="0"/>
                    <a:pt x="182" y="1"/>
                    <a:pt x="183" y="2"/>
                  </a:cubicBezTo>
                  <a:lnTo>
                    <a:pt x="190" y="21"/>
                  </a:lnTo>
                  <a:lnTo>
                    <a:pt x="255" y="29"/>
                  </a:lnTo>
                  <a:lnTo>
                    <a:pt x="309" y="77"/>
                  </a:lnTo>
                  <a:lnTo>
                    <a:pt x="426" y="84"/>
                  </a:lnTo>
                  <a:lnTo>
                    <a:pt x="450" y="52"/>
                  </a:lnTo>
                  <a:lnTo>
                    <a:pt x="472" y="38"/>
                  </a:lnTo>
                  <a:cubicBezTo>
                    <a:pt x="473" y="38"/>
                    <a:pt x="474" y="38"/>
                    <a:pt x="475" y="38"/>
                  </a:cubicBezTo>
                  <a:cubicBezTo>
                    <a:pt x="476" y="38"/>
                    <a:pt x="478" y="38"/>
                    <a:pt x="478" y="39"/>
                  </a:cubicBezTo>
                  <a:lnTo>
                    <a:pt x="498" y="62"/>
                  </a:lnTo>
                  <a:lnTo>
                    <a:pt x="520" y="55"/>
                  </a:lnTo>
                  <a:lnTo>
                    <a:pt x="607" y="80"/>
                  </a:lnTo>
                  <a:lnTo>
                    <a:pt x="651" y="143"/>
                  </a:lnTo>
                  <a:lnTo>
                    <a:pt x="768" y="156"/>
                  </a:lnTo>
                  <a:cubicBezTo>
                    <a:pt x="770" y="156"/>
                    <a:pt x="772" y="158"/>
                    <a:pt x="772" y="161"/>
                  </a:cubicBezTo>
                  <a:lnTo>
                    <a:pt x="767" y="212"/>
                  </a:lnTo>
                  <a:lnTo>
                    <a:pt x="780" y="244"/>
                  </a:lnTo>
                  <a:cubicBezTo>
                    <a:pt x="781" y="245"/>
                    <a:pt x="780" y="247"/>
                    <a:pt x="779" y="249"/>
                  </a:cubicBezTo>
                  <a:cubicBezTo>
                    <a:pt x="778" y="250"/>
                    <a:pt x="777" y="250"/>
                    <a:pt x="776" y="250"/>
                  </a:cubicBezTo>
                  <a:lnTo>
                    <a:pt x="774" y="25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2" name="Freeform 687"/>
            <p:cNvSpPr>
              <a:spLocks noChangeArrowheads="1"/>
            </p:cNvSpPr>
            <p:nvPr/>
          </p:nvSpPr>
          <p:spPr bwMode="auto">
            <a:xfrm>
              <a:off x="7477125" y="3813175"/>
              <a:ext cx="22225" cy="20638"/>
            </a:xfrm>
            <a:custGeom>
              <a:avLst/>
              <a:gdLst/>
              <a:ahLst/>
              <a:cxnLst>
                <a:cxn ang="0">
                  <a:pos x="4" y="52"/>
                </a:cxn>
                <a:cxn ang="0">
                  <a:pos x="1" y="50"/>
                </a:cxn>
                <a:cxn ang="0">
                  <a:pos x="0" y="46"/>
                </a:cxn>
                <a:cxn ang="0">
                  <a:pos x="9" y="4"/>
                </a:cxn>
                <a:cxn ang="0">
                  <a:pos x="11" y="1"/>
                </a:cxn>
                <a:cxn ang="0">
                  <a:pos x="13" y="0"/>
                </a:cxn>
                <a:cxn ang="0">
                  <a:pos x="15" y="1"/>
                </a:cxn>
                <a:cxn ang="0">
                  <a:pos x="57" y="17"/>
                </a:cxn>
                <a:cxn ang="0">
                  <a:pos x="60" y="23"/>
                </a:cxn>
                <a:cxn ang="0">
                  <a:pos x="51" y="53"/>
                </a:cxn>
                <a:cxn ang="0">
                  <a:pos x="47" y="56"/>
                </a:cxn>
                <a:cxn ang="0">
                  <a:pos x="4" y="52"/>
                </a:cxn>
              </a:cxnLst>
              <a:rect l="0" t="0" r="r" b="b"/>
              <a:pathLst>
                <a:path w="62" h="57">
                  <a:moveTo>
                    <a:pt x="4" y="52"/>
                  </a:moveTo>
                  <a:cubicBezTo>
                    <a:pt x="3" y="52"/>
                    <a:pt x="2" y="51"/>
                    <a:pt x="1" y="50"/>
                  </a:cubicBezTo>
                  <a:cubicBezTo>
                    <a:pt x="0" y="49"/>
                    <a:pt x="0" y="48"/>
                    <a:pt x="0" y="46"/>
                  </a:cubicBezTo>
                  <a:lnTo>
                    <a:pt x="9" y="4"/>
                  </a:lnTo>
                  <a:cubicBezTo>
                    <a:pt x="9" y="3"/>
                    <a:pt x="10" y="1"/>
                    <a:pt x="11" y="1"/>
                  </a:cubicBezTo>
                  <a:cubicBezTo>
                    <a:pt x="12" y="0"/>
                    <a:pt x="12" y="0"/>
                    <a:pt x="13" y="0"/>
                  </a:cubicBezTo>
                  <a:cubicBezTo>
                    <a:pt x="14" y="0"/>
                    <a:pt x="14" y="0"/>
                    <a:pt x="15" y="1"/>
                  </a:cubicBezTo>
                  <a:lnTo>
                    <a:pt x="57" y="17"/>
                  </a:lnTo>
                  <a:cubicBezTo>
                    <a:pt x="59" y="18"/>
                    <a:pt x="61" y="21"/>
                    <a:pt x="60" y="23"/>
                  </a:cubicBezTo>
                  <a:lnTo>
                    <a:pt x="51" y="53"/>
                  </a:lnTo>
                  <a:cubicBezTo>
                    <a:pt x="51" y="55"/>
                    <a:pt x="49" y="56"/>
                    <a:pt x="47" y="56"/>
                  </a:cubicBezTo>
                  <a:lnTo>
                    <a:pt x="4" y="52"/>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3" name="Freeform 688"/>
            <p:cNvSpPr>
              <a:spLocks noChangeArrowheads="1"/>
            </p:cNvSpPr>
            <p:nvPr/>
          </p:nvSpPr>
          <p:spPr bwMode="auto">
            <a:xfrm>
              <a:off x="7477125" y="3813175"/>
              <a:ext cx="22225" cy="20638"/>
            </a:xfrm>
            <a:custGeom>
              <a:avLst/>
              <a:gdLst/>
              <a:ahLst/>
              <a:cxnLst>
                <a:cxn ang="0">
                  <a:pos x="4" y="52"/>
                </a:cxn>
                <a:cxn ang="0">
                  <a:pos x="1" y="50"/>
                </a:cxn>
                <a:cxn ang="0">
                  <a:pos x="0" y="46"/>
                </a:cxn>
                <a:cxn ang="0">
                  <a:pos x="9" y="4"/>
                </a:cxn>
                <a:cxn ang="0">
                  <a:pos x="11" y="1"/>
                </a:cxn>
                <a:cxn ang="0">
                  <a:pos x="13" y="0"/>
                </a:cxn>
                <a:cxn ang="0">
                  <a:pos x="15" y="1"/>
                </a:cxn>
                <a:cxn ang="0">
                  <a:pos x="57" y="17"/>
                </a:cxn>
                <a:cxn ang="0">
                  <a:pos x="60" y="23"/>
                </a:cxn>
                <a:cxn ang="0">
                  <a:pos x="51" y="53"/>
                </a:cxn>
                <a:cxn ang="0">
                  <a:pos x="47" y="56"/>
                </a:cxn>
                <a:cxn ang="0">
                  <a:pos x="4" y="52"/>
                </a:cxn>
              </a:cxnLst>
              <a:rect l="0" t="0" r="r" b="b"/>
              <a:pathLst>
                <a:path w="62" h="57">
                  <a:moveTo>
                    <a:pt x="4" y="52"/>
                  </a:moveTo>
                  <a:cubicBezTo>
                    <a:pt x="3" y="52"/>
                    <a:pt x="2" y="51"/>
                    <a:pt x="1" y="50"/>
                  </a:cubicBezTo>
                  <a:cubicBezTo>
                    <a:pt x="0" y="49"/>
                    <a:pt x="0" y="48"/>
                    <a:pt x="0" y="46"/>
                  </a:cubicBezTo>
                  <a:lnTo>
                    <a:pt x="9" y="4"/>
                  </a:lnTo>
                  <a:cubicBezTo>
                    <a:pt x="9" y="3"/>
                    <a:pt x="10" y="1"/>
                    <a:pt x="11" y="1"/>
                  </a:cubicBezTo>
                  <a:cubicBezTo>
                    <a:pt x="12" y="0"/>
                    <a:pt x="12" y="0"/>
                    <a:pt x="13" y="0"/>
                  </a:cubicBezTo>
                  <a:cubicBezTo>
                    <a:pt x="14" y="0"/>
                    <a:pt x="14" y="0"/>
                    <a:pt x="15" y="1"/>
                  </a:cubicBezTo>
                  <a:lnTo>
                    <a:pt x="57" y="17"/>
                  </a:lnTo>
                  <a:cubicBezTo>
                    <a:pt x="59" y="18"/>
                    <a:pt x="61" y="21"/>
                    <a:pt x="60" y="23"/>
                  </a:cubicBezTo>
                  <a:lnTo>
                    <a:pt x="51" y="53"/>
                  </a:lnTo>
                  <a:cubicBezTo>
                    <a:pt x="51" y="55"/>
                    <a:pt x="49" y="56"/>
                    <a:pt x="47" y="56"/>
                  </a:cubicBezTo>
                  <a:lnTo>
                    <a:pt x="4" y="5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4" name="Freeform 689"/>
            <p:cNvSpPr>
              <a:spLocks noChangeArrowheads="1"/>
            </p:cNvSpPr>
            <p:nvPr/>
          </p:nvSpPr>
          <p:spPr bwMode="auto">
            <a:xfrm>
              <a:off x="7404100" y="3781425"/>
              <a:ext cx="49213" cy="49213"/>
            </a:xfrm>
            <a:custGeom>
              <a:avLst/>
              <a:gdLst/>
              <a:ahLst/>
              <a:cxnLst>
                <a:cxn ang="0">
                  <a:pos x="131" y="137"/>
                </a:cxn>
                <a:cxn ang="0">
                  <a:pos x="80" y="120"/>
                </a:cxn>
                <a:cxn ang="0">
                  <a:pos x="77" y="117"/>
                </a:cxn>
                <a:cxn ang="0">
                  <a:pos x="53" y="68"/>
                </a:cxn>
                <a:cxn ang="0">
                  <a:pos x="3" y="48"/>
                </a:cxn>
                <a:cxn ang="0">
                  <a:pos x="1" y="45"/>
                </a:cxn>
                <a:cxn ang="0">
                  <a:pos x="1" y="41"/>
                </a:cxn>
                <a:cxn ang="0">
                  <a:pos x="18" y="11"/>
                </a:cxn>
                <a:cxn ang="0">
                  <a:pos x="22" y="9"/>
                </a:cxn>
                <a:cxn ang="0">
                  <a:pos x="24" y="9"/>
                </a:cxn>
                <a:cxn ang="0">
                  <a:pos x="50" y="20"/>
                </a:cxn>
                <a:cxn ang="0">
                  <a:pos x="61" y="3"/>
                </a:cxn>
                <a:cxn ang="0">
                  <a:pos x="65" y="0"/>
                </a:cxn>
                <a:cxn ang="0">
                  <a:pos x="65" y="0"/>
                </a:cxn>
                <a:cxn ang="0">
                  <a:pos x="69" y="3"/>
                </a:cxn>
                <a:cxn ang="0">
                  <a:pos x="102" y="81"/>
                </a:cxn>
                <a:cxn ang="0">
                  <a:pos x="133" y="85"/>
                </a:cxn>
                <a:cxn ang="0">
                  <a:pos x="137" y="90"/>
                </a:cxn>
                <a:cxn ang="0">
                  <a:pos x="137" y="132"/>
                </a:cxn>
                <a:cxn ang="0">
                  <a:pos x="135" y="136"/>
                </a:cxn>
                <a:cxn ang="0">
                  <a:pos x="132" y="137"/>
                </a:cxn>
                <a:cxn ang="0">
                  <a:pos x="131" y="137"/>
                </a:cxn>
              </a:cxnLst>
              <a:rect l="0" t="0" r="r" b="b"/>
              <a:pathLst>
                <a:path w="138" h="138">
                  <a:moveTo>
                    <a:pt x="131" y="137"/>
                  </a:moveTo>
                  <a:lnTo>
                    <a:pt x="80" y="120"/>
                  </a:lnTo>
                  <a:cubicBezTo>
                    <a:pt x="79" y="119"/>
                    <a:pt x="78" y="118"/>
                    <a:pt x="77" y="117"/>
                  </a:cubicBezTo>
                  <a:lnTo>
                    <a:pt x="53" y="68"/>
                  </a:lnTo>
                  <a:lnTo>
                    <a:pt x="3" y="48"/>
                  </a:lnTo>
                  <a:cubicBezTo>
                    <a:pt x="2" y="47"/>
                    <a:pt x="1" y="46"/>
                    <a:pt x="1" y="45"/>
                  </a:cubicBezTo>
                  <a:cubicBezTo>
                    <a:pt x="0" y="44"/>
                    <a:pt x="1" y="42"/>
                    <a:pt x="1" y="41"/>
                  </a:cubicBezTo>
                  <a:lnTo>
                    <a:pt x="18" y="11"/>
                  </a:lnTo>
                  <a:cubicBezTo>
                    <a:pt x="19" y="10"/>
                    <a:pt x="21" y="9"/>
                    <a:pt x="22" y="9"/>
                  </a:cubicBezTo>
                  <a:cubicBezTo>
                    <a:pt x="23" y="9"/>
                    <a:pt x="24" y="9"/>
                    <a:pt x="24" y="9"/>
                  </a:cubicBezTo>
                  <a:lnTo>
                    <a:pt x="50" y="20"/>
                  </a:lnTo>
                  <a:lnTo>
                    <a:pt x="61" y="3"/>
                  </a:lnTo>
                  <a:cubicBezTo>
                    <a:pt x="61" y="1"/>
                    <a:pt x="63" y="0"/>
                    <a:pt x="65" y="0"/>
                  </a:cubicBezTo>
                  <a:lnTo>
                    <a:pt x="65" y="0"/>
                  </a:lnTo>
                  <a:cubicBezTo>
                    <a:pt x="67" y="1"/>
                    <a:pt x="68" y="2"/>
                    <a:pt x="69" y="3"/>
                  </a:cubicBezTo>
                  <a:lnTo>
                    <a:pt x="102" y="81"/>
                  </a:lnTo>
                  <a:lnTo>
                    <a:pt x="133" y="85"/>
                  </a:lnTo>
                  <a:cubicBezTo>
                    <a:pt x="135" y="85"/>
                    <a:pt x="137" y="87"/>
                    <a:pt x="137" y="90"/>
                  </a:cubicBezTo>
                  <a:lnTo>
                    <a:pt x="137" y="132"/>
                  </a:lnTo>
                  <a:cubicBezTo>
                    <a:pt x="137" y="134"/>
                    <a:pt x="136" y="135"/>
                    <a:pt x="135" y="136"/>
                  </a:cubicBezTo>
                  <a:cubicBezTo>
                    <a:pt x="134" y="137"/>
                    <a:pt x="133" y="137"/>
                    <a:pt x="132" y="137"/>
                  </a:cubicBezTo>
                  <a:lnTo>
                    <a:pt x="131" y="137"/>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5" name="Freeform 690"/>
            <p:cNvSpPr>
              <a:spLocks noChangeArrowheads="1"/>
            </p:cNvSpPr>
            <p:nvPr/>
          </p:nvSpPr>
          <p:spPr bwMode="auto">
            <a:xfrm>
              <a:off x="7404100" y="3781425"/>
              <a:ext cx="49213" cy="49213"/>
            </a:xfrm>
            <a:custGeom>
              <a:avLst/>
              <a:gdLst/>
              <a:ahLst/>
              <a:cxnLst>
                <a:cxn ang="0">
                  <a:pos x="132" y="137"/>
                </a:cxn>
                <a:cxn ang="0">
                  <a:pos x="131" y="137"/>
                </a:cxn>
                <a:cxn ang="0">
                  <a:pos x="80" y="120"/>
                </a:cxn>
                <a:cxn ang="0">
                  <a:pos x="77" y="117"/>
                </a:cxn>
                <a:cxn ang="0">
                  <a:pos x="53" y="68"/>
                </a:cxn>
                <a:cxn ang="0">
                  <a:pos x="3" y="48"/>
                </a:cxn>
                <a:cxn ang="0">
                  <a:pos x="1" y="45"/>
                </a:cxn>
                <a:cxn ang="0">
                  <a:pos x="1" y="41"/>
                </a:cxn>
                <a:cxn ang="0">
                  <a:pos x="18" y="11"/>
                </a:cxn>
                <a:cxn ang="0">
                  <a:pos x="22" y="9"/>
                </a:cxn>
                <a:cxn ang="0">
                  <a:pos x="24" y="9"/>
                </a:cxn>
                <a:cxn ang="0">
                  <a:pos x="50" y="20"/>
                </a:cxn>
                <a:cxn ang="0">
                  <a:pos x="61" y="3"/>
                </a:cxn>
                <a:cxn ang="0">
                  <a:pos x="65" y="0"/>
                </a:cxn>
                <a:cxn ang="0">
                  <a:pos x="65" y="0"/>
                </a:cxn>
                <a:cxn ang="0">
                  <a:pos x="69" y="3"/>
                </a:cxn>
                <a:cxn ang="0">
                  <a:pos x="102" y="81"/>
                </a:cxn>
                <a:cxn ang="0">
                  <a:pos x="133" y="85"/>
                </a:cxn>
                <a:cxn ang="0">
                  <a:pos x="137" y="90"/>
                </a:cxn>
                <a:cxn ang="0">
                  <a:pos x="137" y="132"/>
                </a:cxn>
                <a:cxn ang="0">
                  <a:pos x="135" y="136"/>
                </a:cxn>
                <a:cxn ang="0">
                  <a:pos x="132" y="137"/>
                </a:cxn>
              </a:cxnLst>
              <a:rect l="0" t="0" r="r" b="b"/>
              <a:pathLst>
                <a:path w="138" h="138">
                  <a:moveTo>
                    <a:pt x="132" y="137"/>
                  </a:moveTo>
                  <a:lnTo>
                    <a:pt x="131" y="137"/>
                  </a:lnTo>
                  <a:lnTo>
                    <a:pt x="80" y="120"/>
                  </a:lnTo>
                  <a:cubicBezTo>
                    <a:pt x="79" y="119"/>
                    <a:pt x="78" y="118"/>
                    <a:pt x="77" y="117"/>
                  </a:cubicBezTo>
                  <a:lnTo>
                    <a:pt x="53" y="68"/>
                  </a:lnTo>
                  <a:lnTo>
                    <a:pt x="3" y="48"/>
                  </a:lnTo>
                  <a:cubicBezTo>
                    <a:pt x="2" y="47"/>
                    <a:pt x="1" y="46"/>
                    <a:pt x="1" y="45"/>
                  </a:cubicBezTo>
                  <a:cubicBezTo>
                    <a:pt x="0" y="44"/>
                    <a:pt x="1" y="42"/>
                    <a:pt x="1" y="41"/>
                  </a:cubicBezTo>
                  <a:lnTo>
                    <a:pt x="18" y="11"/>
                  </a:lnTo>
                  <a:cubicBezTo>
                    <a:pt x="19" y="10"/>
                    <a:pt x="21" y="9"/>
                    <a:pt x="22" y="9"/>
                  </a:cubicBezTo>
                  <a:cubicBezTo>
                    <a:pt x="23" y="9"/>
                    <a:pt x="24" y="9"/>
                    <a:pt x="24" y="9"/>
                  </a:cubicBezTo>
                  <a:lnTo>
                    <a:pt x="50" y="20"/>
                  </a:lnTo>
                  <a:lnTo>
                    <a:pt x="61" y="3"/>
                  </a:lnTo>
                  <a:cubicBezTo>
                    <a:pt x="61" y="1"/>
                    <a:pt x="63" y="0"/>
                    <a:pt x="65" y="0"/>
                  </a:cubicBezTo>
                  <a:lnTo>
                    <a:pt x="65" y="0"/>
                  </a:lnTo>
                  <a:cubicBezTo>
                    <a:pt x="67" y="1"/>
                    <a:pt x="68" y="2"/>
                    <a:pt x="69" y="3"/>
                  </a:cubicBezTo>
                  <a:lnTo>
                    <a:pt x="102" y="81"/>
                  </a:lnTo>
                  <a:lnTo>
                    <a:pt x="133" y="85"/>
                  </a:lnTo>
                  <a:cubicBezTo>
                    <a:pt x="135" y="85"/>
                    <a:pt x="137" y="87"/>
                    <a:pt x="137" y="90"/>
                  </a:cubicBezTo>
                  <a:lnTo>
                    <a:pt x="137" y="132"/>
                  </a:lnTo>
                  <a:cubicBezTo>
                    <a:pt x="137" y="134"/>
                    <a:pt x="136" y="135"/>
                    <a:pt x="135" y="136"/>
                  </a:cubicBezTo>
                  <a:cubicBezTo>
                    <a:pt x="134" y="137"/>
                    <a:pt x="133" y="137"/>
                    <a:pt x="132" y="13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6" name="Freeform 691"/>
            <p:cNvSpPr>
              <a:spLocks noChangeArrowheads="1"/>
            </p:cNvSpPr>
            <p:nvPr/>
          </p:nvSpPr>
          <p:spPr bwMode="auto">
            <a:xfrm>
              <a:off x="7378700" y="3746500"/>
              <a:ext cx="9525" cy="11113"/>
            </a:xfrm>
            <a:custGeom>
              <a:avLst/>
              <a:gdLst/>
              <a:ahLst/>
              <a:cxnLst>
                <a:cxn ang="0">
                  <a:pos x="10" y="31"/>
                </a:cxn>
                <a:cxn ang="0">
                  <a:pos x="6" y="29"/>
                </a:cxn>
                <a:cxn ang="0">
                  <a:pos x="2" y="25"/>
                </a:cxn>
                <a:cxn ang="0">
                  <a:pos x="1" y="19"/>
                </a:cxn>
                <a:cxn ang="0">
                  <a:pos x="14" y="2"/>
                </a:cxn>
                <a:cxn ang="0">
                  <a:pos x="18" y="0"/>
                </a:cxn>
                <a:cxn ang="0">
                  <a:pos x="19" y="0"/>
                </a:cxn>
                <a:cxn ang="0">
                  <a:pos x="23" y="4"/>
                </a:cxn>
                <a:cxn ang="0">
                  <a:pos x="27" y="25"/>
                </a:cxn>
                <a:cxn ang="0">
                  <a:pos x="26" y="29"/>
                </a:cxn>
                <a:cxn ang="0">
                  <a:pos x="22" y="31"/>
                </a:cxn>
                <a:cxn ang="0">
                  <a:pos x="10" y="31"/>
                </a:cxn>
              </a:cxnLst>
              <a:rect l="0" t="0" r="r" b="b"/>
              <a:pathLst>
                <a:path w="28" h="32">
                  <a:moveTo>
                    <a:pt x="10" y="31"/>
                  </a:moveTo>
                  <a:cubicBezTo>
                    <a:pt x="8" y="31"/>
                    <a:pt x="7" y="30"/>
                    <a:pt x="6" y="29"/>
                  </a:cubicBezTo>
                  <a:lnTo>
                    <a:pt x="2" y="25"/>
                  </a:lnTo>
                  <a:cubicBezTo>
                    <a:pt x="0" y="23"/>
                    <a:pt x="0" y="21"/>
                    <a:pt x="1" y="19"/>
                  </a:cubicBezTo>
                  <a:lnTo>
                    <a:pt x="14" y="2"/>
                  </a:lnTo>
                  <a:cubicBezTo>
                    <a:pt x="15" y="1"/>
                    <a:pt x="16" y="0"/>
                    <a:pt x="18" y="0"/>
                  </a:cubicBezTo>
                  <a:lnTo>
                    <a:pt x="19" y="0"/>
                  </a:lnTo>
                  <a:cubicBezTo>
                    <a:pt x="21" y="1"/>
                    <a:pt x="22" y="2"/>
                    <a:pt x="23" y="4"/>
                  </a:cubicBezTo>
                  <a:lnTo>
                    <a:pt x="27" y="25"/>
                  </a:lnTo>
                  <a:cubicBezTo>
                    <a:pt x="27" y="26"/>
                    <a:pt x="27" y="28"/>
                    <a:pt x="26" y="29"/>
                  </a:cubicBezTo>
                  <a:cubicBezTo>
                    <a:pt x="25" y="30"/>
                    <a:pt x="24" y="31"/>
                    <a:pt x="22" y="31"/>
                  </a:cubicBezTo>
                  <a:lnTo>
                    <a:pt x="10" y="3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7" name="Freeform 692"/>
            <p:cNvSpPr>
              <a:spLocks noChangeArrowheads="1"/>
            </p:cNvSpPr>
            <p:nvPr/>
          </p:nvSpPr>
          <p:spPr bwMode="auto">
            <a:xfrm>
              <a:off x="7378700" y="3746500"/>
              <a:ext cx="9525" cy="11113"/>
            </a:xfrm>
            <a:custGeom>
              <a:avLst/>
              <a:gdLst/>
              <a:ahLst/>
              <a:cxnLst>
                <a:cxn ang="0">
                  <a:pos x="10" y="31"/>
                </a:cxn>
                <a:cxn ang="0">
                  <a:pos x="6" y="29"/>
                </a:cxn>
                <a:cxn ang="0">
                  <a:pos x="2" y="25"/>
                </a:cxn>
                <a:cxn ang="0">
                  <a:pos x="1" y="19"/>
                </a:cxn>
                <a:cxn ang="0">
                  <a:pos x="14" y="2"/>
                </a:cxn>
                <a:cxn ang="0">
                  <a:pos x="18" y="0"/>
                </a:cxn>
                <a:cxn ang="0">
                  <a:pos x="19" y="0"/>
                </a:cxn>
                <a:cxn ang="0">
                  <a:pos x="23" y="4"/>
                </a:cxn>
                <a:cxn ang="0">
                  <a:pos x="27" y="25"/>
                </a:cxn>
                <a:cxn ang="0">
                  <a:pos x="26" y="29"/>
                </a:cxn>
                <a:cxn ang="0">
                  <a:pos x="22" y="31"/>
                </a:cxn>
                <a:cxn ang="0">
                  <a:pos x="10" y="31"/>
                </a:cxn>
              </a:cxnLst>
              <a:rect l="0" t="0" r="r" b="b"/>
              <a:pathLst>
                <a:path w="28" h="32">
                  <a:moveTo>
                    <a:pt x="10" y="31"/>
                  </a:moveTo>
                  <a:cubicBezTo>
                    <a:pt x="8" y="31"/>
                    <a:pt x="7" y="30"/>
                    <a:pt x="6" y="29"/>
                  </a:cubicBezTo>
                  <a:lnTo>
                    <a:pt x="2" y="25"/>
                  </a:lnTo>
                  <a:cubicBezTo>
                    <a:pt x="0" y="23"/>
                    <a:pt x="0" y="21"/>
                    <a:pt x="1" y="19"/>
                  </a:cubicBezTo>
                  <a:lnTo>
                    <a:pt x="14" y="2"/>
                  </a:lnTo>
                  <a:cubicBezTo>
                    <a:pt x="15" y="1"/>
                    <a:pt x="16" y="0"/>
                    <a:pt x="18" y="0"/>
                  </a:cubicBezTo>
                  <a:lnTo>
                    <a:pt x="19" y="0"/>
                  </a:lnTo>
                  <a:cubicBezTo>
                    <a:pt x="21" y="1"/>
                    <a:pt x="22" y="2"/>
                    <a:pt x="23" y="4"/>
                  </a:cubicBezTo>
                  <a:lnTo>
                    <a:pt x="27" y="25"/>
                  </a:lnTo>
                  <a:cubicBezTo>
                    <a:pt x="27" y="26"/>
                    <a:pt x="27" y="28"/>
                    <a:pt x="26" y="29"/>
                  </a:cubicBezTo>
                  <a:cubicBezTo>
                    <a:pt x="25" y="30"/>
                    <a:pt x="24" y="31"/>
                    <a:pt x="22" y="31"/>
                  </a:cubicBezTo>
                  <a:lnTo>
                    <a:pt x="10" y="3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8" name="Freeform 693"/>
            <p:cNvSpPr>
              <a:spLocks noChangeArrowheads="1"/>
            </p:cNvSpPr>
            <p:nvPr/>
          </p:nvSpPr>
          <p:spPr bwMode="auto">
            <a:xfrm>
              <a:off x="7378700" y="3700463"/>
              <a:ext cx="11113" cy="14287"/>
            </a:xfrm>
            <a:custGeom>
              <a:avLst/>
              <a:gdLst/>
              <a:ahLst/>
              <a:cxnLst>
                <a:cxn ang="0">
                  <a:pos x="18" y="37"/>
                </a:cxn>
                <a:cxn ang="0">
                  <a:pos x="1" y="7"/>
                </a:cxn>
                <a:cxn ang="0">
                  <a:pos x="2" y="2"/>
                </a:cxn>
                <a:cxn ang="0">
                  <a:pos x="5" y="0"/>
                </a:cxn>
                <a:cxn ang="0">
                  <a:pos x="7" y="1"/>
                </a:cxn>
                <a:cxn ang="0">
                  <a:pos x="28" y="9"/>
                </a:cxn>
                <a:cxn ang="0">
                  <a:pos x="31" y="14"/>
                </a:cxn>
                <a:cxn ang="0">
                  <a:pos x="27" y="35"/>
                </a:cxn>
                <a:cxn ang="0">
                  <a:pos x="23" y="39"/>
                </a:cxn>
                <a:cxn ang="0">
                  <a:pos x="22" y="39"/>
                </a:cxn>
                <a:cxn ang="0">
                  <a:pos x="18" y="37"/>
                </a:cxn>
              </a:cxnLst>
              <a:rect l="0" t="0" r="r" b="b"/>
              <a:pathLst>
                <a:path w="33" h="40">
                  <a:moveTo>
                    <a:pt x="18" y="37"/>
                  </a:moveTo>
                  <a:lnTo>
                    <a:pt x="1" y="7"/>
                  </a:lnTo>
                  <a:cubicBezTo>
                    <a:pt x="0" y="5"/>
                    <a:pt x="1" y="3"/>
                    <a:pt x="2" y="2"/>
                  </a:cubicBezTo>
                  <a:cubicBezTo>
                    <a:pt x="3" y="1"/>
                    <a:pt x="4" y="0"/>
                    <a:pt x="5" y="0"/>
                  </a:cubicBezTo>
                  <a:cubicBezTo>
                    <a:pt x="6" y="0"/>
                    <a:pt x="6" y="0"/>
                    <a:pt x="7" y="1"/>
                  </a:cubicBezTo>
                  <a:lnTo>
                    <a:pt x="28" y="9"/>
                  </a:lnTo>
                  <a:cubicBezTo>
                    <a:pt x="30" y="10"/>
                    <a:pt x="32" y="12"/>
                    <a:pt x="31" y="14"/>
                  </a:cubicBezTo>
                  <a:lnTo>
                    <a:pt x="27" y="35"/>
                  </a:lnTo>
                  <a:cubicBezTo>
                    <a:pt x="27" y="37"/>
                    <a:pt x="25" y="39"/>
                    <a:pt x="23" y="39"/>
                  </a:cubicBezTo>
                  <a:lnTo>
                    <a:pt x="22" y="39"/>
                  </a:lnTo>
                  <a:cubicBezTo>
                    <a:pt x="20" y="39"/>
                    <a:pt x="19" y="38"/>
                    <a:pt x="18" y="3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9" name="Freeform 694"/>
            <p:cNvSpPr>
              <a:spLocks noChangeArrowheads="1"/>
            </p:cNvSpPr>
            <p:nvPr/>
          </p:nvSpPr>
          <p:spPr bwMode="auto">
            <a:xfrm>
              <a:off x="7378700" y="3700463"/>
              <a:ext cx="11113" cy="14287"/>
            </a:xfrm>
            <a:custGeom>
              <a:avLst/>
              <a:gdLst/>
              <a:ahLst/>
              <a:cxnLst>
                <a:cxn ang="0">
                  <a:pos x="22" y="39"/>
                </a:cxn>
                <a:cxn ang="0">
                  <a:pos x="18" y="37"/>
                </a:cxn>
                <a:cxn ang="0">
                  <a:pos x="1" y="7"/>
                </a:cxn>
                <a:cxn ang="0">
                  <a:pos x="2" y="2"/>
                </a:cxn>
                <a:cxn ang="0">
                  <a:pos x="5" y="0"/>
                </a:cxn>
                <a:cxn ang="0">
                  <a:pos x="7" y="1"/>
                </a:cxn>
                <a:cxn ang="0">
                  <a:pos x="28" y="9"/>
                </a:cxn>
                <a:cxn ang="0">
                  <a:pos x="31" y="14"/>
                </a:cxn>
                <a:cxn ang="0">
                  <a:pos x="27" y="35"/>
                </a:cxn>
                <a:cxn ang="0">
                  <a:pos x="23" y="39"/>
                </a:cxn>
                <a:cxn ang="0">
                  <a:pos x="22" y="39"/>
                </a:cxn>
              </a:cxnLst>
              <a:rect l="0" t="0" r="r" b="b"/>
              <a:pathLst>
                <a:path w="33" h="40">
                  <a:moveTo>
                    <a:pt x="22" y="39"/>
                  </a:moveTo>
                  <a:cubicBezTo>
                    <a:pt x="20" y="39"/>
                    <a:pt x="19" y="38"/>
                    <a:pt x="18" y="37"/>
                  </a:cubicBezTo>
                  <a:lnTo>
                    <a:pt x="1" y="7"/>
                  </a:lnTo>
                  <a:cubicBezTo>
                    <a:pt x="0" y="5"/>
                    <a:pt x="1" y="3"/>
                    <a:pt x="2" y="2"/>
                  </a:cubicBezTo>
                  <a:cubicBezTo>
                    <a:pt x="3" y="1"/>
                    <a:pt x="4" y="0"/>
                    <a:pt x="5" y="0"/>
                  </a:cubicBezTo>
                  <a:cubicBezTo>
                    <a:pt x="6" y="0"/>
                    <a:pt x="6" y="0"/>
                    <a:pt x="7" y="1"/>
                  </a:cubicBezTo>
                  <a:lnTo>
                    <a:pt x="28" y="9"/>
                  </a:lnTo>
                  <a:cubicBezTo>
                    <a:pt x="30" y="10"/>
                    <a:pt x="32" y="12"/>
                    <a:pt x="31" y="14"/>
                  </a:cubicBezTo>
                  <a:lnTo>
                    <a:pt x="27" y="35"/>
                  </a:lnTo>
                  <a:cubicBezTo>
                    <a:pt x="27" y="37"/>
                    <a:pt x="25" y="39"/>
                    <a:pt x="23" y="39"/>
                  </a:cubicBezTo>
                  <a:lnTo>
                    <a:pt x="22" y="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0" name="Freeform 695"/>
            <p:cNvSpPr>
              <a:spLocks noChangeArrowheads="1"/>
            </p:cNvSpPr>
            <p:nvPr/>
          </p:nvSpPr>
          <p:spPr bwMode="auto">
            <a:xfrm>
              <a:off x="7210425" y="3765550"/>
              <a:ext cx="19050" cy="26988"/>
            </a:xfrm>
            <a:custGeom>
              <a:avLst/>
              <a:gdLst/>
              <a:ahLst/>
              <a:cxnLst>
                <a:cxn ang="0">
                  <a:pos x="44" y="72"/>
                </a:cxn>
                <a:cxn ang="0">
                  <a:pos x="6" y="51"/>
                </a:cxn>
                <a:cxn ang="0">
                  <a:pos x="4" y="48"/>
                </a:cxn>
                <a:cxn ang="0">
                  <a:pos x="0" y="5"/>
                </a:cxn>
                <a:cxn ang="0">
                  <a:pos x="1" y="2"/>
                </a:cxn>
                <a:cxn ang="0">
                  <a:pos x="4" y="0"/>
                </a:cxn>
                <a:cxn ang="0">
                  <a:pos x="21" y="0"/>
                </a:cxn>
                <a:cxn ang="0">
                  <a:pos x="26" y="3"/>
                </a:cxn>
                <a:cxn ang="0">
                  <a:pos x="51" y="66"/>
                </a:cxn>
                <a:cxn ang="0">
                  <a:pos x="50" y="72"/>
                </a:cxn>
                <a:cxn ang="0">
                  <a:pos x="47" y="73"/>
                </a:cxn>
                <a:cxn ang="0">
                  <a:pos x="44" y="72"/>
                </a:cxn>
              </a:cxnLst>
              <a:rect l="0" t="0" r="r" b="b"/>
              <a:pathLst>
                <a:path w="53" h="74">
                  <a:moveTo>
                    <a:pt x="44" y="72"/>
                  </a:moveTo>
                  <a:lnTo>
                    <a:pt x="6" y="51"/>
                  </a:lnTo>
                  <a:cubicBezTo>
                    <a:pt x="5" y="50"/>
                    <a:pt x="4" y="49"/>
                    <a:pt x="4" y="48"/>
                  </a:cubicBezTo>
                  <a:lnTo>
                    <a:pt x="0" y="5"/>
                  </a:lnTo>
                  <a:cubicBezTo>
                    <a:pt x="0" y="4"/>
                    <a:pt x="0" y="3"/>
                    <a:pt x="1" y="2"/>
                  </a:cubicBezTo>
                  <a:cubicBezTo>
                    <a:pt x="2" y="1"/>
                    <a:pt x="3" y="0"/>
                    <a:pt x="4" y="0"/>
                  </a:cubicBezTo>
                  <a:lnTo>
                    <a:pt x="21" y="0"/>
                  </a:lnTo>
                  <a:cubicBezTo>
                    <a:pt x="23" y="0"/>
                    <a:pt x="25" y="1"/>
                    <a:pt x="26" y="3"/>
                  </a:cubicBezTo>
                  <a:lnTo>
                    <a:pt x="51" y="66"/>
                  </a:lnTo>
                  <a:cubicBezTo>
                    <a:pt x="52" y="68"/>
                    <a:pt x="51" y="70"/>
                    <a:pt x="50" y="72"/>
                  </a:cubicBezTo>
                  <a:cubicBezTo>
                    <a:pt x="49" y="73"/>
                    <a:pt x="48" y="73"/>
                    <a:pt x="47" y="73"/>
                  </a:cubicBezTo>
                  <a:cubicBezTo>
                    <a:pt x="46" y="73"/>
                    <a:pt x="45" y="73"/>
                    <a:pt x="44" y="72"/>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1" name="Freeform 696"/>
            <p:cNvSpPr>
              <a:spLocks noChangeArrowheads="1"/>
            </p:cNvSpPr>
            <p:nvPr/>
          </p:nvSpPr>
          <p:spPr bwMode="auto">
            <a:xfrm>
              <a:off x="7210425" y="3765550"/>
              <a:ext cx="19050" cy="26988"/>
            </a:xfrm>
            <a:custGeom>
              <a:avLst/>
              <a:gdLst/>
              <a:ahLst/>
              <a:cxnLst>
                <a:cxn ang="0">
                  <a:pos x="47" y="73"/>
                </a:cxn>
                <a:cxn ang="0">
                  <a:pos x="44" y="72"/>
                </a:cxn>
                <a:cxn ang="0">
                  <a:pos x="6" y="51"/>
                </a:cxn>
                <a:cxn ang="0">
                  <a:pos x="4" y="48"/>
                </a:cxn>
                <a:cxn ang="0">
                  <a:pos x="0" y="5"/>
                </a:cxn>
                <a:cxn ang="0">
                  <a:pos x="1" y="2"/>
                </a:cxn>
                <a:cxn ang="0">
                  <a:pos x="4" y="0"/>
                </a:cxn>
                <a:cxn ang="0">
                  <a:pos x="21" y="0"/>
                </a:cxn>
                <a:cxn ang="0">
                  <a:pos x="26" y="3"/>
                </a:cxn>
                <a:cxn ang="0">
                  <a:pos x="51" y="66"/>
                </a:cxn>
                <a:cxn ang="0">
                  <a:pos x="50" y="72"/>
                </a:cxn>
                <a:cxn ang="0">
                  <a:pos x="47" y="73"/>
                </a:cxn>
              </a:cxnLst>
              <a:rect l="0" t="0" r="r" b="b"/>
              <a:pathLst>
                <a:path w="53" h="74">
                  <a:moveTo>
                    <a:pt x="47" y="73"/>
                  </a:moveTo>
                  <a:cubicBezTo>
                    <a:pt x="46" y="73"/>
                    <a:pt x="45" y="73"/>
                    <a:pt x="44" y="72"/>
                  </a:cubicBezTo>
                  <a:lnTo>
                    <a:pt x="6" y="51"/>
                  </a:lnTo>
                  <a:cubicBezTo>
                    <a:pt x="5" y="50"/>
                    <a:pt x="4" y="49"/>
                    <a:pt x="4" y="48"/>
                  </a:cubicBezTo>
                  <a:lnTo>
                    <a:pt x="0" y="5"/>
                  </a:lnTo>
                  <a:cubicBezTo>
                    <a:pt x="0" y="4"/>
                    <a:pt x="0" y="3"/>
                    <a:pt x="1" y="2"/>
                  </a:cubicBezTo>
                  <a:cubicBezTo>
                    <a:pt x="2" y="1"/>
                    <a:pt x="3" y="0"/>
                    <a:pt x="4" y="0"/>
                  </a:cubicBezTo>
                  <a:lnTo>
                    <a:pt x="21" y="0"/>
                  </a:lnTo>
                  <a:cubicBezTo>
                    <a:pt x="23" y="0"/>
                    <a:pt x="25" y="1"/>
                    <a:pt x="26" y="3"/>
                  </a:cubicBezTo>
                  <a:lnTo>
                    <a:pt x="51" y="66"/>
                  </a:lnTo>
                  <a:cubicBezTo>
                    <a:pt x="52" y="68"/>
                    <a:pt x="51" y="70"/>
                    <a:pt x="50" y="72"/>
                  </a:cubicBezTo>
                  <a:cubicBezTo>
                    <a:pt x="49" y="73"/>
                    <a:pt x="48" y="73"/>
                    <a:pt x="47" y="7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2" name="Freeform 697"/>
            <p:cNvSpPr>
              <a:spLocks noChangeArrowheads="1"/>
            </p:cNvSpPr>
            <p:nvPr/>
          </p:nvSpPr>
          <p:spPr bwMode="auto">
            <a:xfrm>
              <a:off x="7310438" y="3689350"/>
              <a:ext cx="17462" cy="11113"/>
            </a:xfrm>
            <a:custGeom>
              <a:avLst/>
              <a:gdLst/>
              <a:ahLst/>
              <a:cxnLst>
                <a:cxn ang="0">
                  <a:pos x="41" y="29"/>
                </a:cxn>
                <a:cxn ang="0">
                  <a:pos x="2" y="9"/>
                </a:cxn>
                <a:cxn ang="0">
                  <a:pos x="0" y="4"/>
                </a:cxn>
                <a:cxn ang="0">
                  <a:pos x="5" y="0"/>
                </a:cxn>
                <a:cxn ang="0">
                  <a:pos x="39" y="5"/>
                </a:cxn>
                <a:cxn ang="0">
                  <a:pos x="43" y="8"/>
                </a:cxn>
                <a:cxn ang="0">
                  <a:pos x="47" y="25"/>
                </a:cxn>
                <a:cxn ang="0">
                  <a:pos x="46" y="29"/>
                </a:cxn>
                <a:cxn ang="0">
                  <a:pos x="43" y="30"/>
                </a:cxn>
                <a:cxn ang="0">
                  <a:pos x="41" y="29"/>
                </a:cxn>
              </a:cxnLst>
              <a:rect l="0" t="0" r="r" b="b"/>
              <a:pathLst>
                <a:path w="49" h="31">
                  <a:moveTo>
                    <a:pt x="41" y="29"/>
                  </a:moveTo>
                  <a:lnTo>
                    <a:pt x="2" y="9"/>
                  </a:lnTo>
                  <a:cubicBezTo>
                    <a:pt x="0" y="8"/>
                    <a:pt x="0" y="6"/>
                    <a:pt x="0" y="4"/>
                  </a:cubicBezTo>
                  <a:cubicBezTo>
                    <a:pt x="1" y="2"/>
                    <a:pt x="3" y="0"/>
                    <a:pt x="5" y="0"/>
                  </a:cubicBezTo>
                  <a:lnTo>
                    <a:pt x="39" y="5"/>
                  </a:lnTo>
                  <a:cubicBezTo>
                    <a:pt x="41" y="5"/>
                    <a:pt x="43" y="6"/>
                    <a:pt x="43" y="8"/>
                  </a:cubicBezTo>
                  <a:lnTo>
                    <a:pt x="47" y="25"/>
                  </a:lnTo>
                  <a:cubicBezTo>
                    <a:pt x="48" y="27"/>
                    <a:pt x="47" y="28"/>
                    <a:pt x="46" y="29"/>
                  </a:cubicBezTo>
                  <a:cubicBezTo>
                    <a:pt x="45" y="29"/>
                    <a:pt x="44" y="30"/>
                    <a:pt x="43" y="30"/>
                  </a:cubicBezTo>
                  <a:cubicBezTo>
                    <a:pt x="42" y="30"/>
                    <a:pt x="41" y="30"/>
                    <a:pt x="41" y="2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3" name="Freeform 698"/>
            <p:cNvSpPr>
              <a:spLocks noChangeArrowheads="1"/>
            </p:cNvSpPr>
            <p:nvPr/>
          </p:nvSpPr>
          <p:spPr bwMode="auto">
            <a:xfrm>
              <a:off x="7310438" y="3689350"/>
              <a:ext cx="17462" cy="11113"/>
            </a:xfrm>
            <a:custGeom>
              <a:avLst/>
              <a:gdLst/>
              <a:ahLst/>
              <a:cxnLst>
                <a:cxn ang="0">
                  <a:pos x="43" y="30"/>
                </a:cxn>
                <a:cxn ang="0">
                  <a:pos x="41" y="29"/>
                </a:cxn>
                <a:cxn ang="0">
                  <a:pos x="2" y="9"/>
                </a:cxn>
                <a:cxn ang="0">
                  <a:pos x="0" y="4"/>
                </a:cxn>
                <a:cxn ang="0">
                  <a:pos x="5" y="0"/>
                </a:cxn>
                <a:cxn ang="0">
                  <a:pos x="39" y="5"/>
                </a:cxn>
                <a:cxn ang="0">
                  <a:pos x="43" y="8"/>
                </a:cxn>
                <a:cxn ang="0">
                  <a:pos x="47" y="25"/>
                </a:cxn>
                <a:cxn ang="0">
                  <a:pos x="46" y="29"/>
                </a:cxn>
                <a:cxn ang="0">
                  <a:pos x="43" y="30"/>
                </a:cxn>
              </a:cxnLst>
              <a:rect l="0" t="0" r="r" b="b"/>
              <a:pathLst>
                <a:path w="49" h="31">
                  <a:moveTo>
                    <a:pt x="43" y="30"/>
                  </a:moveTo>
                  <a:cubicBezTo>
                    <a:pt x="42" y="30"/>
                    <a:pt x="41" y="30"/>
                    <a:pt x="41" y="29"/>
                  </a:cubicBezTo>
                  <a:lnTo>
                    <a:pt x="2" y="9"/>
                  </a:lnTo>
                  <a:cubicBezTo>
                    <a:pt x="0" y="8"/>
                    <a:pt x="0" y="6"/>
                    <a:pt x="0" y="4"/>
                  </a:cubicBezTo>
                  <a:cubicBezTo>
                    <a:pt x="1" y="2"/>
                    <a:pt x="3" y="0"/>
                    <a:pt x="5" y="0"/>
                  </a:cubicBezTo>
                  <a:lnTo>
                    <a:pt x="39" y="5"/>
                  </a:lnTo>
                  <a:cubicBezTo>
                    <a:pt x="41" y="5"/>
                    <a:pt x="43" y="6"/>
                    <a:pt x="43" y="8"/>
                  </a:cubicBezTo>
                  <a:lnTo>
                    <a:pt x="47" y="25"/>
                  </a:lnTo>
                  <a:cubicBezTo>
                    <a:pt x="48" y="27"/>
                    <a:pt x="47" y="28"/>
                    <a:pt x="46" y="29"/>
                  </a:cubicBezTo>
                  <a:cubicBezTo>
                    <a:pt x="45" y="29"/>
                    <a:pt x="44" y="30"/>
                    <a:pt x="43" y="3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4" name="Freeform 699"/>
            <p:cNvSpPr>
              <a:spLocks noChangeArrowheads="1"/>
            </p:cNvSpPr>
            <p:nvPr/>
          </p:nvSpPr>
          <p:spPr bwMode="auto">
            <a:xfrm>
              <a:off x="7291388" y="3676650"/>
              <a:ext cx="14287" cy="11113"/>
            </a:xfrm>
            <a:custGeom>
              <a:avLst/>
              <a:gdLst/>
              <a:ahLst/>
              <a:cxnLst>
                <a:cxn ang="0">
                  <a:pos x="27" y="30"/>
                </a:cxn>
                <a:cxn ang="0">
                  <a:pos x="2" y="9"/>
                </a:cxn>
                <a:cxn ang="0">
                  <a:pos x="0" y="4"/>
                </a:cxn>
                <a:cxn ang="0">
                  <a:pos x="5" y="0"/>
                </a:cxn>
                <a:cxn ang="0">
                  <a:pos x="34" y="0"/>
                </a:cxn>
                <a:cxn ang="0">
                  <a:pos x="38" y="2"/>
                </a:cxn>
                <a:cxn ang="0">
                  <a:pos x="39" y="6"/>
                </a:cxn>
                <a:cxn ang="0">
                  <a:pos x="35" y="27"/>
                </a:cxn>
                <a:cxn ang="0">
                  <a:pos x="32" y="31"/>
                </a:cxn>
                <a:cxn ang="0">
                  <a:pos x="30" y="31"/>
                </a:cxn>
                <a:cxn ang="0">
                  <a:pos x="27" y="30"/>
                </a:cxn>
              </a:cxnLst>
              <a:rect l="0" t="0" r="r" b="b"/>
              <a:pathLst>
                <a:path w="40" h="32">
                  <a:moveTo>
                    <a:pt x="27" y="30"/>
                  </a:moveTo>
                  <a:lnTo>
                    <a:pt x="2" y="9"/>
                  </a:lnTo>
                  <a:cubicBezTo>
                    <a:pt x="0" y="8"/>
                    <a:pt x="0" y="5"/>
                    <a:pt x="0" y="4"/>
                  </a:cubicBezTo>
                  <a:cubicBezTo>
                    <a:pt x="1" y="2"/>
                    <a:pt x="3" y="0"/>
                    <a:pt x="5" y="0"/>
                  </a:cubicBezTo>
                  <a:lnTo>
                    <a:pt x="34" y="0"/>
                  </a:lnTo>
                  <a:cubicBezTo>
                    <a:pt x="36" y="0"/>
                    <a:pt x="37" y="1"/>
                    <a:pt x="38" y="2"/>
                  </a:cubicBezTo>
                  <a:cubicBezTo>
                    <a:pt x="39" y="3"/>
                    <a:pt x="39" y="5"/>
                    <a:pt x="39" y="6"/>
                  </a:cubicBezTo>
                  <a:lnTo>
                    <a:pt x="35" y="27"/>
                  </a:lnTo>
                  <a:cubicBezTo>
                    <a:pt x="34" y="29"/>
                    <a:pt x="33" y="30"/>
                    <a:pt x="32" y="31"/>
                  </a:cubicBezTo>
                  <a:cubicBezTo>
                    <a:pt x="31" y="31"/>
                    <a:pt x="31" y="31"/>
                    <a:pt x="30" y="31"/>
                  </a:cubicBezTo>
                  <a:cubicBezTo>
                    <a:pt x="29" y="31"/>
                    <a:pt x="28" y="31"/>
                    <a:pt x="27" y="3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5" name="Freeform 700"/>
            <p:cNvSpPr>
              <a:spLocks noChangeArrowheads="1"/>
            </p:cNvSpPr>
            <p:nvPr/>
          </p:nvSpPr>
          <p:spPr bwMode="auto">
            <a:xfrm>
              <a:off x="7291388" y="3676650"/>
              <a:ext cx="14287" cy="11113"/>
            </a:xfrm>
            <a:custGeom>
              <a:avLst/>
              <a:gdLst/>
              <a:ahLst/>
              <a:cxnLst>
                <a:cxn ang="0">
                  <a:pos x="30" y="31"/>
                </a:cxn>
                <a:cxn ang="0">
                  <a:pos x="27" y="30"/>
                </a:cxn>
                <a:cxn ang="0">
                  <a:pos x="2" y="9"/>
                </a:cxn>
                <a:cxn ang="0">
                  <a:pos x="0" y="4"/>
                </a:cxn>
                <a:cxn ang="0">
                  <a:pos x="5" y="0"/>
                </a:cxn>
                <a:cxn ang="0">
                  <a:pos x="34" y="0"/>
                </a:cxn>
                <a:cxn ang="0">
                  <a:pos x="38" y="2"/>
                </a:cxn>
                <a:cxn ang="0">
                  <a:pos x="39" y="6"/>
                </a:cxn>
                <a:cxn ang="0">
                  <a:pos x="35" y="27"/>
                </a:cxn>
                <a:cxn ang="0">
                  <a:pos x="32" y="31"/>
                </a:cxn>
                <a:cxn ang="0">
                  <a:pos x="30" y="31"/>
                </a:cxn>
              </a:cxnLst>
              <a:rect l="0" t="0" r="r" b="b"/>
              <a:pathLst>
                <a:path w="40" h="32">
                  <a:moveTo>
                    <a:pt x="30" y="31"/>
                  </a:moveTo>
                  <a:cubicBezTo>
                    <a:pt x="29" y="31"/>
                    <a:pt x="28" y="31"/>
                    <a:pt x="27" y="30"/>
                  </a:cubicBezTo>
                  <a:lnTo>
                    <a:pt x="2" y="9"/>
                  </a:lnTo>
                  <a:cubicBezTo>
                    <a:pt x="0" y="8"/>
                    <a:pt x="0" y="5"/>
                    <a:pt x="0" y="4"/>
                  </a:cubicBezTo>
                  <a:cubicBezTo>
                    <a:pt x="1" y="2"/>
                    <a:pt x="3" y="0"/>
                    <a:pt x="5" y="0"/>
                  </a:cubicBezTo>
                  <a:lnTo>
                    <a:pt x="34" y="0"/>
                  </a:lnTo>
                  <a:cubicBezTo>
                    <a:pt x="36" y="0"/>
                    <a:pt x="37" y="1"/>
                    <a:pt x="38" y="2"/>
                  </a:cubicBezTo>
                  <a:cubicBezTo>
                    <a:pt x="39" y="3"/>
                    <a:pt x="39" y="5"/>
                    <a:pt x="39" y="6"/>
                  </a:cubicBezTo>
                  <a:lnTo>
                    <a:pt x="35" y="27"/>
                  </a:lnTo>
                  <a:cubicBezTo>
                    <a:pt x="34" y="29"/>
                    <a:pt x="33" y="30"/>
                    <a:pt x="32" y="31"/>
                  </a:cubicBezTo>
                  <a:cubicBezTo>
                    <a:pt x="31" y="31"/>
                    <a:pt x="31" y="31"/>
                    <a:pt x="30" y="3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6" name="Freeform 701"/>
            <p:cNvSpPr>
              <a:spLocks noChangeArrowheads="1"/>
            </p:cNvSpPr>
            <p:nvPr/>
          </p:nvSpPr>
          <p:spPr bwMode="auto">
            <a:xfrm>
              <a:off x="7162800" y="3692525"/>
              <a:ext cx="26988" cy="30163"/>
            </a:xfrm>
            <a:custGeom>
              <a:avLst/>
              <a:gdLst/>
              <a:ahLst/>
              <a:cxnLst>
                <a:cxn ang="0">
                  <a:pos x="65" y="83"/>
                </a:cxn>
                <a:cxn ang="0">
                  <a:pos x="2" y="19"/>
                </a:cxn>
                <a:cxn ang="0">
                  <a:pos x="0" y="17"/>
                </a:cxn>
                <a:cxn ang="0">
                  <a:pos x="3" y="13"/>
                </a:cxn>
                <a:cxn ang="0">
                  <a:pos x="24" y="0"/>
                </a:cxn>
                <a:cxn ang="0">
                  <a:pos x="26" y="0"/>
                </a:cxn>
                <a:cxn ang="0">
                  <a:pos x="29" y="1"/>
                </a:cxn>
                <a:cxn ang="0">
                  <a:pos x="72" y="42"/>
                </a:cxn>
                <a:cxn ang="0">
                  <a:pos x="73" y="46"/>
                </a:cxn>
                <a:cxn ang="0">
                  <a:pos x="73" y="80"/>
                </a:cxn>
                <a:cxn ang="0">
                  <a:pos x="70" y="84"/>
                </a:cxn>
                <a:cxn ang="0">
                  <a:pos x="69" y="84"/>
                </a:cxn>
                <a:cxn ang="0">
                  <a:pos x="65" y="83"/>
                </a:cxn>
              </a:cxnLst>
              <a:rect l="0" t="0" r="r" b="b"/>
              <a:pathLst>
                <a:path w="74" h="85">
                  <a:moveTo>
                    <a:pt x="65" y="83"/>
                  </a:moveTo>
                  <a:lnTo>
                    <a:pt x="2" y="19"/>
                  </a:lnTo>
                  <a:cubicBezTo>
                    <a:pt x="1" y="19"/>
                    <a:pt x="0" y="18"/>
                    <a:pt x="0" y="17"/>
                  </a:cubicBezTo>
                  <a:cubicBezTo>
                    <a:pt x="0" y="15"/>
                    <a:pt x="1" y="14"/>
                    <a:pt x="3" y="13"/>
                  </a:cubicBezTo>
                  <a:lnTo>
                    <a:pt x="24" y="0"/>
                  </a:lnTo>
                  <a:cubicBezTo>
                    <a:pt x="25" y="0"/>
                    <a:pt x="25" y="0"/>
                    <a:pt x="26" y="0"/>
                  </a:cubicBezTo>
                  <a:cubicBezTo>
                    <a:pt x="27" y="0"/>
                    <a:pt x="29" y="0"/>
                    <a:pt x="29" y="1"/>
                  </a:cubicBezTo>
                  <a:lnTo>
                    <a:pt x="72" y="42"/>
                  </a:lnTo>
                  <a:cubicBezTo>
                    <a:pt x="73" y="43"/>
                    <a:pt x="73" y="44"/>
                    <a:pt x="73" y="46"/>
                  </a:cubicBezTo>
                  <a:lnTo>
                    <a:pt x="73" y="80"/>
                  </a:lnTo>
                  <a:cubicBezTo>
                    <a:pt x="73" y="82"/>
                    <a:pt x="72" y="83"/>
                    <a:pt x="70" y="84"/>
                  </a:cubicBezTo>
                  <a:lnTo>
                    <a:pt x="69" y="84"/>
                  </a:lnTo>
                  <a:cubicBezTo>
                    <a:pt x="67" y="84"/>
                    <a:pt x="66" y="84"/>
                    <a:pt x="65" y="83"/>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7" name="Freeform 702"/>
            <p:cNvSpPr>
              <a:spLocks noChangeArrowheads="1"/>
            </p:cNvSpPr>
            <p:nvPr/>
          </p:nvSpPr>
          <p:spPr bwMode="auto">
            <a:xfrm>
              <a:off x="7162800" y="3692525"/>
              <a:ext cx="26988" cy="30163"/>
            </a:xfrm>
            <a:custGeom>
              <a:avLst/>
              <a:gdLst/>
              <a:ahLst/>
              <a:cxnLst>
                <a:cxn ang="0">
                  <a:pos x="69" y="84"/>
                </a:cxn>
                <a:cxn ang="0">
                  <a:pos x="65" y="83"/>
                </a:cxn>
                <a:cxn ang="0">
                  <a:pos x="2" y="19"/>
                </a:cxn>
                <a:cxn ang="0">
                  <a:pos x="0" y="17"/>
                </a:cxn>
                <a:cxn ang="0">
                  <a:pos x="3" y="13"/>
                </a:cxn>
                <a:cxn ang="0">
                  <a:pos x="24" y="0"/>
                </a:cxn>
                <a:cxn ang="0">
                  <a:pos x="26" y="0"/>
                </a:cxn>
                <a:cxn ang="0">
                  <a:pos x="29" y="1"/>
                </a:cxn>
                <a:cxn ang="0">
                  <a:pos x="72" y="42"/>
                </a:cxn>
                <a:cxn ang="0">
                  <a:pos x="73" y="46"/>
                </a:cxn>
                <a:cxn ang="0">
                  <a:pos x="73" y="80"/>
                </a:cxn>
                <a:cxn ang="0">
                  <a:pos x="70" y="84"/>
                </a:cxn>
                <a:cxn ang="0">
                  <a:pos x="69" y="84"/>
                </a:cxn>
              </a:cxnLst>
              <a:rect l="0" t="0" r="r" b="b"/>
              <a:pathLst>
                <a:path w="74" h="85">
                  <a:moveTo>
                    <a:pt x="69" y="84"/>
                  </a:moveTo>
                  <a:cubicBezTo>
                    <a:pt x="67" y="84"/>
                    <a:pt x="66" y="84"/>
                    <a:pt x="65" y="83"/>
                  </a:cubicBezTo>
                  <a:lnTo>
                    <a:pt x="2" y="19"/>
                  </a:lnTo>
                  <a:cubicBezTo>
                    <a:pt x="1" y="19"/>
                    <a:pt x="0" y="18"/>
                    <a:pt x="0" y="17"/>
                  </a:cubicBezTo>
                  <a:cubicBezTo>
                    <a:pt x="0" y="15"/>
                    <a:pt x="1" y="14"/>
                    <a:pt x="3" y="13"/>
                  </a:cubicBezTo>
                  <a:lnTo>
                    <a:pt x="24" y="0"/>
                  </a:lnTo>
                  <a:cubicBezTo>
                    <a:pt x="25" y="0"/>
                    <a:pt x="25" y="0"/>
                    <a:pt x="26" y="0"/>
                  </a:cubicBezTo>
                  <a:cubicBezTo>
                    <a:pt x="27" y="0"/>
                    <a:pt x="29" y="0"/>
                    <a:pt x="29" y="1"/>
                  </a:cubicBezTo>
                  <a:lnTo>
                    <a:pt x="72" y="42"/>
                  </a:lnTo>
                  <a:cubicBezTo>
                    <a:pt x="73" y="43"/>
                    <a:pt x="73" y="44"/>
                    <a:pt x="73" y="46"/>
                  </a:cubicBezTo>
                  <a:lnTo>
                    <a:pt x="73" y="80"/>
                  </a:lnTo>
                  <a:cubicBezTo>
                    <a:pt x="73" y="82"/>
                    <a:pt x="72" y="83"/>
                    <a:pt x="70" y="84"/>
                  </a:cubicBezTo>
                  <a:lnTo>
                    <a:pt x="69" y="8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8" name="Freeform 703"/>
            <p:cNvSpPr>
              <a:spLocks noChangeArrowheads="1"/>
            </p:cNvSpPr>
            <p:nvPr/>
          </p:nvSpPr>
          <p:spPr bwMode="auto">
            <a:xfrm>
              <a:off x="7119938" y="3651250"/>
              <a:ext cx="23812" cy="20638"/>
            </a:xfrm>
            <a:custGeom>
              <a:avLst/>
              <a:gdLst/>
              <a:ahLst/>
              <a:cxnLst>
                <a:cxn ang="0">
                  <a:pos x="58" y="55"/>
                </a:cxn>
                <a:cxn ang="0">
                  <a:pos x="3" y="17"/>
                </a:cxn>
                <a:cxn ang="0">
                  <a:pos x="1" y="13"/>
                </a:cxn>
                <a:cxn ang="0">
                  <a:pos x="2" y="9"/>
                </a:cxn>
                <a:cxn ang="0">
                  <a:pos x="10" y="1"/>
                </a:cxn>
                <a:cxn ang="0">
                  <a:pos x="14" y="0"/>
                </a:cxn>
                <a:cxn ang="0">
                  <a:pos x="17" y="1"/>
                </a:cxn>
                <a:cxn ang="0">
                  <a:pos x="64" y="47"/>
                </a:cxn>
                <a:cxn ang="0">
                  <a:pos x="64" y="54"/>
                </a:cxn>
                <a:cxn ang="0">
                  <a:pos x="60" y="55"/>
                </a:cxn>
                <a:cxn ang="0">
                  <a:pos x="58" y="55"/>
                </a:cxn>
              </a:cxnLst>
              <a:rect l="0" t="0" r="r" b="b"/>
              <a:pathLst>
                <a:path w="67" h="56">
                  <a:moveTo>
                    <a:pt x="58" y="55"/>
                  </a:moveTo>
                  <a:lnTo>
                    <a:pt x="3" y="17"/>
                  </a:lnTo>
                  <a:cubicBezTo>
                    <a:pt x="2" y="16"/>
                    <a:pt x="1" y="15"/>
                    <a:pt x="1" y="13"/>
                  </a:cubicBezTo>
                  <a:cubicBezTo>
                    <a:pt x="0" y="12"/>
                    <a:pt x="1" y="10"/>
                    <a:pt x="2" y="9"/>
                  </a:cubicBezTo>
                  <a:lnTo>
                    <a:pt x="10" y="1"/>
                  </a:lnTo>
                  <a:cubicBezTo>
                    <a:pt x="11" y="0"/>
                    <a:pt x="13" y="0"/>
                    <a:pt x="14" y="0"/>
                  </a:cubicBezTo>
                  <a:cubicBezTo>
                    <a:pt x="15" y="0"/>
                    <a:pt x="16" y="0"/>
                    <a:pt x="17" y="1"/>
                  </a:cubicBezTo>
                  <a:lnTo>
                    <a:pt x="64" y="47"/>
                  </a:lnTo>
                  <a:cubicBezTo>
                    <a:pt x="66" y="49"/>
                    <a:pt x="66" y="52"/>
                    <a:pt x="64" y="54"/>
                  </a:cubicBezTo>
                  <a:cubicBezTo>
                    <a:pt x="63" y="55"/>
                    <a:pt x="62" y="55"/>
                    <a:pt x="60" y="55"/>
                  </a:cubicBezTo>
                  <a:cubicBezTo>
                    <a:pt x="59" y="55"/>
                    <a:pt x="59" y="55"/>
                    <a:pt x="58" y="55"/>
                  </a:cubicBez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09" name="Freeform 704"/>
            <p:cNvSpPr>
              <a:spLocks noChangeArrowheads="1"/>
            </p:cNvSpPr>
            <p:nvPr/>
          </p:nvSpPr>
          <p:spPr bwMode="auto">
            <a:xfrm>
              <a:off x="7119938" y="3651250"/>
              <a:ext cx="23812" cy="20638"/>
            </a:xfrm>
            <a:custGeom>
              <a:avLst/>
              <a:gdLst/>
              <a:ahLst/>
              <a:cxnLst>
                <a:cxn ang="0">
                  <a:pos x="60" y="55"/>
                </a:cxn>
                <a:cxn ang="0">
                  <a:pos x="58" y="55"/>
                </a:cxn>
                <a:cxn ang="0">
                  <a:pos x="3" y="17"/>
                </a:cxn>
                <a:cxn ang="0">
                  <a:pos x="1" y="13"/>
                </a:cxn>
                <a:cxn ang="0">
                  <a:pos x="2" y="9"/>
                </a:cxn>
                <a:cxn ang="0">
                  <a:pos x="10" y="1"/>
                </a:cxn>
                <a:cxn ang="0">
                  <a:pos x="14" y="0"/>
                </a:cxn>
                <a:cxn ang="0">
                  <a:pos x="17" y="1"/>
                </a:cxn>
                <a:cxn ang="0">
                  <a:pos x="64" y="47"/>
                </a:cxn>
                <a:cxn ang="0">
                  <a:pos x="64" y="54"/>
                </a:cxn>
                <a:cxn ang="0">
                  <a:pos x="60" y="55"/>
                </a:cxn>
              </a:cxnLst>
              <a:rect l="0" t="0" r="r" b="b"/>
              <a:pathLst>
                <a:path w="67" h="56">
                  <a:moveTo>
                    <a:pt x="60" y="55"/>
                  </a:moveTo>
                  <a:cubicBezTo>
                    <a:pt x="59" y="55"/>
                    <a:pt x="59" y="55"/>
                    <a:pt x="58" y="55"/>
                  </a:cubicBezTo>
                  <a:lnTo>
                    <a:pt x="3" y="17"/>
                  </a:lnTo>
                  <a:cubicBezTo>
                    <a:pt x="2" y="16"/>
                    <a:pt x="1" y="15"/>
                    <a:pt x="1" y="13"/>
                  </a:cubicBezTo>
                  <a:cubicBezTo>
                    <a:pt x="0" y="12"/>
                    <a:pt x="1" y="10"/>
                    <a:pt x="2" y="9"/>
                  </a:cubicBezTo>
                  <a:lnTo>
                    <a:pt x="10" y="1"/>
                  </a:lnTo>
                  <a:cubicBezTo>
                    <a:pt x="11" y="0"/>
                    <a:pt x="13" y="0"/>
                    <a:pt x="14" y="0"/>
                  </a:cubicBezTo>
                  <a:cubicBezTo>
                    <a:pt x="15" y="0"/>
                    <a:pt x="16" y="0"/>
                    <a:pt x="17" y="1"/>
                  </a:cubicBezTo>
                  <a:lnTo>
                    <a:pt x="64" y="47"/>
                  </a:lnTo>
                  <a:cubicBezTo>
                    <a:pt x="66" y="49"/>
                    <a:pt x="66" y="52"/>
                    <a:pt x="64" y="54"/>
                  </a:cubicBezTo>
                  <a:cubicBezTo>
                    <a:pt x="63" y="55"/>
                    <a:pt x="62" y="55"/>
                    <a:pt x="60" y="55"/>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0" name="Freeform 705"/>
            <p:cNvSpPr>
              <a:spLocks noChangeArrowheads="1"/>
            </p:cNvSpPr>
            <p:nvPr/>
          </p:nvSpPr>
          <p:spPr bwMode="auto">
            <a:xfrm>
              <a:off x="7913688" y="3878263"/>
              <a:ext cx="15875" cy="23812"/>
            </a:xfrm>
            <a:custGeom>
              <a:avLst/>
              <a:gdLst/>
              <a:ahLst/>
              <a:cxnLst>
                <a:cxn ang="0">
                  <a:pos x="5" y="60"/>
                </a:cxn>
                <a:cxn ang="0">
                  <a:pos x="1" y="58"/>
                </a:cxn>
                <a:cxn ang="0">
                  <a:pos x="1" y="55"/>
                </a:cxn>
                <a:cxn ang="0">
                  <a:pos x="9" y="8"/>
                </a:cxn>
                <a:cxn ang="0">
                  <a:pos x="13" y="4"/>
                </a:cxn>
                <a:cxn ang="0">
                  <a:pos x="39" y="0"/>
                </a:cxn>
                <a:cxn ang="0">
                  <a:pos x="42" y="1"/>
                </a:cxn>
                <a:cxn ang="0">
                  <a:pos x="44" y="5"/>
                </a:cxn>
                <a:cxn ang="0">
                  <a:pos x="40" y="60"/>
                </a:cxn>
                <a:cxn ang="0">
                  <a:pos x="38" y="64"/>
                </a:cxn>
                <a:cxn ang="0">
                  <a:pos x="35" y="65"/>
                </a:cxn>
                <a:cxn ang="0">
                  <a:pos x="5" y="60"/>
                </a:cxn>
              </a:cxnLst>
              <a:rect l="0" t="0" r="r" b="b"/>
              <a:pathLst>
                <a:path w="45" h="66">
                  <a:moveTo>
                    <a:pt x="5" y="60"/>
                  </a:moveTo>
                  <a:cubicBezTo>
                    <a:pt x="3" y="60"/>
                    <a:pt x="2" y="60"/>
                    <a:pt x="1" y="58"/>
                  </a:cubicBezTo>
                  <a:cubicBezTo>
                    <a:pt x="1" y="57"/>
                    <a:pt x="0" y="56"/>
                    <a:pt x="1" y="55"/>
                  </a:cubicBezTo>
                  <a:lnTo>
                    <a:pt x="9" y="8"/>
                  </a:lnTo>
                  <a:cubicBezTo>
                    <a:pt x="10" y="6"/>
                    <a:pt x="11" y="5"/>
                    <a:pt x="13" y="4"/>
                  </a:cubicBezTo>
                  <a:lnTo>
                    <a:pt x="39" y="0"/>
                  </a:lnTo>
                  <a:cubicBezTo>
                    <a:pt x="40" y="0"/>
                    <a:pt x="41" y="1"/>
                    <a:pt x="42" y="1"/>
                  </a:cubicBezTo>
                  <a:cubicBezTo>
                    <a:pt x="43" y="2"/>
                    <a:pt x="44" y="4"/>
                    <a:pt x="44" y="5"/>
                  </a:cubicBezTo>
                  <a:lnTo>
                    <a:pt x="40" y="60"/>
                  </a:lnTo>
                  <a:cubicBezTo>
                    <a:pt x="39" y="61"/>
                    <a:pt x="39" y="63"/>
                    <a:pt x="38" y="64"/>
                  </a:cubicBezTo>
                  <a:cubicBezTo>
                    <a:pt x="37" y="64"/>
                    <a:pt x="36" y="65"/>
                    <a:pt x="35" y="65"/>
                  </a:cubicBezTo>
                  <a:lnTo>
                    <a:pt x="5" y="60"/>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1" name="Freeform 706"/>
            <p:cNvSpPr>
              <a:spLocks noChangeArrowheads="1"/>
            </p:cNvSpPr>
            <p:nvPr/>
          </p:nvSpPr>
          <p:spPr bwMode="auto">
            <a:xfrm>
              <a:off x="7913688" y="3878263"/>
              <a:ext cx="15875" cy="23812"/>
            </a:xfrm>
            <a:custGeom>
              <a:avLst/>
              <a:gdLst/>
              <a:ahLst/>
              <a:cxnLst>
                <a:cxn ang="0">
                  <a:pos x="5" y="60"/>
                </a:cxn>
                <a:cxn ang="0">
                  <a:pos x="1" y="58"/>
                </a:cxn>
                <a:cxn ang="0">
                  <a:pos x="1" y="55"/>
                </a:cxn>
                <a:cxn ang="0">
                  <a:pos x="9" y="8"/>
                </a:cxn>
                <a:cxn ang="0">
                  <a:pos x="13" y="4"/>
                </a:cxn>
                <a:cxn ang="0">
                  <a:pos x="39" y="0"/>
                </a:cxn>
                <a:cxn ang="0">
                  <a:pos x="42" y="1"/>
                </a:cxn>
                <a:cxn ang="0">
                  <a:pos x="44" y="5"/>
                </a:cxn>
                <a:cxn ang="0">
                  <a:pos x="40" y="60"/>
                </a:cxn>
                <a:cxn ang="0">
                  <a:pos x="38" y="64"/>
                </a:cxn>
                <a:cxn ang="0">
                  <a:pos x="35" y="65"/>
                </a:cxn>
                <a:cxn ang="0">
                  <a:pos x="5" y="60"/>
                </a:cxn>
              </a:cxnLst>
              <a:rect l="0" t="0" r="r" b="b"/>
              <a:pathLst>
                <a:path w="45" h="66">
                  <a:moveTo>
                    <a:pt x="5" y="60"/>
                  </a:moveTo>
                  <a:cubicBezTo>
                    <a:pt x="3" y="60"/>
                    <a:pt x="2" y="60"/>
                    <a:pt x="1" y="58"/>
                  </a:cubicBezTo>
                  <a:cubicBezTo>
                    <a:pt x="1" y="57"/>
                    <a:pt x="0" y="56"/>
                    <a:pt x="1" y="55"/>
                  </a:cubicBezTo>
                  <a:lnTo>
                    <a:pt x="9" y="8"/>
                  </a:lnTo>
                  <a:cubicBezTo>
                    <a:pt x="10" y="6"/>
                    <a:pt x="11" y="5"/>
                    <a:pt x="13" y="4"/>
                  </a:cubicBezTo>
                  <a:lnTo>
                    <a:pt x="39" y="0"/>
                  </a:lnTo>
                  <a:cubicBezTo>
                    <a:pt x="40" y="0"/>
                    <a:pt x="41" y="1"/>
                    <a:pt x="42" y="1"/>
                  </a:cubicBezTo>
                  <a:cubicBezTo>
                    <a:pt x="43" y="2"/>
                    <a:pt x="44" y="4"/>
                    <a:pt x="44" y="5"/>
                  </a:cubicBezTo>
                  <a:lnTo>
                    <a:pt x="40" y="60"/>
                  </a:lnTo>
                  <a:cubicBezTo>
                    <a:pt x="39" y="61"/>
                    <a:pt x="39" y="63"/>
                    <a:pt x="38" y="64"/>
                  </a:cubicBezTo>
                  <a:cubicBezTo>
                    <a:pt x="37" y="64"/>
                    <a:pt x="36" y="65"/>
                    <a:pt x="35" y="65"/>
                  </a:cubicBezTo>
                  <a:lnTo>
                    <a:pt x="5" y="6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2" name="Freeform 707"/>
            <p:cNvSpPr>
              <a:spLocks noChangeArrowheads="1"/>
            </p:cNvSpPr>
            <p:nvPr/>
          </p:nvSpPr>
          <p:spPr bwMode="auto">
            <a:xfrm>
              <a:off x="6281738" y="2582863"/>
              <a:ext cx="887412" cy="914400"/>
            </a:xfrm>
            <a:custGeom>
              <a:avLst/>
              <a:gdLst/>
              <a:ahLst/>
              <a:cxnLst>
                <a:cxn ang="0">
                  <a:pos x="589" y="2182"/>
                </a:cxn>
                <a:cxn ang="0">
                  <a:pos x="483" y="1917"/>
                </a:cxn>
                <a:cxn ang="0">
                  <a:pos x="398" y="1656"/>
                </a:cxn>
                <a:cxn ang="0">
                  <a:pos x="394" y="1472"/>
                </a:cxn>
                <a:cxn ang="0">
                  <a:pos x="331" y="1414"/>
                </a:cxn>
                <a:cxn ang="0">
                  <a:pos x="82" y="1332"/>
                </a:cxn>
                <a:cxn ang="0">
                  <a:pos x="188" y="1270"/>
                </a:cxn>
                <a:cxn ang="0">
                  <a:pos x="1" y="1180"/>
                </a:cxn>
                <a:cxn ang="0">
                  <a:pos x="72" y="1121"/>
                </a:cxn>
                <a:cxn ang="0">
                  <a:pos x="209" y="1113"/>
                </a:cxn>
                <a:cxn ang="0">
                  <a:pos x="221" y="1011"/>
                </a:cxn>
                <a:cxn ang="0">
                  <a:pos x="127" y="917"/>
                </a:cxn>
                <a:cxn ang="0">
                  <a:pos x="215" y="780"/>
                </a:cxn>
                <a:cxn ang="0">
                  <a:pos x="454" y="607"/>
                </a:cxn>
                <a:cxn ang="0">
                  <a:pos x="549" y="487"/>
                </a:cxn>
                <a:cxn ang="0">
                  <a:pos x="547" y="438"/>
                </a:cxn>
                <a:cxn ang="0">
                  <a:pos x="563" y="356"/>
                </a:cxn>
                <a:cxn ang="0">
                  <a:pos x="519" y="254"/>
                </a:cxn>
                <a:cxn ang="0">
                  <a:pos x="491" y="188"/>
                </a:cxn>
                <a:cxn ang="0">
                  <a:pos x="499" y="123"/>
                </a:cxn>
                <a:cxn ang="0">
                  <a:pos x="754" y="95"/>
                </a:cxn>
                <a:cxn ang="0">
                  <a:pos x="1011" y="39"/>
                </a:cxn>
                <a:cxn ang="0">
                  <a:pos x="1041" y="52"/>
                </a:cxn>
                <a:cxn ang="0">
                  <a:pos x="971" y="204"/>
                </a:cxn>
                <a:cxn ang="0">
                  <a:pos x="979" y="333"/>
                </a:cxn>
                <a:cxn ang="0">
                  <a:pos x="920" y="375"/>
                </a:cxn>
                <a:cxn ang="0">
                  <a:pos x="926" y="499"/>
                </a:cxn>
                <a:cxn ang="0">
                  <a:pos x="1041" y="626"/>
                </a:cxn>
                <a:cxn ang="0">
                  <a:pos x="1423" y="898"/>
                </a:cxn>
                <a:cxn ang="0">
                  <a:pos x="1661" y="882"/>
                </a:cxn>
                <a:cxn ang="0">
                  <a:pos x="1737" y="778"/>
                </a:cxn>
                <a:cxn ang="0">
                  <a:pos x="1759" y="850"/>
                </a:cxn>
                <a:cxn ang="0">
                  <a:pos x="2005" y="884"/>
                </a:cxn>
                <a:cxn ang="0">
                  <a:pos x="1985" y="804"/>
                </a:cxn>
                <a:cxn ang="0">
                  <a:pos x="2345" y="643"/>
                </a:cxn>
                <a:cxn ang="0">
                  <a:pos x="2378" y="694"/>
                </a:cxn>
                <a:cxn ang="0">
                  <a:pos x="2462" y="774"/>
                </a:cxn>
                <a:cxn ang="0">
                  <a:pos x="2428" y="868"/>
                </a:cxn>
                <a:cxn ang="0">
                  <a:pos x="2199" y="1161"/>
                </a:cxn>
                <a:cxn ang="0">
                  <a:pos x="2101" y="1265"/>
                </a:cxn>
                <a:cxn ang="0">
                  <a:pos x="2063" y="1350"/>
                </a:cxn>
                <a:cxn ang="0">
                  <a:pos x="1979" y="1249"/>
                </a:cxn>
                <a:cxn ang="0">
                  <a:pos x="1924" y="1160"/>
                </a:cxn>
                <a:cxn ang="0">
                  <a:pos x="1797" y="975"/>
                </a:cxn>
                <a:cxn ang="0">
                  <a:pos x="1741" y="967"/>
                </a:cxn>
                <a:cxn ang="0">
                  <a:pos x="1687" y="986"/>
                </a:cxn>
                <a:cxn ang="0">
                  <a:pos x="1732" y="1048"/>
                </a:cxn>
                <a:cxn ang="0">
                  <a:pos x="1721" y="1130"/>
                </a:cxn>
                <a:cxn ang="0">
                  <a:pos x="1737" y="1380"/>
                </a:cxn>
                <a:cxn ang="0">
                  <a:pos x="1695" y="1388"/>
                </a:cxn>
                <a:cxn ang="0">
                  <a:pos x="1594" y="1395"/>
                </a:cxn>
                <a:cxn ang="0">
                  <a:pos x="1355" y="1666"/>
                </a:cxn>
                <a:cxn ang="0">
                  <a:pos x="1080" y="1893"/>
                </a:cxn>
                <a:cxn ang="0">
                  <a:pos x="1034" y="2105"/>
                </a:cxn>
                <a:cxn ang="0">
                  <a:pos x="992" y="2353"/>
                </a:cxn>
                <a:cxn ang="0">
                  <a:pos x="856" y="2457"/>
                </a:cxn>
              </a:cxnLst>
              <a:rect l="0" t="0" r="r" b="b"/>
              <a:pathLst>
                <a:path w="2463" h="2540">
                  <a:moveTo>
                    <a:pt x="784" y="2539"/>
                  </a:moveTo>
                  <a:cubicBezTo>
                    <a:pt x="782" y="2539"/>
                    <a:pt x="781" y="2539"/>
                    <a:pt x="780" y="2537"/>
                  </a:cubicBezTo>
                  <a:lnTo>
                    <a:pt x="721" y="2466"/>
                  </a:lnTo>
                  <a:lnTo>
                    <a:pt x="644" y="2252"/>
                  </a:lnTo>
                  <a:lnTo>
                    <a:pt x="589" y="2182"/>
                  </a:lnTo>
                  <a:lnTo>
                    <a:pt x="563" y="2070"/>
                  </a:lnTo>
                  <a:lnTo>
                    <a:pt x="500" y="1957"/>
                  </a:lnTo>
                  <a:lnTo>
                    <a:pt x="496" y="1911"/>
                  </a:lnTo>
                  <a:lnTo>
                    <a:pt x="485" y="1917"/>
                  </a:lnTo>
                  <a:cubicBezTo>
                    <a:pt x="484" y="1917"/>
                    <a:pt x="484" y="1917"/>
                    <a:pt x="483" y="1917"/>
                  </a:cubicBezTo>
                  <a:cubicBezTo>
                    <a:pt x="482" y="1917"/>
                    <a:pt x="482" y="1917"/>
                    <a:pt x="481" y="1917"/>
                  </a:cubicBezTo>
                  <a:cubicBezTo>
                    <a:pt x="480" y="1916"/>
                    <a:pt x="479" y="1916"/>
                    <a:pt x="479" y="1914"/>
                  </a:cubicBezTo>
                  <a:lnTo>
                    <a:pt x="466" y="1885"/>
                  </a:lnTo>
                  <a:lnTo>
                    <a:pt x="436" y="1821"/>
                  </a:lnTo>
                  <a:lnTo>
                    <a:pt x="398" y="1656"/>
                  </a:lnTo>
                  <a:lnTo>
                    <a:pt x="405" y="1604"/>
                  </a:lnTo>
                  <a:lnTo>
                    <a:pt x="398" y="1604"/>
                  </a:lnTo>
                  <a:cubicBezTo>
                    <a:pt x="396" y="1604"/>
                    <a:pt x="394" y="1603"/>
                    <a:pt x="394" y="1601"/>
                  </a:cubicBezTo>
                  <a:lnTo>
                    <a:pt x="381" y="1541"/>
                  </a:lnTo>
                  <a:lnTo>
                    <a:pt x="394" y="1472"/>
                  </a:lnTo>
                  <a:lnTo>
                    <a:pt x="368" y="1346"/>
                  </a:lnTo>
                  <a:cubicBezTo>
                    <a:pt x="368" y="1345"/>
                    <a:pt x="368" y="1344"/>
                    <a:pt x="369" y="1342"/>
                  </a:cubicBezTo>
                  <a:lnTo>
                    <a:pt x="393" y="1315"/>
                  </a:lnTo>
                  <a:lnTo>
                    <a:pt x="355" y="1309"/>
                  </a:lnTo>
                  <a:lnTo>
                    <a:pt x="331" y="1414"/>
                  </a:lnTo>
                  <a:cubicBezTo>
                    <a:pt x="331" y="1416"/>
                    <a:pt x="330" y="1417"/>
                    <a:pt x="328" y="1418"/>
                  </a:cubicBezTo>
                  <a:lnTo>
                    <a:pt x="269" y="1443"/>
                  </a:lnTo>
                  <a:lnTo>
                    <a:pt x="204" y="1443"/>
                  </a:lnTo>
                  <a:cubicBezTo>
                    <a:pt x="202" y="1443"/>
                    <a:pt x="201" y="1443"/>
                    <a:pt x="200" y="1442"/>
                  </a:cubicBezTo>
                  <a:lnTo>
                    <a:pt x="82" y="1332"/>
                  </a:lnTo>
                  <a:lnTo>
                    <a:pt x="76" y="1308"/>
                  </a:lnTo>
                  <a:cubicBezTo>
                    <a:pt x="76" y="1307"/>
                    <a:pt x="76" y="1306"/>
                    <a:pt x="77" y="1305"/>
                  </a:cubicBezTo>
                  <a:cubicBezTo>
                    <a:pt x="78" y="1304"/>
                    <a:pt x="79" y="1303"/>
                    <a:pt x="80" y="1303"/>
                  </a:cubicBezTo>
                  <a:lnTo>
                    <a:pt x="161" y="1294"/>
                  </a:lnTo>
                  <a:lnTo>
                    <a:pt x="188" y="1270"/>
                  </a:lnTo>
                  <a:lnTo>
                    <a:pt x="193" y="1240"/>
                  </a:lnTo>
                  <a:lnTo>
                    <a:pt x="146" y="1265"/>
                  </a:lnTo>
                  <a:lnTo>
                    <a:pt x="81" y="1266"/>
                  </a:lnTo>
                  <a:cubicBezTo>
                    <a:pt x="79" y="1266"/>
                    <a:pt x="78" y="1265"/>
                    <a:pt x="77" y="1264"/>
                  </a:cubicBezTo>
                  <a:lnTo>
                    <a:pt x="1" y="1180"/>
                  </a:lnTo>
                  <a:cubicBezTo>
                    <a:pt x="0" y="1179"/>
                    <a:pt x="0" y="1177"/>
                    <a:pt x="0" y="1176"/>
                  </a:cubicBezTo>
                  <a:cubicBezTo>
                    <a:pt x="0" y="1175"/>
                    <a:pt x="0" y="1173"/>
                    <a:pt x="2" y="1173"/>
                  </a:cubicBezTo>
                  <a:lnTo>
                    <a:pt x="27" y="1156"/>
                  </a:lnTo>
                  <a:lnTo>
                    <a:pt x="68" y="1155"/>
                  </a:lnTo>
                  <a:lnTo>
                    <a:pt x="72" y="1121"/>
                  </a:lnTo>
                  <a:cubicBezTo>
                    <a:pt x="72" y="1120"/>
                    <a:pt x="73" y="1118"/>
                    <a:pt x="74" y="1118"/>
                  </a:cubicBezTo>
                  <a:cubicBezTo>
                    <a:pt x="74" y="1117"/>
                    <a:pt x="75" y="1117"/>
                    <a:pt x="76" y="1117"/>
                  </a:cubicBezTo>
                  <a:lnTo>
                    <a:pt x="77" y="1117"/>
                  </a:lnTo>
                  <a:lnTo>
                    <a:pt x="173" y="1138"/>
                  </a:lnTo>
                  <a:lnTo>
                    <a:pt x="209" y="1113"/>
                  </a:lnTo>
                  <a:cubicBezTo>
                    <a:pt x="210" y="1113"/>
                    <a:pt x="211" y="1113"/>
                    <a:pt x="212" y="1113"/>
                  </a:cubicBezTo>
                  <a:cubicBezTo>
                    <a:pt x="213" y="1113"/>
                    <a:pt x="214" y="1113"/>
                    <a:pt x="215" y="1114"/>
                  </a:cubicBezTo>
                  <a:lnTo>
                    <a:pt x="234" y="1133"/>
                  </a:lnTo>
                  <a:lnTo>
                    <a:pt x="261" y="1119"/>
                  </a:lnTo>
                  <a:lnTo>
                    <a:pt x="221" y="1011"/>
                  </a:lnTo>
                  <a:lnTo>
                    <a:pt x="180" y="990"/>
                  </a:lnTo>
                  <a:cubicBezTo>
                    <a:pt x="178" y="989"/>
                    <a:pt x="177" y="988"/>
                    <a:pt x="178" y="985"/>
                  </a:cubicBezTo>
                  <a:lnTo>
                    <a:pt x="185" y="935"/>
                  </a:lnTo>
                  <a:lnTo>
                    <a:pt x="131" y="923"/>
                  </a:lnTo>
                  <a:cubicBezTo>
                    <a:pt x="128" y="922"/>
                    <a:pt x="126" y="920"/>
                    <a:pt x="127" y="917"/>
                  </a:cubicBezTo>
                  <a:lnTo>
                    <a:pt x="135" y="875"/>
                  </a:lnTo>
                  <a:lnTo>
                    <a:pt x="208" y="780"/>
                  </a:lnTo>
                  <a:cubicBezTo>
                    <a:pt x="209" y="779"/>
                    <a:pt x="210" y="778"/>
                    <a:pt x="212" y="778"/>
                  </a:cubicBezTo>
                  <a:lnTo>
                    <a:pt x="212" y="778"/>
                  </a:lnTo>
                  <a:cubicBezTo>
                    <a:pt x="213" y="778"/>
                    <a:pt x="214" y="779"/>
                    <a:pt x="215" y="780"/>
                  </a:cubicBezTo>
                  <a:lnTo>
                    <a:pt x="247" y="812"/>
                  </a:lnTo>
                  <a:lnTo>
                    <a:pt x="323" y="792"/>
                  </a:lnTo>
                  <a:lnTo>
                    <a:pt x="365" y="721"/>
                  </a:lnTo>
                  <a:lnTo>
                    <a:pt x="408" y="690"/>
                  </a:lnTo>
                  <a:lnTo>
                    <a:pt x="454" y="607"/>
                  </a:lnTo>
                  <a:lnTo>
                    <a:pt x="484" y="594"/>
                  </a:lnTo>
                  <a:lnTo>
                    <a:pt x="491" y="570"/>
                  </a:lnTo>
                  <a:lnTo>
                    <a:pt x="526" y="518"/>
                  </a:lnTo>
                  <a:lnTo>
                    <a:pt x="570" y="499"/>
                  </a:lnTo>
                  <a:lnTo>
                    <a:pt x="549" y="487"/>
                  </a:lnTo>
                  <a:cubicBezTo>
                    <a:pt x="547" y="486"/>
                    <a:pt x="546" y="485"/>
                    <a:pt x="546" y="483"/>
                  </a:cubicBezTo>
                  <a:cubicBezTo>
                    <a:pt x="546" y="482"/>
                    <a:pt x="546" y="481"/>
                    <a:pt x="547" y="480"/>
                  </a:cubicBezTo>
                  <a:lnTo>
                    <a:pt x="562" y="461"/>
                  </a:lnTo>
                  <a:lnTo>
                    <a:pt x="547" y="443"/>
                  </a:lnTo>
                  <a:cubicBezTo>
                    <a:pt x="546" y="442"/>
                    <a:pt x="546" y="440"/>
                    <a:pt x="547" y="438"/>
                  </a:cubicBezTo>
                  <a:lnTo>
                    <a:pt x="559" y="413"/>
                  </a:lnTo>
                  <a:lnTo>
                    <a:pt x="617" y="383"/>
                  </a:lnTo>
                  <a:lnTo>
                    <a:pt x="607" y="364"/>
                  </a:lnTo>
                  <a:lnTo>
                    <a:pt x="567" y="360"/>
                  </a:lnTo>
                  <a:cubicBezTo>
                    <a:pt x="565" y="360"/>
                    <a:pt x="563" y="358"/>
                    <a:pt x="563" y="356"/>
                  </a:cubicBezTo>
                  <a:lnTo>
                    <a:pt x="559" y="330"/>
                  </a:lnTo>
                  <a:lnTo>
                    <a:pt x="528" y="322"/>
                  </a:lnTo>
                  <a:lnTo>
                    <a:pt x="496" y="287"/>
                  </a:lnTo>
                  <a:cubicBezTo>
                    <a:pt x="495" y="285"/>
                    <a:pt x="495" y="282"/>
                    <a:pt x="496" y="281"/>
                  </a:cubicBezTo>
                  <a:lnTo>
                    <a:pt x="519" y="254"/>
                  </a:lnTo>
                  <a:lnTo>
                    <a:pt x="501" y="232"/>
                  </a:lnTo>
                  <a:cubicBezTo>
                    <a:pt x="499" y="230"/>
                    <a:pt x="499" y="227"/>
                    <a:pt x="501" y="225"/>
                  </a:cubicBezTo>
                  <a:lnTo>
                    <a:pt x="518" y="209"/>
                  </a:lnTo>
                  <a:lnTo>
                    <a:pt x="494" y="195"/>
                  </a:lnTo>
                  <a:cubicBezTo>
                    <a:pt x="491" y="193"/>
                    <a:pt x="490" y="191"/>
                    <a:pt x="491" y="188"/>
                  </a:cubicBezTo>
                  <a:lnTo>
                    <a:pt x="498" y="176"/>
                  </a:lnTo>
                  <a:lnTo>
                    <a:pt x="485" y="169"/>
                  </a:lnTo>
                  <a:cubicBezTo>
                    <a:pt x="483" y="168"/>
                    <a:pt x="482" y="166"/>
                    <a:pt x="483" y="164"/>
                  </a:cubicBezTo>
                  <a:lnTo>
                    <a:pt x="496" y="126"/>
                  </a:lnTo>
                  <a:cubicBezTo>
                    <a:pt x="496" y="124"/>
                    <a:pt x="497" y="123"/>
                    <a:pt x="499" y="123"/>
                  </a:cubicBezTo>
                  <a:lnTo>
                    <a:pt x="528" y="114"/>
                  </a:lnTo>
                  <a:lnTo>
                    <a:pt x="637" y="144"/>
                  </a:lnTo>
                  <a:lnTo>
                    <a:pt x="706" y="123"/>
                  </a:lnTo>
                  <a:lnTo>
                    <a:pt x="739" y="126"/>
                  </a:lnTo>
                  <a:lnTo>
                    <a:pt x="754" y="95"/>
                  </a:lnTo>
                  <a:lnTo>
                    <a:pt x="806" y="56"/>
                  </a:lnTo>
                  <a:lnTo>
                    <a:pt x="947" y="0"/>
                  </a:lnTo>
                  <a:cubicBezTo>
                    <a:pt x="948" y="0"/>
                    <a:pt x="949" y="0"/>
                    <a:pt x="949" y="0"/>
                  </a:cubicBezTo>
                  <a:cubicBezTo>
                    <a:pt x="950" y="0"/>
                    <a:pt x="951" y="0"/>
                    <a:pt x="952" y="0"/>
                  </a:cubicBezTo>
                  <a:lnTo>
                    <a:pt x="1011" y="39"/>
                  </a:lnTo>
                  <a:cubicBezTo>
                    <a:pt x="1012" y="39"/>
                    <a:pt x="1013" y="40"/>
                    <a:pt x="1013" y="42"/>
                  </a:cubicBezTo>
                  <a:lnTo>
                    <a:pt x="1016" y="57"/>
                  </a:lnTo>
                  <a:lnTo>
                    <a:pt x="1037" y="51"/>
                  </a:lnTo>
                  <a:lnTo>
                    <a:pt x="1038" y="51"/>
                  </a:lnTo>
                  <a:cubicBezTo>
                    <a:pt x="1039" y="51"/>
                    <a:pt x="1040" y="51"/>
                    <a:pt x="1041" y="52"/>
                  </a:cubicBezTo>
                  <a:cubicBezTo>
                    <a:pt x="1043" y="53"/>
                    <a:pt x="1043" y="55"/>
                    <a:pt x="1043" y="57"/>
                  </a:cubicBezTo>
                  <a:lnTo>
                    <a:pt x="1017" y="133"/>
                  </a:lnTo>
                  <a:lnTo>
                    <a:pt x="979" y="167"/>
                  </a:lnTo>
                  <a:lnTo>
                    <a:pt x="975" y="200"/>
                  </a:lnTo>
                  <a:cubicBezTo>
                    <a:pt x="975" y="202"/>
                    <a:pt x="973" y="203"/>
                    <a:pt x="971" y="204"/>
                  </a:cubicBezTo>
                  <a:lnTo>
                    <a:pt x="925" y="211"/>
                  </a:lnTo>
                  <a:lnTo>
                    <a:pt x="928" y="268"/>
                  </a:lnTo>
                  <a:lnTo>
                    <a:pt x="964" y="288"/>
                  </a:lnTo>
                  <a:cubicBezTo>
                    <a:pt x="965" y="289"/>
                    <a:pt x="966" y="290"/>
                    <a:pt x="966" y="291"/>
                  </a:cubicBezTo>
                  <a:lnTo>
                    <a:pt x="979" y="333"/>
                  </a:lnTo>
                  <a:cubicBezTo>
                    <a:pt x="980" y="335"/>
                    <a:pt x="979" y="337"/>
                    <a:pt x="977" y="338"/>
                  </a:cubicBezTo>
                  <a:lnTo>
                    <a:pt x="927" y="376"/>
                  </a:lnTo>
                  <a:cubicBezTo>
                    <a:pt x="926" y="377"/>
                    <a:pt x="925" y="377"/>
                    <a:pt x="924" y="377"/>
                  </a:cubicBezTo>
                  <a:lnTo>
                    <a:pt x="923" y="377"/>
                  </a:lnTo>
                  <a:cubicBezTo>
                    <a:pt x="922" y="377"/>
                    <a:pt x="920" y="376"/>
                    <a:pt x="920" y="375"/>
                  </a:cubicBezTo>
                  <a:lnTo>
                    <a:pt x="901" y="346"/>
                  </a:lnTo>
                  <a:lnTo>
                    <a:pt x="887" y="357"/>
                  </a:lnTo>
                  <a:lnTo>
                    <a:pt x="911" y="409"/>
                  </a:lnTo>
                  <a:lnTo>
                    <a:pt x="907" y="462"/>
                  </a:lnTo>
                  <a:lnTo>
                    <a:pt x="926" y="499"/>
                  </a:lnTo>
                  <a:lnTo>
                    <a:pt x="966" y="495"/>
                  </a:lnTo>
                  <a:lnTo>
                    <a:pt x="1100" y="576"/>
                  </a:lnTo>
                  <a:cubicBezTo>
                    <a:pt x="1101" y="577"/>
                    <a:pt x="1102" y="578"/>
                    <a:pt x="1102" y="580"/>
                  </a:cubicBezTo>
                  <a:cubicBezTo>
                    <a:pt x="1102" y="581"/>
                    <a:pt x="1102" y="583"/>
                    <a:pt x="1100" y="584"/>
                  </a:cubicBezTo>
                  <a:lnTo>
                    <a:pt x="1041" y="626"/>
                  </a:lnTo>
                  <a:lnTo>
                    <a:pt x="1018" y="713"/>
                  </a:lnTo>
                  <a:lnTo>
                    <a:pt x="1244" y="842"/>
                  </a:lnTo>
                  <a:lnTo>
                    <a:pt x="1369" y="846"/>
                  </a:lnTo>
                  <a:cubicBezTo>
                    <a:pt x="1370" y="846"/>
                    <a:pt x="1371" y="846"/>
                    <a:pt x="1372" y="847"/>
                  </a:cubicBezTo>
                  <a:lnTo>
                    <a:pt x="1423" y="898"/>
                  </a:lnTo>
                  <a:lnTo>
                    <a:pt x="1607" y="939"/>
                  </a:lnTo>
                  <a:lnTo>
                    <a:pt x="1670" y="931"/>
                  </a:lnTo>
                  <a:lnTo>
                    <a:pt x="1681" y="907"/>
                  </a:lnTo>
                  <a:lnTo>
                    <a:pt x="1662" y="888"/>
                  </a:lnTo>
                  <a:cubicBezTo>
                    <a:pt x="1660" y="886"/>
                    <a:pt x="1660" y="884"/>
                    <a:pt x="1661" y="882"/>
                  </a:cubicBezTo>
                  <a:lnTo>
                    <a:pt x="1669" y="865"/>
                  </a:lnTo>
                  <a:lnTo>
                    <a:pt x="1682" y="799"/>
                  </a:lnTo>
                  <a:cubicBezTo>
                    <a:pt x="1682" y="797"/>
                    <a:pt x="1683" y="796"/>
                    <a:pt x="1685" y="795"/>
                  </a:cubicBezTo>
                  <a:lnTo>
                    <a:pt x="1736" y="778"/>
                  </a:lnTo>
                  <a:lnTo>
                    <a:pt x="1737" y="778"/>
                  </a:lnTo>
                  <a:cubicBezTo>
                    <a:pt x="1738" y="778"/>
                    <a:pt x="1739" y="778"/>
                    <a:pt x="1740" y="779"/>
                  </a:cubicBezTo>
                  <a:cubicBezTo>
                    <a:pt x="1741" y="780"/>
                    <a:pt x="1742" y="781"/>
                    <a:pt x="1742" y="783"/>
                  </a:cubicBezTo>
                  <a:lnTo>
                    <a:pt x="1742" y="839"/>
                  </a:lnTo>
                  <a:lnTo>
                    <a:pt x="1756" y="846"/>
                  </a:lnTo>
                  <a:cubicBezTo>
                    <a:pt x="1758" y="847"/>
                    <a:pt x="1758" y="848"/>
                    <a:pt x="1759" y="850"/>
                  </a:cubicBezTo>
                  <a:cubicBezTo>
                    <a:pt x="1759" y="851"/>
                    <a:pt x="1758" y="853"/>
                    <a:pt x="1757" y="854"/>
                  </a:cubicBezTo>
                  <a:lnTo>
                    <a:pt x="1743" y="868"/>
                  </a:lnTo>
                  <a:lnTo>
                    <a:pt x="1753" y="889"/>
                  </a:lnTo>
                  <a:lnTo>
                    <a:pt x="1815" y="905"/>
                  </a:lnTo>
                  <a:lnTo>
                    <a:pt x="2005" y="884"/>
                  </a:lnTo>
                  <a:lnTo>
                    <a:pt x="2019" y="853"/>
                  </a:lnTo>
                  <a:lnTo>
                    <a:pt x="1985" y="838"/>
                  </a:lnTo>
                  <a:cubicBezTo>
                    <a:pt x="1983" y="837"/>
                    <a:pt x="1982" y="836"/>
                    <a:pt x="1982" y="834"/>
                  </a:cubicBezTo>
                  <a:lnTo>
                    <a:pt x="1982" y="808"/>
                  </a:lnTo>
                  <a:cubicBezTo>
                    <a:pt x="1982" y="806"/>
                    <a:pt x="1984" y="805"/>
                    <a:pt x="1985" y="804"/>
                  </a:cubicBezTo>
                  <a:lnTo>
                    <a:pt x="2095" y="761"/>
                  </a:lnTo>
                  <a:lnTo>
                    <a:pt x="2221" y="665"/>
                  </a:lnTo>
                  <a:cubicBezTo>
                    <a:pt x="2222" y="664"/>
                    <a:pt x="2223" y="664"/>
                    <a:pt x="2224" y="664"/>
                  </a:cubicBezTo>
                  <a:lnTo>
                    <a:pt x="2284" y="668"/>
                  </a:lnTo>
                  <a:lnTo>
                    <a:pt x="2345" y="643"/>
                  </a:lnTo>
                  <a:cubicBezTo>
                    <a:pt x="2346" y="643"/>
                    <a:pt x="2347" y="643"/>
                    <a:pt x="2347" y="643"/>
                  </a:cubicBezTo>
                  <a:cubicBezTo>
                    <a:pt x="2348" y="643"/>
                    <a:pt x="2348" y="643"/>
                    <a:pt x="2349" y="643"/>
                  </a:cubicBezTo>
                  <a:cubicBezTo>
                    <a:pt x="2350" y="644"/>
                    <a:pt x="2351" y="645"/>
                    <a:pt x="2352" y="646"/>
                  </a:cubicBezTo>
                  <a:lnTo>
                    <a:pt x="2368" y="690"/>
                  </a:lnTo>
                  <a:lnTo>
                    <a:pt x="2378" y="694"/>
                  </a:lnTo>
                  <a:cubicBezTo>
                    <a:pt x="2380" y="694"/>
                    <a:pt x="2382" y="696"/>
                    <a:pt x="2382" y="699"/>
                  </a:cubicBezTo>
                  <a:lnTo>
                    <a:pt x="2378" y="737"/>
                  </a:lnTo>
                  <a:lnTo>
                    <a:pt x="2437" y="749"/>
                  </a:lnTo>
                  <a:lnTo>
                    <a:pt x="2461" y="771"/>
                  </a:lnTo>
                  <a:cubicBezTo>
                    <a:pt x="2461" y="772"/>
                    <a:pt x="2462" y="773"/>
                    <a:pt x="2462" y="774"/>
                  </a:cubicBezTo>
                  <a:lnTo>
                    <a:pt x="2462" y="796"/>
                  </a:lnTo>
                  <a:cubicBezTo>
                    <a:pt x="2462" y="797"/>
                    <a:pt x="2461" y="799"/>
                    <a:pt x="2460" y="800"/>
                  </a:cubicBezTo>
                  <a:lnTo>
                    <a:pt x="2440" y="811"/>
                  </a:lnTo>
                  <a:lnTo>
                    <a:pt x="2432" y="864"/>
                  </a:lnTo>
                  <a:cubicBezTo>
                    <a:pt x="2432" y="866"/>
                    <a:pt x="2430" y="868"/>
                    <a:pt x="2428" y="868"/>
                  </a:cubicBezTo>
                  <a:lnTo>
                    <a:pt x="2360" y="872"/>
                  </a:lnTo>
                  <a:lnTo>
                    <a:pt x="2288" y="933"/>
                  </a:lnTo>
                  <a:lnTo>
                    <a:pt x="2284" y="995"/>
                  </a:lnTo>
                  <a:lnTo>
                    <a:pt x="2241" y="1052"/>
                  </a:lnTo>
                  <a:lnTo>
                    <a:pt x="2199" y="1161"/>
                  </a:lnTo>
                  <a:cubicBezTo>
                    <a:pt x="2198" y="1163"/>
                    <a:pt x="2197" y="1164"/>
                    <a:pt x="2196" y="1164"/>
                  </a:cubicBezTo>
                  <a:lnTo>
                    <a:pt x="2127" y="1184"/>
                  </a:lnTo>
                  <a:lnTo>
                    <a:pt x="2123" y="1257"/>
                  </a:lnTo>
                  <a:cubicBezTo>
                    <a:pt x="2123" y="1259"/>
                    <a:pt x="2122" y="1261"/>
                    <a:pt x="2119" y="1261"/>
                  </a:cubicBezTo>
                  <a:lnTo>
                    <a:pt x="2101" y="1265"/>
                  </a:lnTo>
                  <a:lnTo>
                    <a:pt x="2098" y="1275"/>
                  </a:lnTo>
                  <a:lnTo>
                    <a:pt x="2110" y="1323"/>
                  </a:lnTo>
                  <a:cubicBezTo>
                    <a:pt x="2111" y="1325"/>
                    <a:pt x="2110" y="1328"/>
                    <a:pt x="2108" y="1329"/>
                  </a:cubicBezTo>
                  <a:lnTo>
                    <a:pt x="2065" y="1350"/>
                  </a:lnTo>
                  <a:cubicBezTo>
                    <a:pt x="2065" y="1350"/>
                    <a:pt x="2064" y="1350"/>
                    <a:pt x="2063" y="1350"/>
                  </a:cubicBezTo>
                  <a:cubicBezTo>
                    <a:pt x="2063" y="1350"/>
                    <a:pt x="2062" y="1350"/>
                    <a:pt x="2061" y="1350"/>
                  </a:cubicBezTo>
                  <a:cubicBezTo>
                    <a:pt x="2060" y="1349"/>
                    <a:pt x="2059" y="1348"/>
                    <a:pt x="2059" y="1347"/>
                  </a:cubicBezTo>
                  <a:lnTo>
                    <a:pt x="2019" y="1192"/>
                  </a:lnTo>
                  <a:lnTo>
                    <a:pt x="1983" y="1247"/>
                  </a:lnTo>
                  <a:cubicBezTo>
                    <a:pt x="1982" y="1248"/>
                    <a:pt x="1981" y="1248"/>
                    <a:pt x="1979" y="1249"/>
                  </a:cubicBezTo>
                  <a:lnTo>
                    <a:pt x="1979" y="1249"/>
                  </a:lnTo>
                  <a:cubicBezTo>
                    <a:pt x="1978" y="1249"/>
                    <a:pt x="1977" y="1248"/>
                    <a:pt x="1976" y="1248"/>
                  </a:cubicBezTo>
                  <a:lnTo>
                    <a:pt x="1942" y="1222"/>
                  </a:lnTo>
                  <a:lnTo>
                    <a:pt x="1923" y="1165"/>
                  </a:lnTo>
                  <a:cubicBezTo>
                    <a:pt x="1923" y="1163"/>
                    <a:pt x="1923" y="1162"/>
                    <a:pt x="1924" y="1160"/>
                  </a:cubicBezTo>
                  <a:lnTo>
                    <a:pt x="2020" y="1061"/>
                  </a:lnTo>
                  <a:lnTo>
                    <a:pt x="1843" y="1041"/>
                  </a:lnTo>
                  <a:lnTo>
                    <a:pt x="1815" y="1019"/>
                  </a:lnTo>
                  <a:lnTo>
                    <a:pt x="1800" y="967"/>
                  </a:lnTo>
                  <a:lnTo>
                    <a:pt x="1797" y="975"/>
                  </a:lnTo>
                  <a:cubicBezTo>
                    <a:pt x="1796" y="977"/>
                    <a:pt x="1794" y="978"/>
                    <a:pt x="1792" y="978"/>
                  </a:cubicBezTo>
                  <a:lnTo>
                    <a:pt x="1771" y="978"/>
                  </a:lnTo>
                  <a:cubicBezTo>
                    <a:pt x="1769" y="978"/>
                    <a:pt x="1768" y="977"/>
                    <a:pt x="1767" y="975"/>
                  </a:cubicBezTo>
                  <a:lnTo>
                    <a:pt x="1754" y="946"/>
                  </a:lnTo>
                  <a:lnTo>
                    <a:pt x="1741" y="967"/>
                  </a:lnTo>
                  <a:cubicBezTo>
                    <a:pt x="1740" y="969"/>
                    <a:pt x="1739" y="969"/>
                    <a:pt x="1737" y="969"/>
                  </a:cubicBezTo>
                  <a:lnTo>
                    <a:pt x="1737" y="969"/>
                  </a:lnTo>
                  <a:cubicBezTo>
                    <a:pt x="1735" y="969"/>
                    <a:pt x="1734" y="969"/>
                    <a:pt x="1733" y="967"/>
                  </a:cubicBezTo>
                  <a:lnTo>
                    <a:pt x="1712" y="936"/>
                  </a:lnTo>
                  <a:lnTo>
                    <a:pt x="1687" y="986"/>
                  </a:lnTo>
                  <a:lnTo>
                    <a:pt x="1694" y="1007"/>
                  </a:lnTo>
                  <a:lnTo>
                    <a:pt x="1725" y="1011"/>
                  </a:lnTo>
                  <a:cubicBezTo>
                    <a:pt x="1727" y="1011"/>
                    <a:pt x="1729" y="1013"/>
                    <a:pt x="1729" y="1015"/>
                  </a:cubicBezTo>
                  <a:lnTo>
                    <a:pt x="1733" y="1044"/>
                  </a:lnTo>
                  <a:cubicBezTo>
                    <a:pt x="1734" y="1046"/>
                    <a:pt x="1733" y="1047"/>
                    <a:pt x="1732" y="1048"/>
                  </a:cubicBezTo>
                  <a:cubicBezTo>
                    <a:pt x="1731" y="1049"/>
                    <a:pt x="1730" y="1050"/>
                    <a:pt x="1729" y="1050"/>
                  </a:cubicBezTo>
                  <a:lnTo>
                    <a:pt x="1697" y="1050"/>
                  </a:lnTo>
                  <a:lnTo>
                    <a:pt x="1671" y="1087"/>
                  </a:lnTo>
                  <a:lnTo>
                    <a:pt x="1719" y="1126"/>
                  </a:lnTo>
                  <a:cubicBezTo>
                    <a:pt x="1720" y="1127"/>
                    <a:pt x="1721" y="1128"/>
                    <a:pt x="1721" y="1130"/>
                  </a:cubicBezTo>
                  <a:lnTo>
                    <a:pt x="1716" y="1189"/>
                  </a:lnTo>
                  <a:lnTo>
                    <a:pt x="1754" y="1370"/>
                  </a:lnTo>
                  <a:cubicBezTo>
                    <a:pt x="1755" y="1372"/>
                    <a:pt x="1754" y="1375"/>
                    <a:pt x="1751" y="1375"/>
                  </a:cubicBezTo>
                  <a:lnTo>
                    <a:pt x="1739" y="1379"/>
                  </a:lnTo>
                  <a:cubicBezTo>
                    <a:pt x="1738" y="1380"/>
                    <a:pt x="1738" y="1380"/>
                    <a:pt x="1737" y="1380"/>
                  </a:cubicBezTo>
                  <a:cubicBezTo>
                    <a:pt x="1735" y="1380"/>
                    <a:pt x="1734" y="1379"/>
                    <a:pt x="1733" y="1377"/>
                  </a:cubicBezTo>
                  <a:lnTo>
                    <a:pt x="1732" y="1374"/>
                  </a:lnTo>
                  <a:cubicBezTo>
                    <a:pt x="1731" y="1375"/>
                    <a:pt x="1731" y="1375"/>
                    <a:pt x="1730" y="1375"/>
                  </a:cubicBezTo>
                  <a:lnTo>
                    <a:pt x="1696" y="1388"/>
                  </a:lnTo>
                  <a:lnTo>
                    <a:pt x="1695" y="1388"/>
                  </a:lnTo>
                  <a:cubicBezTo>
                    <a:pt x="1694" y="1388"/>
                    <a:pt x="1693" y="1388"/>
                    <a:pt x="1692" y="1388"/>
                  </a:cubicBezTo>
                  <a:cubicBezTo>
                    <a:pt x="1691" y="1387"/>
                    <a:pt x="1690" y="1386"/>
                    <a:pt x="1690" y="1384"/>
                  </a:cubicBezTo>
                  <a:lnTo>
                    <a:pt x="1680" y="1338"/>
                  </a:lnTo>
                  <a:lnTo>
                    <a:pt x="1669" y="1360"/>
                  </a:lnTo>
                  <a:lnTo>
                    <a:pt x="1594" y="1395"/>
                  </a:lnTo>
                  <a:lnTo>
                    <a:pt x="1594" y="1455"/>
                  </a:lnTo>
                  <a:cubicBezTo>
                    <a:pt x="1594" y="1457"/>
                    <a:pt x="1593" y="1458"/>
                    <a:pt x="1592" y="1459"/>
                  </a:cubicBezTo>
                  <a:lnTo>
                    <a:pt x="1533" y="1522"/>
                  </a:lnTo>
                  <a:lnTo>
                    <a:pt x="1422" y="1582"/>
                  </a:lnTo>
                  <a:lnTo>
                    <a:pt x="1355" y="1666"/>
                  </a:lnTo>
                  <a:lnTo>
                    <a:pt x="1206" y="1781"/>
                  </a:lnTo>
                  <a:lnTo>
                    <a:pt x="1186" y="1821"/>
                  </a:lnTo>
                  <a:cubicBezTo>
                    <a:pt x="1186" y="1822"/>
                    <a:pt x="1185" y="1823"/>
                    <a:pt x="1184" y="1824"/>
                  </a:cubicBezTo>
                  <a:lnTo>
                    <a:pt x="1109" y="1844"/>
                  </a:lnTo>
                  <a:lnTo>
                    <a:pt x="1080" y="1893"/>
                  </a:lnTo>
                  <a:cubicBezTo>
                    <a:pt x="1080" y="1895"/>
                    <a:pt x="1078" y="1896"/>
                    <a:pt x="1076" y="1896"/>
                  </a:cubicBezTo>
                  <a:lnTo>
                    <a:pt x="1032" y="1896"/>
                  </a:lnTo>
                  <a:lnTo>
                    <a:pt x="1013" y="1927"/>
                  </a:lnTo>
                  <a:lnTo>
                    <a:pt x="1018" y="2069"/>
                  </a:lnTo>
                  <a:lnTo>
                    <a:pt x="1034" y="2105"/>
                  </a:lnTo>
                  <a:cubicBezTo>
                    <a:pt x="1034" y="2106"/>
                    <a:pt x="1035" y="2107"/>
                    <a:pt x="1034" y="2108"/>
                  </a:cubicBezTo>
                  <a:lnTo>
                    <a:pt x="992" y="2240"/>
                  </a:lnTo>
                  <a:lnTo>
                    <a:pt x="996" y="2348"/>
                  </a:lnTo>
                  <a:cubicBezTo>
                    <a:pt x="996" y="2349"/>
                    <a:pt x="996" y="2350"/>
                    <a:pt x="995" y="2351"/>
                  </a:cubicBezTo>
                  <a:cubicBezTo>
                    <a:pt x="994" y="2352"/>
                    <a:pt x="993" y="2353"/>
                    <a:pt x="992" y="2353"/>
                  </a:cubicBezTo>
                  <a:lnTo>
                    <a:pt x="952" y="2353"/>
                  </a:lnTo>
                  <a:lnTo>
                    <a:pt x="924" y="2409"/>
                  </a:lnTo>
                  <a:lnTo>
                    <a:pt x="924" y="2433"/>
                  </a:lnTo>
                  <a:cubicBezTo>
                    <a:pt x="924" y="2435"/>
                    <a:pt x="923" y="2437"/>
                    <a:pt x="921" y="2437"/>
                  </a:cubicBezTo>
                  <a:lnTo>
                    <a:pt x="856" y="2457"/>
                  </a:lnTo>
                  <a:lnTo>
                    <a:pt x="848" y="2505"/>
                  </a:lnTo>
                  <a:lnTo>
                    <a:pt x="813" y="2538"/>
                  </a:lnTo>
                  <a:cubicBezTo>
                    <a:pt x="812" y="2538"/>
                    <a:pt x="811" y="2539"/>
                    <a:pt x="809" y="2539"/>
                  </a:cubicBezTo>
                  <a:lnTo>
                    <a:pt x="784" y="2539"/>
                  </a:lnTo>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3" name="Freeform 708"/>
            <p:cNvSpPr>
              <a:spLocks noChangeArrowheads="1"/>
            </p:cNvSpPr>
            <p:nvPr/>
          </p:nvSpPr>
          <p:spPr bwMode="auto">
            <a:xfrm>
              <a:off x="6281738" y="2582863"/>
              <a:ext cx="887412" cy="914400"/>
            </a:xfrm>
            <a:custGeom>
              <a:avLst/>
              <a:gdLst/>
              <a:ahLst/>
              <a:cxnLst>
                <a:cxn ang="0">
                  <a:pos x="589" y="2182"/>
                </a:cxn>
                <a:cxn ang="0">
                  <a:pos x="483" y="1917"/>
                </a:cxn>
                <a:cxn ang="0">
                  <a:pos x="398" y="1656"/>
                </a:cxn>
                <a:cxn ang="0">
                  <a:pos x="394" y="1472"/>
                </a:cxn>
                <a:cxn ang="0">
                  <a:pos x="331" y="1414"/>
                </a:cxn>
                <a:cxn ang="0">
                  <a:pos x="82" y="1332"/>
                </a:cxn>
                <a:cxn ang="0">
                  <a:pos x="188" y="1270"/>
                </a:cxn>
                <a:cxn ang="0">
                  <a:pos x="1" y="1180"/>
                </a:cxn>
                <a:cxn ang="0">
                  <a:pos x="72" y="1121"/>
                </a:cxn>
                <a:cxn ang="0">
                  <a:pos x="209" y="1113"/>
                </a:cxn>
                <a:cxn ang="0">
                  <a:pos x="221" y="1011"/>
                </a:cxn>
                <a:cxn ang="0">
                  <a:pos x="127" y="917"/>
                </a:cxn>
                <a:cxn ang="0">
                  <a:pos x="215" y="780"/>
                </a:cxn>
                <a:cxn ang="0">
                  <a:pos x="454" y="607"/>
                </a:cxn>
                <a:cxn ang="0">
                  <a:pos x="549" y="487"/>
                </a:cxn>
                <a:cxn ang="0">
                  <a:pos x="547" y="438"/>
                </a:cxn>
                <a:cxn ang="0">
                  <a:pos x="563" y="356"/>
                </a:cxn>
                <a:cxn ang="0">
                  <a:pos x="519" y="254"/>
                </a:cxn>
                <a:cxn ang="0">
                  <a:pos x="491" y="188"/>
                </a:cxn>
                <a:cxn ang="0">
                  <a:pos x="499" y="123"/>
                </a:cxn>
                <a:cxn ang="0">
                  <a:pos x="754" y="95"/>
                </a:cxn>
                <a:cxn ang="0">
                  <a:pos x="1011" y="39"/>
                </a:cxn>
                <a:cxn ang="0">
                  <a:pos x="1041" y="52"/>
                </a:cxn>
                <a:cxn ang="0">
                  <a:pos x="971" y="204"/>
                </a:cxn>
                <a:cxn ang="0">
                  <a:pos x="979" y="333"/>
                </a:cxn>
                <a:cxn ang="0">
                  <a:pos x="920" y="375"/>
                </a:cxn>
                <a:cxn ang="0">
                  <a:pos x="926" y="499"/>
                </a:cxn>
                <a:cxn ang="0">
                  <a:pos x="1041" y="626"/>
                </a:cxn>
                <a:cxn ang="0">
                  <a:pos x="1423" y="898"/>
                </a:cxn>
                <a:cxn ang="0">
                  <a:pos x="1661" y="882"/>
                </a:cxn>
                <a:cxn ang="0">
                  <a:pos x="1737" y="778"/>
                </a:cxn>
                <a:cxn ang="0">
                  <a:pos x="1759" y="850"/>
                </a:cxn>
                <a:cxn ang="0">
                  <a:pos x="2005" y="884"/>
                </a:cxn>
                <a:cxn ang="0">
                  <a:pos x="1985" y="804"/>
                </a:cxn>
                <a:cxn ang="0">
                  <a:pos x="2345" y="643"/>
                </a:cxn>
                <a:cxn ang="0">
                  <a:pos x="2378" y="694"/>
                </a:cxn>
                <a:cxn ang="0">
                  <a:pos x="2462" y="774"/>
                </a:cxn>
                <a:cxn ang="0">
                  <a:pos x="2428" y="868"/>
                </a:cxn>
                <a:cxn ang="0">
                  <a:pos x="2199" y="1161"/>
                </a:cxn>
                <a:cxn ang="0">
                  <a:pos x="2101" y="1265"/>
                </a:cxn>
                <a:cxn ang="0">
                  <a:pos x="2063" y="1350"/>
                </a:cxn>
                <a:cxn ang="0">
                  <a:pos x="1979" y="1249"/>
                </a:cxn>
                <a:cxn ang="0">
                  <a:pos x="1924" y="1160"/>
                </a:cxn>
                <a:cxn ang="0">
                  <a:pos x="1797" y="975"/>
                </a:cxn>
                <a:cxn ang="0">
                  <a:pos x="1741" y="967"/>
                </a:cxn>
                <a:cxn ang="0">
                  <a:pos x="1687" y="986"/>
                </a:cxn>
                <a:cxn ang="0">
                  <a:pos x="1732" y="1048"/>
                </a:cxn>
                <a:cxn ang="0">
                  <a:pos x="1721" y="1130"/>
                </a:cxn>
                <a:cxn ang="0">
                  <a:pos x="1737" y="1380"/>
                </a:cxn>
                <a:cxn ang="0">
                  <a:pos x="1695" y="1388"/>
                </a:cxn>
                <a:cxn ang="0">
                  <a:pos x="1594" y="1395"/>
                </a:cxn>
                <a:cxn ang="0">
                  <a:pos x="1355" y="1666"/>
                </a:cxn>
                <a:cxn ang="0">
                  <a:pos x="1080" y="1893"/>
                </a:cxn>
                <a:cxn ang="0">
                  <a:pos x="1034" y="2105"/>
                </a:cxn>
                <a:cxn ang="0">
                  <a:pos x="992" y="2353"/>
                </a:cxn>
                <a:cxn ang="0">
                  <a:pos x="856" y="2457"/>
                </a:cxn>
              </a:cxnLst>
              <a:rect l="0" t="0" r="r" b="b"/>
              <a:pathLst>
                <a:path w="2463" h="2540">
                  <a:moveTo>
                    <a:pt x="784" y="2539"/>
                  </a:moveTo>
                  <a:cubicBezTo>
                    <a:pt x="782" y="2539"/>
                    <a:pt x="781" y="2539"/>
                    <a:pt x="780" y="2537"/>
                  </a:cubicBezTo>
                  <a:lnTo>
                    <a:pt x="721" y="2466"/>
                  </a:lnTo>
                  <a:lnTo>
                    <a:pt x="644" y="2252"/>
                  </a:lnTo>
                  <a:lnTo>
                    <a:pt x="589" y="2182"/>
                  </a:lnTo>
                  <a:lnTo>
                    <a:pt x="563" y="2070"/>
                  </a:lnTo>
                  <a:lnTo>
                    <a:pt x="500" y="1957"/>
                  </a:lnTo>
                  <a:lnTo>
                    <a:pt x="496" y="1911"/>
                  </a:lnTo>
                  <a:lnTo>
                    <a:pt x="485" y="1917"/>
                  </a:lnTo>
                  <a:cubicBezTo>
                    <a:pt x="484" y="1917"/>
                    <a:pt x="484" y="1917"/>
                    <a:pt x="483" y="1917"/>
                  </a:cubicBezTo>
                  <a:cubicBezTo>
                    <a:pt x="482" y="1917"/>
                    <a:pt x="482" y="1917"/>
                    <a:pt x="481" y="1917"/>
                  </a:cubicBezTo>
                  <a:cubicBezTo>
                    <a:pt x="480" y="1916"/>
                    <a:pt x="479" y="1916"/>
                    <a:pt x="479" y="1914"/>
                  </a:cubicBezTo>
                  <a:lnTo>
                    <a:pt x="466" y="1885"/>
                  </a:lnTo>
                  <a:lnTo>
                    <a:pt x="436" y="1821"/>
                  </a:lnTo>
                  <a:lnTo>
                    <a:pt x="398" y="1656"/>
                  </a:lnTo>
                  <a:lnTo>
                    <a:pt x="405" y="1604"/>
                  </a:lnTo>
                  <a:lnTo>
                    <a:pt x="398" y="1604"/>
                  </a:lnTo>
                  <a:cubicBezTo>
                    <a:pt x="396" y="1604"/>
                    <a:pt x="394" y="1603"/>
                    <a:pt x="394" y="1601"/>
                  </a:cubicBezTo>
                  <a:lnTo>
                    <a:pt x="381" y="1541"/>
                  </a:lnTo>
                  <a:lnTo>
                    <a:pt x="394" y="1472"/>
                  </a:lnTo>
                  <a:lnTo>
                    <a:pt x="368" y="1346"/>
                  </a:lnTo>
                  <a:cubicBezTo>
                    <a:pt x="368" y="1345"/>
                    <a:pt x="368" y="1344"/>
                    <a:pt x="369" y="1342"/>
                  </a:cubicBezTo>
                  <a:lnTo>
                    <a:pt x="393" y="1315"/>
                  </a:lnTo>
                  <a:lnTo>
                    <a:pt x="355" y="1309"/>
                  </a:lnTo>
                  <a:lnTo>
                    <a:pt x="331" y="1414"/>
                  </a:lnTo>
                  <a:cubicBezTo>
                    <a:pt x="331" y="1416"/>
                    <a:pt x="330" y="1417"/>
                    <a:pt x="328" y="1418"/>
                  </a:cubicBezTo>
                  <a:lnTo>
                    <a:pt x="269" y="1443"/>
                  </a:lnTo>
                  <a:lnTo>
                    <a:pt x="204" y="1443"/>
                  </a:lnTo>
                  <a:cubicBezTo>
                    <a:pt x="202" y="1443"/>
                    <a:pt x="201" y="1443"/>
                    <a:pt x="200" y="1442"/>
                  </a:cubicBezTo>
                  <a:lnTo>
                    <a:pt x="82" y="1332"/>
                  </a:lnTo>
                  <a:lnTo>
                    <a:pt x="76" y="1308"/>
                  </a:lnTo>
                  <a:cubicBezTo>
                    <a:pt x="76" y="1307"/>
                    <a:pt x="76" y="1306"/>
                    <a:pt x="77" y="1305"/>
                  </a:cubicBezTo>
                  <a:cubicBezTo>
                    <a:pt x="78" y="1304"/>
                    <a:pt x="79" y="1303"/>
                    <a:pt x="80" y="1303"/>
                  </a:cubicBezTo>
                  <a:lnTo>
                    <a:pt x="161" y="1294"/>
                  </a:lnTo>
                  <a:lnTo>
                    <a:pt x="188" y="1270"/>
                  </a:lnTo>
                  <a:lnTo>
                    <a:pt x="193" y="1240"/>
                  </a:lnTo>
                  <a:lnTo>
                    <a:pt x="146" y="1265"/>
                  </a:lnTo>
                  <a:lnTo>
                    <a:pt x="81" y="1266"/>
                  </a:lnTo>
                  <a:cubicBezTo>
                    <a:pt x="79" y="1266"/>
                    <a:pt x="78" y="1265"/>
                    <a:pt x="77" y="1264"/>
                  </a:cubicBezTo>
                  <a:lnTo>
                    <a:pt x="1" y="1180"/>
                  </a:lnTo>
                  <a:cubicBezTo>
                    <a:pt x="0" y="1179"/>
                    <a:pt x="0" y="1177"/>
                    <a:pt x="0" y="1176"/>
                  </a:cubicBezTo>
                  <a:cubicBezTo>
                    <a:pt x="0" y="1175"/>
                    <a:pt x="0" y="1173"/>
                    <a:pt x="2" y="1173"/>
                  </a:cubicBezTo>
                  <a:lnTo>
                    <a:pt x="27" y="1156"/>
                  </a:lnTo>
                  <a:lnTo>
                    <a:pt x="68" y="1155"/>
                  </a:lnTo>
                  <a:lnTo>
                    <a:pt x="72" y="1121"/>
                  </a:lnTo>
                  <a:cubicBezTo>
                    <a:pt x="72" y="1120"/>
                    <a:pt x="73" y="1118"/>
                    <a:pt x="74" y="1118"/>
                  </a:cubicBezTo>
                  <a:cubicBezTo>
                    <a:pt x="74" y="1117"/>
                    <a:pt x="75" y="1117"/>
                    <a:pt x="76" y="1117"/>
                  </a:cubicBezTo>
                  <a:lnTo>
                    <a:pt x="77" y="1117"/>
                  </a:lnTo>
                  <a:lnTo>
                    <a:pt x="173" y="1138"/>
                  </a:lnTo>
                  <a:lnTo>
                    <a:pt x="209" y="1113"/>
                  </a:lnTo>
                  <a:cubicBezTo>
                    <a:pt x="210" y="1113"/>
                    <a:pt x="211" y="1113"/>
                    <a:pt x="212" y="1113"/>
                  </a:cubicBezTo>
                  <a:cubicBezTo>
                    <a:pt x="213" y="1113"/>
                    <a:pt x="214" y="1113"/>
                    <a:pt x="215" y="1114"/>
                  </a:cubicBezTo>
                  <a:lnTo>
                    <a:pt x="234" y="1133"/>
                  </a:lnTo>
                  <a:lnTo>
                    <a:pt x="261" y="1119"/>
                  </a:lnTo>
                  <a:lnTo>
                    <a:pt x="221" y="1011"/>
                  </a:lnTo>
                  <a:lnTo>
                    <a:pt x="180" y="990"/>
                  </a:lnTo>
                  <a:cubicBezTo>
                    <a:pt x="178" y="989"/>
                    <a:pt x="177" y="988"/>
                    <a:pt x="178" y="985"/>
                  </a:cubicBezTo>
                  <a:lnTo>
                    <a:pt x="185" y="935"/>
                  </a:lnTo>
                  <a:lnTo>
                    <a:pt x="131" y="923"/>
                  </a:lnTo>
                  <a:cubicBezTo>
                    <a:pt x="128" y="922"/>
                    <a:pt x="126" y="920"/>
                    <a:pt x="127" y="917"/>
                  </a:cubicBezTo>
                  <a:lnTo>
                    <a:pt x="135" y="875"/>
                  </a:lnTo>
                  <a:lnTo>
                    <a:pt x="208" y="780"/>
                  </a:lnTo>
                  <a:cubicBezTo>
                    <a:pt x="209" y="779"/>
                    <a:pt x="210" y="778"/>
                    <a:pt x="212" y="778"/>
                  </a:cubicBezTo>
                  <a:lnTo>
                    <a:pt x="212" y="778"/>
                  </a:lnTo>
                  <a:cubicBezTo>
                    <a:pt x="213" y="778"/>
                    <a:pt x="214" y="779"/>
                    <a:pt x="215" y="780"/>
                  </a:cubicBezTo>
                  <a:lnTo>
                    <a:pt x="247" y="812"/>
                  </a:lnTo>
                  <a:lnTo>
                    <a:pt x="323" y="792"/>
                  </a:lnTo>
                  <a:lnTo>
                    <a:pt x="365" y="721"/>
                  </a:lnTo>
                  <a:lnTo>
                    <a:pt x="408" y="690"/>
                  </a:lnTo>
                  <a:lnTo>
                    <a:pt x="454" y="607"/>
                  </a:lnTo>
                  <a:lnTo>
                    <a:pt x="484" y="594"/>
                  </a:lnTo>
                  <a:lnTo>
                    <a:pt x="491" y="570"/>
                  </a:lnTo>
                  <a:lnTo>
                    <a:pt x="526" y="518"/>
                  </a:lnTo>
                  <a:lnTo>
                    <a:pt x="570" y="499"/>
                  </a:lnTo>
                  <a:lnTo>
                    <a:pt x="549" y="487"/>
                  </a:lnTo>
                  <a:cubicBezTo>
                    <a:pt x="547" y="486"/>
                    <a:pt x="546" y="485"/>
                    <a:pt x="546" y="483"/>
                  </a:cubicBezTo>
                  <a:cubicBezTo>
                    <a:pt x="546" y="482"/>
                    <a:pt x="546" y="481"/>
                    <a:pt x="547" y="480"/>
                  </a:cubicBezTo>
                  <a:lnTo>
                    <a:pt x="562" y="461"/>
                  </a:lnTo>
                  <a:lnTo>
                    <a:pt x="547" y="443"/>
                  </a:lnTo>
                  <a:cubicBezTo>
                    <a:pt x="546" y="442"/>
                    <a:pt x="546" y="440"/>
                    <a:pt x="547" y="438"/>
                  </a:cubicBezTo>
                  <a:lnTo>
                    <a:pt x="559" y="413"/>
                  </a:lnTo>
                  <a:lnTo>
                    <a:pt x="617" y="383"/>
                  </a:lnTo>
                  <a:lnTo>
                    <a:pt x="607" y="364"/>
                  </a:lnTo>
                  <a:lnTo>
                    <a:pt x="567" y="360"/>
                  </a:lnTo>
                  <a:cubicBezTo>
                    <a:pt x="565" y="360"/>
                    <a:pt x="563" y="358"/>
                    <a:pt x="563" y="356"/>
                  </a:cubicBezTo>
                  <a:lnTo>
                    <a:pt x="559" y="330"/>
                  </a:lnTo>
                  <a:lnTo>
                    <a:pt x="528" y="322"/>
                  </a:lnTo>
                  <a:lnTo>
                    <a:pt x="496" y="287"/>
                  </a:lnTo>
                  <a:cubicBezTo>
                    <a:pt x="495" y="285"/>
                    <a:pt x="495" y="282"/>
                    <a:pt x="496" y="281"/>
                  </a:cubicBezTo>
                  <a:lnTo>
                    <a:pt x="519" y="254"/>
                  </a:lnTo>
                  <a:lnTo>
                    <a:pt x="501" y="232"/>
                  </a:lnTo>
                  <a:cubicBezTo>
                    <a:pt x="499" y="230"/>
                    <a:pt x="499" y="227"/>
                    <a:pt x="501" y="225"/>
                  </a:cubicBezTo>
                  <a:lnTo>
                    <a:pt x="518" y="209"/>
                  </a:lnTo>
                  <a:lnTo>
                    <a:pt x="494" y="195"/>
                  </a:lnTo>
                  <a:cubicBezTo>
                    <a:pt x="491" y="193"/>
                    <a:pt x="490" y="191"/>
                    <a:pt x="491" y="188"/>
                  </a:cubicBezTo>
                  <a:lnTo>
                    <a:pt x="498" y="176"/>
                  </a:lnTo>
                  <a:lnTo>
                    <a:pt x="485" y="169"/>
                  </a:lnTo>
                  <a:cubicBezTo>
                    <a:pt x="483" y="168"/>
                    <a:pt x="482" y="166"/>
                    <a:pt x="483" y="164"/>
                  </a:cubicBezTo>
                  <a:lnTo>
                    <a:pt x="496" y="126"/>
                  </a:lnTo>
                  <a:cubicBezTo>
                    <a:pt x="496" y="124"/>
                    <a:pt x="497" y="123"/>
                    <a:pt x="499" y="123"/>
                  </a:cubicBezTo>
                  <a:lnTo>
                    <a:pt x="528" y="114"/>
                  </a:lnTo>
                  <a:lnTo>
                    <a:pt x="637" y="144"/>
                  </a:lnTo>
                  <a:lnTo>
                    <a:pt x="706" y="123"/>
                  </a:lnTo>
                  <a:lnTo>
                    <a:pt x="739" y="126"/>
                  </a:lnTo>
                  <a:lnTo>
                    <a:pt x="754" y="95"/>
                  </a:lnTo>
                  <a:lnTo>
                    <a:pt x="806" y="56"/>
                  </a:lnTo>
                  <a:lnTo>
                    <a:pt x="947" y="0"/>
                  </a:lnTo>
                  <a:cubicBezTo>
                    <a:pt x="948" y="0"/>
                    <a:pt x="949" y="0"/>
                    <a:pt x="949" y="0"/>
                  </a:cubicBezTo>
                  <a:cubicBezTo>
                    <a:pt x="950" y="0"/>
                    <a:pt x="951" y="0"/>
                    <a:pt x="952" y="0"/>
                  </a:cubicBezTo>
                  <a:lnTo>
                    <a:pt x="1011" y="39"/>
                  </a:lnTo>
                  <a:cubicBezTo>
                    <a:pt x="1012" y="39"/>
                    <a:pt x="1013" y="40"/>
                    <a:pt x="1013" y="42"/>
                  </a:cubicBezTo>
                  <a:lnTo>
                    <a:pt x="1016" y="57"/>
                  </a:lnTo>
                  <a:lnTo>
                    <a:pt x="1037" y="51"/>
                  </a:lnTo>
                  <a:lnTo>
                    <a:pt x="1038" y="51"/>
                  </a:lnTo>
                  <a:cubicBezTo>
                    <a:pt x="1039" y="51"/>
                    <a:pt x="1040" y="51"/>
                    <a:pt x="1041" y="52"/>
                  </a:cubicBezTo>
                  <a:cubicBezTo>
                    <a:pt x="1043" y="53"/>
                    <a:pt x="1043" y="55"/>
                    <a:pt x="1043" y="57"/>
                  </a:cubicBezTo>
                  <a:lnTo>
                    <a:pt x="1017" y="133"/>
                  </a:lnTo>
                  <a:lnTo>
                    <a:pt x="979" y="167"/>
                  </a:lnTo>
                  <a:lnTo>
                    <a:pt x="975" y="200"/>
                  </a:lnTo>
                  <a:cubicBezTo>
                    <a:pt x="975" y="202"/>
                    <a:pt x="973" y="203"/>
                    <a:pt x="971" y="204"/>
                  </a:cubicBezTo>
                  <a:lnTo>
                    <a:pt x="925" y="211"/>
                  </a:lnTo>
                  <a:lnTo>
                    <a:pt x="928" y="268"/>
                  </a:lnTo>
                  <a:lnTo>
                    <a:pt x="964" y="288"/>
                  </a:lnTo>
                  <a:cubicBezTo>
                    <a:pt x="965" y="289"/>
                    <a:pt x="966" y="290"/>
                    <a:pt x="966" y="291"/>
                  </a:cubicBezTo>
                  <a:lnTo>
                    <a:pt x="979" y="333"/>
                  </a:lnTo>
                  <a:cubicBezTo>
                    <a:pt x="980" y="335"/>
                    <a:pt x="979" y="337"/>
                    <a:pt x="977" y="338"/>
                  </a:cubicBezTo>
                  <a:lnTo>
                    <a:pt x="927" y="376"/>
                  </a:lnTo>
                  <a:cubicBezTo>
                    <a:pt x="926" y="377"/>
                    <a:pt x="925" y="377"/>
                    <a:pt x="924" y="377"/>
                  </a:cubicBezTo>
                  <a:lnTo>
                    <a:pt x="923" y="377"/>
                  </a:lnTo>
                  <a:cubicBezTo>
                    <a:pt x="922" y="377"/>
                    <a:pt x="920" y="376"/>
                    <a:pt x="920" y="375"/>
                  </a:cubicBezTo>
                  <a:lnTo>
                    <a:pt x="901" y="346"/>
                  </a:lnTo>
                  <a:lnTo>
                    <a:pt x="887" y="357"/>
                  </a:lnTo>
                  <a:lnTo>
                    <a:pt x="911" y="409"/>
                  </a:lnTo>
                  <a:lnTo>
                    <a:pt x="907" y="462"/>
                  </a:lnTo>
                  <a:lnTo>
                    <a:pt x="926" y="499"/>
                  </a:lnTo>
                  <a:lnTo>
                    <a:pt x="966" y="495"/>
                  </a:lnTo>
                  <a:lnTo>
                    <a:pt x="1100" y="576"/>
                  </a:lnTo>
                  <a:cubicBezTo>
                    <a:pt x="1101" y="577"/>
                    <a:pt x="1102" y="578"/>
                    <a:pt x="1102" y="580"/>
                  </a:cubicBezTo>
                  <a:cubicBezTo>
                    <a:pt x="1102" y="581"/>
                    <a:pt x="1102" y="583"/>
                    <a:pt x="1100" y="584"/>
                  </a:cubicBezTo>
                  <a:lnTo>
                    <a:pt x="1041" y="626"/>
                  </a:lnTo>
                  <a:lnTo>
                    <a:pt x="1018" y="713"/>
                  </a:lnTo>
                  <a:lnTo>
                    <a:pt x="1244" y="842"/>
                  </a:lnTo>
                  <a:lnTo>
                    <a:pt x="1369" y="846"/>
                  </a:lnTo>
                  <a:cubicBezTo>
                    <a:pt x="1370" y="846"/>
                    <a:pt x="1371" y="846"/>
                    <a:pt x="1372" y="847"/>
                  </a:cubicBezTo>
                  <a:lnTo>
                    <a:pt x="1423" y="898"/>
                  </a:lnTo>
                  <a:lnTo>
                    <a:pt x="1607" y="939"/>
                  </a:lnTo>
                  <a:lnTo>
                    <a:pt x="1670" y="931"/>
                  </a:lnTo>
                  <a:lnTo>
                    <a:pt x="1681" y="907"/>
                  </a:lnTo>
                  <a:lnTo>
                    <a:pt x="1662" y="888"/>
                  </a:lnTo>
                  <a:cubicBezTo>
                    <a:pt x="1660" y="886"/>
                    <a:pt x="1660" y="884"/>
                    <a:pt x="1661" y="882"/>
                  </a:cubicBezTo>
                  <a:lnTo>
                    <a:pt x="1669" y="865"/>
                  </a:lnTo>
                  <a:lnTo>
                    <a:pt x="1682" y="799"/>
                  </a:lnTo>
                  <a:cubicBezTo>
                    <a:pt x="1682" y="797"/>
                    <a:pt x="1683" y="796"/>
                    <a:pt x="1685" y="795"/>
                  </a:cubicBezTo>
                  <a:lnTo>
                    <a:pt x="1736" y="778"/>
                  </a:lnTo>
                  <a:lnTo>
                    <a:pt x="1737" y="778"/>
                  </a:lnTo>
                  <a:cubicBezTo>
                    <a:pt x="1738" y="778"/>
                    <a:pt x="1739" y="778"/>
                    <a:pt x="1740" y="779"/>
                  </a:cubicBezTo>
                  <a:cubicBezTo>
                    <a:pt x="1741" y="780"/>
                    <a:pt x="1742" y="781"/>
                    <a:pt x="1742" y="783"/>
                  </a:cubicBezTo>
                  <a:lnTo>
                    <a:pt x="1742" y="839"/>
                  </a:lnTo>
                  <a:lnTo>
                    <a:pt x="1756" y="846"/>
                  </a:lnTo>
                  <a:cubicBezTo>
                    <a:pt x="1758" y="847"/>
                    <a:pt x="1758" y="848"/>
                    <a:pt x="1759" y="850"/>
                  </a:cubicBezTo>
                  <a:cubicBezTo>
                    <a:pt x="1759" y="851"/>
                    <a:pt x="1758" y="853"/>
                    <a:pt x="1757" y="854"/>
                  </a:cubicBezTo>
                  <a:lnTo>
                    <a:pt x="1743" y="868"/>
                  </a:lnTo>
                  <a:lnTo>
                    <a:pt x="1753" y="889"/>
                  </a:lnTo>
                  <a:lnTo>
                    <a:pt x="1815" y="905"/>
                  </a:lnTo>
                  <a:lnTo>
                    <a:pt x="2005" y="884"/>
                  </a:lnTo>
                  <a:lnTo>
                    <a:pt x="2019" y="853"/>
                  </a:lnTo>
                  <a:lnTo>
                    <a:pt x="1985" y="838"/>
                  </a:lnTo>
                  <a:cubicBezTo>
                    <a:pt x="1983" y="837"/>
                    <a:pt x="1982" y="836"/>
                    <a:pt x="1982" y="834"/>
                  </a:cubicBezTo>
                  <a:lnTo>
                    <a:pt x="1982" y="808"/>
                  </a:lnTo>
                  <a:cubicBezTo>
                    <a:pt x="1982" y="806"/>
                    <a:pt x="1984" y="805"/>
                    <a:pt x="1985" y="804"/>
                  </a:cubicBezTo>
                  <a:lnTo>
                    <a:pt x="2095" y="761"/>
                  </a:lnTo>
                  <a:lnTo>
                    <a:pt x="2221" y="665"/>
                  </a:lnTo>
                  <a:cubicBezTo>
                    <a:pt x="2222" y="664"/>
                    <a:pt x="2223" y="664"/>
                    <a:pt x="2224" y="664"/>
                  </a:cubicBezTo>
                  <a:lnTo>
                    <a:pt x="2284" y="668"/>
                  </a:lnTo>
                  <a:lnTo>
                    <a:pt x="2345" y="643"/>
                  </a:lnTo>
                  <a:cubicBezTo>
                    <a:pt x="2346" y="643"/>
                    <a:pt x="2347" y="643"/>
                    <a:pt x="2347" y="643"/>
                  </a:cubicBezTo>
                  <a:cubicBezTo>
                    <a:pt x="2348" y="643"/>
                    <a:pt x="2348" y="643"/>
                    <a:pt x="2349" y="643"/>
                  </a:cubicBezTo>
                  <a:cubicBezTo>
                    <a:pt x="2350" y="644"/>
                    <a:pt x="2351" y="645"/>
                    <a:pt x="2352" y="646"/>
                  </a:cubicBezTo>
                  <a:lnTo>
                    <a:pt x="2368" y="690"/>
                  </a:lnTo>
                  <a:lnTo>
                    <a:pt x="2378" y="694"/>
                  </a:lnTo>
                  <a:cubicBezTo>
                    <a:pt x="2380" y="694"/>
                    <a:pt x="2382" y="696"/>
                    <a:pt x="2382" y="699"/>
                  </a:cubicBezTo>
                  <a:lnTo>
                    <a:pt x="2378" y="737"/>
                  </a:lnTo>
                  <a:lnTo>
                    <a:pt x="2437" y="749"/>
                  </a:lnTo>
                  <a:lnTo>
                    <a:pt x="2461" y="771"/>
                  </a:lnTo>
                  <a:cubicBezTo>
                    <a:pt x="2461" y="772"/>
                    <a:pt x="2462" y="773"/>
                    <a:pt x="2462" y="774"/>
                  </a:cubicBezTo>
                  <a:lnTo>
                    <a:pt x="2462" y="796"/>
                  </a:lnTo>
                  <a:cubicBezTo>
                    <a:pt x="2462" y="797"/>
                    <a:pt x="2461" y="799"/>
                    <a:pt x="2460" y="800"/>
                  </a:cubicBezTo>
                  <a:lnTo>
                    <a:pt x="2440" y="811"/>
                  </a:lnTo>
                  <a:lnTo>
                    <a:pt x="2432" y="864"/>
                  </a:lnTo>
                  <a:cubicBezTo>
                    <a:pt x="2432" y="866"/>
                    <a:pt x="2430" y="868"/>
                    <a:pt x="2428" y="868"/>
                  </a:cubicBezTo>
                  <a:lnTo>
                    <a:pt x="2360" y="872"/>
                  </a:lnTo>
                  <a:lnTo>
                    <a:pt x="2288" y="933"/>
                  </a:lnTo>
                  <a:lnTo>
                    <a:pt x="2284" y="995"/>
                  </a:lnTo>
                  <a:lnTo>
                    <a:pt x="2241" y="1052"/>
                  </a:lnTo>
                  <a:lnTo>
                    <a:pt x="2199" y="1161"/>
                  </a:lnTo>
                  <a:cubicBezTo>
                    <a:pt x="2198" y="1163"/>
                    <a:pt x="2197" y="1164"/>
                    <a:pt x="2196" y="1164"/>
                  </a:cubicBezTo>
                  <a:lnTo>
                    <a:pt x="2127" y="1184"/>
                  </a:lnTo>
                  <a:lnTo>
                    <a:pt x="2123" y="1257"/>
                  </a:lnTo>
                  <a:cubicBezTo>
                    <a:pt x="2123" y="1259"/>
                    <a:pt x="2122" y="1261"/>
                    <a:pt x="2119" y="1261"/>
                  </a:cubicBezTo>
                  <a:lnTo>
                    <a:pt x="2101" y="1265"/>
                  </a:lnTo>
                  <a:lnTo>
                    <a:pt x="2098" y="1275"/>
                  </a:lnTo>
                  <a:lnTo>
                    <a:pt x="2110" y="1323"/>
                  </a:lnTo>
                  <a:cubicBezTo>
                    <a:pt x="2111" y="1325"/>
                    <a:pt x="2110" y="1328"/>
                    <a:pt x="2108" y="1329"/>
                  </a:cubicBezTo>
                  <a:lnTo>
                    <a:pt x="2065" y="1350"/>
                  </a:lnTo>
                  <a:cubicBezTo>
                    <a:pt x="2065" y="1350"/>
                    <a:pt x="2064" y="1350"/>
                    <a:pt x="2063" y="1350"/>
                  </a:cubicBezTo>
                  <a:cubicBezTo>
                    <a:pt x="2063" y="1350"/>
                    <a:pt x="2062" y="1350"/>
                    <a:pt x="2061" y="1350"/>
                  </a:cubicBezTo>
                  <a:cubicBezTo>
                    <a:pt x="2060" y="1349"/>
                    <a:pt x="2059" y="1348"/>
                    <a:pt x="2059" y="1347"/>
                  </a:cubicBezTo>
                  <a:lnTo>
                    <a:pt x="2019" y="1192"/>
                  </a:lnTo>
                  <a:lnTo>
                    <a:pt x="1983" y="1247"/>
                  </a:lnTo>
                  <a:cubicBezTo>
                    <a:pt x="1982" y="1248"/>
                    <a:pt x="1981" y="1248"/>
                    <a:pt x="1979" y="1249"/>
                  </a:cubicBezTo>
                  <a:lnTo>
                    <a:pt x="1979" y="1249"/>
                  </a:lnTo>
                  <a:cubicBezTo>
                    <a:pt x="1978" y="1249"/>
                    <a:pt x="1977" y="1248"/>
                    <a:pt x="1976" y="1248"/>
                  </a:cubicBezTo>
                  <a:lnTo>
                    <a:pt x="1942" y="1222"/>
                  </a:lnTo>
                  <a:lnTo>
                    <a:pt x="1923" y="1165"/>
                  </a:lnTo>
                  <a:cubicBezTo>
                    <a:pt x="1923" y="1163"/>
                    <a:pt x="1923" y="1162"/>
                    <a:pt x="1924" y="1160"/>
                  </a:cubicBezTo>
                  <a:lnTo>
                    <a:pt x="2020" y="1061"/>
                  </a:lnTo>
                  <a:lnTo>
                    <a:pt x="1843" y="1041"/>
                  </a:lnTo>
                  <a:lnTo>
                    <a:pt x="1815" y="1019"/>
                  </a:lnTo>
                  <a:lnTo>
                    <a:pt x="1800" y="967"/>
                  </a:lnTo>
                  <a:lnTo>
                    <a:pt x="1797" y="975"/>
                  </a:lnTo>
                  <a:cubicBezTo>
                    <a:pt x="1796" y="977"/>
                    <a:pt x="1794" y="978"/>
                    <a:pt x="1792" y="978"/>
                  </a:cubicBezTo>
                  <a:lnTo>
                    <a:pt x="1771" y="978"/>
                  </a:lnTo>
                  <a:cubicBezTo>
                    <a:pt x="1769" y="978"/>
                    <a:pt x="1768" y="977"/>
                    <a:pt x="1767" y="975"/>
                  </a:cubicBezTo>
                  <a:lnTo>
                    <a:pt x="1754" y="946"/>
                  </a:lnTo>
                  <a:lnTo>
                    <a:pt x="1741" y="967"/>
                  </a:lnTo>
                  <a:cubicBezTo>
                    <a:pt x="1740" y="969"/>
                    <a:pt x="1739" y="969"/>
                    <a:pt x="1737" y="969"/>
                  </a:cubicBezTo>
                  <a:lnTo>
                    <a:pt x="1737" y="969"/>
                  </a:lnTo>
                  <a:cubicBezTo>
                    <a:pt x="1735" y="969"/>
                    <a:pt x="1734" y="969"/>
                    <a:pt x="1733" y="967"/>
                  </a:cubicBezTo>
                  <a:lnTo>
                    <a:pt x="1712" y="936"/>
                  </a:lnTo>
                  <a:lnTo>
                    <a:pt x="1687" y="986"/>
                  </a:lnTo>
                  <a:lnTo>
                    <a:pt x="1694" y="1007"/>
                  </a:lnTo>
                  <a:lnTo>
                    <a:pt x="1725" y="1011"/>
                  </a:lnTo>
                  <a:cubicBezTo>
                    <a:pt x="1727" y="1011"/>
                    <a:pt x="1729" y="1013"/>
                    <a:pt x="1729" y="1015"/>
                  </a:cubicBezTo>
                  <a:lnTo>
                    <a:pt x="1733" y="1044"/>
                  </a:lnTo>
                  <a:cubicBezTo>
                    <a:pt x="1734" y="1046"/>
                    <a:pt x="1733" y="1047"/>
                    <a:pt x="1732" y="1048"/>
                  </a:cubicBezTo>
                  <a:cubicBezTo>
                    <a:pt x="1731" y="1049"/>
                    <a:pt x="1730" y="1050"/>
                    <a:pt x="1729" y="1050"/>
                  </a:cubicBezTo>
                  <a:lnTo>
                    <a:pt x="1697" y="1050"/>
                  </a:lnTo>
                  <a:lnTo>
                    <a:pt x="1671" y="1087"/>
                  </a:lnTo>
                  <a:lnTo>
                    <a:pt x="1719" y="1126"/>
                  </a:lnTo>
                  <a:cubicBezTo>
                    <a:pt x="1720" y="1127"/>
                    <a:pt x="1721" y="1128"/>
                    <a:pt x="1721" y="1130"/>
                  </a:cubicBezTo>
                  <a:lnTo>
                    <a:pt x="1716" y="1189"/>
                  </a:lnTo>
                  <a:lnTo>
                    <a:pt x="1754" y="1370"/>
                  </a:lnTo>
                  <a:cubicBezTo>
                    <a:pt x="1755" y="1372"/>
                    <a:pt x="1754" y="1375"/>
                    <a:pt x="1751" y="1375"/>
                  </a:cubicBezTo>
                  <a:lnTo>
                    <a:pt x="1739" y="1379"/>
                  </a:lnTo>
                  <a:cubicBezTo>
                    <a:pt x="1738" y="1380"/>
                    <a:pt x="1738" y="1380"/>
                    <a:pt x="1737" y="1380"/>
                  </a:cubicBezTo>
                  <a:cubicBezTo>
                    <a:pt x="1735" y="1380"/>
                    <a:pt x="1734" y="1379"/>
                    <a:pt x="1733" y="1377"/>
                  </a:cubicBezTo>
                  <a:lnTo>
                    <a:pt x="1732" y="1374"/>
                  </a:lnTo>
                  <a:cubicBezTo>
                    <a:pt x="1731" y="1375"/>
                    <a:pt x="1731" y="1375"/>
                    <a:pt x="1730" y="1375"/>
                  </a:cubicBezTo>
                  <a:lnTo>
                    <a:pt x="1696" y="1388"/>
                  </a:lnTo>
                  <a:lnTo>
                    <a:pt x="1695" y="1388"/>
                  </a:lnTo>
                  <a:cubicBezTo>
                    <a:pt x="1694" y="1388"/>
                    <a:pt x="1693" y="1388"/>
                    <a:pt x="1692" y="1388"/>
                  </a:cubicBezTo>
                  <a:cubicBezTo>
                    <a:pt x="1691" y="1387"/>
                    <a:pt x="1690" y="1386"/>
                    <a:pt x="1690" y="1384"/>
                  </a:cubicBezTo>
                  <a:lnTo>
                    <a:pt x="1680" y="1338"/>
                  </a:lnTo>
                  <a:lnTo>
                    <a:pt x="1669" y="1360"/>
                  </a:lnTo>
                  <a:lnTo>
                    <a:pt x="1594" y="1395"/>
                  </a:lnTo>
                  <a:lnTo>
                    <a:pt x="1594" y="1455"/>
                  </a:lnTo>
                  <a:cubicBezTo>
                    <a:pt x="1594" y="1457"/>
                    <a:pt x="1593" y="1458"/>
                    <a:pt x="1592" y="1459"/>
                  </a:cubicBezTo>
                  <a:lnTo>
                    <a:pt x="1533" y="1522"/>
                  </a:lnTo>
                  <a:lnTo>
                    <a:pt x="1422" y="1582"/>
                  </a:lnTo>
                  <a:lnTo>
                    <a:pt x="1355" y="1666"/>
                  </a:lnTo>
                  <a:lnTo>
                    <a:pt x="1206" y="1781"/>
                  </a:lnTo>
                  <a:lnTo>
                    <a:pt x="1186" y="1821"/>
                  </a:lnTo>
                  <a:cubicBezTo>
                    <a:pt x="1186" y="1822"/>
                    <a:pt x="1185" y="1823"/>
                    <a:pt x="1184" y="1824"/>
                  </a:cubicBezTo>
                  <a:lnTo>
                    <a:pt x="1109" y="1844"/>
                  </a:lnTo>
                  <a:lnTo>
                    <a:pt x="1080" y="1893"/>
                  </a:lnTo>
                  <a:cubicBezTo>
                    <a:pt x="1080" y="1895"/>
                    <a:pt x="1078" y="1896"/>
                    <a:pt x="1076" y="1896"/>
                  </a:cubicBezTo>
                  <a:lnTo>
                    <a:pt x="1032" y="1896"/>
                  </a:lnTo>
                  <a:lnTo>
                    <a:pt x="1013" y="1927"/>
                  </a:lnTo>
                  <a:lnTo>
                    <a:pt x="1018" y="2069"/>
                  </a:lnTo>
                  <a:lnTo>
                    <a:pt x="1034" y="2105"/>
                  </a:lnTo>
                  <a:cubicBezTo>
                    <a:pt x="1034" y="2106"/>
                    <a:pt x="1035" y="2107"/>
                    <a:pt x="1034" y="2108"/>
                  </a:cubicBezTo>
                  <a:lnTo>
                    <a:pt x="992" y="2240"/>
                  </a:lnTo>
                  <a:lnTo>
                    <a:pt x="996" y="2348"/>
                  </a:lnTo>
                  <a:cubicBezTo>
                    <a:pt x="996" y="2349"/>
                    <a:pt x="996" y="2350"/>
                    <a:pt x="995" y="2351"/>
                  </a:cubicBezTo>
                  <a:cubicBezTo>
                    <a:pt x="994" y="2352"/>
                    <a:pt x="993" y="2353"/>
                    <a:pt x="992" y="2353"/>
                  </a:cubicBezTo>
                  <a:lnTo>
                    <a:pt x="952" y="2353"/>
                  </a:lnTo>
                  <a:lnTo>
                    <a:pt x="924" y="2409"/>
                  </a:lnTo>
                  <a:lnTo>
                    <a:pt x="924" y="2433"/>
                  </a:lnTo>
                  <a:cubicBezTo>
                    <a:pt x="924" y="2435"/>
                    <a:pt x="923" y="2437"/>
                    <a:pt x="921" y="2437"/>
                  </a:cubicBezTo>
                  <a:lnTo>
                    <a:pt x="856" y="2457"/>
                  </a:lnTo>
                  <a:lnTo>
                    <a:pt x="848" y="2505"/>
                  </a:lnTo>
                  <a:lnTo>
                    <a:pt x="813" y="2538"/>
                  </a:lnTo>
                  <a:cubicBezTo>
                    <a:pt x="812" y="2538"/>
                    <a:pt x="811" y="2539"/>
                    <a:pt x="809" y="2539"/>
                  </a:cubicBezTo>
                  <a:lnTo>
                    <a:pt x="784" y="253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4" name="Freeform 709"/>
            <p:cNvSpPr>
              <a:spLocks noChangeArrowheads="1"/>
            </p:cNvSpPr>
            <p:nvPr/>
          </p:nvSpPr>
          <p:spPr bwMode="auto">
            <a:xfrm>
              <a:off x="6877050" y="1901825"/>
              <a:ext cx="957263" cy="468313"/>
            </a:xfrm>
            <a:custGeom>
              <a:avLst/>
              <a:gdLst/>
              <a:ahLst/>
              <a:cxnLst>
                <a:cxn ang="0">
                  <a:pos x="1091" y="1164"/>
                </a:cxn>
                <a:cxn ang="0">
                  <a:pos x="777" y="1175"/>
                </a:cxn>
                <a:cxn ang="0">
                  <a:pos x="628" y="993"/>
                </a:cxn>
                <a:cxn ang="0">
                  <a:pos x="382" y="914"/>
                </a:cxn>
                <a:cxn ang="0">
                  <a:pos x="241" y="866"/>
                </a:cxn>
                <a:cxn ang="0">
                  <a:pos x="250" y="720"/>
                </a:cxn>
                <a:cxn ang="0">
                  <a:pos x="196" y="575"/>
                </a:cxn>
                <a:cxn ang="0">
                  <a:pos x="26" y="486"/>
                </a:cxn>
                <a:cxn ang="0">
                  <a:pos x="1" y="420"/>
                </a:cxn>
                <a:cxn ang="0">
                  <a:pos x="244" y="241"/>
                </a:cxn>
                <a:cxn ang="0">
                  <a:pos x="547" y="228"/>
                </a:cxn>
                <a:cxn ang="0">
                  <a:pos x="600" y="283"/>
                </a:cxn>
                <a:cxn ang="0">
                  <a:pos x="855" y="277"/>
                </a:cxn>
                <a:cxn ang="0">
                  <a:pos x="864" y="198"/>
                </a:cxn>
                <a:cxn ang="0">
                  <a:pos x="844" y="98"/>
                </a:cxn>
                <a:cxn ang="0">
                  <a:pos x="962" y="0"/>
                </a:cxn>
                <a:cxn ang="0">
                  <a:pos x="1188" y="89"/>
                </a:cxn>
                <a:cxn ang="0">
                  <a:pos x="1212" y="192"/>
                </a:cxn>
                <a:cxn ang="0">
                  <a:pos x="1326" y="253"/>
                </a:cxn>
                <a:cxn ang="0">
                  <a:pos x="1497" y="211"/>
                </a:cxn>
                <a:cxn ang="0">
                  <a:pos x="1757" y="360"/>
                </a:cxn>
                <a:cxn ang="0">
                  <a:pos x="1937" y="393"/>
                </a:cxn>
                <a:cxn ang="0">
                  <a:pos x="2239" y="258"/>
                </a:cxn>
                <a:cxn ang="0">
                  <a:pos x="2243" y="258"/>
                </a:cxn>
                <a:cxn ang="0">
                  <a:pos x="2394" y="292"/>
                </a:cxn>
                <a:cxn ang="0">
                  <a:pos x="2398" y="299"/>
                </a:cxn>
                <a:cxn ang="0">
                  <a:pos x="2326" y="533"/>
                </a:cxn>
                <a:cxn ang="0">
                  <a:pos x="2445" y="592"/>
                </a:cxn>
                <a:cxn ang="0">
                  <a:pos x="2546" y="533"/>
                </a:cxn>
                <a:cxn ang="0">
                  <a:pos x="2626" y="615"/>
                </a:cxn>
                <a:cxn ang="0">
                  <a:pos x="2656" y="700"/>
                </a:cxn>
                <a:cxn ang="0">
                  <a:pos x="2653" y="707"/>
                </a:cxn>
                <a:cxn ang="0">
                  <a:pos x="2334" y="828"/>
                </a:cxn>
                <a:cxn ang="0">
                  <a:pos x="2160" y="939"/>
                </a:cxn>
                <a:cxn ang="0">
                  <a:pos x="2155" y="939"/>
                </a:cxn>
                <a:cxn ang="0">
                  <a:pos x="2029" y="913"/>
                </a:cxn>
                <a:cxn ang="0">
                  <a:pos x="2029" y="1047"/>
                </a:cxn>
                <a:cxn ang="0">
                  <a:pos x="1872" y="1188"/>
                </a:cxn>
                <a:cxn ang="0">
                  <a:pos x="1665" y="1211"/>
                </a:cxn>
                <a:cxn ang="0">
                  <a:pos x="1432" y="1299"/>
                </a:cxn>
                <a:cxn ang="0">
                  <a:pos x="1227" y="1236"/>
                </a:cxn>
              </a:cxnLst>
              <a:rect l="0" t="0" r="r" b="b"/>
              <a:pathLst>
                <a:path w="2658" h="1300">
                  <a:moveTo>
                    <a:pt x="1227" y="1236"/>
                  </a:moveTo>
                  <a:lnTo>
                    <a:pt x="1091" y="1164"/>
                  </a:lnTo>
                  <a:lnTo>
                    <a:pt x="780" y="1177"/>
                  </a:lnTo>
                  <a:cubicBezTo>
                    <a:pt x="779" y="1177"/>
                    <a:pt x="778" y="1176"/>
                    <a:pt x="777" y="1175"/>
                  </a:cubicBezTo>
                  <a:lnTo>
                    <a:pt x="692" y="1095"/>
                  </a:lnTo>
                  <a:lnTo>
                    <a:pt x="628" y="993"/>
                  </a:lnTo>
                  <a:lnTo>
                    <a:pt x="435" y="910"/>
                  </a:lnTo>
                  <a:lnTo>
                    <a:pt x="382" y="914"/>
                  </a:lnTo>
                  <a:lnTo>
                    <a:pt x="245" y="872"/>
                  </a:lnTo>
                  <a:cubicBezTo>
                    <a:pt x="242" y="871"/>
                    <a:pt x="241" y="869"/>
                    <a:pt x="241" y="866"/>
                  </a:cubicBezTo>
                  <a:lnTo>
                    <a:pt x="254" y="820"/>
                  </a:lnTo>
                  <a:lnTo>
                    <a:pt x="250" y="720"/>
                  </a:lnTo>
                  <a:lnTo>
                    <a:pt x="208" y="598"/>
                  </a:lnTo>
                  <a:lnTo>
                    <a:pt x="196" y="575"/>
                  </a:lnTo>
                  <a:lnTo>
                    <a:pt x="88" y="555"/>
                  </a:lnTo>
                  <a:lnTo>
                    <a:pt x="26" y="486"/>
                  </a:lnTo>
                  <a:lnTo>
                    <a:pt x="0" y="425"/>
                  </a:lnTo>
                  <a:cubicBezTo>
                    <a:pt x="0" y="424"/>
                    <a:pt x="0" y="422"/>
                    <a:pt x="1" y="420"/>
                  </a:cubicBezTo>
                  <a:lnTo>
                    <a:pt x="43" y="361"/>
                  </a:lnTo>
                  <a:lnTo>
                    <a:pt x="244" y="241"/>
                  </a:lnTo>
                  <a:lnTo>
                    <a:pt x="342" y="207"/>
                  </a:lnTo>
                  <a:lnTo>
                    <a:pt x="547" y="228"/>
                  </a:lnTo>
                  <a:cubicBezTo>
                    <a:pt x="548" y="228"/>
                    <a:pt x="549" y="229"/>
                    <a:pt x="550" y="230"/>
                  </a:cubicBezTo>
                  <a:lnTo>
                    <a:pt x="600" y="283"/>
                  </a:lnTo>
                  <a:lnTo>
                    <a:pt x="843" y="283"/>
                  </a:lnTo>
                  <a:lnTo>
                    <a:pt x="855" y="277"/>
                  </a:lnTo>
                  <a:lnTo>
                    <a:pt x="847" y="229"/>
                  </a:lnTo>
                  <a:lnTo>
                    <a:pt x="864" y="198"/>
                  </a:lnTo>
                  <a:lnTo>
                    <a:pt x="843" y="103"/>
                  </a:lnTo>
                  <a:cubicBezTo>
                    <a:pt x="843" y="101"/>
                    <a:pt x="843" y="99"/>
                    <a:pt x="844" y="98"/>
                  </a:cubicBezTo>
                  <a:lnTo>
                    <a:pt x="959" y="1"/>
                  </a:lnTo>
                  <a:cubicBezTo>
                    <a:pt x="960" y="0"/>
                    <a:pt x="961" y="0"/>
                    <a:pt x="962" y="0"/>
                  </a:cubicBezTo>
                  <a:cubicBezTo>
                    <a:pt x="962" y="0"/>
                    <a:pt x="963" y="0"/>
                    <a:pt x="964" y="0"/>
                  </a:cubicBezTo>
                  <a:lnTo>
                    <a:pt x="1188" y="89"/>
                  </a:lnTo>
                  <a:cubicBezTo>
                    <a:pt x="1190" y="89"/>
                    <a:pt x="1191" y="91"/>
                    <a:pt x="1191" y="92"/>
                  </a:cubicBezTo>
                  <a:lnTo>
                    <a:pt x="1212" y="192"/>
                  </a:lnTo>
                  <a:lnTo>
                    <a:pt x="1274" y="237"/>
                  </a:lnTo>
                  <a:lnTo>
                    <a:pt x="1326" y="253"/>
                  </a:lnTo>
                  <a:lnTo>
                    <a:pt x="1443" y="199"/>
                  </a:lnTo>
                  <a:lnTo>
                    <a:pt x="1497" y="211"/>
                  </a:lnTo>
                  <a:lnTo>
                    <a:pt x="1693" y="309"/>
                  </a:lnTo>
                  <a:lnTo>
                    <a:pt x="1757" y="360"/>
                  </a:lnTo>
                  <a:lnTo>
                    <a:pt x="1865" y="381"/>
                  </a:lnTo>
                  <a:lnTo>
                    <a:pt x="1937" y="393"/>
                  </a:lnTo>
                  <a:lnTo>
                    <a:pt x="2109" y="342"/>
                  </a:lnTo>
                  <a:lnTo>
                    <a:pt x="2239" y="258"/>
                  </a:lnTo>
                  <a:cubicBezTo>
                    <a:pt x="2240" y="258"/>
                    <a:pt x="2240" y="258"/>
                    <a:pt x="2241" y="258"/>
                  </a:cubicBezTo>
                  <a:cubicBezTo>
                    <a:pt x="2242" y="258"/>
                    <a:pt x="2243" y="258"/>
                    <a:pt x="2243" y="258"/>
                  </a:cubicBezTo>
                  <a:lnTo>
                    <a:pt x="2336" y="300"/>
                  </a:lnTo>
                  <a:lnTo>
                    <a:pt x="2394" y="292"/>
                  </a:lnTo>
                  <a:cubicBezTo>
                    <a:pt x="2395" y="292"/>
                    <a:pt x="2397" y="292"/>
                    <a:pt x="2398" y="294"/>
                  </a:cubicBezTo>
                  <a:cubicBezTo>
                    <a:pt x="2399" y="295"/>
                    <a:pt x="2399" y="297"/>
                    <a:pt x="2398" y="299"/>
                  </a:cubicBezTo>
                  <a:lnTo>
                    <a:pt x="2334" y="400"/>
                  </a:lnTo>
                  <a:lnTo>
                    <a:pt x="2326" y="533"/>
                  </a:lnTo>
                  <a:lnTo>
                    <a:pt x="2338" y="580"/>
                  </a:lnTo>
                  <a:lnTo>
                    <a:pt x="2445" y="592"/>
                  </a:lnTo>
                  <a:lnTo>
                    <a:pt x="2544" y="533"/>
                  </a:lnTo>
                  <a:cubicBezTo>
                    <a:pt x="2545" y="533"/>
                    <a:pt x="2545" y="533"/>
                    <a:pt x="2546" y="533"/>
                  </a:cubicBezTo>
                  <a:cubicBezTo>
                    <a:pt x="2548" y="533"/>
                    <a:pt x="2549" y="533"/>
                    <a:pt x="2550" y="534"/>
                  </a:cubicBezTo>
                  <a:lnTo>
                    <a:pt x="2626" y="615"/>
                  </a:lnTo>
                  <a:lnTo>
                    <a:pt x="2631" y="668"/>
                  </a:lnTo>
                  <a:lnTo>
                    <a:pt x="2656" y="700"/>
                  </a:lnTo>
                  <a:cubicBezTo>
                    <a:pt x="2657" y="701"/>
                    <a:pt x="2657" y="703"/>
                    <a:pt x="2657" y="704"/>
                  </a:cubicBezTo>
                  <a:cubicBezTo>
                    <a:pt x="2656" y="706"/>
                    <a:pt x="2654" y="707"/>
                    <a:pt x="2653" y="707"/>
                  </a:cubicBezTo>
                  <a:lnTo>
                    <a:pt x="2434" y="724"/>
                  </a:lnTo>
                  <a:lnTo>
                    <a:pt x="2334" y="828"/>
                  </a:lnTo>
                  <a:lnTo>
                    <a:pt x="2264" y="851"/>
                  </a:lnTo>
                  <a:lnTo>
                    <a:pt x="2160" y="939"/>
                  </a:lnTo>
                  <a:cubicBezTo>
                    <a:pt x="2159" y="939"/>
                    <a:pt x="2158" y="940"/>
                    <a:pt x="2157" y="940"/>
                  </a:cubicBezTo>
                  <a:cubicBezTo>
                    <a:pt x="2156" y="940"/>
                    <a:pt x="2155" y="940"/>
                    <a:pt x="2155" y="939"/>
                  </a:cubicBezTo>
                  <a:lnTo>
                    <a:pt x="2055" y="902"/>
                  </a:lnTo>
                  <a:lnTo>
                    <a:pt x="2029" y="913"/>
                  </a:lnTo>
                  <a:lnTo>
                    <a:pt x="1993" y="990"/>
                  </a:lnTo>
                  <a:lnTo>
                    <a:pt x="2029" y="1047"/>
                  </a:lnTo>
                  <a:cubicBezTo>
                    <a:pt x="2031" y="1049"/>
                    <a:pt x="2030" y="1051"/>
                    <a:pt x="2028" y="1053"/>
                  </a:cubicBezTo>
                  <a:lnTo>
                    <a:pt x="1872" y="1188"/>
                  </a:lnTo>
                  <a:lnTo>
                    <a:pt x="1777" y="1215"/>
                  </a:lnTo>
                  <a:lnTo>
                    <a:pt x="1665" y="1211"/>
                  </a:lnTo>
                  <a:lnTo>
                    <a:pt x="1434" y="1299"/>
                  </a:lnTo>
                  <a:cubicBezTo>
                    <a:pt x="1433" y="1299"/>
                    <a:pt x="1433" y="1299"/>
                    <a:pt x="1432" y="1299"/>
                  </a:cubicBezTo>
                  <a:lnTo>
                    <a:pt x="1431" y="1299"/>
                  </a:lnTo>
                  <a:lnTo>
                    <a:pt x="1227" y="1236"/>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5" name="Freeform 710"/>
            <p:cNvSpPr>
              <a:spLocks noChangeArrowheads="1"/>
            </p:cNvSpPr>
            <p:nvPr/>
          </p:nvSpPr>
          <p:spPr bwMode="auto">
            <a:xfrm>
              <a:off x="6877050" y="1901825"/>
              <a:ext cx="957263" cy="468313"/>
            </a:xfrm>
            <a:custGeom>
              <a:avLst/>
              <a:gdLst/>
              <a:ahLst/>
              <a:cxnLst>
                <a:cxn ang="0">
                  <a:pos x="1227" y="1236"/>
                </a:cxn>
                <a:cxn ang="0">
                  <a:pos x="780" y="1177"/>
                </a:cxn>
                <a:cxn ang="0">
                  <a:pos x="692" y="1095"/>
                </a:cxn>
                <a:cxn ang="0">
                  <a:pos x="435" y="910"/>
                </a:cxn>
                <a:cxn ang="0">
                  <a:pos x="245" y="872"/>
                </a:cxn>
                <a:cxn ang="0">
                  <a:pos x="254" y="820"/>
                </a:cxn>
                <a:cxn ang="0">
                  <a:pos x="208" y="598"/>
                </a:cxn>
                <a:cxn ang="0">
                  <a:pos x="88" y="555"/>
                </a:cxn>
                <a:cxn ang="0">
                  <a:pos x="0" y="425"/>
                </a:cxn>
                <a:cxn ang="0">
                  <a:pos x="43" y="361"/>
                </a:cxn>
                <a:cxn ang="0">
                  <a:pos x="342" y="207"/>
                </a:cxn>
                <a:cxn ang="0">
                  <a:pos x="550" y="230"/>
                </a:cxn>
                <a:cxn ang="0">
                  <a:pos x="843" y="283"/>
                </a:cxn>
                <a:cxn ang="0">
                  <a:pos x="847" y="229"/>
                </a:cxn>
                <a:cxn ang="0">
                  <a:pos x="843" y="103"/>
                </a:cxn>
                <a:cxn ang="0">
                  <a:pos x="959" y="1"/>
                </a:cxn>
                <a:cxn ang="0">
                  <a:pos x="964" y="0"/>
                </a:cxn>
                <a:cxn ang="0">
                  <a:pos x="1191" y="92"/>
                </a:cxn>
                <a:cxn ang="0">
                  <a:pos x="1274" y="237"/>
                </a:cxn>
                <a:cxn ang="0">
                  <a:pos x="1443" y="199"/>
                </a:cxn>
                <a:cxn ang="0">
                  <a:pos x="1693" y="309"/>
                </a:cxn>
                <a:cxn ang="0">
                  <a:pos x="1865" y="381"/>
                </a:cxn>
                <a:cxn ang="0">
                  <a:pos x="2109" y="342"/>
                </a:cxn>
                <a:cxn ang="0">
                  <a:pos x="2241" y="258"/>
                </a:cxn>
                <a:cxn ang="0">
                  <a:pos x="2336" y="300"/>
                </a:cxn>
                <a:cxn ang="0">
                  <a:pos x="2398" y="294"/>
                </a:cxn>
                <a:cxn ang="0">
                  <a:pos x="2334" y="400"/>
                </a:cxn>
                <a:cxn ang="0">
                  <a:pos x="2338" y="580"/>
                </a:cxn>
                <a:cxn ang="0">
                  <a:pos x="2544" y="533"/>
                </a:cxn>
                <a:cxn ang="0">
                  <a:pos x="2550" y="534"/>
                </a:cxn>
                <a:cxn ang="0">
                  <a:pos x="2631" y="668"/>
                </a:cxn>
                <a:cxn ang="0">
                  <a:pos x="2657" y="704"/>
                </a:cxn>
                <a:cxn ang="0">
                  <a:pos x="2434" y="724"/>
                </a:cxn>
                <a:cxn ang="0">
                  <a:pos x="2264" y="851"/>
                </a:cxn>
                <a:cxn ang="0">
                  <a:pos x="2157" y="940"/>
                </a:cxn>
                <a:cxn ang="0">
                  <a:pos x="2055" y="902"/>
                </a:cxn>
                <a:cxn ang="0">
                  <a:pos x="1993" y="990"/>
                </a:cxn>
                <a:cxn ang="0">
                  <a:pos x="2028" y="1053"/>
                </a:cxn>
                <a:cxn ang="0">
                  <a:pos x="1777" y="1215"/>
                </a:cxn>
                <a:cxn ang="0">
                  <a:pos x="1434" y="1299"/>
                </a:cxn>
                <a:cxn ang="0">
                  <a:pos x="1431" y="1299"/>
                </a:cxn>
              </a:cxnLst>
              <a:rect l="0" t="0" r="r" b="b"/>
              <a:pathLst>
                <a:path w="2658" h="1300">
                  <a:moveTo>
                    <a:pt x="1431" y="1299"/>
                  </a:moveTo>
                  <a:lnTo>
                    <a:pt x="1227" y="1236"/>
                  </a:lnTo>
                  <a:lnTo>
                    <a:pt x="1091" y="1164"/>
                  </a:lnTo>
                  <a:lnTo>
                    <a:pt x="780" y="1177"/>
                  </a:lnTo>
                  <a:cubicBezTo>
                    <a:pt x="779" y="1177"/>
                    <a:pt x="778" y="1176"/>
                    <a:pt x="777" y="1175"/>
                  </a:cubicBezTo>
                  <a:lnTo>
                    <a:pt x="692" y="1095"/>
                  </a:lnTo>
                  <a:lnTo>
                    <a:pt x="628" y="993"/>
                  </a:lnTo>
                  <a:lnTo>
                    <a:pt x="435" y="910"/>
                  </a:lnTo>
                  <a:lnTo>
                    <a:pt x="382" y="914"/>
                  </a:lnTo>
                  <a:lnTo>
                    <a:pt x="245" y="872"/>
                  </a:lnTo>
                  <a:cubicBezTo>
                    <a:pt x="242" y="871"/>
                    <a:pt x="241" y="869"/>
                    <a:pt x="241" y="866"/>
                  </a:cubicBezTo>
                  <a:lnTo>
                    <a:pt x="254" y="820"/>
                  </a:lnTo>
                  <a:lnTo>
                    <a:pt x="250" y="720"/>
                  </a:lnTo>
                  <a:lnTo>
                    <a:pt x="208" y="598"/>
                  </a:lnTo>
                  <a:lnTo>
                    <a:pt x="196" y="575"/>
                  </a:lnTo>
                  <a:lnTo>
                    <a:pt x="88" y="555"/>
                  </a:lnTo>
                  <a:lnTo>
                    <a:pt x="26" y="486"/>
                  </a:lnTo>
                  <a:lnTo>
                    <a:pt x="0" y="425"/>
                  </a:lnTo>
                  <a:cubicBezTo>
                    <a:pt x="0" y="424"/>
                    <a:pt x="0" y="422"/>
                    <a:pt x="1" y="420"/>
                  </a:cubicBezTo>
                  <a:lnTo>
                    <a:pt x="43" y="361"/>
                  </a:lnTo>
                  <a:lnTo>
                    <a:pt x="244" y="241"/>
                  </a:lnTo>
                  <a:lnTo>
                    <a:pt x="342" y="207"/>
                  </a:lnTo>
                  <a:lnTo>
                    <a:pt x="547" y="228"/>
                  </a:lnTo>
                  <a:cubicBezTo>
                    <a:pt x="548" y="228"/>
                    <a:pt x="549" y="229"/>
                    <a:pt x="550" y="230"/>
                  </a:cubicBezTo>
                  <a:lnTo>
                    <a:pt x="600" y="283"/>
                  </a:lnTo>
                  <a:lnTo>
                    <a:pt x="843" y="283"/>
                  </a:lnTo>
                  <a:lnTo>
                    <a:pt x="855" y="277"/>
                  </a:lnTo>
                  <a:lnTo>
                    <a:pt x="847" y="229"/>
                  </a:lnTo>
                  <a:lnTo>
                    <a:pt x="864" y="198"/>
                  </a:lnTo>
                  <a:lnTo>
                    <a:pt x="843" y="103"/>
                  </a:lnTo>
                  <a:cubicBezTo>
                    <a:pt x="843" y="101"/>
                    <a:pt x="843" y="99"/>
                    <a:pt x="844" y="98"/>
                  </a:cubicBezTo>
                  <a:lnTo>
                    <a:pt x="959" y="1"/>
                  </a:lnTo>
                  <a:cubicBezTo>
                    <a:pt x="960" y="0"/>
                    <a:pt x="961" y="0"/>
                    <a:pt x="962" y="0"/>
                  </a:cubicBezTo>
                  <a:cubicBezTo>
                    <a:pt x="962" y="0"/>
                    <a:pt x="963" y="0"/>
                    <a:pt x="964" y="0"/>
                  </a:cubicBezTo>
                  <a:lnTo>
                    <a:pt x="1188" y="89"/>
                  </a:lnTo>
                  <a:cubicBezTo>
                    <a:pt x="1190" y="89"/>
                    <a:pt x="1191" y="91"/>
                    <a:pt x="1191" y="92"/>
                  </a:cubicBezTo>
                  <a:lnTo>
                    <a:pt x="1212" y="192"/>
                  </a:lnTo>
                  <a:lnTo>
                    <a:pt x="1274" y="237"/>
                  </a:lnTo>
                  <a:lnTo>
                    <a:pt x="1326" y="253"/>
                  </a:lnTo>
                  <a:lnTo>
                    <a:pt x="1443" y="199"/>
                  </a:lnTo>
                  <a:lnTo>
                    <a:pt x="1497" y="211"/>
                  </a:lnTo>
                  <a:lnTo>
                    <a:pt x="1693" y="309"/>
                  </a:lnTo>
                  <a:lnTo>
                    <a:pt x="1757" y="360"/>
                  </a:lnTo>
                  <a:lnTo>
                    <a:pt x="1865" y="381"/>
                  </a:lnTo>
                  <a:lnTo>
                    <a:pt x="1937" y="393"/>
                  </a:lnTo>
                  <a:lnTo>
                    <a:pt x="2109" y="342"/>
                  </a:lnTo>
                  <a:lnTo>
                    <a:pt x="2239" y="258"/>
                  </a:lnTo>
                  <a:cubicBezTo>
                    <a:pt x="2240" y="258"/>
                    <a:pt x="2240" y="258"/>
                    <a:pt x="2241" y="258"/>
                  </a:cubicBezTo>
                  <a:cubicBezTo>
                    <a:pt x="2242" y="258"/>
                    <a:pt x="2243" y="258"/>
                    <a:pt x="2243" y="258"/>
                  </a:cubicBezTo>
                  <a:lnTo>
                    <a:pt x="2336" y="300"/>
                  </a:lnTo>
                  <a:lnTo>
                    <a:pt x="2394" y="292"/>
                  </a:lnTo>
                  <a:cubicBezTo>
                    <a:pt x="2395" y="292"/>
                    <a:pt x="2397" y="292"/>
                    <a:pt x="2398" y="294"/>
                  </a:cubicBezTo>
                  <a:cubicBezTo>
                    <a:pt x="2399" y="295"/>
                    <a:pt x="2399" y="297"/>
                    <a:pt x="2398" y="299"/>
                  </a:cubicBezTo>
                  <a:lnTo>
                    <a:pt x="2334" y="400"/>
                  </a:lnTo>
                  <a:lnTo>
                    <a:pt x="2326" y="533"/>
                  </a:lnTo>
                  <a:lnTo>
                    <a:pt x="2338" y="580"/>
                  </a:lnTo>
                  <a:lnTo>
                    <a:pt x="2445" y="592"/>
                  </a:lnTo>
                  <a:lnTo>
                    <a:pt x="2544" y="533"/>
                  </a:lnTo>
                  <a:cubicBezTo>
                    <a:pt x="2545" y="533"/>
                    <a:pt x="2545" y="533"/>
                    <a:pt x="2546" y="533"/>
                  </a:cubicBezTo>
                  <a:cubicBezTo>
                    <a:pt x="2548" y="533"/>
                    <a:pt x="2549" y="533"/>
                    <a:pt x="2550" y="534"/>
                  </a:cubicBezTo>
                  <a:lnTo>
                    <a:pt x="2626" y="615"/>
                  </a:lnTo>
                  <a:lnTo>
                    <a:pt x="2631" y="668"/>
                  </a:lnTo>
                  <a:lnTo>
                    <a:pt x="2656" y="700"/>
                  </a:lnTo>
                  <a:cubicBezTo>
                    <a:pt x="2657" y="701"/>
                    <a:pt x="2657" y="703"/>
                    <a:pt x="2657" y="704"/>
                  </a:cubicBezTo>
                  <a:cubicBezTo>
                    <a:pt x="2656" y="706"/>
                    <a:pt x="2654" y="707"/>
                    <a:pt x="2653" y="707"/>
                  </a:cubicBezTo>
                  <a:lnTo>
                    <a:pt x="2434" y="724"/>
                  </a:lnTo>
                  <a:lnTo>
                    <a:pt x="2334" y="828"/>
                  </a:lnTo>
                  <a:lnTo>
                    <a:pt x="2264" y="851"/>
                  </a:lnTo>
                  <a:lnTo>
                    <a:pt x="2160" y="939"/>
                  </a:lnTo>
                  <a:cubicBezTo>
                    <a:pt x="2159" y="939"/>
                    <a:pt x="2158" y="940"/>
                    <a:pt x="2157" y="940"/>
                  </a:cubicBezTo>
                  <a:cubicBezTo>
                    <a:pt x="2156" y="940"/>
                    <a:pt x="2155" y="940"/>
                    <a:pt x="2155" y="939"/>
                  </a:cubicBezTo>
                  <a:lnTo>
                    <a:pt x="2055" y="902"/>
                  </a:lnTo>
                  <a:lnTo>
                    <a:pt x="2029" y="913"/>
                  </a:lnTo>
                  <a:lnTo>
                    <a:pt x="1993" y="990"/>
                  </a:lnTo>
                  <a:lnTo>
                    <a:pt x="2029" y="1047"/>
                  </a:lnTo>
                  <a:cubicBezTo>
                    <a:pt x="2031" y="1049"/>
                    <a:pt x="2030" y="1051"/>
                    <a:pt x="2028" y="1053"/>
                  </a:cubicBezTo>
                  <a:lnTo>
                    <a:pt x="1872" y="1188"/>
                  </a:lnTo>
                  <a:lnTo>
                    <a:pt x="1777" y="1215"/>
                  </a:lnTo>
                  <a:lnTo>
                    <a:pt x="1665" y="1211"/>
                  </a:lnTo>
                  <a:lnTo>
                    <a:pt x="1434" y="1299"/>
                  </a:lnTo>
                  <a:cubicBezTo>
                    <a:pt x="1433" y="1299"/>
                    <a:pt x="1433" y="1299"/>
                    <a:pt x="1432" y="1299"/>
                  </a:cubicBezTo>
                  <a:lnTo>
                    <a:pt x="1431" y="129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6" name="Freeform 711"/>
            <p:cNvSpPr>
              <a:spLocks noChangeArrowheads="1"/>
            </p:cNvSpPr>
            <p:nvPr/>
          </p:nvSpPr>
          <p:spPr bwMode="auto">
            <a:xfrm>
              <a:off x="4940300" y="1492250"/>
              <a:ext cx="153988" cy="130175"/>
            </a:xfrm>
            <a:custGeom>
              <a:avLst/>
              <a:gdLst/>
              <a:ahLst/>
              <a:cxnLst>
                <a:cxn ang="0">
                  <a:pos x="326" y="352"/>
                </a:cxn>
                <a:cxn ang="0">
                  <a:pos x="281" y="360"/>
                </a:cxn>
                <a:cxn ang="0">
                  <a:pos x="277" y="359"/>
                </a:cxn>
                <a:cxn ang="0">
                  <a:pos x="239" y="316"/>
                </a:cxn>
                <a:cxn ang="0">
                  <a:pos x="175" y="289"/>
                </a:cxn>
                <a:cxn ang="0">
                  <a:pos x="92" y="313"/>
                </a:cxn>
                <a:cxn ang="0">
                  <a:pos x="90" y="314"/>
                </a:cxn>
                <a:cxn ang="0">
                  <a:pos x="87" y="313"/>
                </a:cxn>
                <a:cxn ang="0">
                  <a:pos x="86" y="308"/>
                </a:cxn>
                <a:cxn ang="0">
                  <a:pos x="93" y="234"/>
                </a:cxn>
                <a:cxn ang="0">
                  <a:pos x="31" y="238"/>
                </a:cxn>
                <a:cxn ang="0">
                  <a:pos x="26" y="234"/>
                </a:cxn>
                <a:cxn ang="0">
                  <a:pos x="10" y="188"/>
                </a:cxn>
                <a:cxn ang="0">
                  <a:pos x="11" y="183"/>
                </a:cxn>
                <a:cxn ang="0">
                  <a:pos x="26" y="171"/>
                </a:cxn>
                <a:cxn ang="0">
                  <a:pos x="4" y="161"/>
                </a:cxn>
                <a:cxn ang="0">
                  <a:pos x="1" y="156"/>
                </a:cxn>
                <a:cxn ang="0">
                  <a:pos x="9" y="97"/>
                </a:cxn>
                <a:cxn ang="0">
                  <a:pos x="12" y="93"/>
                </a:cxn>
                <a:cxn ang="0">
                  <a:pos x="190" y="17"/>
                </a:cxn>
                <a:cxn ang="0">
                  <a:pos x="375" y="55"/>
                </a:cxn>
                <a:cxn ang="0">
                  <a:pos x="383" y="52"/>
                </a:cxn>
                <a:cxn ang="0">
                  <a:pos x="391" y="4"/>
                </a:cxn>
                <a:cxn ang="0">
                  <a:pos x="393" y="0"/>
                </a:cxn>
                <a:cxn ang="0">
                  <a:pos x="395" y="0"/>
                </a:cxn>
                <a:cxn ang="0">
                  <a:pos x="398" y="1"/>
                </a:cxn>
                <a:cxn ang="0">
                  <a:pos x="419" y="18"/>
                </a:cxn>
                <a:cxn ang="0">
                  <a:pos x="421" y="21"/>
                </a:cxn>
                <a:cxn ang="0">
                  <a:pos x="425" y="67"/>
                </a:cxn>
                <a:cxn ang="0">
                  <a:pos x="391" y="125"/>
                </a:cxn>
                <a:cxn ang="0">
                  <a:pos x="388" y="127"/>
                </a:cxn>
                <a:cxn ang="0">
                  <a:pos x="325" y="147"/>
                </a:cxn>
                <a:cxn ang="0">
                  <a:pos x="344" y="225"/>
                </a:cxn>
                <a:cxn ang="0">
                  <a:pos x="354" y="228"/>
                </a:cxn>
                <a:cxn ang="0">
                  <a:pos x="357" y="232"/>
                </a:cxn>
                <a:cxn ang="0">
                  <a:pos x="366" y="266"/>
                </a:cxn>
                <a:cxn ang="0">
                  <a:pos x="382" y="280"/>
                </a:cxn>
                <a:cxn ang="0">
                  <a:pos x="387" y="308"/>
                </a:cxn>
                <a:cxn ang="0">
                  <a:pos x="386" y="312"/>
                </a:cxn>
                <a:cxn ang="0">
                  <a:pos x="358" y="344"/>
                </a:cxn>
                <a:cxn ang="0">
                  <a:pos x="362" y="354"/>
                </a:cxn>
                <a:cxn ang="0">
                  <a:pos x="361" y="359"/>
                </a:cxn>
                <a:cxn ang="0">
                  <a:pos x="357" y="360"/>
                </a:cxn>
                <a:cxn ang="0">
                  <a:pos x="356" y="360"/>
                </a:cxn>
                <a:cxn ang="0">
                  <a:pos x="326" y="352"/>
                </a:cxn>
              </a:cxnLst>
              <a:rect l="0" t="0" r="r" b="b"/>
              <a:pathLst>
                <a:path w="426" h="361">
                  <a:moveTo>
                    <a:pt x="326" y="352"/>
                  </a:moveTo>
                  <a:lnTo>
                    <a:pt x="281" y="360"/>
                  </a:lnTo>
                  <a:cubicBezTo>
                    <a:pt x="280" y="360"/>
                    <a:pt x="278" y="360"/>
                    <a:pt x="277" y="359"/>
                  </a:cubicBezTo>
                  <a:lnTo>
                    <a:pt x="239" y="316"/>
                  </a:lnTo>
                  <a:lnTo>
                    <a:pt x="175" y="289"/>
                  </a:lnTo>
                  <a:lnTo>
                    <a:pt x="92" y="313"/>
                  </a:lnTo>
                  <a:cubicBezTo>
                    <a:pt x="91" y="314"/>
                    <a:pt x="91" y="314"/>
                    <a:pt x="90" y="314"/>
                  </a:cubicBezTo>
                  <a:cubicBezTo>
                    <a:pt x="89" y="314"/>
                    <a:pt x="88" y="313"/>
                    <a:pt x="87" y="313"/>
                  </a:cubicBezTo>
                  <a:cubicBezTo>
                    <a:pt x="86" y="312"/>
                    <a:pt x="85" y="310"/>
                    <a:pt x="86" y="308"/>
                  </a:cubicBezTo>
                  <a:lnTo>
                    <a:pt x="93" y="234"/>
                  </a:lnTo>
                  <a:lnTo>
                    <a:pt x="31" y="238"/>
                  </a:lnTo>
                  <a:cubicBezTo>
                    <a:pt x="29" y="238"/>
                    <a:pt x="27" y="236"/>
                    <a:pt x="26" y="234"/>
                  </a:cubicBezTo>
                  <a:lnTo>
                    <a:pt x="10" y="188"/>
                  </a:lnTo>
                  <a:cubicBezTo>
                    <a:pt x="9" y="186"/>
                    <a:pt x="9" y="184"/>
                    <a:pt x="11" y="183"/>
                  </a:cubicBezTo>
                  <a:lnTo>
                    <a:pt x="26" y="171"/>
                  </a:lnTo>
                  <a:lnTo>
                    <a:pt x="4" y="161"/>
                  </a:lnTo>
                  <a:cubicBezTo>
                    <a:pt x="2" y="160"/>
                    <a:pt x="0" y="158"/>
                    <a:pt x="1" y="156"/>
                  </a:cubicBezTo>
                  <a:lnTo>
                    <a:pt x="9" y="97"/>
                  </a:lnTo>
                  <a:cubicBezTo>
                    <a:pt x="10" y="95"/>
                    <a:pt x="11" y="94"/>
                    <a:pt x="12" y="93"/>
                  </a:cubicBezTo>
                  <a:lnTo>
                    <a:pt x="190" y="17"/>
                  </a:lnTo>
                  <a:lnTo>
                    <a:pt x="375" y="55"/>
                  </a:lnTo>
                  <a:lnTo>
                    <a:pt x="383" y="52"/>
                  </a:lnTo>
                  <a:lnTo>
                    <a:pt x="391" y="4"/>
                  </a:lnTo>
                  <a:cubicBezTo>
                    <a:pt x="391" y="2"/>
                    <a:pt x="392" y="0"/>
                    <a:pt x="393" y="0"/>
                  </a:cubicBezTo>
                  <a:cubicBezTo>
                    <a:pt x="394" y="0"/>
                    <a:pt x="395" y="0"/>
                    <a:pt x="395" y="0"/>
                  </a:cubicBezTo>
                  <a:cubicBezTo>
                    <a:pt x="396" y="0"/>
                    <a:pt x="397" y="0"/>
                    <a:pt x="398" y="1"/>
                  </a:cubicBezTo>
                  <a:lnTo>
                    <a:pt x="419" y="18"/>
                  </a:lnTo>
                  <a:cubicBezTo>
                    <a:pt x="420" y="18"/>
                    <a:pt x="421" y="20"/>
                    <a:pt x="421" y="21"/>
                  </a:cubicBezTo>
                  <a:lnTo>
                    <a:pt x="425" y="67"/>
                  </a:lnTo>
                  <a:lnTo>
                    <a:pt x="391" y="125"/>
                  </a:lnTo>
                  <a:cubicBezTo>
                    <a:pt x="390" y="126"/>
                    <a:pt x="389" y="127"/>
                    <a:pt x="388" y="127"/>
                  </a:cubicBezTo>
                  <a:lnTo>
                    <a:pt x="325" y="147"/>
                  </a:lnTo>
                  <a:lnTo>
                    <a:pt x="344" y="225"/>
                  </a:lnTo>
                  <a:lnTo>
                    <a:pt x="354" y="228"/>
                  </a:lnTo>
                  <a:cubicBezTo>
                    <a:pt x="356" y="229"/>
                    <a:pt x="357" y="230"/>
                    <a:pt x="357" y="232"/>
                  </a:cubicBezTo>
                  <a:lnTo>
                    <a:pt x="366" y="266"/>
                  </a:lnTo>
                  <a:lnTo>
                    <a:pt x="382" y="280"/>
                  </a:lnTo>
                  <a:lnTo>
                    <a:pt x="387" y="308"/>
                  </a:lnTo>
                  <a:cubicBezTo>
                    <a:pt x="387" y="310"/>
                    <a:pt x="387" y="311"/>
                    <a:pt x="386" y="312"/>
                  </a:cubicBezTo>
                  <a:lnTo>
                    <a:pt x="358" y="344"/>
                  </a:lnTo>
                  <a:lnTo>
                    <a:pt x="362" y="354"/>
                  </a:lnTo>
                  <a:cubicBezTo>
                    <a:pt x="362" y="356"/>
                    <a:pt x="362" y="357"/>
                    <a:pt x="361" y="359"/>
                  </a:cubicBezTo>
                  <a:cubicBezTo>
                    <a:pt x="360" y="360"/>
                    <a:pt x="358" y="360"/>
                    <a:pt x="357" y="360"/>
                  </a:cubicBezTo>
                  <a:lnTo>
                    <a:pt x="356" y="360"/>
                  </a:lnTo>
                  <a:lnTo>
                    <a:pt x="326" y="35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7" name="Freeform 712"/>
            <p:cNvSpPr>
              <a:spLocks noChangeArrowheads="1"/>
            </p:cNvSpPr>
            <p:nvPr/>
          </p:nvSpPr>
          <p:spPr bwMode="auto">
            <a:xfrm>
              <a:off x="4940300" y="1492250"/>
              <a:ext cx="153988" cy="130175"/>
            </a:xfrm>
            <a:custGeom>
              <a:avLst/>
              <a:gdLst/>
              <a:ahLst/>
              <a:cxnLst>
                <a:cxn ang="0">
                  <a:pos x="356" y="360"/>
                </a:cxn>
                <a:cxn ang="0">
                  <a:pos x="326" y="352"/>
                </a:cxn>
                <a:cxn ang="0">
                  <a:pos x="281" y="360"/>
                </a:cxn>
                <a:cxn ang="0">
                  <a:pos x="277" y="359"/>
                </a:cxn>
                <a:cxn ang="0">
                  <a:pos x="239" y="316"/>
                </a:cxn>
                <a:cxn ang="0">
                  <a:pos x="175" y="289"/>
                </a:cxn>
                <a:cxn ang="0">
                  <a:pos x="92" y="313"/>
                </a:cxn>
                <a:cxn ang="0">
                  <a:pos x="90" y="314"/>
                </a:cxn>
                <a:cxn ang="0">
                  <a:pos x="87" y="313"/>
                </a:cxn>
                <a:cxn ang="0">
                  <a:pos x="86" y="308"/>
                </a:cxn>
                <a:cxn ang="0">
                  <a:pos x="93" y="234"/>
                </a:cxn>
                <a:cxn ang="0">
                  <a:pos x="31" y="238"/>
                </a:cxn>
                <a:cxn ang="0">
                  <a:pos x="26" y="234"/>
                </a:cxn>
                <a:cxn ang="0">
                  <a:pos x="10" y="188"/>
                </a:cxn>
                <a:cxn ang="0">
                  <a:pos x="11" y="183"/>
                </a:cxn>
                <a:cxn ang="0">
                  <a:pos x="26" y="171"/>
                </a:cxn>
                <a:cxn ang="0">
                  <a:pos x="4" y="161"/>
                </a:cxn>
                <a:cxn ang="0">
                  <a:pos x="1" y="156"/>
                </a:cxn>
                <a:cxn ang="0">
                  <a:pos x="9" y="97"/>
                </a:cxn>
                <a:cxn ang="0">
                  <a:pos x="12" y="93"/>
                </a:cxn>
                <a:cxn ang="0">
                  <a:pos x="190" y="17"/>
                </a:cxn>
                <a:cxn ang="0">
                  <a:pos x="375" y="55"/>
                </a:cxn>
                <a:cxn ang="0">
                  <a:pos x="383" y="52"/>
                </a:cxn>
                <a:cxn ang="0">
                  <a:pos x="391" y="4"/>
                </a:cxn>
                <a:cxn ang="0">
                  <a:pos x="393" y="0"/>
                </a:cxn>
                <a:cxn ang="0">
                  <a:pos x="395" y="0"/>
                </a:cxn>
                <a:cxn ang="0">
                  <a:pos x="398" y="1"/>
                </a:cxn>
                <a:cxn ang="0">
                  <a:pos x="419" y="18"/>
                </a:cxn>
                <a:cxn ang="0">
                  <a:pos x="421" y="21"/>
                </a:cxn>
                <a:cxn ang="0">
                  <a:pos x="425" y="67"/>
                </a:cxn>
                <a:cxn ang="0">
                  <a:pos x="391" y="125"/>
                </a:cxn>
                <a:cxn ang="0">
                  <a:pos x="388" y="127"/>
                </a:cxn>
                <a:cxn ang="0">
                  <a:pos x="325" y="147"/>
                </a:cxn>
                <a:cxn ang="0">
                  <a:pos x="344" y="225"/>
                </a:cxn>
                <a:cxn ang="0">
                  <a:pos x="354" y="228"/>
                </a:cxn>
                <a:cxn ang="0">
                  <a:pos x="357" y="232"/>
                </a:cxn>
                <a:cxn ang="0">
                  <a:pos x="366" y="266"/>
                </a:cxn>
                <a:cxn ang="0">
                  <a:pos x="382" y="280"/>
                </a:cxn>
                <a:cxn ang="0">
                  <a:pos x="387" y="308"/>
                </a:cxn>
                <a:cxn ang="0">
                  <a:pos x="386" y="312"/>
                </a:cxn>
                <a:cxn ang="0">
                  <a:pos x="358" y="344"/>
                </a:cxn>
                <a:cxn ang="0">
                  <a:pos x="362" y="354"/>
                </a:cxn>
                <a:cxn ang="0">
                  <a:pos x="361" y="359"/>
                </a:cxn>
                <a:cxn ang="0">
                  <a:pos x="357" y="360"/>
                </a:cxn>
                <a:cxn ang="0">
                  <a:pos x="356" y="360"/>
                </a:cxn>
              </a:cxnLst>
              <a:rect l="0" t="0" r="r" b="b"/>
              <a:pathLst>
                <a:path w="426" h="361">
                  <a:moveTo>
                    <a:pt x="356" y="360"/>
                  </a:moveTo>
                  <a:lnTo>
                    <a:pt x="326" y="352"/>
                  </a:lnTo>
                  <a:lnTo>
                    <a:pt x="281" y="360"/>
                  </a:lnTo>
                  <a:cubicBezTo>
                    <a:pt x="280" y="360"/>
                    <a:pt x="278" y="360"/>
                    <a:pt x="277" y="359"/>
                  </a:cubicBezTo>
                  <a:lnTo>
                    <a:pt x="239" y="316"/>
                  </a:lnTo>
                  <a:lnTo>
                    <a:pt x="175" y="289"/>
                  </a:lnTo>
                  <a:lnTo>
                    <a:pt x="92" y="313"/>
                  </a:lnTo>
                  <a:cubicBezTo>
                    <a:pt x="91" y="314"/>
                    <a:pt x="91" y="314"/>
                    <a:pt x="90" y="314"/>
                  </a:cubicBezTo>
                  <a:cubicBezTo>
                    <a:pt x="89" y="314"/>
                    <a:pt x="88" y="313"/>
                    <a:pt x="87" y="313"/>
                  </a:cubicBezTo>
                  <a:cubicBezTo>
                    <a:pt x="86" y="312"/>
                    <a:pt x="85" y="310"/>
                    <a:pt x="86" y="308"/>
                  </a:cubicBezTo>
                  <a:lnTo>
                    <a:pt x="93" y="234"/>
                  </a:lnTo>
                  <a:lnTo>
                    <a:pt x="31" y="238"/>
                  </a:lnTo>
                  <a:cubicBezTo>
                    <a:pt x="29" y="238"/>
                    <a:pt x="27" y="236"/>
                    <a:pt x="26" y="234"/>
                  </a:cubicBezTo>
                  <a:lnTo>
                    <a:pt x="10" y="188"/>
                  </a:lnTo>
                  <a:cubicBezTo>
                    <a:pt x="9" y="186"/>
                    <a:pt x="9" y="184"/>
                    <a:pt x="11" y="183"/>
                  </a:cubicBezTo>
                  <a:lnTo>
                    <a:pt x="26" y="171"/>
                  </a:lnTo>
                  <a:lnTo>
                    <a:pt x="4" y="161"/>
                  </a:lnTo>
                  <a:cubicBezTo>
                    <a:pt x="2" y="160"/>
                    <a:pt x="0" y="158"/>
                    <a:pt x="1" y="156"/>
                  </a:cubicBezTo>
                  <a:lnTo>
                    <a:pt x="9" y="97"/>
                  </a:lnTo>
                  <a:cubicBezTo>
                    <a:pt x="10" y="95"/>
                    <a:pt x="11" y="94"/>
                    <a:pt x="12" y="93"/>
                  </a:cubicBezTo>
                  <a:lnTo>
                    <a:pt x="190" y="17"/>
                  </a:lnTo>
                  <a:lnTo>
                    <a:pt x="375" y="55"/>
                  </a:lnTo>
                  <a:lnTo>
                    <a:pt x="383" y="52"/>
                  </a:lnTo>
                  <a:lnTo>
                    <a:pt x="391" y="4"/>
                  </a:lnTo>
                  <a:cubicBezTo>
                    <a:pt x="391" y="2"/>
                    <a:pt x="392" y="0"/>
                    <a:pt x="393" y="0"/>
                  </a:cubicBezTo>
                  <a:cubicBezTo>
                    <a:pt x="394" y="0"/>
                    <a:pt x="395" y="0"/>
                    <a:pt x="395" y="0"/>
                  </a:cubicBezTo>
                  <a:cubicBezTo>
                    <a:pt x="396" y="0"/>
                    <a:pt x="397" y="0"/>
                    <a:pt x="398" y="1"/>
                  </a:cubicBezTo>
                  <a:lnTo>
                    <a:pt x="419" y="18"/>
                  </a:lnTo>
                  <a:cubicBezTo>
                    <a:pt x="420" y="18"/>
                    <a:pt x="421" y="20"/>
                    <a:pt x="421" y="21"/>
                  </a:cubicBezTo>
                  <a:lnTo>
                    <a:pt x="425" y="67"/>
                  </a:lnTo>
                  <a:lnTo>
                    <a:pt x="391" y="125"/>
                  </a:lnTo>
                  <a:cubicBezTo>
                    <a:pt x="390" y="126"/>
                    <a:pt x="389" y="127"/>
                    <a:pt x="388" y="127"/>
                  </a:cubicBezTo>
                  <a:lnTo>
                    <a:pt x="325" y="147"/>
                  </a:lnTo>
                  <a:lnTo>
                    <a:pt x="344" y="225"/>
                  </a:lnTo>
                  <a:lnTo>
                    <a:pt x="354" y="228"/>
                  </a:lnTo>
                  <a:cubicBezTo>
                    <a:pt x="356" y="229"/>
                    <a:pt x="357" y="230"/>
                    <a:pt x="357" y="232"/>
                  </a:cubicBezTo>
                  <a:lnTo>
                    <a:pt x="366" y="266"/>
                  </a:lnTo>
                  <a:lnTo>
                    <a:pt x="382" y="280"/>
                  </a:lnTo>
                  <a:lnTo>
                    <a:pt x="387" y="308"/>
                  </a:lnTo>
                  <a:cubicBezTo>
                    <a:pt x="387" y="310"/>
                    <a:pt x="387" y="311"/>
                    <a:pt x="386" y="312"/>
                  </a:cubicBezTo>
                  <a:lnTo>
                    <a:pt x="358" y="344"/>
                  </a:lnTo>
                  <a:lnTo>
                    <a:pt x="362" y="354"/>
                  </a:lnTo>
                  <a:cubicBezTo>
                    <a:pt x="362" y="356"/>
                    <a:pt x="362" y="357"/>
                    <a:pt x="361" y="359"/>
                  </a:cubicBezTo>
                  <a:cubicBezTo>
                    <a:pt x="360" y="360"/>
                    <a:pt x="358" y="360"/>
                    <a:pt x="357" y="360"/>
                  </a:cubicBezTo>
                  <a:lnTo>
                    <a:pt x="356" y="36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8" name="Freeform 713"/>
            <p:cNvSpPr>
              <a:spLocks noChangeArrowheads="1"/>
            </p:cNvSpPr>
            <p:nvPr/>
          </p:nvSpPr>
          <p:spPr bwMode="auto">
            <a:xfrm>
              <a:off x="4865688" y="1593850"/>
              <a:ext cx="228600" cy="134938"/>
            </a:xfrm>
            <a:custGeom>
              <a:avLst/>
              <a:gdLst/>
              <a:ahLst/>
              <a:cxnLst>
                <a:cxn ang="0">
                  <a:pos x="503" y="373"/>
                </a:cxn>
                <a:cxn ang="0">
                  <a:pos x="469" y="356"/>
                </a:cxn>
                <a:cxn ang="0">
                  <a:pos x="400" y="296"/>
                </a:cxn>
                <a:cxn ang="0">
                  <a:pos x="369" y="293"/>
                </a:cxn>
                <a:cxn ang="0">
                  <a:pos x="365" y="290"/>
                </a:cxn>
                <a:cxn ang="0">
                  <a:pos x="342" y="252"/>
                </a:cxn>
                <a:cxn ang="0">
                  <a:pos x="295" y="275"/>
                </a:cxn>
                <a:cxn ang="0">
                  <a:pos x="293" y="276"/>
                </a:cxn>
                <a:cxn ang="0">
                  <a:pos x="291" y="276"/>
                </a:cxn>
                <a:cxn ang="0">
                  <a:pos x="245" y="259"/>
                </a:cxn>
                <a:cxn ang="0">
                  <a:pos x="115" y="255"/>
                </a:cxn>
                <a:cxn ang="0">
                  <a:pos x="58" y="280"/>
                </a:cxn>
                <a:cxn ang="0">
                  <a:pos x="34" y="304"/>
                </a:cxn>
                <a:cxn ang="0">
                  <a:pos x="31" y="305"/>
                </a:cxn>
                <a:cxn ang="0">
                  <a:pos x="28" y="305"/>
                </a:cxn>
                <a:cxn ang="0">
                  <a:pos x="2" y="288"/>
                </a:cxn>
                <a:cxn ang="0">
                  <a:pos x="0" y="284"/>
                </a:cxn>
                <a:cxn ang="0">
                  <a:pos x="5" y="203"/>
                </a:cxn>
                <a:cxn ang="0">
                  <a:pos x="64" y="79"/>
                </a:cxn>
                <a:cxn ang="0">
                  <a:pos x="134" y="43"/>
                </a:cxn>
                <a:cxn ang="0">
                  <a:pos x="136" y="42"/>
                </a:cxn>
                <a:cxn ang="0">
                  <a:pos x="140" y="44"/>
                </a:cxn>
                <a:cxn ang="0">
                  <a:pos x="208" y="146"/>
                </a:cxn>
                <a:cxn ang="0">
                  <a:pos x="265" y="164"/>
                </a:cxn>
                <a:cxn ang="0">
                  <a:pos x="280" y="125"/>
                </a:cxn>
                <a:cxn ang="0">
                  <a:pos x="288" y="30"/>
                </a:cxn>
                <a:cxn ang="0">
                  <a:pos x="292" y="26"/>
                </a:cxn>
                <a:cxn ang="0">
                  <a:pos x="376" y="0"/>
                </a:cxn>
                <a:cxn ang="0">
                  <a:pos x="378" y="0"/>
                </a:cxn>
                <a:cxn ang="0">
                  <a:pos x="380" y="0"/>
                </a:cxn>
                <a:cxn ang="0">
                  <a:pos x="448" y="30"/>
                </a:cxn>
                <a:cxn ang="0">
                  <a:pos x="486" y="72"/>
                </a:cxn>
                <a:cxn ang="0">
                  <a:pos x="529" y="63"/>
                </a:cxn>
                <a:cxn ang="0">
                  <a:pos x="561" y="72"/>
                </a:cxn>
                <a:cxn ang="0">
                  <a:pos x="593" y="112"/>
                </a:cxn>
                <a:cxn ang="0">
                  <a:pos x="594" y="115"/>
                </a:cxn>
                <a:cxn ang="0">
                  <a:pos x="586" y="171"/>
                </a:cxn>
                <a:cxn ang="0">
                  <a:pos x="605" y="183"/>
                </a:cxn>
                <a:cxn ang="0">
                  <a:pos x="628" y="227"/>
                </a:cxn>
                <a:cxn ang="0">
                  <a:pos x="632" y="292"/>
                </a:cxn>
                <a:cxn ang="0">
                  <a:pos x="628" y="297"/>
                </a:cxn>
                <a:cxn ang="0">
                  <a:pos x="605" y="301"/>
                </a:cxn>
                <a:cxn ang="0">
                  <a:pos x="568" y="350"/>
                </a:cxn>
                <a:cxn ang="0">
                  <a:pos x="564" y="352"/>
                </a:cxn>
                <a:cxn ang="0">
                  <a:pos x="563" y="352"/>
                </a:cxn>
                <a:cxn ang="0">
                  <a:pos x="532" y="344"/>
                </a:cxn>
                <a:cxn ang="0">
                  <a:pos x="508" y="371"/>
                </a:cxn>
                <a:cxn ang="0">
                  <a:pos x="505" y="373"/>
                </a:cxn>
                <a:cxn ang="0">
                  <a:pos x="503" y="373"/>
                </a:cxn>
              </a:cxnLst>
              <a:rect l="0" t="0" r="r" b="b"/>
              <a:pathLst>
                <a:path w="633" h="374">
                  <a:moveTo>
                    <a:pt x="503" y="373"/>
                  </a:moveTo>
                  <a:lnTo>
                    <a:pt x="469" y="356"/>
                  </a:lnTo>
                  <a:lnTo>
                    <a:pt x="400" y="296"/>
                  </a:lnTo>
                  <a:lnTo>
                    <a:pt x="369" y="293"/>
                  </a:lnTo>
                  <a:cubicBezTo>
                    <a:pt x="367" y="292"/>
                    <a:pt x="366" y="292"/>
                    <a:pt x="365" y="290"/>
                  </a:cubicBezTo>
                  <a:lnTo>
                    <a:pt x="342" y="252"/>
                  </a:lnTo>
                  <a:lnTo>
                    <a:pt x="295" y="275"/>
                  </a:lnTo>
                  <a:cubicBezTo>
                    <a:pt x="295" y="276"/>
                    <a:pt x="294" y="276"/>
                    <a:pt x="293" y="276"/>
                  </a:cubicBezTo>
                  <a:cubicBezTo>
                    <a:pt x="293" y="276"/>
                    <a:pt x="292" y="276"/>
                    <a:pt x="291" y="276"/>
                  </a:cubicBezTo>
                  <a:lnTo>
                    <a:pt x="245" y="259"/>
                  </a:lnTo>
                  <a:lnTo>
                    <a:pt x="115" y="255"/>
                  </a:lnTo>
                  <a:lnTo>
                    <a:pt x="58" y="280"/>
                  </a:lnTo>
                  <a:lnTo>
                    <a:pt x="34" y="304"/>
                  </a:lnTo>
                  <a:cubicBezTo>
                    <a:pt x="33" y="305"/>
                    <a:pt x="32" y="305"/>
                    <a:pt x="31" y="305"/>
                  </a:cubicBezTo>
                  <a:cubicBezTo>
                    <a:pt x="30" y="305"/>
                    <a:pt x="29" y="305"/>
                    <a:pt x="28" y="305"/>
                  </a:cubicBezTo>
                  <a:lnTo>
                    <a:pt x="2" y="288"/>
                  </a:lnTo>
                  <a:cubicBezTo>
                    <a:pt x="1" y="287"/>
                    <a:pt x="0" y="285"/>
                    <a:pt x="0" y="284"/>
                  </a:cubicBezTo>
                  <a:lnTo>
                    <a:pt x="5" y="203"/>
                  </a:lnTo>
                  <a:lnTo>
                    <a:pt x="64" y="79"/>
                  </a:lnTo>
                  <a:lnTo>
                    <a:pt x="134" y="43"/>
                  </a:lnTo>
                  <a:cubicBezTo>
                    <a:pt x="135" y="42"/>
                    <a:pt x="136" y="42"/>
                    <a:pt x="136" y="42"/>
                  </a:cubicBezTo>
                  <a:cubicBezTo>
                    <a:pt x="138" y="42"/>
                    <a:pt x="139" y="43"/>
                    <a:pt x="140" y="44"/>
                  </a:cubicBezTo>
                  <a:lnTo>
                    <a:pt x="208" y="146"/>
                  </a:lnTo>
                  <a:lnTo>
                    <a:pt x="265" y="164"/>
                  </a:lnTo>
                  <a:lnTo>
                    <a:pt x="280" y="125"/>
                  </a:lnTo>
                  <a:lnTo>
                    <a:pt x="288" y="30"/>
                  </a:lnTo>
                  <a:cubicBezTo>
                    <a:pt x="289" y="28"/>
                    <a:pt x="290" y="26"/>
                    <a:pt x="292" y="26"/>
                  </a:cubicBezTo>
                  <a:lnTo>
                    <a:pt x="376" y="0"/>
                  </a:lnTo>
                  <a:cubicBezTo>
                    <a:pt x="377" y="0"/>
                    <a:pt x="377" y="0"/>
                    <a:pt x="378" y="0"/>
                  </a:cubicBezTo>
                  <a:cubicBezTo>
                    <a:pt x="379" y="0"/>
                    <a:pt x="379" y="0"/>
                    <a:pt x="380" y="0"/>
                  </a:cubicBezTo>
                  <a:lnTo>
                    <a:pt x="448" y="30"/>
                  </a:lnTo>
                  <a:lnTo>
                    <a:pt x="486" y="72"/>
                  </a:lnTo>
                  <a:lnTo>
                    <a:pt x="529" y="63"/>
                  </a:lnTo>
                  <a:lnTo>
                    <a:pt x="561" y="72"/>
                  </a:lnTo>
                  <a:lnTo>
                    <a:pt x="593" y="112"/>
                  </a:lnTo>
                  <a:cubicBezTo>
                    <a:pt x="594" y="113"/>
                    <a:pt x="594" y="114"/>
                    <a:pt x="594" y="115"/>
                  </a:cubicBezTo>
                  <a:lnTo>
                    <a:pt x="586" y="171"/>
                  </a:lnTo>
                  <a:lnTo>
                    <a:pt x="605" y="183"/>
                  </a:lnTo>
                  <a:lnTo>
                    <a:pt x="628" y="227"/>
                  </a:lnTo>
                  <a:lnTo>
                    <a:pt x="632" y="292"/>
                  </a:lnTo>
                  <a:cubicBezTo>
                    <a:pt x="632" y="294"/>
                    <a:pt x="631" y="297"/>
                    <a:pt x="628" y="297"/>
                  </a:cubicBezTo>
                  <a:lnTo>
                    <a:pt x="605" y="301"/>
                  </a:lnTo>
                  <a:lnTo>
                    <a:pt x="568" y="350"/>
                  </a:lnTo>
                  <a:cubicBezTo>
                    <a:pt x="567" y="351"/>
                    <a:pt x="566" y="352"/>
                    <a:pt x="564" y="352"/>
                  </a:cubicBezTo>
                  <a:lnTo>
                    <a:pt x="563" y="352"/>
                  </a:lnTo>
                  <a:lnTo>
                    <a:pt x="532" y="344"/>
                  </a:lnTo>
                  <a:lnTo>
                    <a:pt x="508" y="371"/>
                  </a:lnTo>
                  <a:cubicBezTo>
                    <a:pt x="508" y="372"/>
                    <a:pt x="506" y="373"/>
                    <a:pt x="505" y="373"/>
                  </a:cubicBezTo>
                  <a:cubicBezTo>
                    <a:pt x="504" y="373"/>
                    <a:pt x="504" y="373"/>
                    <a:pt x="503" y="373"/>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9" name="Freeform 714"/>
            <p:cNvSpPr>
              <a:spLocks noChangeArrowheads="1"/>
            </p:cNvSpPr>
            <p:nvPr/>
          </p:nvSpPr>
          <p:spPr bwMode="auto">
            <a:xfrm>
              <a:off x="4865688" y="1593850"/>
              <a:ext cx="228600" cy="134938"/>
            </a:xfrm>
            <a:custGeom>
              <a:avLst/>
              <a:gdLst/>
              <a:ahLst/>
              <a:cxnLst>
                <a:cxn ang="0">
                  <a:pos x="505" y="373"/>
                </a:cxn>
                <a:cxn ang="0">
                  <a:pos x="503" y="373"/>
                </a:cxn>
                <a:cxn ang="0">
                  <a:pos x="469" y="356"/>
                </a:cxn>
                <a:cxn ang="0">
                  <a:pos x="400" y="296"/>
                </a:cxn>
                <a:cxn ang="0">
                  <a:pos x="369" y="293"/>
                </a:cxn>
                <a:cxn ang="0">
                  <a:pos x="365" y="290"/>
                </a:cxn>
                <a:cxn ang="0">
                  <a:pos x="342" y="252"/>
                </a:cxn>
                <a:cxn ang="0">
                  <a:pos x="295" y="275"/>
                </a:cxn>
                <a:cxn ang="0">
                  <a:pos x="293" y="276"/>
                </a:cxn>
                <a:cxn ang="0">
                  <a:pos x="291" y="276"/>
                </a:cxn>
                <a:cxn ang="0">
                  <a:pos x="245" y="259"/>
                </a:cxn>
                <a:cxn ang="0">
                  <a:pos x="115" y="255"/>
                </a:cxn>
                <a:cxn ang="0">
                  <a:pos x="58" y="280"/>
                </a:cxn>
                <a:cxn ang="0">
                  <a:pos x="34" y="304"/>
                </a:cxn>
                <a:cxn ang="0">
                  <a:pos x="31" y="305"/>
                </a:cxn>
                <a:cxn ang="0">
                  <a:pos x="28" y="305"/>
                </a:cxn>
                <a:cxn ang="0">
                  <a:pos x="2" y="288"/>
                </a:cxn>
                <a:cxn ang="0">
                  <a:pos x="0" y="284"/>
                </a:cxn>
                <a:cxn ang="0">
                  <a:pos x="5" y="203"/>
                </a:cxn>
                <a:cxn ang="0">
                  <a:pos x="64" y="79"/>
                </a:cxn>
                <a:cxn ang="0">
                  <a:pos x="134" y="43"/>
                </a:cxn>
                <a:cxn ang="0">
                  <a:pos x="136" y="42"/>
                </a:cxn>
                <a:cxn ang="0">
                  <a:pos x="140" y="44"/>
                </a:cxn>
                <a:cxn ang="0">
                  <a:pos x="208" y="146"/>
                </a:cxn>
                <a:cxn ang="0">
                  <a:pos x="265" y="164"/>
                </a:cxn>
                <a:cxn ang="0">
                  <a:pos x="280" y="125"/>
                </a:cxn>
                <a:cxn ang="0">
                  <a:pos x="288" y="30"/>
                </a:cxn>
                <a:cxn ang="0">
                  <a:pos x="292" y="26"/>
                </a:cxn>
                <a:cxn ang="0">
                  <a:pos x="376" y="0"/>
                </a:cxn>
                <a:cxn ang="0">
                  <a:pos x="378" y="0"/>
                </a:cxn>
                <a:cxn ang="0">
                  <a:pos x="380" y="0"/>
                </a:cxn>
                <a:cxn ang="0">
                  <a:pos x="448" y="30"/>
                </a:cxn>
                <a:cxn ang="0">
                  <a:pos x="486" y="72"/>
                </a:cxn>
                <a:cxn ang="0">
                  <a:pos x="529" y="63"/>
                </a:cxn>
                <a:cxn ang="0">
                  <a:pos x="561" y="72"/>
                </a:cxn>
                <a:cxn ang="0">
                  <a:pos x="593" y="112"/>
                </a:cxn>
                <a:cxn ang="0">
                  <a:pos x="594" y="115"/>
                </a:cxn>
                <a:cxn ang="0">
                  <a:pos x="586" y="171"/>
                </a:cxn>
                <a:cxn ang="0">
                  <a:pos x="605" y="183"/>
                </a:cxn>
                <a:cxn ang="0">
                  <a:pos x="628" y="227"/>
                </a:cxn>
                <a:cxn ang="0">
                  <a:pos x="632" y="292"/>
                </a:cxn>
                <a:cxn ang="0">
                  <a:pos x="628" y="297"/>
                </a:cxn>
                <a:cxn ang="0">
                  <a:pos x="605" y="301"/>
                </a:cxn>
                <a:cxn ang="0">
                  <a:pos x="568" y="350"/>
                </a:cxn>
                <a:cxn ang="0">
                  <a:pos x="564" y="352"/>
                </a:cxn>
                <a:cxn ang="0">
                  <a:pos x="563" y="352"/>
                </a:cxn>
                <a:cxn ang="0">
                  <a:pos x="532" y="344"/>
                </a:cxn>
                <a:cxn ang="0">
                  <a:pos x="508" y="371"/>
                </a:cxn>
                <a:cxn ang="0">
                  <a:pos x="505" y="373"/>
                </a:cxn>
              </a:cxnLst>
              <a:rect l="0" t="0" r="r" b="b"/>
              <a:pathLst>
                <a:path w="633" h="374">
                  <a:moveTo>
                    <a:pt x="505" y="373"/>
                  </a:moveTo>
                  <a:cubicBezTo>
                    <a:pt x="504" y="373"/>
                    <a:pt x="504" y="373"/>
                    <a:pt x="503" y="373"/>
                  </a:cubicBezTo>
                  <a:lnTo>
                    <a:pt x="469" y="356"/>
                  </a:lnTo>
                  <a:lnTo>
                    <a:pt x="400" y="296"/>
                  </a:lnTo>
                  <a:lnTo>
                    <a:pt x="369" y="293"/>
                  </a:lnTo>
                  <a:cubicBezTo>
                    <a:pt x="367" y="292"/>
                    <a:pt x="366" y="292"/>
                    <a:pt x="365" y="290"/>
                  </a:cubicBezTo>
                  <a:lnTo>
                    <a:pt x="342" y="252"/>
                  </a:lnTo>
                  <a:lnTo>
                    <a:pt x="295" y="275"/>
                  </a:lnTo>
                  <a:cubicBezTo>
                    <a:pt x="295" y="276"/>
                    <a:pt x="294" y="276"/>
                    <a:pt x="293" y="276"/>
                  </a:cubicBezTo>
                  <a:cubicBezTo>
                    <a:pt x="293" y="276"/>
                    <a:pt x="292" y="276"/>
                    <a:pt x="291" y="276"/>
                  </a:cubicBezTo>
                  <a:lnTo>
                    <a:pt x="245" y="259"/>
                  </a:lnTo>
                  <a:lnTo>
                    <a:pt x="115" y="255"/>
                  </a:lnTo>
                  <a:lnTo>
                    <a:pt x="58" y="280"/>
                  </a:lnTo>
                  <a:lnTo>
                    <a:pt x="34" y="304"/>
                  </a:lnTo>
                  <a:cubicBezTo>
                    <a:pt x="33" y="305"/>
                    <a:pt x="32" y="305"/>
                    <a:pt x="31" y="305"/>
                  </a:cubicBezTo>
                  <a:cubicBezTo>
                    <a:pt x="30" y="305"/>
                    <a:pt x="29" y="305"/>
                    <a:pt x="28" y="305"/>
                  </a:cubicBezTo>
                  <a:lnTo>
                    <a:pt x="2" y="288"/>
                  </a:lnTo>
                  <a:cubicBezTo>
                    <a:pt x="1" y="287"/>
                    <a:pt x="0" y="285"/>
                    <a:pt x="0" y="284"/>
                  </a:cubicBezTo>
                  <a:lnTo>
                    <a:pt x="5" y="203"/>
                  </a:lnTo>
                  <a:lnTo>
                    <a:pt x="64" y="79"/>
                  </a:lnTo>
                  <a:lnTo>
                    <a:pt x="134" y="43"/>
                  </a:lnTo>
                  <a:cubicBezTo>
                    <a:pt x="135" y="42"/>
                    <a:pt x="136" y="42"/>
                    <a:pt x="136" y="42"/>
                  </a:cubicBezTo>
                  <a:cubicBezTo>
                    <a:pt x="138" y="42"/>
                    <a:pt x="139" y="43"/>
                    <a:pt x="140" y="44"/>
                  </a:cubicBezTo>
                  <a:lnTo>
                    <a:pt x="208" y="146"/>
                  </a:lnTo>
                  <a:lnTo>
                    <a:pt x="265" y="164"/>
                  </a:lnTo>
                  <a:lnTo>
                    <a:pt x="280" y="125"/>
                  </a:lnTo>
                  <a:lnTo>
                    <a:pt x="288" y="30"/>
                  </a:lnTo>
                  <a:cubicBezTo>
                    <a:pt x="289" y="28"/>
                    <a:pt x="290" y="26"/>
                    <a:pt x="292" y="26"/>
                  </a:cubicBezTo>
                  <a:lnTo>
                    <a:pt x="376" y="0"/>
                  </a:lnTo>
                  <a:cubicBezTo>
                    <a:pt x="377" y="0"/>
                    <a:pt x="377" y="0"/>
                    <a:pt x="378" y="0"/>
                  </a:cubicBezTo>
                  <a:cubicBezTo>
                    <a:pt x="379" y="0"/>
                    <a:pt x="379" y="0"/>
                    <a:pt x="380" y="0"/>
                  </a:cubicBezTo>
                  <a:lnTo>
                    <a:pt x="448" y="30"/>
                  </a:lnTo>
                  <a:lnTo>
                    <a:pt x="486" y="72"/>
                  </a:lnTo>
                  <a:lnTo>
                    <a:pt x="529" y="63"/>
                  </a:lnTo>
                  <a:lnTo>
                    <a:pt x="561" y="72"/>
                  </a:lnTo>
                  <a:lnTo>
                    <a:pt x="593" y="112"/>
                  </a:lnTo>
                  <a:cubicBezTo>
                    <a:pt x="594" y="113"/>
                    <a:pt x="594" y="114"/>
                    <a:pt x="594" y="115"/>
                  </a:cubicBezTo>
                  <a:lnTo>
                    <a:pt x="586" y="171"/>
                  </a:lnTo>
                  <a:lnTo>
                    <a:pt x="605" y="183"/>
                  </a:lnTo>
                  <a:lnTo>
                    <a:pt x="628" y="227"/>
                  </a:lnTo>
                  <a:lnTo>
                    <a:pt x="632" y="292"/>
                  </a:lnTo>
                  <a:cubicBezTo>
                    <a:pt x="632" y="294"/>
                    <a:pt x="631" y="297"/>
                    <a:pt x="628" y="297"/>
                  </a:cubicBezTo>
                  <a:lnTo>
                    <a:pt x="605" y="301"/>
                  </a:lnTo>
                  <a:lnTo>
                    <a:pt x="568" y="350"/>
                  </a:lnTo>
                  <a:cubicBezTo>
                    <a:pt x="567" y="351"/>
                    <a:pt x="566" y="352"/>
                    <a:pt x="564" y="352"/>
                  </a:cubicBezTo>
                  <a:lnTo>
                    <a:pt x="563" y="352"/>
                  </a:lnTo>
                  <a:lnTo>
                    <a:pt x="532" y="344"/>
                  </a:lnTo>
                  <a:lnTo>
                    <a:pt x="508" y="371"/>
                  </a:lnTo>
                  <a:cubicBezTo>
                    <a:pt x="508" y="372"/>
                    <a:pt x="506" y="373"/>
                    <a:pt x="505" y="373"/>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0" name="Freeform 715"/>
            <p:cNvSpPr>
              <a:spLocks noChangeArrowheads="1"/>
            </p:cNvSpPr>
            <p:nvPr/>
          </p:nvSpPr>
          <p:spPr bwMode="auto">
            <a:xfrm>
              <a:off x="4827588" y="1741488"/>
              <a:ext cx="104775" cy="53975"/>
            </a:xfrm>
            <a:custGeom>
              <a:avLst/>
              <a:gdLst/>
              <a:ahLst/>
              <a:cxnLst>
                <a:cxn ang="0">
                  <a:pos x="4" y="132"/>
                </a:cxn>
                <a:cxn ang="0">
                  <a:pos x="1" y="130"/>
                </a:cxn>
                <a:cxn ang="0">
                  <a:pos x="1" y="126"/>
                </a:cxn>
                <a:cxn ang="0">
                  <a:pos x="35" y="54"/>
                </a:cxn>
                <a:cxn ang="0">
                  <a:pos x="99" y="22"/>
                </a:cxn>
                <a:cxn ang="0">
                  <a:pos x="101" y="21"/>
                </a:cxn>
                <a:cxn ang="0">
                  <a:pos x="105" y="23"/>
                </a:cxn>
                <a:cxn ang="0">
                  <a:pos x="106" y="29"/>
                </a:cxn>
                <a:cxn ang="0">
                  <a:pos x="96" y="44"/>
                </a:cxn>
                <a:cxn ang="0">
                  <a:pos x="127" y="54"/>
                </a:cxn>
                <a:cxn ang="0">
                  <a:pos x="135" y="13"/>
                </a:cxn>
                <a:cxn ang="0">
                  <a:pos x="135" y="5"/>
                </a:cxn>
                <a:cxn ang="0">
                  <a:pos x="137" y="1"/>
                </a:cxn>
                <a:cxn ang="0">
                  <a:pos x="140" y="0"/>
                </a:cxn>
                <a:cxn ang="0">
                  <a:pos x="141" y="1"/>
                </a:cxn>
                <a:cxn ang="0">
                  <a:pos x="209" y="30"/>
                </a:cxn>
                <a:cxn ang="0">
                  <a:pos x="267" y="38"/>
                </a:cxn>
                <a:cxn ang="0">
                  <a:pos x="271" y="41"/>
                </a:cxn>
                <a:cxn ang="0">
                  <a:pos x="288" y="75"/>
                </a:cxn>
                <a:cxn ang="0">
                  <a:pos x="275" y="137"/>
                </a:cxn>
                <a:cxn ang="0">
                  <a:pos x="271" y="141"/>
                </a:cxn>
                <a:cxn ang="0">
                  <a:pos x="118" y="149"/>
                </a:cxn>
                <a:cxn ang="0">
                  <a:pos x="4" y="132"/>
                </a:cxn>
              </a:cxnLst>
              <a:rect l="0" t="0" r="r" b="b"/>
              <a:pathLst>
                <a:path w="289" h="150">
                  <a:moveTo>
                    <a:pt x="4" y="132"/>
                  </a:moveTo>
                  <a:cubicBezTo>
                    <a:pt x="3" y="132"/>
                    <a:pt x="2" y="131"/>
                    <a:pt x="1" y="130"/>
                  </a:cubicBezTo>
                  <a:cubicBezTo>
                    <a:pt x="0" y="129"/>
                    <a:pt x="0" y="127"/>
                    <a:pt x="1" y="126"/>
                  </a:cubicBezTo>
                  <a:lnTo>
                    <a:pt x="35" y="54"/>
                  </a:lnTo>
                  <a:lnTo>
                    <a:pt x="99" y="22"/>
                  </a:lnTo>
                  <a:cubicBezTo>
                    <a:pt x="100" y="22"/>
                    <a:pt x="101" y="21"/>
                    <a:pt x="101" y="21"/>
                  </a:cubicBezTo>
                  <a:cubicBezTo>
                    <a:pt x="103" y="21"/>
                    <a:pt x="104" y="22"/>
                    <a:pt x="105" y="23"/>
                  </a:cubicBezTo>
                  <a:cubicBezTo>
                    <a:pt x="106" y="24"/>
                    <a:pt x="107" y="27"/>
                    <a:pt x="106" y="29"/>
                  </a:cubicBezTo>
                  <a:lnTo>
                    <a:pt x="96" y="44"/>
                  </a:lnTo>
                  <a:lnTo>
                    <a:pt x="127" y="54"/>
                  </a:lnTo>
                  <a:lnTo>
                    <a:pt x="135" y="13"/>
                  </a:lnTo>
                  <a:lnTo>
                    <a:pt x="135" y="5"/>
                  </a:lnTo>
                  <a:cubicBezTo>
                    <a:pt x="135" y="3"/>
                    <a:pt x="136" y="2"/>
                    <a:pt x="137" y="1"/>
                  </a:cubicBezTo>
                  <a:cubicBezTo>
                    <a:pt x="138" y="0"/>
                    <a:pt x="139" y="0"/>
                    <a:pt x="140" y="0"/>
                  </a:cubicBezTo>
                  <a:cubicBezTo>
                    <a:pt x="140" y="0"/>
                    <a:pt x="141" y="0"/>
                    <a:pt x="141" y="1"/>
                  </a:cubicBezTo>
                  <a:lnTo>
                    <a:pt x="209" y="30"/>
                  </a:lnTo>
                  <a:lnTo>
                    <a:pt x="267" y="38"/>
                  </a:lnTo>
                  <a:cubicBezTo>
                    <a:pt x="269" y="39"/>
                    <a:pt x="270" y="40"/>
                    <a:pt x="271" y="41"/>
                  </a:cubicBezTo>
                  <a:lnTo>
                    <a:pt x="288" y="75"/>
                  </a:lnTo>
                  <a:lnTo>
                    <a:pt x="275" y="137"/>
                  </a:lnTo>
                  <a:cubicBezTo>
                    <a:pt x="275" y="139"/>
                    <a:pt x="273" y="141"/>
                    <a:pt x="271" y="141"/>
                  </a:cubicBezTo>
                  <a:cubicBezTo>
                    <a:pt x="271" y="141"/>
                    <a:pt x="119" y="149"/>
                    <a:pt x="118" y="149"/>
                  </a:cubicBezTo>
                  <a:lnTo>
                    <a:pt x="4" y="13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1" name="Freeform 716"/>
            <p:cNvSpPr>
              <a:spLocks noChangeArrowheads="1"/>
            </p:cNvSpPr>
            <p:nvPr/>
          </p:nvSpPr>
          <p:spPr bwMode="auto">
            <a:xfrm>
              <a:off x="4827588" y="1741488"/>
              <a:ext cx="104775" cy="53975"/>
            </a:xfrm>
            <a:custGeom>
              <a:avLst/>
              <a:gdLst/>
              <a:ahLst/>
              <a:cxnLst>
                <a:cxn ang="0">
                  <a:pos x="4" y="132"/>
                </a:cxn>
                <a:cxn ang="0">
                  <a:pos x="1" y="130"/>
                </a:cxn>
                <a:cxn ang="0">
                  <a:pos x="1" y="126"/>
                </a:cxn>
                <a:cxn ang="0">
                  <a:pos x="35" y="54"/>
                </a:cxn>
                <a:cxn ang="0">
                  <a:pos x="99" y="22"/>
                </a:cxn>
                <a:cxn ang="0">
                  <a:pos x="101" y="21"/>
                </a:cxn>
                <a:cxn ang="0">
                  <a:pos x="105" y="23"/>
                </a:cxn>
                <a:cxn ang="0">
                  <a:pos x="106" y="29"/>
                </a:cxn>
                <a:cxn ang="0">
                  <a:pos x="96" y="44"/>
                </a:cxn>
                <a:cxn ang="0">
                  <a:pos x="127" y="54"/>
                </a:cxn>
                <a:cxn ang="0">
                  <a:pos x="135" y="13"/>
                </a:cxn>
                <a:cxn ang="0">
                  <a:pos x="135" y="5"/>
                </a:cxn>
                <a:cxn ang="0">
                  <a:pos x="137" y="1"/>
                </a:cxn>
                <a:cxn ang="0">
                  <a:pos x="140" y="0"/>
                </a:cxn>
                <a:cxn ang="0">
                  <a:pos x="141" y="1"/>
                </a:cxn>
                <a:cxn ang="0">
                  <a:pos x="209" y="30"/>
                </a:cxn>
                <a:cxn ang="0">
                  <a:pos x="267" y="38"/>
                </a:cxn>
                <a:cxn ang="0">
                  <a:pos x="271" y="41"/>
                </a:cxn>
                <a:cxn ang="0">
                  <a:pos x="288" y="75"/>
                </a:cxn>
                <a:cxn ang="0">
                  <a:pos x="275" y="137"/>
                </a:cxn>
                <a:cxn ang="0">
                  <a:pos x="271" y="141"/>
                </a:cxn>
                <a:cxn ang="0">
                  <a:pos x="118" y="149"/>
                </a:cxn>
                <a:cxn ang="0">
                  <a:pos x="4" y="132"/>
                </a:cxn>
              </a:cxnLst>
              <a:rect l="0" t="0" r="r" b="b"/>
              <a:pathLst>
                <a:path w="289" h="150">
                  <a:moveTo>
                    <a:pt x="4" y="132"/>
                  </a:moveTo>
                  <a:cubicBezTo>
                    <a:pt x="3" y="132"/>
                    <a:pt x="2" y="131"/>
                    <a:pt x="1" y="130"/>
                  </a:cubicBezTo>
                  <a:cubicBezTo>
                    <a:pt x="0" y="129"/>
                    <a:pt x="0" y="127"/>
                    <a:pt x="1" y="126"/>
                  </a:cubicBezTo>
                  <a:lnTo>
                    <a:pt x="35" y="54"/>
                  </a:lnTo>
                  <a:lnTo>
                    <a:pt x="99" y="22"/>
                  </a:lnTo>
                  <a:cubicBezTo>
                    <a:pt x="100" y="22"/>
                    <a:pt x="101" y="21"/>
                    <a:pt x="101" y="21"/>
                  </a:cubicBezTo>
                  <a:cubicBezTo>
                    <a:pt x="103" y="21"/>
                    <a:pt x="104" y="22"/>
                    <a:pt x="105" y="23"/>
                  </a:cubicBezTo>
                  <a:cubicBezTo>
                    <a:pt x="106" y="24"/>
                    <a:pt x="107" y="27"/>
                    <a:pt x="106" y="29"/>
                  </a:cubicBezTo>
                  <a:lnTo>
                    <a:pt x="96" y="44"/>
                  </a:lnTo>
                  <a:lnTo>
                    <a:pt x="127" y="54"/>
                  </a:lnTo>
                  <a:lnTo>
                    <a:pt x="135" y="13"/>
                  </a:lnTo>
                  <a:lnTo>
                    <a:pt x="135" y="5"/>
                  </a:lnTo>
                  <a:cubicBezTo>
                    <a:pt x="135" y="3"/>
                    <a:pt x="136" y="2"/>
                    <a:pt x="137" y="1"/>
                  </a:cubicBezTo>
                  <a:cubicBezTo>
                    <a:pt x="138" y="0"/>
                    <a:pt x="139" y="0"/>
                    <a:pt x="140" y="0"/>
                  </a:cubicBezTo>
                  <a:cubicBezTo>
                    <a:pt x="140" y="0"/>
                    <a:pt x="141" y="0"/>
                    <a:pt x="141" y="1"/>
                  </a:cubicBezTo>
                  <a:lnTo>
                    <a:pt x="209" y="30"/>
                  </a:lnTo>
                  <a:lnTo>
                    <a:pt x="267" y="38"/>
                  </a:lnTo>
                  <a:cubicBezTo>
                    <a:pt x="269" y="39"/>
                    <a:pt x="270" y="40"/>
                    <a:pt x="271" y="41"/>
                  </a:cubicBezTo>
                  <a:lnTo>
                    <a:pt x="288" y="75"/>
                  </a:lnTo>
                  <a:lnTo>
                    <a:pt x="275" y="137"/>
                  </a:lnTo>
                  <a:cubicBezTo>
                    <a:pt x="275" y="139"/>
                    <a:pt x="273" y="141"/>
                    <a:pt x="271" y="141"/>
                  </a:cubicBezTo>
                  <a:cubicBezTo>
                    <a:pt x="271" y="141"/>
                    <a:pt x="119" y="149"/>
                    <a:pt x="118" y="149"/>
                  </a:cubicBezTo>
                  <a:lnTo>
                    <a:pt x="4" y="13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2" name="Freeform 717"/>
            <p:cNvSpPr>
              <a:spLocks noChangeArrowheads="1"/>
            </p:cNvSpPr>
            <p:nvPr/>
          </p:nvSpPr>
          <p:spPr bwMode="auto">
            <a:xfrm>
              <a:off x="4865688" y="1679575"/>
              <a:ext cx="184150" cy="136525"/>
            </a:xfrm>
            <a:custGeom>
              <a:avLst/>
              <a:gdLst/>
              <a:ahLst/>
              <a:cxnLst>
                <a:cxn ang="0">
                  <a:pos x="221" y="374"/>
                </a:cxn>
                <a:cxn ang="0">
                  <a:pos x="217" y="354"/>
                </a:cxn>
                <a:cxn ang="0">
                  <a:pos x="159" y="309"/>
                </a:cxn>
                <a:cxn ang="0">
                  <a:pos x="157" y="304"/>
                </a:cxn>
                <a:cxn ang="0">
                  <a:pos x="170" y="245"/>
                </a:cxn>
                <a:cxn ang="0">
                  <a:pos x="155" y="216"/>
                </a:cxn>
                <a:cxn ang="0">
                  <a:pos x="98" y="208"/>
                </a:cxn>
                <a:cxn ang="0">
                  <a:pos x="29" y="178"/>
                </a:cxn>
                <a:cxn ang="0">
                  <a:pos x="26" y="175"/>
                </a:cxn>
                <a:cxn ang="0">
                  <a:pos x="1" y="44"/>
                </a:cxn>
                <a:cxn ang="0">
                  <a:pos x="2" y="39"/>
                </a:cxn>
                <a:cxn ang="0">
                  <a:pos x="5" y="38"/>
                </a:cxn>
                <a:cxn ang="0">
                  <a:pos x="8" y="39"/>
                </a:cxn>
                <a:cxn ang="0">
                  <a:pos x="30" y="54"/>
                </a:cxn>
                <a:cxn ang="0">
                  <a:pos x="53" y="31"/>
                </a:cxn>
                <a:cxn ang="0">
                  <a:pos x="113" y="5"/>
                </a:cxn>
                <a:cxn ang="0">
                  <a:pos x="247" y="8"/>
                </a:cxn>
                <a:cxn ang="0">
                  <a:pos x="293" y="25"/>
                </a:cxn>
                <a:cxn ang="0">
                  <a:pos x="342" y="0"/>
                </a:cxn>
                <a:cxn ang="0">
                  <a:pos x="344" y="0"/>
                </a:cxn>
                <a:cxn ang="0">
                  <a:pos x="348" y="2"/>
                </a:cxn>
                <a:cxn ang="0">
                  <a:pos x="372" y="43"/>
                </a:cxn>
                <a:cxn ang="0">
                  <a:pos x="404" y="46"/>
                </a:cxn>
                <a:cxn ang="0">
                  <a:pos x="474" y="107"/>
                </a:cxn>
                <a:cxn ang="0">
                  <a:pos x="507" y="123"/>
                </a:cxn>
                <a:cxn ang="0">
                  <a:pos x="510" y="127"/>
                </a:cxn>
                <a:cxn ang="0">
                  <a:pos x="508" y="131"/>
                </a:cxn>
                <a:cxn ang="0">
                  <a:pos x="484" y="147"/>
                </a:cxn>
                <a:cxn ang="0">
                  <a:pos x="484" y="162"/>
                </a:cxn>
                <a:cxn ang="0">
                  <a:pos x="507" y="169"/>
                </a:cxn>
                <a:cxn ang="0">
                  <a:pos x="509" y="172"/>
                </a:cxn>
                <a:cxn ang="0">
                  <a:pos x="509" y="176"/>
                </a:cxn>
                <a:cxn ang="0">
                  <a:pos x="496" y="201"/>
                </a:cxn>
                <a:cxn ang="0">
                  <a:pos x="494" y="204"/>
                </a:cxn>
                <a:cxn ang="0">
                  <a:pos x="433" y="228"/>
                </a:cxn>
                <a:cxn ang="0">
                  <a:pos x="413" y="305"/>
                </a:cxn>
                <a:cxn ang="0">
                  <a:pos x="429" y="337"/>
                </a:cxn>
                <a:cxn ang="0">
                  <a:pos x="429" y="341"/>
                </a:cxn>
                <a:cxn ang="0">
                  <a:pos x="426" y="343"/>
                </a:cxn>
                <a:cxn ang="0">
                  <a:pos x="413" y="347"/>
                </a:cxn>
                <a:cxn ang="0">
                  <a:pos x="412" y="348"/>
                </a:cxn>
                <a:cxn ang="0">
                  <a:pos x="409" y="347"/>
                </a:cxn>
                <a:cxn ang="0">
                  <a:pos x="382" y="327"/>
                </a:cxn>
                <a:cxn ang="0">
                  <a:pos x="345" y="346"/>
                </a:cxn>
                <a:cxn ang="0">
                  <a:pos x="349" y="363"/>
                </a:cxn>
                <a:cxn ang="0">
                  <a:pos x="348" y="367"/>
                </a:cxn>
                <a:cxn ang="0">
                  <a:pos x="344" y="369"/>
                </a:cxn>
                <a:cxn ang="0">
                  <a:pos x="225" y="378"/>
                </a:cxn>
                <a:cxn ang="0">
                  <a:pos x="221" y="374"/>
                </a:cxn>
              </a:cxnLst>
              <a:rect l="0" t="0" r="r" b="b"/>
              <a:pathLst>
                <a:path w="511" h="379">
                  <a:moveTo>
                    <a:pt x="221" y="374"/>
                  </a:moveTo>
                  <a:lnTo>
                    <a:pt x="217" y="354"/>
                  </a:lnTo>
                  <a:lnTo>
                    <a:pt x="159" y="309"/>
                  </a:lnTo>
                  <a:cubicBezTo>
                    <a:pt x="158" y="308"/>
                    <a:pt x="157" y="306"/>
                    <a:pt x="157" y="304"/>
                  </a:cubicBezTo>
                  <a:lnTo>
                    <a:pt x="170" y="245"/>
                  </a:lnTo>
                  <a:lnTo>
                    <a:pt x="155" y="216"/>
                  </a:lnTo>
                  <a:lnTo>
                    <a:pt x="98" y="208"/>
                  </a:lnTo>
                  <a:lnTo>
                    <a:pt x="29" y="178"/>
                  </a:lnTo>
                  <a:cubicBezTo>
                    <a:pt x="27" y="178"/>
                    <a:pt x="26" y="176"/>
                    <a:pt x="26" y="175"/>
                  </a:cubicBezTo>
                  <a:lnTo>
                    <a:pt x="1" y="44"/>
                  </a:lnTo>
                  <a:cubicBezTo>
                    <a:pt x="0" y="42"/>
                    <a:pt x="1" y="40"/>
                    <a:pt x="2" y="39"/>
                  </a:cubicBezTo>
                  <a:cubicBezTo>
                    <a:pt x="3" y="38"/>
                    <a:pt x="4" y="38"/>
                    <a:pt x="5" y="38"/>
                  </a:cubicBezTo>
                  <a:cubicBezTo>
                    <a:pt x="6" y="38"/>
                    <a:pt x="7" y="38"/>
                    <a:pt x="8" y="39"/>
                  </a:cubicBezTo>
                  <a:lnTo>
                    <a:pt x="30" y="54"/>
                  </a:lnTo>
                  <a:lnTo>
                    <a:pt x="53" y="31"/>
                  </a:lnTo>
                  <a:lnTo>
                    <a:pt x="113" y="5"/>
                  </a:lnTo>
                  <a:lnTo>
                    <a:pt x="247" y="8"/>
                  </a:lnTo>
                  <a:lnTo>
                    <a:pt x="293" y="25"/>
                  </a:lnTo>
                  <a:lnTo>
                    <a:pt x="342" y="0"/>
                  </a:lnTo>
                  <a:cubicBezTo>
                    <a:pt x="343" y="0"/>
                    <a:pt x="343" y="0"/>
                    <a:pt x="344" y="0"/>
                  </a:cubicBezTo>
                  <a:cubicBezTo>
                    <a:pt x="346" y="0"/>
                    <a:pt x="347" y="1"/>
                    <a:pt x="348" y="2"/>
                  </a:cubicBezTo>
                  <a:lnTo>
                    <a:pt x="372" y="43"/>
                  </a:lnTo>
                  <a:lnTo>
                    <a:pt x="404" y="46"/>
                  </a:lnTo>
                  <a:lnTo>
                    <a:pt x="474" y="107"/>
                  </a:lnTo>
                  <a:lnTo>
                    <a:pt x="507" y="123"/>
                  </a:lnTo>
                  <a:cubicBezTo>
                    <a:pt x="509" y="124"/>
                    <a:pt x="510" y="125"/>
                    <a:pt x="510" y="127"/>
                  </a:cubicBezTo>
                  <a:cubicBezTo>
                    <a:pt x="510" y="129"/>
                    <a:pt x="509" y="130"/>
                    <a:pt x="508" y="131"/>
                  </a:cubicBezTo>
                  <a:lnTo>
                    <a:pt x="484" y="147"/>
                  </a:lnTo>
                  <a:lnTo>
                    <a:pt x="484" y="162"/>
                  </a:lnTo>
                  <a:lnTo>
                    <a:pt x="507" y="169"/>
                  </a:lnTo>
                  <a:cubicBezTo>
                    <a:pt x="508" y="170"/>
                    <a:pt x="509" y="171"/>
                    <a:pt x="509" y="172"/>
                  </a:cubicBezTo>
                  <a:cubicBezTo>
                    <a:pt x="510" y="173"/>
                    <a:pt x="510" y="175"/>
                    <a:pt x="509" y="176"/>
                  </a:cubicBezTo>
                  <a:lnTo>
                    <a:pt x="496" y="201"/>
                  </a:lnTo>
                  <a:cubicBezTo>
                    <a:pt x="496" y="202"/>
                    <a:pt x="495" y="203"/>
                    <a:pt x="494" y="204"/>
                  </a:cubicBezTo>
                  <a:lnTo>
                    <a:pt x="433" y="228"/>
                  </a:lnTo>
                  <a:lnTo>
                    <a:pt x="413" y="305"/>
                  </a:lnTo>
                  <a:lnTo>
                    <a:pt x="429" y="337"/>
                  </a:lnTo>
                  <a:cubicBezTo>
                    <a:pt x="429" y="338"/>
                    <a:pt x="430" y="339"/>
                    <a:pt x="429" y="341"/>
                  </a:cubicBezTo>
                  <a:cubicBezTo>
                    <a:pt x="428" y="342"/>
                    <a:pt x="427" y="343"/>
                    <a:pt x="426" y="343"/>
                  </a:cubicBezTo>
                  <a:lnTo>
                    <a:pt x="413" y="347"/>
                  </a:lnTo>
                  <a:cubicBezTo>
                    <a:pt x="413" y="348"/>
                    <a:pt x="412" y="348"/>
                    <a:pt x="412" y="348"/>
                  </a:cubicBezTo>
                  <a:cubicBezTo>
                    <a:pt x="411" y="348"/>
                    <a:pt x="410" y="347"/>
                    <a:pt x="409" y="347"/>
                  </a:cubicBezTo>
                  <a:lnTo>
                    <a:pt x="382" y="327"/>
                  </a:lnTo>
                  <a:lnTo>
                    <a:pt x="345" y="346"/>
                  </a:lnTo>
                  <a:lnTo>
                    <a:pt x="349" y="363"/>
                  </a:lnTo>
                  <a:cubicBezTo>
                    <a:pt x="349" y="365"/>
                    <a:pt x="349" y="366"/>
                    <a:pt x="348" y="367"/>
                  </a:cubicBezTo>
                  <a:cubicBezTo>
                    <a:pt x="347" y="368"/>
                    <a:pt x="346" y="369"/>
                    <a:pt x="344" y="369"/>
                  </a:cubicBezTo>
                  <a:lnTo>
                    <a:pt x="225" y="378"/>
                  </a:lnTo>
                  <a:cubicBezTo>
                    <a:pt x="223" y="378"/>
                    <a:pt x="221" y="376"/>
                    <a:pt x="221" y="374"/>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3" name="Freeform 718"/>
            <p:cNvSpPr>
              <a:spLocks noChangeArrowheads="1"/>
            </p:cNvSpPr>
            <p:nvPr/>
          </p:nvSpPr>
          <p:spPr bwMode="auto">
            <a:xfrm>
              <a:off x="4865688" y="1679575"/>
              <a:ext cx="184150" cy="136525"/>
            </a:xfrm>
            <a:custGeom>
              <a:avLst/>
              <a:gdLst/>
              <a:ahLst/>
              <a:cxnLst>
                <a:cxn ang="0">
                  <a:pos x="225" y="378"/>
                </a:cxn>
                <a:cxn ang="0">
                  <a:pos x="221" y="374"/>
                </a:cxn>
                <a:cxn ang="0">
                  <a:pos x="217" y="354"/>
                </a:cxn>
                <a:cxn ang="0">
                  <a:pos x="159" y="309"/>
                </a:cxn>
                <a:cxn ang="0">
                  <a:pos x="157" y="304"/>
                </a:cxn>
                <a:cxn ang="0">
                  <a:pos x="170" y="245"/>
                </a:cxn>
                <a:cxn ang="0">
                  <a:pos x="155" y="216"/>
                </a:cxn>
                <a:cxn ang="0">
                  <a:pos x="98" y="208"/>
                </a:cxn>
                <a:cxn ang="0">
                  <a:pos x="29" y="178"/>
                </a:cxn>
                <a:cxn ang="0">
                  <a:pos x="26" y="175"/>
                </a:cxn>
                <a:cxn ang="0">
                  <a:pos x="1" y="44"/>
                </a:cxn>
                <a:cxn ang="0">
                  <a:pos x="2" y="39"/>
                </a:cxn>
                <a:cxn ang="0">
                  <a:pos x="5" y="38"/>
                </a:cxn>
                <a:cxn ang="0">
                  <a:pos x="8" y="39"/>
                </a:cxn>
                <a:cxn ang="0">
                  <a:pos x="30" y="54"/>
                </a:cxn>
                <a:cxn ang="0">
                  <a:pos x="53" y="31"/>
                </a:cxn>
                <a:cxn ang="0">
                  <a:pos x="113" y="5"/>
                </a:cxn>
                <a:cxn ang="0">
                  <a:pos x="247" y="8"/>
                </a:cxn>
                <a:cxn ang="0">
                  <a:pos x="293" y="25"/>
                </a:cxn>
                <a:cxn ang="0">
                  <a:pos x="342" y="0"/>
                </a:cxn>
                <a:cxn ang="0">
                  <a:pos x="344" y="0"/>
                </a:cxn>
                <a:cxn ang="0">
                  <a:pos x="348" y="2"/>
                </a:cxn>
                <a:cxn ang="0">
                  <a:pos x="372" y="43"/>
                </a:cxn>
                <a:cxn ang="0">
                  <a:pos x="404" y="46"/>
                </a:cxn>
                <a:cxn ang="0">
                  <a:pos x="474" y="107"/>
                </a:cxn>
                <a:cxn ang="0">
                  <a:pos x="507" y="123"/>
                </a:cxn>
                <a:cxn ang="0">
                  <a:pos x="510" y="127"/>
                </a:cxn>
                <a:cxn ang="0">
                  <a:pos x="508" y="131"/>
                </a:cxn>
                <a:cxn ang="0">
                  <a:pos x="484" y="147"/>
                </a:cxn>
                <a:cxn ang="0">
                  <a:pos x="484" y="162"/>
                </a:cxn>
                <a:cxn ang="0">
                  <a:pos x="507" y="169"/>
                </a:cxn>
                <a:cxn ang="0">
                  <a:pos x="509" y="172"/>
                </a:cxn>
                <a:cxn ang="0">
                  <a:pos x="509" y="176"/>
                </a:cxn>
                <a:cxn ang="0">
                  <a:pos x="496" y="201"/>
                </a:cxn>
                <a:cxn ang="0">
                  <a:pos x="494" y="204"/>
                </a:cxn>
                <a:cxn ang="0">
                  <a:pos x="433" y="228"/>
                </a:cxn>
                <a:cxn ang="0">
                  <a:pos x="413" y="305"/>
                </a:cxn>
                <a:cxn ang="0">
                  <a:pos x="429" y="337"/>
                </a:cxn>
                <a:cxn ang="0">
                  <a:pos x="429" y="341"/>
                </a:cxn>
                <a:cxn ang="0">
                  <a:pos x="426" y="343"/>
                </a:cxn>
                <a:cxn ang="0">
                  <a:pos x="413" y="347"/>
                </a:cxn>
                <a:cxn ang="0">
                  <a:pos x="412" y="348"/>
                </a:cxn>
                <a:cxn ang="0">
                  <a:pos x="409" y="347"/>
                </a:cxn>
                <a:cxn ang="0">
                  <a:pos x="382" y="327"/>
                </a:cxn>
                <a:cxn ang="0">
                  <a:pos x="345" y="346"/>
                </a:cxn>
                <a:cxn ang="0">
                  <a:pos x="349" y="363"/>
                </a:cxn>
                <a:cxn ang="0">
                  <a:pos x="348" y="367"/>
                </a:cxn>
                <a:cxn ang="0">
                  <a:pos x="344" y="369"/>
                </a:cxn>
                <a:cxn ang="0">
                  <a:pos x="225" y="378"/>
                </a:cxn>
              </a:cxnLst>
              <a:rect l="0" t="0" r="r" b="b"/>
              <a:pathLst>
                <a:path w="511" h="379">
                  <a:moveTo>
                    <a:pt x="225" y="378"/>
                  </a:moveTo>
                  <a:cubicBezTo>
                    <a:pt x="223" y="378"/>
                    <a:pt x="221" y="376"/>
                    <a:pt x="221" y="374"/>
                  </a:cubicBezTo>
                  <a:lnTo>
                    <a:pt x="217" y="354"/>
                  </a:lnTo>
                  <a:lnTo>
                    <a:pt x="159" y="309"/>
                  </a:lnTo>
                  <a:cubicBezTo>
                    <a:pt x="158" y="308"/>
                    <a:pt x="157" y="306"/>
                    <a:pt x="157" y="304"/>
                  </a:cubicBezTo>
                  <a:lnTo>
                    <a:pt x="170" y="245"/>
                  </a:lnTo>
                  <a:lnTo>
                    <a:pt x="155" y="216"/>
                  </a:lnTo>
                  <a:lnTo>
                    <a:pt x="98" y="208"/>
                  </a:lnTo>
                  <a:lnTo>
                    <a:pt x="29" y="178"/>
                  </a:lnTo>
                  <a:cubicBezTo>
                    <a:pt x="27" y="178"/>
                    <a:pt x="26" y="176"/>
                    <a:pt x="26" y="175"/>
                  </a:cubicBezTo>
                  <a:lnTo>
                    <a:pt x="1" y="44"/>
                  </a:lnTo>
                  <a:cubicBezTo>
                    <a:pt x="0" y="42"/>
                    <a:pt x="1" y="40"/>
                    <a:pt x="2" y="39"/>
                  </a:cubicBezTo>
                  <a:cubicBezTo>
                    <a:pt x="3" y="38"/>
                    <a:pt x="4" y="38"/>
                    <a:pt x="5" y="38"/>
                  </a:cubicBezTo>
                  <a:cubicBezTo>
                    <a:pt x="6" y="38"/>
                    <a:pt x="7" y="38"/>
                    <a:pt x="8" y="39"/>
                  </a:cubicBezTo>
                  <a:lnTo>
                    <a:pt x="30" y="54"/>
                  </a:lnTo>
                  <a:lnTo>
                    <a:pt x="53" y="31"/>
                  </a:lnTo>
                  <a:lnTo>
                    <a:pt x="113" y="5"/>
                  </a:lnTo>
                  <a:lnTo>
                    <a:pt x="247" y="8"/>
                  </a:lnTo>
                  <a:lnTo>
                    <a:pt x="293" y="25"/>
                  </a:lnTo>
                  <a:lnTo>
                    <a:pt x="342" y="0"/>
                  </a:lnTo>
                  <a:cubicBezTo>
                    <a:pt x="343" y="0"/>
                    <a:pt x="343" y="0"/>
                    <a:pt x="344" y="0"/>
                  </a:cubicBezTo>
                  <a:cubicBezTo>
                    <a:pt x="346" y="0"/>
                    <a:pt x="347" y="1"/>
                    <a:pt x="348" y="2"/>
                  </a:cubicBezTo>
                  <a:lnTo>
                    <a:pt x="372" y="43"/>
                  </a:lnTo>
                  <a:lnTo>
                    <a:pt x="404" y="46"/>
                  </a:lnTo>
                  <a:lnTo>
                    <a:pt x="474" y="107"/>
                  </a:lnTo>
                  <a:lnTo>
                    <a:pt x="507" y="123"/>
                  </a:lnTo>
                  <a:cubicBezTo>
                    <a:pt x="509" y="124"/>
                    <a:pt x="510" y="125"/>
                    <a:pt x="510" y="127"/>
                  </a:cubicBezTo>
                  <a:cubicBezTo>
                    <a:pt x="510" y="129"/>
                    <a:pt x="509" y="130"/>
                    <a:pt x="508" y="131"/>
                  </a:cubicBezTo>
                  <a:lnTo>
                    <a:pt x="484" y="147"/>
                  </a:lnTo>
                  <a:lnTo>
                    <a:pt x="484" y="162"/>
                  </a:lnTo>
                  <a:lnTo>
                    <a:pt x="507" y="169"/>
                  </a:lnTo>
                  <a:cubicBezTo>
                    <a:pt x="508" y="170"/>
                    <a:pt x="509" y="171"/>
                    <a:pt x="509" y="172"/>
                  </a:cubicBezTo>
                  <a:cubicBezTo>
                    <a:pt x="510" y="173"/>
                    <a:pt x="510" y="175"/>
                    <a:pt x="509" y="176"/>
                  </a:cubicBezTo>
                  <a:lnTo>
                    <a:pt x="496" y="201"/>
                  </a:lnTo>
                  <a:cubicBezTo>
                    <a:pt x="496" y="202"/>
                    <a:pt x="495" y="203"/>
                    <a:pt x="494" y="204"/>
                  </a:cubicBezTo>
                  <a:lnTo>
                    <a:pt x="433" y="228"/>
                  </a:lnTo>
                  <a:lnTo>
                    <a:pt x="413" y="305"/>
                  </a:lnTo>
                  <a:lnTo>
                    <a:pt x="429" y="337"/>
                  </a:lnTo>
                  <a:cubicBezTo>
                    <a:pt x="429" y="338"/>
                    <a:pt x="430" y="339"/>
                    <a:pt x="429" y="341"/>
                  </a:cubicBezTo>
                  <a:cubicBezTo>
                    <a:pt x="428" y="342"/>
                    <a:pt x="427" y="343"/>
                    <a:pt x="426" y="343"/>
                  </a:cubicBezTo>
                  <a:lnTo>
                    <a:pt x="413" y="347"/>
                  </a:lnTo>
                  <a:cubicBezTo>
                    <a:pt x="413" y="348"/>
                    <a:pt x="412" y="348"/>
                    <a:pt x="412" y="348"/>
                  </a:cubicBezTo>
                  <a:cubicBezTo>
                    <a:pt x="411" y="348"/>
                    <a:pt x="410" y="347"/>
                    <a:pt x="409" y="347"/>
                  </a:cubicBezTo>
                  <a:lnTo>
                    <a:pt x="382" y="327"/>
                  </a:lnTo>
                  <a:lnTo>
                    <a:pt x="345" y="346"/>
                  </a:lnTo>
                  <a:lnTo>
                    <a:pt x="349" y="363"/>
                  </a:lnTo>
                  <a:cubicBezTo>
                    <a:pt x="349" y="365"/>
                    <a:pt x="349" y="366"/>
                    <a:pt x="348" y="367"/>
                  </a:cubicBezTo>
                  <a:cubicBezTo>
                    <a:pt x="347" y="368"/>
                    <a:pt x="346" y="369"/>
                    <a:pt x="344" y="369"/>
                  </a:cubicBezTo>
                  <a:lnTo>
                    <a:pt x="225" y="378"/>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4" name="Freeform 719"/>
            <p:cNvSpPr>
              <a:spLocks noChangeArrowheads="1"/>
            </p:cNvSpPr>
            <p:nvPr/>
          </p:nvSpPr>
          <p:spPr bwMode="auto">
            <a:xfrm>
              <a:off x="4935538" y="1697038"/>
              <a:ext cx="295275" cy="247650"/>
            </a:xfrm>
            <a:custGeom>
              <a:avLst/>
              <a:gdLst/>
              <a:ahLst/>
              <a:cxnLst>
                <a:cxn ang="0">
                  <a:pos x="601" y="673"/>
                </a:cxn>
                <a:cxn ang="0">
                  <a:pos x="539" y="680"/>
                </a:cxn>
                <a:cxn ang="0">
                  <a:pos x="487" y="676"/>
                </a:cxn>
                <a:cxn ang="0">
                  <a:pos x="481" y="677"/>
                </a:cxn>
                <a:cxn ang="0">
                  <a:pos x="392" y="673"/>
                </a:cxn>
                <a:cxn ang="0">
                  <a:pos x="386" y="671"/>
                </a:cxn>
                <a:cxn ang="0">
                  <a:pos x="356" y="652"/>
                </a:cxn>
                <a:cxn ang="0">
                  <a:pos x="328" y="625"/>
                </a:cxn>
                <a:cxn ang="0">
                  <a:pos x="130" y="605"/>
                </a:cxn>
                <a:cxn ang="0">
                  <a:pos x="27" y="648"/>
                </a:cxn>
                <a:cxn ang="0">
                  <a:pos x="23" y="647"/>
                </a:cxn>
                <a:cxn ang="0">
                  <a:pos x="25" y="588"/>
                </a:cxn>
                <a:cxn ang="0">
                  <a:pos x="1" y="547"/>
                </a:cxn>
                <a:cxn ang="0">
                  <a:pos x="30" y="326"/>
                </a:cxn>
                <a:cxn ang="0">
                  <a:pos x="34" y="321"/>
                </a:cxn>
                <a:cxn ang="0">
                  <a:pos x="144" y="297"/>
                </a:cxn>
                <a:cxn ang="0">
                  <a:pos x="189" y="271"/>
                </a:cxn>
                <a:cxn ang="0">
                  <a:pos x="194" y="271"/>
                </a:cxn>
                <a:cxn ang="0">
                  <a:pos x="227" y="289"/>
                </a:cxn>
                <a:cxn ang="0">
                  <a:pos x="212" y="257"/>
                </a:cxn>
                <a:cxn ang="0">
                  <a:pos x="236" y="173"/>
                </a:cxn>
                <a:cxn ang="0">
                  <a:pos x="307" y="130"/>
                </a:cxn>
                <a:cxn ang="0">
                  <a:pos x="284" y="119"/>
                </a:cxn>
                <a:cxn ang="0">
                  <a:pos x="286" y="94"/>
                </a:cxn>
                <a:cxn ang="0">
                  <a:pos x="336" y="48"/>
                </a:cxn>
                <a:cxn ang="0">
                  <a:pos x="340" y="46"/>
                </a:cxn>
                <a:cxn ang="0">
                  <a:pos x="408" y="6"/>
                </a:cxn>
                <a:cxn ang="0">
                  <a:pos x="437" y="0"/>
                </a:cxn>
                <a:cxn ang="0">
                  <a:pos x="444" y="8"/>
                </a:cxn>
                <a:cxn ang="0">
                  <a:pos x="541" y="34"/>
                </a:cxn>
                <a:cxn ang="0">
                  <a:pos x="540" y="61"/>
                </a:cxn>
                <a:cxn ang="0">
                  <a:pos x="602" y="42"/>
                </a:cxn>
                <a:cxn ang="0">
                  <a:pos x="664" y="81"/>
                </a:cxn>
                <a:cxn ang="0">
                  <a:pos x="662" y="123"/>
                </a:cxn>
                <a:cxn ang="0">
                  <a:pos x="674" y="149"/>
                </a:cxn>
                <a:cxn ang="0">
                  <a:pos x="708" y="281"/>
                </a:cxn>
                <a:cxn ang="0">
                  <a:pos x="738" y="308"/>
                </a:cxn>
                <a:cxn ang="0">
                  <a:pos x="775" y="334"/>
                </a:cxn>
                <a:cxn ang="0">
                  <a:pos x="801" y="346"/>
                </a:cxn>
                <a:cxn ang="0">
                  <a:pos x="815" y="368"/>
                </a:cxn>
                <a:cxn ang="0">
                  <a:pos x="819" y="394"/>
                </a:cxn>
                <a:cxn ang="0">
                  <a:pos x="770" y="435"/>
                </a:cxn>
                <a:cxn ang="0">
                  <a:pos x="766" y="436"/>
                </a:cxn>
                <a:cxn ang="0">
                  <a:pos x="697" y="437"/>
                </a:cxn>
                <a:cxn ang="0">
                  <a:pos x="738" y="570"/>
                </a:cxn>
                <a:cxn ang="0">
                  <a:pos x="734" y="576"/>
                </a:cxn>
                <a:cxn ang="0">
                  <a:pos x="648" y="613"/>
                </a:cxn>
                <a:cxn ang="0">
                  <a:pos x="639" y="672"/>
                </a:cxn>
                <a:cxn ang="0">
                  <a:pos x="619" y="686"/>
                </a:cxn>
              </a:cxnLst>
              <a:rect l="0" t="0" r="r" b="b"/>
              <a:pathLst>
                <a:path w="820" h="687">
                  <a:moveTo>
                    <a:pt x="616" y="685"/>
                  </a:moveTo>
                  <a:lnTo>
                    <a:pt x="601" y="673"/>
                  </a:lnTo>
                  <a:lnTo>
                    <a:pt x="543" y="682"/>
                  </a:lnTo>
                  <a:cubicBezTo>
                    <a:pt x="542" y="682"/>
                    <a:pt x="540" y="681"/>
                    <a:pt x="539" y="680"/>
                  </a:cubicBezTo>
                  <a:lnTo>
                    <a:pt x="509" y="650"/>
                  </a:lnTo>
                  <a:lnTo>
                    <a:pt x="487" y="676"/>
                  </a:lnTo>
                  <a:cubicBezTo>
                    <a:pt x="486" y="677"/>
                    <a:pt x="485" y="677"/>
                    <a:pt x="484" y="677"/>
                  </a:cubicBezTo>
                  <a:cubicBezTo>
                    <a:pt x="483" y="677"/>
                    <a:pt x="482" y="677"/>
                    <a:pt x="481" y="677"/>
                  </a:cubicBezTo>
                  <a:lnTo>
                    <a:pt x="432" y="653"/>
                  </a:lnTo>
                  <a:lnTo>
                    <a:pt x="392" y="673"/>
                  </a:lnTo>
                  <a:cubicBezTo>
                    <a:pt x="392" y="673"/>
                    <a:pt x="391" y="673"/>
                    <a:pt x="390" y="673"/>
                  </a:cubicBezTo>
                  <a:cubicBezTo>
                    <a:pt x="389" y="673"/>
                    <a:pt x="387" y="672"/>
                    <a:pt x="386" y="671"/>
                  </a:cubicBezTo>
                  <a:lnTo>
                    <a:pt x="375" y="652"/>
                  </a:lnTo>
                  <a:lnTo>
                    <a:pt x="356" y="652"/>
                  </a:lnTo>
                  <a:cubicBezTo>
                    <a:pt x="355" y="652"/>
                    <a:pt x="354" y="652"/>
                    <a:pt x="353" y="651"/>
                  </a:cubicBezTo>
                  <a:lnTo>
                    <a:pt x="328" y="625"/>
                  </a:lnTo>
                  <a:lnTo>
                    <a:pt x="237" y="601"/>
                  </a:lnTo>
                  <a:lnTo>
                    <a:pt x="130" y="605"/>
                  </a:lnTo>
                  <a:lnTo>
                    <a:pt x="110" y="629"/>
                  </a:lnTo>
                  <a:lnTo>
                    <a:pt x="27" y="648"/>
                  </a:lnTo>
                  <a:lnTo>
                    <a:pt x="26" y="648"/>
                  </a:lnTo>
                  <a:cubicBezTo>
                    <a:pt x="25" y="648"/>
                    <a:pt x="24" y="647"/>
                    <a:pt x="23" y="647"/>
                  </a:cubicBezTo>
                  <a:cubicBezTo>
                    <a:pt x="22" y="646"/>
                    <a:pt x="21" y="644"/>
                    <a:pt x="21" y="643"/>
                  </a:cubicBezTo>
                  <a:lnTo>
                    <a:pt x="25" y="588"/>
                  </a:lnTo>
                  <a:lnTo>
                    <a:pt x="1" y="553"/>
                  </a:lnTo>
                  <a:cubicBezTo>
                    <a:pt x="0" y="551"/>
                    <a:pt x="0" y="549"/>
                    <a:pt x="1" y="547"/>
                  </a:cubicBezTo>
                  <a:lnTo>
                    <a:pt x="50" y="489"/>
                  </a:lnTo>
                  <a:lnTo>
                    <a:pt x="30" y="326"/>
                  </a:lnTo>
                  <a:cubicBezTo>
                    <a:pt x="29" y="325"/>
                    <a:pt x="30" y="324"/>
                    <a:pt x="31" y="323"/>
                  </a:cubicBezTo>
                  <a:cubicBezTo>
                    <a:pt x="32" y="322"/>
                    <a:pt x="33" y="321"/>
                    <a:pt x="34" y="321"/>
                  </a:cubicBezTo>
                  <a:lnTo>
                    <a:pt x="147" y="313"/>
                  </a:lnTo>
                  <a:lnTo>
                    <a:pt x="144" y="297"/>
                  </a:lnTo>
                  <a:cubicBezTo>
                    <a:pt x="144" y="295"/>
                    <a:pt x="145" y="293"/>
                    <a:pt x="147" y="292"/>
                  </a:cubicBezTo>
                  <a:lnTo>
                    <a:pt x="189" y="271"/>
                  </a:lnTo>
                  <a:cubicBezTo>
                    <a:pt x="190" y="270"/>
                    <a:pt x="190" y="270"/>
                    <a:pt x="191" y="270"/>
                  </a:cubicBezTo>
                  <a:cubicBezTo>
                    <a:pt x="192" y="270"/>
                    <a:pt x="193" y="271"/>
                    <a:pt x="194" y="271"/>
                  </a:cubicBezTo>
                  <a:lnTo>
                    <a:pt x="221" y="291"/>
                  </a:lnTo>
                  <a:lnTo>
                    <a:pt x="227" y="289"/>
                  </a:lnTo>
                  <a:lnTo>
                    <a:pt x="212" y="260"/>
                  </a:lnTo>
                  <a:cubicBezTo>
                    <a:pt x="212" y="259"/>
                    <a:pt x="212" y="258"/>
                    <a:pt x="212" y="257"/>
                  </a:cubicBezTo>
                  <a:lnTo>
                    <a:pt x="233" y="177"/>
                  </a:lnTo>
                  <a:cubicBezTo>
                    <a:pt x="234" y="175"/>
                    <a:pt x="234" y="174"/>
                    <a:pt x="236" y="173"/>
                  </a:cubicBezTo>
                  <a:lnTo>
                    <a:pt x="298" y="149"/>
                  </a:lnTo>
                  <a:lnTo>
                    <a:pt x="307" y="130"/>
                  </a:lnTo>
                  <a:lnTo>
                    <a:pt x="287" y="123"/>
                  </a:lnTo>
                  <a:cubicBezTo>
                    <a:pt x="285" y="122"/>
                    <a:pt x="284" y="121"/>
                    <a:pt x="284" y="119"/>
                  </a:cubicBezTo>
                  <a:lnTo>
                    <a:pt x="284" y="97"/>
                  </a:lnTo>
                  <a:cubicBezTo>
                    <a:pt x="284" y="96"/>
                    <a:pt x="284" y="94"/>
                    <a:pt x="286" y="94"/>
                  </a:cubicBezTo>
                  <a:lnTo>
                    <a:pt x="311" y="76"/>
                  </a:lnTo>
                  <a:lnTo>
                    <a:pt x="336" y="48"/>
                  </a:lnTo>
                  <a:cubicBezTo>
                    <a:pt x="337" y="47"/>
                    <a:pt x="338" y="46"/>
                    <a:pt x="339" y="46"/>
                  </a:cubicBezTo>
                  <a:lnTo>
                    <a:pt x="340" y="46"/>
                  </a:lnTo>
                  <a:lnTo>
                    <a:pt x="371" y="54"/>
                  </a:lnTo>
                  <a:lnTo>
                    <a:pt x="408" y="6"/>
                  </a:lnTo>
                  <a:cubicBezTo>
                    <a:pt x="408" y="5"/>
                    <a:pt x="409" y="4"/>
                    <a:pt x="410" y="4"/>
                  </a:cubicBezTo>
                  <a:lnTo>
                    <a:pt x="437" y="0"/>
                  </a:lnTo>
                  <a:cubicBezTo>
                    <a:pt x="439" y="0"/>
                    <a:pt x="440" y="1"/>
                    <a:pt x="441" y="2"/>
                  </a:cubicBezTo>
                  <a:lnTo>
                    <a:pt x="444" y="8"/>
                  </a:lnTo>
                  <a:lnTo>
                    <a:pt x="522" y="21"/>
                  </a:lnTo>
                  <a:lnTo>
                    <a:pt x="541" y="34"/>
                  </a:lnTo>
                  <a:cubicBezTo>
                    <a:pt x="543" y="35"/>
                    <a:pt x="543" y="37"/>
                    <a:pt x="543" y="39"/>
                  </a:cubicBezTo>
                  <a:lnTo>
                    <a:pt x="540" y="61"/>
                  </a:lnTo>
                  <a:lnTo>
                    <a:pt x="601" y="42"/>
                  </a:lnTo>
                  <a:cubicBezTo>
                    <a:pt x="601" y="42"/>
                    <a:pt x="601" y="42"/>
                    <a:pt x="602" y="42"/>
                  </a:cubicBezTo>
                  <a:cubicBezTo>
                    <a:pt x="603" y="42"/>
                    <a:pt x="604" y="42"/>
                    <a:pt x="605" y="43"/>
                  </a:cubicBezTo>
                  <a:lnTo>
                    <a:pt x="664" y="81"/>
                  </a:lnTo>
                  <a:cubicBezTo>
                    <a:pt x="665" y="82"/>
                    <a:pt x="666" y="83"/>
                    <a:pt x="666" y="85"/>
                  </a:cubicBezTo>
                  <a:lnTo>
                    <a:pt x="662" y="123"/>
                  </a:lnTo>
                  <a:lnTo>
                    <a:pt x="674" y="146"/>
                  </a:lnTo>
                  <a:cubicBezTo>
                    <a:pt x="675" y="147"/>
                    <a:pt x="675" y="148"/>
                    <a:pt x="674" y="149"/>
                  </a:cubicBezTo>
                  <a:lnTo>
                    <a:pt x="662" y="198"/>
                  </a:lnTo>
                  <a:lnTo>
                    <a:pt x="708" y="281"/>
                  </a:lnTo>
                  <a:lnTo>
                    <a:pt x="736" y="305"/>
                  </a:lnTo>
                  <a:cubicBezTo>
                    <a:pt x="737" y="306"/>
                    <a:pt x="738" y="307"/>
                    <a:pt x="738" y="308"/>
                  </a:cubicBezTo>
                  <a:lnTo>
                    <a:pt x="742" y="338"/>
                  </a:lnTo>
                  <a:lnTo>
                    <a:pt x="775" y="334"/>
                  </a:lnTo>
                  <a:lnTo>
                    <a:pt x="799" y="343"/>
                  </a:lnTo>
                  <a:cubicBezTo>
                    <a:pt x="800" y="343"/>
                    <a:pt x="801" y="345"/>
                    <a:pt x="801" y="346"/>
                  </a:cubicBezTo>
                  <a:lnTo>
                    <a:pt x="805" y="365"/>
                  </a:lnTo>
                  <a:lnTo>
                    <a:pt x="815" y="368"/>
                  </a:lnTo>
                  <a:cubicBezTo>
                    <a:pt x="817" y="369"/>
                    <a:pt x="819" y="370"/>
                    <a:pt x="819" y="372"/>
                  </a:cubicBezTo>
                  <a:lnTo>
                    <a:pt x="819" y="394"/>
                  </a:lnTo>
                  <a:cubicBezTo>
                    <a:pt x="819" y="395"/>
                    <a:pt x="818" y="396"/>
                    <a:pt x="817" y="397"/>
                  </a:cubicBezTo>
                  <a:lnTo>
                    <a:pt x="770" y="435"/>
                  </a:lnTo>
                  <a:cubicBezTo>
                    <a:pt x="769" y="436"/>
                    <a:pt x="768" y="436"/>
                    <a:pt x="767" y="436"/>
                  </a:cubicBezTo>
                  <a:lnTo>
                    <a:pt x="766" y="436"/>
                  </a:lnTo>
                  <a:lnTo>
                    <a:pt x="713" y="420"/>
                  </a:lnTo>
                  <a:lnTo>
                    <a:pt x="697" y="437"/>
                  </a:lnTo>
                  <a:lnTo>
                    <a:pt x="712" y="459"/>
                  </a:lnTo>
                  <a:lnTo>
                    <a:pt x="738" y="570"/>
                  </a:lnTo>
                  <a:cubicBezTo>
                    <a:pt x="738" y="571"/>
                    <a:pt x="738" y="573"/>
                    <a:pt x="737" y="574"/>
                  </a:cubicBezTo>
                  <a:cubicBezTo>
                    <a:pt x="737" y="575"/>
                    <a:pt x="736" y="576"/>
                    <a:pt x="734" y="576"/>
                  </a:cubicBezTo>
                  <a:lnTo>
                    <a:pt x="671" y="589"/>
                  </a:lnTo>
                  <a:lnTo>
                    <a:pt x="648" y="613"/>
                  </a:lnTo>
                  <a:lnTo>
                    <a:pt x="640" y="669"/>
                  </a:lnTo>
                  <a:cubicBezTo>
                    <a:pt x="640" y="671"/>
                    <a:pt x="640" y="672"/>
                    <a:pt x="639" y="672"/>
                  </a:cubicBezTo>
                  <a:lnTo>
                    <a:pt x="622" y="685"/>
                  </a:lnTo>
                  <a:cubicBezTo>
                    <a:pt x="621" y="686"/>
                    <a:pt x="620" y="686"/>
                    <a:pt x="619" y="686"/>
                  </a:cubicBezTo>
                  <a:cubicBezTo>
                    <a:pt x="618" y="686"/>
                    <a:pt x="617" y="686"/>
                    <a:pt x="616" y="68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5" name="Freeform 720"/>
            <p:cNvSpPr>
              <a:spLocks noChangeArrowheads="1"/>
            </p:cNvSpPr>
            <p:nvPr/>
          </p:nvSpPr>
          <p:spPr bwMode="auto">
            <a:xfrm>
              <a:off x="4935538" y="1697038"/>
              <a:ext cx="295275" cy="247650"/>
            </a:xfrm>
            <a:custGeom>
              <a:avLst/>
              <a:gdLst/>
              <a:ahLst/>
              <a:cxnLst>
                <a:cxn ang="0">
                  <a:pos x="616" y="685"/>
                </a:cxn>
                <a:cxn ang="0">
                  <a:pos x="543" y="682"/>
                </a:cxn>
                <a:cxn ang="0">
                  <a:pos x="509" y="650"/>
                </a:cxn>
                <a:cxn ang="0">
                  <a:pos x="484" y="677"/>
                </a:cxn>
                <a:cxn ang="0">
                  <a:pos x="432" y="653"/>
                </a:cxn>
                <a:cxn ang="0">
                  <a:pos x="390" y="673"/>
                </a:cxn>
                <a:cxn ang="0">
                  <a:pos x="375" y="652"/>
                </a:cxn>
                <a:cxn ang="0">
                  <a:pos x="353" y="651"/>
                </a:cxn>
                <a:cxn ang="0">
                  <a:pos x="237" y="601"/>
                </a:cxn>
                <a:cxn ang="0">
                  <a:pos x="110" y="629"/>
                </a:cxn>
                <a:cxn ang="0">
                  <a:pos x="26" y="648"/>
                </a:cxn>
                <a:cxn ang="0">
                  <a:pos x="21" y="643"/>
                </a:cxn>
                <a:cxn ang="0">
                  <a:pos x="1" y="553"/>
                </a:cxn>
                <a:cxn ang="0">
                  <a:pos x="50" y="489"/>
                </a:cxn>
                <a:cxn ang="0">
                  <a:pos x="31" y="323"/>
                </a:cxn>
                <a:cxn ang="0">
                  <a:pos x="147" y="313"/>
                </a:cxn>
                <a:cxn ang="0">
                  <a:pos x="147" y="292"/>
                </a:cxn>
                <a:cxn ang="0">
                  <a:pos x="191" y="270"/>
                </a:cxn>
                <a:cxn ang="0">
                  <a:pos x="221" y="291"/>
                </a:cxn>
                <a:cxn ang="0">
                  <a:pos x="212" y="260"/>
                </a:cxn>
                <a:cxn ang="0">
                  <a:pos x="233" y="177"/>
                </a:cxn>
                <a:cxn ang="0">
                  <a:pos x="298" y="149"/>
                </a:cxn>
                <a:cxn ang="0">
                  <a:pos x="287" y="123"/>
                </a:cxn>
                <a:cxn ang="0">
                  <a:pos x="284" y="97"/>
                </a:cxn>
                <a:cxn ang="0">
                  <a:pos x="311" y="76"/>
                </a:cxn>
                <a:cxn ang="0">
                  <a:pos x="339" y="46"/>
                </a:cxn>
                <a:cxn ang="0">
                  <a:pos x="371" y="54"/>
                </a:cxn>
                <a:cxn ang="0">
                  <a:pos x="410" y="4"/>
                </a:cxn>
                <a:cxn ang="0">
                  <a:pos x="441" y="2"/>
                </a:cxn>
                <a:cxn ang="0">
                  <a:pos x="522" y="21"/>
                </a:cxn>
                <a:cxn ang="0">
                  <a:pos x="543" y="39"/>
                </a:cxn>
                <a:cxn ang="0">
                  <a:pos x="601" y="42"/>
                </a:cxn>
                <a:cxn ang="0">
                  <a:pos x="605" y="43"/>
                </a:cxn>
                <a:cxn ang="0">
                  <a:pos x="666" y="85"/>
                </a:cxn>
                <a:cxn ang="0">
                  <a:pos x="674" y="146"/>
                </a:cxn>
                <a:cxn ang="0">
                  <a:pos x="662" y="198"/>
                </a:cxn>
                <a:cxn ang="0">
                  <a:pos x="736" y="305"/>
                </a:cxn>
                <a:cxn ang="0">
                  <a:pos x="742" y="338"/>
                </a:cxn>
                <a:cxn ang="0">
                  <a:pos x="799" y="343"/>
                </a:cxn>
                <a:cxn ang="0">
                  <a:pos x="805" y="365"/>
                </a:cxn>
                <a:cxn ang="0">
                  <a:pos x="819" y="372"/>
                </a:cxn>
                <a:cxn ang="0">
                  <a:pos x="817" y="397"/>
                </a:cxn>
                <a:cxn ang="0">
                  <a:pos x="767" y="436"/>
                </a:cxn>
                <a:cxn ang="0">
                  <a:pos x="713" y="420"/>
                </a:cxn>
                <a:cxn ang="0">
                  <a:pos x="712" y="459"/>
                </a:cxn>
                <a:cxn ang="0">
                  <a:pos x="737" y="574"/>
                </a:cxn>
                <a:cxn ang="0">
                  <a:pos x="671" y="589"/>
                </a:cxn>
                <a:cxn ang="0">
                  <a:pos x="640" y="669"/>
                </a:cxn>
                <a:cxn ang="0">
                  <a:pos x="622" y="685"/>
                </a:cxn>
              </a:cxnLst>
              <a:rect l="0" t="0" r="r" b="b"/>
              <a:pathLst>
                <a:path w="820" h="687">
                  <a:moveTo>
                    <a:pt x="619" y="686"/>
                  </a:moveTo>
                  <a:cubicBezTo>
                    <a:pt x="618" y="686"/>
                    <a:pt x="617" y="686"/>
                    <a:pt x="616" y="685"/>
                  </a:cubicBezTo>
                  <a:lnTo>
                    <a:pt x="601" y="673"/>
                  </a:lnTo>
                  <a:lnTo>
                    <a:pt x="543" y="682"/>
                  </a:lnTo>
                  <a:cubicBezTo>
                    <a:pt x="542" y="682"/>
                    <a:pt x="540" y="681"/>
                    <a:pt x="539" y="680"/>
                  </a:cubicBezTo>
                  <a:lnTo>
                    <a:pt x="509" y="650"/>
                  </a:lnTo>
                  <a:lnTo>
                    <a:pt x="487" y="676"/>
                  </a:lnTo>
                  <a:cubicBezTo>
                    <a:pt x="486" y="677"/>
                    <a:pt x="485" y="677"/>
                    <a:pt x="484" y="677"/>
                  </a:cubicBezTo>
                  <a:cubicBezTo>
                    <a:pt x="483" y="677"/>
                    <a:pt x="482" y="677"/>
                    <a:pt x="481" y="677"/>
                  </a:cubicBezTo>
                  <a:lnTo>
                    <a:pt x="432" y="653"/>
                  </a:lnTo>
                  <a:lnTo>
                    <a:pt x="392" y="673"/>
                  </a:lnTo>
                  <a:cubicBezTo>
                    <a:pt x="392" y="673"/>
                    <a:pt x="391" y="673"/>
                    <a:pt x="390" y="673"/>
                  </a:cubicBezTo>
                  <a:cubicBezTo>
                    <a:pt x="389" y="673"/>
                    <a:pt x="387" y="672"/>
                    <a:pt x="386" y="671"/>
                  </a:cubicBezTo>
                  <a:lnTo>
                    <a:pt x="375" y="652"/>
                  </a:lnTo>
                  <a:lnTo>
                    <a:pt x="356" y="652"/>
                  </a:lnTo>
                  <a:cubicBezTo>
                    <a:pt x="355" y="652"/>
                    <a:pt x="354" y="652"/>
                    <a:pt x="353" y="651"/>
                  </a:cubicBezTo>
                  <a:lnTo>
                    <a:pt x="328" y="625"/>
                  </a:lnTo>
                  <a:lnTo>
                    <a:pt x="237" y="601"/>
                  </a:lnTo>
                  <a:lnTo>
                    <a:pt x="130" y="605"/>
                  </a:lnTo>
                  <a:lnTo>
                    <a:pt x="110" y="629"/>
                  </a:lnTo>
                  <a:lnTo>
                    <a:pt x="27" y="648"/>
                  </a:lnTo>
                  <a:lnTo>
                    <a:pt x="26" y="648"/>
                  </a:lnTo>
                  <a:cubicBezTo>
                    <a:pt x="25" y="648"/>
                    <a:pt x="24" y="647"/>
                    <a:pt x="23" y="647"/>
                  </a:cubicBezTo>
                  <a:cubicBezTo>
                    <a:pt x="22" y="646"/>
                    <a:pt x="21" y="644"/>
                    <a:pt x="21" y="643"/>
                  </a:cubicBezTo>
                  <a:lnTo>
                    <a:pt x="25" y="588"/>
                  </a:lnTo>
                  <a:lnTo>
                    <a:pt x="1" y="553"/>
                  </a:lnTo>
                  <a:cubicBezTo>
                    <a:pt x="0" y="551"/>
                    <a:pt x="0" y="549"/>
                    <a:pt x="1" y="547"/>
                  </a:cubicBezTo>
                  <a:lnTo>
                    <a:pt x="50" y="489"/>
                  </a:lnTo>
                  <a:lnTo>
                    <a:pt x="30" y="326"/>
                  </a:lnTo>
                  <a:cubicBezTo>
                    <a:pt x="29" y="325"/>
                    <a:pt x="30" y="324"/>
                    <a:pt x="31" y="323"/>
                  </a:cubicBezTo>
                  <a:cubicBezTo>
                    <a:pt x="32" y="322"/>
                    <a:pt x="33" y="321"/>
                    <a:pt x="34" y="321"/>
                  </a:cubicBezTo>
                  <a:lnTo>
                    <a:pt x="147" y="313"/>
                  </a:lnTo>
                  <a:lnTo>
                    <a:pt x="144" y="297"/>
                  </a:lnTo>
                  <a:cubicBezTo>
                    <a:pt x="144" y="295"/>
                    <a:pt x="145" y="293"/>
                    <a:pt x="147" y="292"/>
                  </a:cubicBezTo>
                  <a:lnTo>
                    <a:pt x="189" y="271"/>
                  </a:lnTo>
                  <a:cubicBezTo>
                    <a:pt x="190" y="270"/>
                    <a:pt x="190" y="270"/>
                    <a:pt x="191" y="270"/>
                  </a:cubicBezTo>
                  <a:cubicBezTo>
                    <a:pt x="192" y="270"/>
                    <a:pt x="193" y="271"/>
                    <a:pt x="194" y="271"/>
                  </a:cubicBezTo>
                  <a:lnTo>
                    <a:pt x="221" y="291"/>
                  </a:lnTo>
                  <a:lnTo>
                    <a:pt x="227" y="289"/>
                  </a:lnTo>
                  <a:lnTo>
                    <a:pt x="212" y="260"/>
                  </a:lnTo>
                  <a:cubicBezTo>
                    <a:pt x="212" y="259"/>
                    <a:pt x="212" y="258"/>
                    <a:pt x="212" y="257"/>
                  </a:cubicBezTo>
                  <a:lnTo>
                    <a:pt x="233" y="177"/>
                  </a:lnTo>
                  <a:cubicBezTo>
                    <a:pt x="234" y="175"/>
                    <a:pt x="234" y="174"/>
                    <a:pt x="236" y="173"/>
                  </a:cubicBezTo>
                  <a:lnTo>
                    <a:pt x="298" y="149"/>
                  </a:lnTo>
                  <a:lnTo>
                    <a:pt x="307" y="130"/>
                  </a:lnTo>
                  <a:lnTo>
                    <a:pt x="287" y="123"/>
                  </a:lnTo>
                  <a:cubicBezTo>
                    <a:pt x="285" y="122"/>
                    <a:pt x="284" y="121"/>
                    <a:pt x="284" y="119"/>
                  </a:cubicBezTo>
                  <a:lnTo>
                    <a:pt x="284" y="97"/>
                  </a:lnTo>
                  <a:cubicBezTo>
                    <a:pt x="284" y="96"/>
                    <a:pt x="284" y="94"/>
                    <a:pt x="286" y="94"/>
                  </a:cubicBezTo>
                  <a:lnTo>
                    <a:pt x="311" y="76"/>
                  </a:lnTo>
                  <a:lnTo>
                    <a:pt x="336" y="48"/>
                  </a:lnTo>
                  <a:cubicBezTo>
                    <a:pt x="337" y="47"/>
                    <a:pt x="338" y="46"/>
                    <a:pt x="339" y="46"/>
                  </a:cubicBezTo>
                  <a:lnTo>
                    <a:pt x="340" y="46"/>
                  </a:lnTo>
                  <a:lnTo>
                    <a:pt x="371" y="54"/>
                  </a:lnTo>
                  <a:lnTo>
                    <a:pt x="408" y="6"/>
                  </a:lnTo>
                  <a:cubicBezTo>
                    <a:pt x="408" y="5"/>
                    <a:pt x="409" y="4"/>
                    <a:pt x="410" y="4"/>
                  </a:cubicBezTo>
                  <a:lnTo>
                    <a:pt x="437" y="0"/>
                  </a:lnTo>
                  <a:cubicBezTo>
                    <a:pt x="439" y="0"/>
                    <a:pt x="440" y="1"/>
                    <a:pt x="441" y="2"/>
                  </a:cubicBezTo>
                  <a:lnTo>
                    <a:pt x="444" y="8"/>
                  </a:lnTo>
                  <a:lnTo>
                    <a:pt x="522" y="21"/>
                  </a:lnTo>
                  <a:lnTo>
                    <a:pt x="541" y="34"/>
                  </a:lnTo>
                  <a:cubicBezTo>
                    <a:pt x="543" y="35"/>
                    <a:pt x="543" y="37"/>
                    <a:pt x="543" y="39"/>
                  </a:cubicBezTo>
                  <a:lnTo>
                    <a:pt x="540" y="61"/>
                  </a:lnTo>
                  <a:lnTo>
                    <a:pt x="601" y="42"/>
                  </a:lnTo>
                  <a:cubicBezTo>
                    <a:pt x="601" y="42"/>
                    <a:pt x="601" y="42"/>
                    <a:pt x="602" y="42"/>
                  </a:cubicBezTo>
                  <a:cubicBezTo>
                    <a:pt x="603" y="42"/>
                    <a:pt x="604" y="42"/>
                    <a:pt x="605" y="43"/>
                  </a:cubicBezTo>
                  <a:lnTo>
                    <a:pt x="664" y="81"/>
                  </a:lnTo>
                  <a:cubicBezTo>
                    <a:pt x="665" y="82"/>
                    <a:pt x="666" y="83"/>
                    <a:pt x="666" y="85"/>
                  </a:cubicBezTo>
                  <a:lnTo>
                    <a:pt x="662" y="123"/>
                  </a:lnTo>
                  <a:lnTo>
                    <a:pt x="674" y="146"/>
                  </a:lnTo>
                  <a:cubicBezTo>
                    <a:pt x="675" y="147"/>
                    <a:pt x="675" y="148"/>
                    <a:pt x="674" y="149"/>
                  </a:cubicBezTo>
                  <a:lnTo>
                    <a:pt x="662" y="198"/>
                  </a:lnTo>
                  <a:lnTo>
                    <a:pt x="708" y="281"/>
                  </a:lnTo>
                  <a:lnTo>
                    <a:pt x="736" y="305"/>
                  </a:lnTo>
                  <a:cubicBezTo>
                    <a:pt x="737" y="306"/>
                    <a:pt x="738" y="307"/>
                    <a:pt x="738" y="308"/>
                  </a:cubicBezTo>
                  <a:lnTo>
                    <a:pt x="742" y="338"/>
                  </a:lnTo>
                  <a:lnTo>
                    <a:pt x="775" y="334"/>
                  </a:lnTo>
                  <a:lnTo>
                    <a:pt x="799" y="343"/>
                  </a:lnTo>
                  <a:cubicBezTo>
                    <a:pt x="800" y="343"/>
                    <a:pt x="801" y="345"/>
                    <a:pt x="801" y="346"/>
                  </a:cubicBezTo>
                  <a:lnTo>
                    <a:pt x="805" y="365"/>
                  </a:lnTo>
                  <a:lnTo>
                    <a:pt x="815" y="368"/>
                  </a:lnTo>
                  <a:cubicBezTo>
                    <a:pt x="817" y="369"/>
                    <a:pt x="819" y="370"/>
                    <a:pt x="819" y="372"/>
                  </a:cubicBezTo>
                  <a:lnTo>
                    <a:pt x="819" y="394"/>
                  </a:lnTo>
                  <a:cubicBezTo>
                    <a:pt x="819" y="395"/>
                    <a:pt x="818" y="396"/>
                    <a:pt x="817" y="397"/>
                  </a:cubicBezTo>
                  <a:lnTo>
                    <a:pt x="770" y="435"/>
                  </a:lnTo>
                  <a:cubicBezTo>
                    <a:pt x="769" y="436"/>
                    <a:pt x="768" y="436"/>
                    <a:pt x="767" y="436"/>
                  </a:cubicBezTo>
                  <a:lnTo>
                    <a:pt x="766" y="436"/>
                  </a:lnTo>
                  <a:lnTo>
                    <a:pt x="713" y="420"/>
                  </a:lnTo>
                  <a:lnTo>
                    <a:pt x="697" y="437"/>
                  </a:lnTo>
                  <a:lnTo>
                    <a:pt x="712" y="459"/>
                  </a:lnTo>
                  <a:lnTo>
                    <a:pt x="738" y="570"/>
                  </a:lnTo>
                  <a:cubicBezTo>
                    <a:pt x="738" y="571"/>
                    <a:pt x="738" y="573"/>
                    <a:pt x="737" y="574"/>
                  </a:cubicBezTo>
                  <a:cubicBezTo>
                    <a:pt x="737" y="575"/>
                    <a:pt x="736" y="576"/>
                    <a:pt x="734" y="576"/>
                  </a:cubicBezTo>
                  <a:lnTo>
                    <a:pt x="671" y="589"/>
                  </a:lnTo>
                  <a:lnTo>
                    <a:pt x="648" y="613"/>
                  </a:lnTo>
                  <a:lnTo>
                    <a:pt x="640" y="669"/>
                  </a:lnTo>
                  <a:cubicBezTo>
                    <a:pt x="640" y="671"/>
                    <a:pt x="640" y="672"/>
                    <a:pt x="639" y="672"/>
                  </a:cubicBezTo>
                  <a:lnTo>
                    <a:pt x="622" y="685"/>
                  </a:lnTo>
                  <a:cubicBezTo>
                    <a:pt x="621" y="686"/>
                    <a:pt x="620" y="686"/>
                    <a:pt x="619" y="686"/>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6" name="Freeform 721"/>
            <p:cNvSpPr>
              <a:spLocks noChangeArrowheads="1"/>
            </p:cNvSpPr>
            <p:nvPr/>
          </p:nvSpPr>
          <p:spPr bwMode="auto">
            <a:xfrm>
              <a:off x="5041900" y="2073275"/>
              <a:ext cx="104775" cy="136525"/>
            </a:xfrm>
            <a:custGeom>
              <a:avLst/>
              <a:gdLst/>
              <a:ahLst/>
              <a:cxnLst>
                <a:cxn ang="0">
                  <a:pos x="126" y="377"/>
                </a:cxn>
                <a:cxn ang="0">
                  <a:pos x="123" y="374"/>
                </a:cxn>
                <a:cxn ang="0">
                  <a:pos x="111" y="209"/>
                </a:cxn>
                <a:cxn ang="0">
                  <a:pos x="52" y="88"/>
                </a:cxn>
                <a:cxn ang="0">
                  <a:pos x="2" y="38"/>
                </a:cxn>
                <a:cxn ang="0">
                  <a:pos x="2" y="32"/>
                </a:cxn>
                <a:cxn ang="0">
                  <a:pos x="23" y="6"/>
                </a:cxn>
                <a:cxn ang="0">
                  <a:pos x="26" y="5"/>
                </a:cxn>
                <a:cxn ang="0">
                  <a:pos x="73" y="0"/>
                </a:cxn>
                <a:cxn ang="0">
                  <a:pos x="143" y="39"/>
                </a:cxn>
                <a:cxn ang="0">
                  <a:pos x="174" y="34"/>
                </a:cxn>
                <a:cxn ang="0">
                  <a:pos x="219" y="56"/>
                </a:cxn>
                <a:cxn ang="0">
                  <a:pos x="222" y="60"/>
                </a:cxn>
                <a:cxn ang="0">
                  <a:pos x="222" y="117"/>
                </a:cxn>
                <a:cxn ang="0">
                  <a:pos x="250" y="137"/>
                </a:cxn>
                <a:cxn ang="0">
                  <a:pos x="264" y="186"/>
                </a:cxn>
                <a:cxn ang="0">
                  <a:pos x="288" y="205"/>
                </a:cxn>
                <a:cxn ang="0">
                  <a:pos x="290" y="208"/>
                </a:cxn>
                <a:cxn ang="0">
                  <a:pos x="290" y="255"/>
                </a:cxn>
                <a:cxn ang="0">
                  <a:pos x="285" y="260"/>
                </a:cxn>
                <a:cxn ang="0">
                  <a:pos x="216" y="260"/>
                </a:cxn>
                <a:cxn ang="0">
                  <a:pos x="205" y="303"/>
                </a:cxn>
                <a:cxn ang="0">
                  <a:pos x="174" y="338"/>
                </a:cxn>
                <a:cxn ang="0">
                  <a:pos x="166" y="362"/>
                </a:cxn>
                <a:cxn ang="0">
                  <a:pos x="164" y="365"/>
                </a:cxn>
                <a:cxn ang="0">
                  <a:pos x="130" y="378"/>
                </a:cxn>
                <a:cxn ang="0">
                  <a:pos x="128" y="378"/>
                </a:cxn>
                <a:cxn ang="0">
                  <a:pos x="126" y="377"/>
                </a:cxn>
              </a:cxnLst>
              <a:rect l="0" t="0" r="r" b="b"/>
              <a:pathLst>
                <a:path w="291" h="379">
                  <a:moveTo>
                    <a:pt x="126" y="377"/>
                  </a:moveTo>
                  <a:cubicBezTo>
                    <a:pt x="124" y="377"/>
                    <a:pt x="124" y="375"/>
                    <a:pt x="123" y="374"/>
                  </a:cubicBezTo>
                  <a:lnTo>
                    <a:pt x="111" y="209"/>
                  </a:lnTo>
                  <a:lnTo>
                    <a:pt x="52" y="88"/>
                  </a:lnTo>
                  <a:lnTo>
                    <a:pt x="2" y="38"/>
                  </a:lnTo>
                  <a:cubicBezTo>
                    <a:pt x="0" y="37"/>
                    <a:pt x="0" y="34"/>
                    <a:pt x="2" y="32"/>
                  </a:cubicBezTo>
                  <a:lnTo>
                    <a:pt x="23" y="6"/>
                  </a:lnTo>
                  <a:cubicBezTo>
                    <a:pt x="24" y="5"/>
                    <a:pt x="25" y="5"/>
                    <a:pt x="26" y="5"/>
                  </a:cubicBezTo>
                  <a:lnTo>
                    <a:pt x="73" y="0"/>
                  </a:lnTo>
                  <a:lnTo>
                    <a:pt x="143" y="39"/>
                  </a:lnTo>
                  <a:lnTo>
                    <a:pt x="174" y="34"/>
                  </a:lnTo>
                  <a:lnTo>
                    <a:pt x="219" y="56"/>
                  </a:lnTo>
                  <a:cubicBezTo>
                    <a:pt x="221" y="57"/>
                    <a:pt x="222" y="58"/>
                    <a:pt x="222" y="60"/>
                  </a:cubicBezTo>
                  <a:lnTo>
                    <a:pt x="222" y="117"/>
                  </a:lnTo>
                  <a:lnTo>
                    <a:pt x="250" y="137"/>
                  </a:lnTo>
                  <a:lnTo>
                    <a:pt x="264" y="186"/>
                  </a:lnTo>
                  <a:lnTo>
                    <a:pt x="288" y="205"/>
                  </a:lnTo>
                  <a:cubicBezTo>
                    <a:pt x="289" y="205"/>
                    <a:pt x="290" y="207"/>
                    <a:pt x="290" y="208"/>
                  </a:cubicBezTo>
                  <a:lnTo>
                    <a:pt x="290" y="255"/>
                  </a:lnTo>
                  <a:cubicBezTo>
                    <a:pt x="290" y="257"/>
                    <a:pt x="288" y="260"/>
                    <a:pt x="285" y="260"/>
                  </a:cubicBezTo>
                  <a:lnTo>
                    <a:pt x="216" y="260"/>
                  </a:lnTo>
                  <a:lnTo>
                    <a:pt x="205" y="303"/>
                  </a:lnTo>
                  <a:lnTo>
                    <a:pt x="174" y="338"/>
                  </a:lnTo>
                  <a:lnTo>
                    <a:pt x="166" y="362"/>
                  </a:lnTo>
                  <a:cubicBezTo>
                    <a:pt x="166" y="363"/>
                    <a:pt x="165" y="364"/>
                    <a:pt x="164" y="365"/>
                  </a:cubicBezTo>
                  <a:lnTo>
                    <a:pt x="130" y="378"/>
                  </a:lnTo>
                  <a:cubicBezTo>
                    <a:pt x="129" y="378"/>
                    <a:pt x="129" y="378"/>
                    <a:pt x="128" y="378"/>
                  </a:cubicBezTo>
                  <a:cubicBezTo>
                    <a:pt x="127" y="378"/>
                    <a:pt x="126" y="378"/>
                    <a:pt x="126" y="37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7" name="Freeform 722"/>
            <p:cNvSpPr>
              <a:spLocks noChangeArrowheads="1"/>
            </p:cNvSpPr>
            <p:nvPr/>
          </p:nvSpPr>
          <p:spPr bwMode="auto">
            <a:xfrm>
              <a:off x="5041900" y="2073275"/>
              <a:ext cx="104775" cy="136525"/>
            </a:xfrm>
            <a:custGeom>
              <a:avLst/>
              <a:gdLst/>
              <a:ahLst/>
              <a:cxnLst>
                <a:cxn ang="0">
                  <a:pos x="128" y="378"/>
                </a:cxn>
                <a:cxn ang="0">
                  <a:pos x="126" y="377"/>
                </a:cxn>
                <a:cxn ang="0">
                  <a:pos x="123" y="374"/>
                </a:cxn>
                <a:cxn ang="0">
                  <a:pos x="111" y="209"/>
                </a:cxn>
                <a:cxn ang="0">
                  <a:pos x="52" y="88"/>
                </a:cxn>
                <a:cxn ang="0">
                  <a:pos x="2" y="38"/>
                </a:cxn>
                <a:cxn ang="0">
                  <a:pos x="2" y="32"/>
                </a:cxn>
                <a:cxn ang="0">
                  <a:pos x="23" y="6"/>
                </a:cxn>
                <a:cxn ang="0">
                  <a:pos x="26" y="5"/>
                </a:cxn>
                <a:cxn ang="0">
                  <a:pos x="73" y="0"/>
                </a:cxn>
                <a:cxn ang="0">
                  <a:pos x="143" y="39"/>
                </a:cxn>
                <a:cxn ang="0">
                  <a:pos x="174" y="34"/>
                </a:cxn>
                <a:cxn ang="0">
                  <a:pos x="219" y="56"/>
                </a:cxn>
                <a:cxn ang="0">
                  <a:pos x="222" y="60"/>
                </a:cxn>
                <a:cxn ang="0">
                  <a:pos x="222" y="117"/>
                </a:cxn>
                <a:cxn ang="0">
                  <a:pos x="250" y="137"/>
                </a:cxn>
                <a:cxn ang="0">
                  <a:pos x="264" y="186"/>
                </a:cxn>
                <a:cxn ang="0">
                  <a:pos x="288" y="205"/>
                </a:cxn>
                <a:cxn ang="0">
                  <a:pos x="290" y="208"/>
                </a:cxn>
                <a:cxn ang="0">
                  <a:pos x="290" y="255"/>
                </a:cxn>
                <a:cxn ang="0">
                  <a:pos x="285" y="260"/>
                </a:cxn>
                <a:cxn ang="0">
                  <a:pos x="216" y="260"/>
                </a:cxn>
                <a:cxn ang="0">
                  <a:pos x="205" y="303"/>
                </a:cxn>
                <a:cxn ang="0">
                  <a:pos x="174" y="338"/>
                </a:cxn>
                <a:cxn ang="0">
                  <a:pos x="166" y="362"/>
                </a:cxn>
                <a:cxn ang="0">
                  <a:pos x="164" y="365"/>
                </a:cxn>
                <a:cxn ang="0">
                  <a:pos x="130" y="378"/>
                </a:cxn>
                <a:cxn ang="0">
                  <a:pos x="128" y="378"/>
                </a:cxn>
              </a:cxnLst>
              <a:rect l="0" t="0" r="r" b="b"/>
              <a:pathLst>
                <a:path w="291" h="379">
                  <a:moveTo>
                    <a:pt x="128" y="378"/>
                  </a:moveTo>
                  <a:cubicBezTo>
                    <a:pt x="127" y="378"/>
                    <a:pt x="126" y="378"/>
                    <a:pt x="126" y="377"/>
                  </a:cubicBezTo>
                  <a:cubicBezTo>
                    <a:pt x="124" y="377"/>
                    <a:pt x="124" y="375"/>
                    <a:pt x="123" y="374"/>
                  </a:cubicBezTo>
                  <a:lnTo>
                    <a:pt x="111" y="209"/>
                  </a:lnTo>
                  <a:lnTo>
                    <a:pt x="52" y="88"/>
                  </a:lnTo>
                  <a:lnTo>
                    <a:pt x="2" y="38"/>
                  </a:lnTo>
                  <a:cubicBezTo>
                    <a:pt x="0" y="37"/>
                    <a:pt x="0" y="34"/>
                    <a:pt x="2" y="32"/>
                  </a:cubicBezTo>
                  <a:lnTo>
                    <a:pt x="23" y="6"/>
                  </a:lnTo>
                  <a:cubicBezTo>
                    <a:pt x="24" y="5"/>
                    <a:pt x="25" y="5"/>
                    <a:pt x="26" y="5"/>
                  </a:cubicBezTo>
                  <a:lnTo>
                    <a:pt x="73" y="0"/>
                  </a:lnTo>
                  <a:lnTo>
                    <a:pt x="143" y="39"/>
                  </a:lnTo>
                  <a:lnTo>
                    <a:pt x="174" y="34"/>
                  </a:lnTo>
                  <a:lnTo>
                    <a:pt x="219" y="56"/>
                  </a:lnTo>
                  <a:cubicBezTo>
                    <a:pt x="221" y="57"/>
                    <a:pt x="222" y="58"/>
                    <a:pt x="222" y="60"/>
                  </a:cubicBezTo>
                  <a:lnTo>
                    <a:pt x="222" y="117"/>
                  </a:lnTo>
                  <a:lnTo>
                    <a:pt x="250" y="137"/>
                  </a:lnTo>
                  <a:lnTo>
                    <a:pt x="264" y="186"/>
                  </a:lnTo>
                  <a:lnTo>
                    <a:pt x="288" y="205"/>
                  </a:lnTo>
                  <a:cubicBezTo>
                    <a:pt x="289" y="205"/>
                    <a:pt x="290" y="207"/>
                    <a:pt x="290" y="208"/>
                  </a:cubicBezTo>
                  <a:lnTo>
                    <a:pt x="290" y="255"/>
                  </a:lnTo>
                  <a:cubicBezTo>
                    <a:pt x="290" y="257"/>
                    <a:pt x="288" y="260"/>
                    <a:pt x="285" y="260"/>
                  </a:cubicBezTo>
                  <a:lnTo>
                    <a:pt x="216" y="260"/>
                  </a:lnTo>
                  <a:lnTo>
                    <a:pt x="205" y="303"/>
                  </a:lnTo>
                  <a:lnTo>
                    <a:pt x="174" y="338"/>
                  </a:lnTo>
                  <a:lnTo>
                    <a:pt x="166" y="362"/>
                  </a:lnTo>
                  <a:cubicBezTo>
                    <a:pt x="166" y="363"/>
                    <a:pt x="165" y="364"/>
                    <a:pt x="164" y="365"/>
                  </a:cubicBezTo>
                  <a:lnTo>
                    <a:pt x="130" y="378"/>
                  </a:lnTo>
                  <a:cubicBezTo>
                    <a:pt x="129" y="378"/>
                    <a:pt x="129" y="378"/>
                    <a:pt x="128" y="378"/>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8" name="Freeform 723"/>
            <p:cNvSpPr>
              <a:spLocks noChangeArrowheads="1"/>
            </p:cNvSpPr>
            <p:nvPr/>
          </p:nvSpPr>
          <p:spPr bwMode="auto">
            <a:xfrm>
              <a:off x="4903788" y="1890713"/>
              <a:ext cx="549275" cy="365125"/>
            </a:xfrm>
            <a:custGeom>
              <a:avLst/>
              <a:gdLst/>
              <a:ahLst/>
              <a:cxnLst>
                <a:cxn ang="0">
                  <a:pos x="945" y="926"/>
                </a:cxn>
                <a:cxn ang="0">
                  <a:pos x="875" y="885"/>
                </a:cxn>
                <a:cxn ang="0">
                  <a:pos x="818" y="800"/>
                </a:cxn>
                <a:cxn ang="0">
                  <a:pos x="827" y="777"/>
                </a:cxn>
                <a:cxn ang="0">
                  <a:pos x="801" y="757"/>
                </a:cxn>
                <a:cxn ang="0">
                  <a:pos x="729" y="762"/>
                </a:cxn>
                <a:cxn ang="0">
                  <a:pos x="708" y="805"/>
                </a:cxn>
                <a:cxn ang="0">
                  <a:pos x="700" y="815"/>
                </a:cxn>
                <a:cxn ang="0">
                  <a:pos x="644" y="868"/>
                </a:cxn>
                <a:cxn ang="0">
                  <a:pos x="635" y="855"/>
                </a:cxn>
                <a:cxn ang="0">
                  <a:pos x="543" y="906"/>
                </a:cxn>
                <a:cxn ang="0">
                  <a:pos x="509" y="880"/>
                </a:cxn>
                <a:cxn ang="0">
                  <a:pos x="551" y="841"/>
                </a:cxn>
                <a:cxn ang="0">
                  <a:pos x="598" y="757"/>
                </a:cxn>
                <a:cxn ang="0">
                  <a:pos x="641" y="698"/>
                </a:cxn>
                <a:cxn ang="0">
                  <a:pos x="597" y="627"/>
                </a:cxn>
                <a:cxn ang="0">
                  <a:pos x="526" y="555"/>
                </a:cxn>
                <a:cxn ang="0">
                  <a:pos x="394" y="545"/>
                </a:cxn>
                <a:cxn ang="0">
                  <a:pos x="240" y="597"/>
                </a:cxn>
                <a:cxn ang="0">
                  <a:pos x="57" y="579"/>
                </a:cxn>
                <a:cxn ang="0">
                  <a:pos x="26" y="431"/>
                </a:cxn>
                <a:cxn ang="0">
                  <a:pos x="47" y="390"/>
                </a:cxn>
                <a:cxn ang="0">
                  <a:pos x="111" y="108"/>
                </a:cxn>
                <a:cxn ang="0">
                  <a:pos x="194" y="85"/>
                </a:cxn>
                <a:cxn ang="0">
                  <a:pos x="327" y="55"/>
                </a:cxn>
                <a:cxn ang="0">
                  <a:pos x="467" y="106"/>
                </a:cxn>
                <a:cxn ang="0">
                  <a:pos x="520" y="106"/>
                </a:cxn>
                <a:cxn ang="0">
                  <a:pos x="571" y="130"/>
                </a:cxn>
                <a:cxn ang="0">
                  <a:pos x="598" y="101"/>
                </a:cxn>
                <a:cxn ang="0">
                  <a:pos x="691" y="127"/>
                </a:cxn>
                <a:cxn ang="0">
                  <a:pos x="721" y="129"/>
                </a:cxn>
                <a:cxn ang="0">
                  <a:pos x="822" y="30"/>
                </a:cxn>
                <a:cxn ang="0">
                  <a:pos x="874" y="6"/>
                </a:cxn>
                <a:cxn ang="0">
                  <a:pos x="991" y="2"/>
                </a:cxn>
                <a:cxn ang="0">
                  <a:pos x="1040" y="89"/>
                </a:cxn>
                <a:cxn ang="0">
                  <a:pos x="1074" y="153"/>
                </a:cxn>
                <a:cxn ang="0">
                  <a:pos x="1123" y="180"/>
                </a:cxn>
                <a:cxn ang="0">
                  <a:pos x="1187" y="254"/>
                </a:cxn>
                <a:cxn ang="0">
                  <a:pos x="1225" y="271"/>
                </a:cxn>
                <a:cxn ang="0">
                  <a:pos x="1288" y="251"/>
                </a:cxn>
                <a:cxn ang="0">
                  <a:pos x="1368" y="305"/>
                </a:cxn>
                <a:cxn ang="0">
                  <a:pos x="1432" y="326"/>
                </a:cxn>
                <a:cxn ang="0">
                  <a:pos x="1520" y="372"/>
                </a:cxn>
                <a:cxn ang="0">
                  <a:pos x="1525" y="413"/>
                </a:cxn>
                <a:cxn ang="0">
                  <a:pos x="1494" y="442"/>
                </a:cxn>
                <a:cxn ang="0">
                  <a:pos x="1515" y="466"/>
                </a:cxn>
                <a:cxn ang="0">
                  <a:pos x="1502" y="525"/>
                </a:cxn>
                <a:cxn ang="0">
                  <a:pos x="1483" y="597"/>
                </a:cxn>
                <a:cxn ang="0">
                  <a:pos x="1394" y="613"/>
                </a:cxn>
                <a:cxn ang="0">
                  <a:pos x="1365" y="685"/>
                </a:cxn>
                <a:cxn ang="0">
                  <a:pos x="1114" y="786"/>
                </a:cxn>
                <a:cxn ang="0">
                  <a:pos x="1107" y="786"/>
                </a:cxn>
                <a:cxn ang="0">
                  <a:pos x="1077" y="825"/>
                </a:cxn>
                <a:cxn ang="0">
                  <a:pos x="1068" y="828"/>
                </a:cxn>
                <a:cxn ang="0">
                  <a:pos x="1047" y="821"/>
                </a:cxn>
                <a:cxn ang="0">
                  <a:pos x="1045" y="844"/>
                </a:cxn>
                <a:cxn ang="0">
                  <a:pos x="1092" y="896"/>
                </a:cxn>
                <a:cxn ang="0">
                  <a:pos x="1221" y="886"/>
                </a:cxn>
                <a:cxn ang="0">
                  <a:pos x="1123" y="927"/>
                </a:cxn>
                <a:cxn ang="0">
                  <a:pos x="995" y="1012"/>
                </a:cxn>
                <a:cxn ang="0">
                  <a:pos x="1033" y="822"/>
                </a:cxn>
                <a:cxn ang="0">
                  <a:pos x="1005" y="805"/>
                </a:cxn>
              </a:cxnLst>
              <a:rect l="0" t="0" r="r" b="b"/>
              <a:pathLst>
                <a:path w="1527" h="1013">
                  <a:moveTo>
                    <a:pt x="948" y="995"/>
                  </a:moveTo>
                  <a:cubicBezTo>
                    <a:pt x="946" y="994"/>
                    <a:pt x="945" y="992"/>
                    <a:pt x="945" y="990"/>
                  </a:cubicBezTo>
                  <a:lnTo>
                    <a:pt x="945" y="926"/>
                  </a:lnTo>
                  <a:lnTo>
                    <a:pt x="876" y="893"/>
                  </a:lnTo>
                  <a:cubicBezTo>
                    <a:pt x="874" y="892"/>
                    <a:pt x="873" y="891"/>
                    <a:pt x="873" y="889"/>
                  </a:cubicBezTo>
                  <a:cubicBezTo>
                    <a:pt x="873" y="887"/>
                    <a:pt x="874" y="886"/>
                    <a:pt x="875" y="885"/>
                  </a:cubicBezTo>
                  <a:lnTo>
                    <a:pt x="976" y="824"/>
                  </a:lnTo>
                  <a:lnTo>
                    <a:pt x="967" y="816"/>
                  </a:lnTo>
                  <a:lnTo>
                    <a:pt x="818" y="800"/>
                  </a:lnTo>
                  <a:cubicBezTo>
                    <a:pt x="816" y="800"/>
                    <a:pt x="815" y="799"/>
                    <a:pt x="814" y="798"/>
                  </a:cubicBezTo>
                  <a:cubicBezTo>
                    <a:pt x="813" y="796"/>
                    <a:pt x="814" y="794"/>
                    <a:pt x="815" y="793"/>
                  </a:cubicBezTo>
                  <a:lnTo>
                    <a:pt x="827" y="777"/>
                  </a:lnTo>
                  <a:lnTo>
                    <a:pt x="800" y="766"/>
                  </a:lnTo>
                  <a:cubicBezTo>
                    <a:pt x="797" y="765"/>
                    <a:pt x="796" y="763"/>
                    <a:pt x="797" y="761"/>
                  </a:cubicBezTo>
                  <a:cubicBezTo>
                    <a:pt x="797" y="759"/>
                    <a:pt x="799" y="757"/>
                    <a:pt x="801" y="757"/>
                  </a:cubicBezTo>
                  <a:lnTo>
                    <a:pt x="842" y="757"/>
                  </a:lnTo>
                  <a:lnTo>
                    <a:pt x="821" y="733"/>
                  </a:lnTo>
                  <a:lnTo>
                    <a:pt x="729" y="762"/>
                  </a:lnTo>
                  <a:lnTo>
                    <a:pt x="712" y="802"/>
                  </a:lnTo>
                  <a:cubicBezTo>
                    <a:pt x="712" y="803"/>
                    <a:pt x="711" y="804"/>
                    <a:pt x="709" y="804"/>
                  </a:cubicBezTo>
                  <a:cubicBezTo>
                    <a:pt x="709" y="805"/>
                    <a:pt x="708" y="805"/>
                    <a:pt x="708" y="805"/>
                  </a:cubicBezTo>
                  <a:cubicBezTo>
                    <a:pt x="707" y="805"/>
                    <a:pt x="706" y="804"/>
                    <a:pt x="705" y="804"/>
                  </a:cubicBezTo>
                  <a:lnTo>
                    <a:pt x="687" y="790"/>
                  </a:lnTo>
                  <a:lnTo>
                    <a:pt x="700" y="815"/>
                  </a:lnTo>
                  <a:cubicBezTo>
                    <a:pt x="700" y="817"/>
                    <a:pt x="700" y="819"/>
                    <a:pt x="698" y="820"/>
                  </a:cubicBezTo>
                  <a:lnTo>
                    <a:pt x="648" y="867"/>
                  </a:lnTo>
                  <a:cubicBezTo>
                    <a:pt x="647" y="868"/>
                    <a:pt x="646" y="868"/>
                    <a:pt x="644" y="868"/>
                  </a:cubicBezTo>
                  <a:lnTo>
                    <a:pt x="644" y="868"/>
                  </a:lnTo>
                  <a:cubicBezTo>
                    <a:pt x="642" y="868"/>
                    <a:pt x="641" y="867"/>
                    <a:pt x="640" y="866"/>
                  </a:cubicBezTo>
                  <a:lnTo>
                    <a:pt x="635" y="855"/>
                  </a:lnTo>
                  <a:lnTo>
                    <a:pt x="632" y="885"/>
                  </a:lnTo>
                  <a:cubicBezTo>
                    <a:pt x="632" y="887"/>
                    <a:pt x="631" y="889"/>
                    <a:pt x="629" y="889"/>
                  </a:cubicBezTo>
                  <a:lnTo>
                    <a:pt x="543" y="906"/>
                  </a:lnTo>
                  <a:cubicBezTo>
                    <a:pt x="542" y="906"/>
                    <a:pt x="541" y="906"/>
                    <a:pt x="540" y="905"/>
                  </a:cubicBezTo>
                  <a:lnTo>
                    <a:pt x="511" y="884"/>
                  </a:lnTo>
                  <a:cubicBezTo>
                    <a:pt x="509" y="883"/>
                    <a:pt x="508" y="881"/>
                    <a:pt x="509" y="880"/>
                  </a:cubicBezTo>
                  <a:cubicBezTo>
                    <a:pt x="509" y="878"/>
                    <a:pt x="510" y="877"/>
                    <a:pt x="512" y="876"/>
                  </a:cubicBezTo>
                  <a:lnTo>
                    <a:pt x="543" y="864"/>
                  </a:lnTo>
                  <a:lnTo>
                    <a:pt x="551" y="841"/>
                  </a:lnTo>
                  <a:lnTo>
                    <a:pt x="582" y="805"/>
                  </a:lnTo>
                  <a:lnTo>
                    <a:pt x="593" y="761"/>
                  </a:lnTo>
                  <a:cubicBezTo>
                    <a:pt x="594" y="759"/>
                    <a:pt x="596" y="757"/>
                    <a:pt x="598" y="757"/>
                  </a:cubicBezTo>
                  <a:lnTo>
                    <a:pt x="665" y="757"/>
                  </a:lnTo>
                  <a:lnTo>
                    <a:pt x="665" y="718"/>
                  </a:lnTo>
                  <a:lnTo>
                    <a:pt x="641" y="698"/>
                  </a:lnTo>
                  <a:lnTo>
                    <a:pt x="627" y="649"/>
                  </a:lnTo>
                  <a:lnTo>
                    <a:pt x="599" y="630"/>
                  </a:lnTo>
                  <a:cubicBezTo>
                    <a:pt x="598" y="630"/>
                    <a:pt x="597" y="628"/>
                    <a:pt x="597" y="627"/>
                  </a:cubicBezTo>
                  <a:lnTo>
                    <a:pt x="597" y="570"/>
                  </a:lnTo>
                  <a:lnTo>
                    <a:pt x="558" y="550"/>
                  </a:lnTo>
                  <a:lnTo>
                    <a:pt x="526" y="555"/>
                  </a:lnTo>
                  <a:lnTo>
                    <a:pt x="456" y="516"/>
                  </a:lnTo>
                  <a:lnTo>
                    <a:pt x="414" y="521"/>
                  </a:lnTo>
                  <a:lnTo>
                    <a:pt x="394" y="545"/>
                  </a:lnTo>
                  <a:lnTo>
                    <a:pt x="244" y="597"/>
                  </a:lnTo>
                  <a:cubicBezTo>
                    <a:pt x="243" y="597"/>
                    <a:pt x="243" y="597"/>
                    <a:pt x="242" y="597"/>
                  </a:cubicBezTo>
                  <a:cubicBezTo>
                    <a:pt x="241" y="597"/>
                    <a:pt x="240" y="597"/>
                    <a:pt x="240" y="597"/>
                  </a:cubicBezTo>
                  <a:lnTo>
                    <a:pt x="206" y="575"/>
                  </a:lnTo>
                  <a:lnTo>
                    <a:pt x="60" y="580"/>
                  </a:lnTo>
                  <a:cubicBezTo>
                    <a:pt x="59" y="580"/>
                    <a:pt x="57" y="580"/>
                    <a:pt x="57" y="579"/>
                  </a:cubicBezTo>
                  <a:lnTo>
                    <a:pt x="1" y="524"/>
                  </a:lnTo>
                  <a:cubicBezTo>
                    <a:pt x="0" y="523"/>
                    <a:pt x="0" y="521"/>
                    <a:pt x="0" y="520"/>
                  </a:cubicBezTo>
                  <a:lnTo>
                    <a:pt x="26" y="431"/>
                  </a:lnTo>
                  <a:cubicBezTo>
                    <a:pt x="26" y="429"/>
                    <a:pt x="28" y="427"/>
                    <a:pt x="30" y="427"/>
                  </a:cubicBezTo>
                  <a:lnTo>
                    <a:pt x="47" y="427"/>
                  </a:lnTo>
                  <a:lnTo>
                    <a:pt x="47" y="390"/>
                  </a:lnTo>
                  <a:lnTo>
                    <a:pt x="73" y="328"/>
                  </a:lnTo>
                  <a:lnTo>
                    <a:pt x="156" y="236"/>
                  </a:lnTo>
                  <a:lnTo>
                    <a:pt x="111" y="108"/>
                  </a:lnTo>
                  <a:cubicBezTo>
                    <a:pt x="110" y="107"/>
                    <a:pt x="110" y="105"/>
                    <a:pt x="111" y="104"/>
                  </a:cubicBezTo>
                  <a:cubicBezTo>
                    <a:pt x="112" y="103"/>
                    <a:pt x="113" y="102"/>
                    <a:pt x="114" y="102"/>
                  </a:cubicBezTo>
                  <a:lnTo>
                    <a:pt x="194" y="85"/>
                  </a:lnTo>
                  <a:lnTo>
                    <a:pt x="213" y="61"/>
                  </a:lnTo>
                  <a:cubicBezTo>
                    <a:pt x="214" y="60"/>
                    <a:pt x="215" y="59"/>
                    <a:pt x="216" y="59"/>
                  </a:cubicBezTo>
                  <a:lnTo>
                    <a:pt x="327" y="55"/>
                  </a:lnTo>
                  <a:lnTo>
                    <a:pt x="421" y="81"/>
                  </a:lnTo>
                  <a:lnTo>
                    <a:pt x="447" y="106"/>
                  </a:lnTo>
                  <a:lnTo>
                    <a:pt x="467" y="106"/>
                  </a:lnTo>
                  <a:cubicBezTo>
                    <a:pt x="468" y="106"/>
                    <a:pt x="470" y="107"/>
                    <a:pt x="471" y="108"/>
                  </a:cubicBezTo>
                  <a:lnTo>
                    <a:pt x="481" y="125"/>
                  </a:lnTo>
                  <a:lnTo>
                    <a:pt x="520" y="106"/>
                  </a:lnTo>
                  <a:cubicBezTo>
                    <a:pt x="520" y="106"/>
                    <a:pt x="521" y="106"/>
                    <a:pt x="522" y="106"/>
                  </a:cubicBezTo>
                  <a:cubicBezTo>
                    <a:pt x="522" y="106"/>
                    <a:pt x="523" y="106"/>
                    <a:pt x="524" y="106"/>
                  </a:cubicBezTo>
                  <a:lnTo>
                    <a:pt x="571" y="130"/>
                  </a:lnTo>
                  <a:lnTo>
                    <a:pt x="594" y="103"/>
                  </a:lnTo>
                  <a:cubicBezTo>
                    <a:pt x="595" y="102"/>
                    <a:pt x="596" y="102"/>
                    <a:pt x="598" y="101"/>
                  </a:cubicBezTo>
                  <a:lnTo>
                    <a:pt x="598" y="101"/>
                  </a:lnTo>
                  <a:cubicBezTo>
                    <a:pt x="599" y="101"/>
                    <a:pt x="600" y="102"/>
                    <a:pt x="601" y="103"/>
                  </a:cubicBezTo>
                  <a:lnTo>
                    <a:pt x="633" y="135"/>
                  </a:lnTo>
                  <a:lnTo>
                    <a:pt x="691" y="127"/>
                  </a:lnTo>
                  <a:cubicBezTo>
                    <a:pt x="692" y="127"/>
                    <a:pt x="693" y="127"/>
                    <a:pt x="694" y="128"/>
                  </a:cubicBezTo>
                  <a:lnTo>
                    <a:pt x="708" y="138"/>
                  </a:lnTo>
                  <a:lnTo>
                    <a:pt x="721" y="129"/>
                  </a:lnTo>
                  <a:lnTo>
                    <a:pt x="729" y="72"/>
                  </a:lnTo>
                  <a:lnTo>
                    <a:pt x="756" y="44"/>
                  </a:lnTo>
                  <a:lnTo>
                    <a:pt x="822" y="30"/>
                  </a:lnTo>
                  <a:cubicBezTo>
                    <a:pt x="823" y="30"/>
                    <a:pt x="824" y="30"/>
                    <a:pt x="825" y="30"/>
                  </a:cubicBezTo>
                  <a:lnTo>
                    <a:pt x="843" y="41"/>
                  </a:lnTo>
                  <a:lnTo>
                    <a:pt x="874" y="6"/>
                  </a:lnTo>
                  <a:cubicBezTo>
                    <a:pt x="875" y="5"/>
                    <a:pt x="876" y="4"/>
                    <a:pt x="877" y="4"/>
                  </a:cubicBezTo>
                  <a:lnTo>
                    <a:pt x="988" y="0"/>
                  </a:lnTo>
                  <a:cubicBezTo>
                    <a:pt x="989" y="0"/>
                    <a:pt x="991" y="1"/>
                    <a:pt x="991" y="2"/>
                  </a:cubicBezTo>
                  <a:lnTo>
                    <a:pt x="1042" y="70"/>
                  </a:lnTo>
                  <a:lnTo>
                    <a:pt x="1043" y="85"/>
                  </a:lnTo>
                  <a:cubicBezTo>
                    <a:pt x="1043" y="87"/>
                    <a:pt x="1042" y="89"/>
                    <a:pt x="1040" y="89"/>
                  </a:cubicBezTo>
                  <a:lnTo>
                    <a:pt x="1023" y="96"/>
                  </a:lnTo>
                  <a:lnTo>
                    <a:pt x="1034" y="137"/>
                  </a:lnTo>
                  <a:lnTo>
                    <a:pt x="1074" y="153"/>
                  </a:lnTo>
                  <a:lnTo>
                    <a:pt x="1098" y="148"/>
                  </a:lnTo>
                  <a:cubicBezTo>
                    <a:pt x="1099" y="148"/>
                    <a:pt x="1101" y="149"/>
                    <a:pt x="1102" y="150"/>
                  </a:cubicBezTo>
                  <a:lnTo>
                    <a:pt x="1123" y="180"/>
                  </a:lnTo>
                  <a:lnTo>
                    <a:pt x="1128" y="237"/>
                  </a:lnTo>
                  <a:lnTo>
                    <a:pt x="1142" y="254"/>
                  </a:lnTo>
                  <a:lnTo>
                    <a:pt x="1187" y="254"/>
                  </a:lnTo>
                  <a:cubicBezTo>
                    <a:pt x="1188" y="254"/>
                    <a:pt x="1189" y="254"/>
                    <a:pt x="1190" y="255"/>
                  </a:cubicBezTo>
                  <a:lnTo>
                    <a:pt x="1206" y="271"/>
                  </a:lnTo>
                  <a:lnTo>
                    <a:pt x="1225" y="271"/>
                  </a:lnTo>
                  <a:lnTo>
                    <a:pt x="1283" y="250"/>
                  </a:lnTo>
                  <a:lnTo>
                    <a:pt x="1284" y="250"/>
                  </a:lnTo>
                  <a:cubicBezTo>
                    <a:pt x="1285" y="250"/>
                    <a:pt x="1287" y="250"/>
                    <a:pt x="1288" y="251"/>
                  </a:cubicBezTo>
                  <a:lnTo>
                    <a:pt x="1341" y="312"/>
                  </a:lnTo>
                  <a:lnTo>
                    <a:pt x="1368" y="305"/>
                  </a:lnTo>
                  <a:lnTo>
                    <a:pt x="1368" y="305"/>
                  </a:lnTo>
                  <a:cubicBezTo>
                    <a:pt x="1370" y="305"/>
                    <a:pt x="1371" y="305"/>
                    <a:pt x="1371" y="305"/>
                  </a:cubicBezTo>
                  <a:lnTo>
                    <a:pt x="1408" y="330"/>
                  </a:lnTo>
                  <a:lnTo>
                    <a:pt x="1432" y="326"/>
                  </a:lnTo>
                  <a:lnTo>
                    <a:pt x="1519" y="364"/>
                  </a:lnTo>
                  <a:cubicBezTo>
                    <a:pt x="1521" y="365"/>
                    <a:pt x="1521" y="366"/>
                    <a:pt x="1522" y="368"/>
                  </a:cubicBezTo>
                  <a:cubicBezTo>
                    <a:pt x="1522" y="369"/>
                    <a:pt x="1522" y="371"/>
                    <a:pt x="1520" y="372"/>
                  </a:cubicBezTo>
                  <a:lnTo>
                    <a:pt x="1514" y="378"/>
                  </a:lnTo>
                  <a:lnTo>
                    <a:pt x="1526" y="409"/>
                  </a:lnTo>
                  <a:cubicBezTo>
                    <a:pt x="1526" y="410"/>
                    <a:pt x="1526" y="412"/>
                    <a:pt x="1525" y="413"/>
                  </a:cubicBezTo>
                  <a:lnTo>
                    <a:pt x="1513" y="434"/>
                  </a:lnTo>
                  <a:cubicBezTo>
                    <a:pt x="1512" y="435"/>
                    <a:pt x="1511" y="436"/>
                    <a:pt x="1510" y="436"/>
                  </a:cubicBezTo>
                  <a:lnTo>
                    <a:pt x="1494" y="442"/>
                  </a:lnTo>
                  <a:lnTo>
                    <a:pt x="1516" y="458"/>
                  </a:lnTo>
                  <a:cubicBezTo>
                    <a:pt x="1517" y="459"/>
                    <a:pt x="1518" y="460"/>
                    <a:pt x="1518" y="462"/>
                  </a:cubicBezTo>
                  <a:cubicBezTo>
                    <a:pt x="1517" y="463"/>
                    <a:pt x="1517" y="465"/>
                    <a:pt x="1515" y="466"/>
                  </a:cubicBezTo>
                  <a:lnTo>
                    <a:pt x="1488" y="481"/>
                  </a:lnTo>
                  <a:lnTo>
                    <a:pt x="1492" y="521"/>
                  </a:lnTo>
                  <a:lnTo>
                    <a:pt x="1502" y="525"/>
                  </a:lnTo>
                  <a:cubicBezTo>
                    <a:pt x="1504" y="525"/>
                    <a:pt x="1505" y="528"/>
                    <a:pt x="1505" y="530"/>
                  </a:cubicBezTo>
                  <a:lnTo>
                    <a:pt x="1488" y="594"/>
                  </a:lnTo>
                  <a:cubicBezTo>
                    <a:pt x="1487" y="596"/>
                    <a:pt x="1485" y="597"/>
                    <a:pt x="1483" y="597"/>
                  </a:cubicBezTo>
                  <a:lnTo>
                    <a:pt x="1437" y="597"/>
                  </a:lnTo>
                  <a:lnTo>
                    <a:pt x="1416" y="586"/>
                  </a:lnTo>
                  <a:lnTo>
                    <a:pt x="1394" y="613"/>
                  </a:lnTo>
                  <a:lnTo>
                    <a:pt x="1371" y="622"/>
                  </a:lnTo>
                  <a:lnTo>
                    <a:pt x="1360" y="642"/>
                  </a:lnTo>
                  <a:lnTo>
                    <a:pt x="1365" y="685"/>
                  </a:lnTo>
                  <a:cubicBezTo>
                    <a:pt x="1365" y="687"/>
                    <a:pt x="1364" y="690"/>
                    <a:pt x="1362" y="690"/>
                  </a:cubicBezTo>
                  <a:lnTo>
                    <a:pt x="1150" y="750"/>
                  </a:lnTo>
                  <a:lnTo>
                    <a:pt x="1114" y="786"/>
                  </a:lnTo>
                  <a:cubicBezTo>
                    <a:pt x="1113" y="787"/>
                    <a:pt x="1112" y="788"/>
                    <a:pt x="1111" y="788"/>
                  </a:cubicBezTo>
                  <a:lnTo>
                    <a:pt x="1110" y="788"/>
                  </a:lnTo>
                  <a:cubicBezTo>
                    <a:pt x="1109" y="788"/>
                    <a:pt x="1108" y="787"/>
                    <a:pt x="1107" y="786"/>
                  </a:cubicBezTo>
                  <a:lnTo>
                    <a:pt x="1094" y="770"/>
                  </a:lnTo>
                  <a:lnTo>
                    <a:pt x="1076" y="802"/>
                  </a:lnTo>
                  <a:lnTo>
                    <a:pt x="1077" y="825"/>
                  </a:lnTo>
                  <a:cubicBezTo>
                    <a:pt x="1077" y="828"/>
                    <a:pt x="1076" y="829"/>
                    <a:pt x="1074" y="830"/>
                  </a:cubicBezTo>
                  <a:cubicBezTo>
                    <a:pt x="1073" y="830"/>
                    <a:pt x="1073" y="830"/>
                    <a:pt x="1072" y="830"/>
                  </a:cubicBezTo>
                  <a:cubicBezTo>
                    <a:pt x="1071" y="830"/>
                    <a:pt x="1069" y="829"/>
                    <a:pt x="1068" y="828"/>
                  </a:cubicBezTo>
                  <a:lnTo>
                    <a:pt x="1055" y="808"/>
                  </a:lnTo>
                  <a:lnTo>
                    <a:pt x="1045" y="821"/>
                  </a:lnTo>
                  <a:lnTo>
                    <a:pt x="1047" y="821"/>
                  </a:lnTo>
                  <a:cubicBezTo>
                    <a:pt x="1048" y="821"/>
                    <a:pt x="1050" y="821"/>
                    <a:pt x="1051" y="822"/>
                  </a:cubicBezTo>
                  <a:cubicBezTo>
                    <a:pt x="1052" y="824"/>
                    <a:pt x="1052" y="826"/>
                    <a:pt x="1051" y="827"/>
                  </a:cubicBezTo>
                  <a:lnTo>
                    <a:pt x="1045" y="844"/>
                  </a:lnTo>
                  <a:lnTo>
                    <a:pt x="1074" y="855"/>
                  </a:lnTo>
                  <a:cubicBezTo>
                    <a:pt x="1075" y="855"/>
                    <a:pt x="1076" y="856"/>
                    <a:pt x="1076" y="858"/>
                  </a:cubicBezTo>
                  <a:lnTo>
                    <a:pt x="1092" y="896"/>
                  </a:lnTo>
                  <a:lnTo>
                    <a:pt x="1216" y="880"/>
                  </a:lnTo>
                  <a:cubicBezTo>
                    <a:pt x="1218" y="880"/>
                    <a:pt x="1219" y="880"/>
                    <a:pt x="1220" y="881"/>
                  </a:cubicBezTo>
                  <a:cubicBezTo>
                    <a:pt x="1221" y="883"/>
                    <a:pt x="1221" y="884"/>
                    <a:pt x="1221" y="886"/>
                  </a:cubicBezTo>
                  <a:lnTo>
                    <a:pt x="1208" y="932"/>
                  </a:lnTo>
                  <a:cubicBezTo>
                    <a:pt x="1208" y="934"/>
                    <a:pt x="1206" y="936"/>
                    <a:pt x="1204" y="936"/>
                  </a:cubicBezTo>
                  <a:lnTo>
                    <a:pt x="1123" y="927"/>
                  </a:lnTo>
                  <a:lnTo>
                    <a:pt x="999" y="1011"/>
                  </a:lnTo>
                  <a:cubicBezTo>
                    <a:pt x="998" y="1012"/>
                    <a:pt x="997" y="1012"/>
                    <a:pt x="996" y="1012"/>
                  </a:cubicBezTo>
                  <a:lnTo>
                    <a:pt x="995" y="1012"/>
                  </a:lnTo>
                  <a:lnTo>
                    <a:pt x="948" y="995"/>
                  </a:lnTo>
                  <a:close/>
                  <a:moveTo>
                    <a:pt x="1015" y="825"/>
                  </a:moveTo>
                  <a:lnTo>
                    <a:pt x="1033" y="822"/>
                  </a:lnTo>
                  <a:lnTo>
                    <a:pt x="1011" y="790"/>
                  </a:lnTo>
                  <a:lnTo>
                    <a:pt x="1009" y="801"/>
                  </a:lnTo>
                  <a:cubicBezTo>
                    <a:pt x="1009" y="803"/>
                    <a:pt x="1007" y="805"/>
                    <a:pt x="1005" y="805"/>
                  </a:cubicBezTo>
                  <a:lnTo>
                    <a:pt x="993" y="803"/>
                  </a:lnTo>
                  <a:lnTo>
                    <a:pt x="1015" y="825"/>
                  </a:lnTo>
                  <a:close/>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9" name="Freeform 724"/>
            <p:cNvSpPr>
              <a:spLocks noChangeArrowheads="1"/>
            </p:cNvSpPr>
            <p:nvPr/>
          </p:nvSpPr>
          <p:spPr bwMode="auto">
            <a:xfrm>
              <a:off x="4903788" y="1890713"/>
              <a:ext cx="549275" cy="365125"/>
            </a:xfrm>
            <a:custGeom>
              <a:avLst/>
              <a:gdLst/>
              <a:ahLst/>
              <a:cxnLst>
                <a:cxn ang="0">
                  <a:pos x="945" y="990"/>
                </a:cxn>
                <a:cxn ang="0">
                  <a:pos x="873" y="889"/>
                </a:cxn>
                <a:cxn ang="0">
                  <a:pos x="967" y="816"/>
                </a:cxn>
                <a:cxn ang="0">
                  <a:pos x="815" y="793"/>
                </a:cxn>
                <a:cxn ang="0">
                  <a:pos x="797" y="761"/>
                </a:cxn>
                <a:cxn ang="0">
                  <a:pos x="821" y="733"/>
                </a:cxn>
                <a:cxn ang="0">
                  <a:pos x="709" y="804"/>
                </a:cxn>
                <a:cxn ang="0">
                  <a:pos x="687" y="790"/>
                </a:cxn>
                <a:cxn ang="0">
                  <a:pos x="648" y="867"/>
                </a:cxn>
                <a:cxn ang="0">
                  <a:pos x="640" y="866"/>
                </a:cxn>
                <a:cxn ang="0">
                  <a:pos x="629" y="889"/>
                </a:cxn>
                <a:cxn ang="0">
                  <a:pos x="511" y="884"/>
                </a:cxn>
                <a:cxn ang="0">
                  <a:pos x="543" y="864"/>
                </a:cxn>
                <a:cxn ang="0">
                  <a:pos x="593" y="761"/>
                </a:cxn>
                <a:cxn ang="0">
                  <a:pos x="665" y="718"/>
                </a:cxn>
                <a:cxn ang="0">
                  <a:pos x="599" y="630"/>
                </a:cxn>
                <a:cxn ang="0">
                  <a:pos x="558" y="550"/>
                </a:cxn>
                <a:cxn ang="0">
                  <a:pos x="414" y="521"/>
                </a:cxn>
                <a:cxn ang="0">
                  <a:pos x="242" y="597"/>
                </a:cxn>
                <a:cxn ang="0">
                  <a:pos x="60" y="580"/>
                </a:cxn>
                <a:cxn ang="0">
                  <a:pos x="0" y="520"/>
                </a:cxn>
                <a:cxn ang="0">
                  <a:pos x="47" y="427"/>
                </a:cxn>
                <a:cxn ang="0">
                  <a:pos x="156" y="236"/>
                </a:cxn>
                <a:cxn ang="0">
                  <a:pos x="114" y="102"/>
                </a:cxn>
                <a:cxn ang="0">
                  <a:pos x="216" y="59"/>
                </a:cxn>
                <a:cxn ang="0">
                  <a:pos x="447" y="106"/>
                </a:cxn>
                <a:cxn ang="0">
                  <a:pos x="481" y="125"/>
                </a:cxn>
                <a:cxn ang="0">
                  <a:pos x="524" y="106"/>
                </a:cxn>
                <a:cxn ang="0">
                  <a:pos x="598" y="101"/>
                </a:cxn>
                <a:cxn ang="0">
                  <a:pos x="633" y="135"/>
                </a:cxn>
                <a:cxn ang="0">
                  <a:pos x="708" y="138"/>
                </a:cxn>
                <a:cxn ang="0">
                  <a:pos x="756" y="44"/>
                </a:cxn>
                <a:cxn ang="0">
                  <a:pos x="843" y="41"/>
                </a:cxn>
                <a:cxn ang="0">
                  <a:pos x="988" y="0"/>
                </a:cxn>
                <a:cxn ang="0">
                  <a:pos x="1043" y="85"/>
                </a:cxn>
                <a:cxn ang="0">
                  <a:pos x="1034" y="137"/>
                </a:cxn>
                <a:cxn ang="0">
                  <a:pos x="1102" y="150"/>
                </a:cxn>
                <a:cxn ang="0">
                  <a:pos x="1142" y="254"/>
                </a:cxn>
                <a:cxn ang="0">
                  <a:pos x="1206" y="271"/>
                </a:cxn>
                <a:cxn ang="0">
                  <a:pos x="1284" y="250"/>
                </a:cxn>
                <a:cxn ang="0">
                  <a:pos x="1368" y="305"/>
                </a:cxn>
                <a:cxn ang="0">
                  <a:pos x="1408" y="330"/>
                </a:cxn>
                <a:cxn ang="0">
                  <a:pos x="1522" y="368"/>
                </a:cxn>
                <a:cxn ang="0">
                  <a:pos x="1526" y="409"/>
                </a:cxn>
                <a:cxn ang="0">
                  <a:pos x="1510" y="436"/>
                </a:cxn>
                <a:cxn ang="0">
                  <a:pos x="1518" y="462"/>
                </a:cxn>
                <a:cxn ang="0">
                  <a:pos x="1492" y="521"/>
                </a:cxn>
                <a:cxn ang="0">
                  <a:pos x="1488" y="594"/>
                </a:cxn>
                <a:cxn ang="0">
                  <a:pos x="1416" y="586"/>
                </a:cxn>
                <a:cxn ang="0">
                  <a:pos x="1360" y="642"/>
                </a:cxn>
                <a:cxn ang="0">
                  <a:pos x="1150" y="750"/>
                </a:cxn>
                <a:cxn ang="0">
                  <a:pos x="1110" y="788"/>
                </a:cxn>
                <a:cxn ang="0">
                  <a:pos x="1076" y="802"/>
                </a:cxn>
                <a:cxn ang="0">
                  <a:pos x="1072" y="830"/>
                </a:cxn>
                <a:cxn ang="0">
                  <a:pos x="1045" y="821"/>
                </a:cxn>
                <a:cxn ang="0">
                  <a:pos x="1051" y="827"/>
                </a:cxn>
                <a:cxn ang="0">
                  <a:pos x="1076" y="858"/>
                </a:cxn>
                <a:cxn ang="0">
                  <a:pos x="1220" y="881"/>
                </a:cxn>
                <a:cxn ang="0">
                  <a:pos x="1204" y="936"/>
                </a:cxn>
                <a:cxn ang="0">
                  <a:pos x="996" y="1012"/>
                </a:cxn>
              </a:cxnLst>
              <a:rect l="0" t="0" r="r" b="b"/>
              <a:pathLst>
                <a:path w="1527" h="1013">
                  <a:moveTo>
                    <a:pt x="995" y="1012"/>
                  </a:moveTo>
                  <a:lnTo>
                    <a:pt x="948" y="995"/>
                  </a:lnTo>
                  <a:cubicBezTo>
                    <a:pt x="946" y="994"/>
                    <a:pt x="945" y="992"/>
                    <a:pt x="945" y="990"/>
                  </a:cubicBezTo>
                  <a:lnTo>
                    <a:pt x="945" y="926"/>
                  </a:lnTo>
                  <a:lnTo>
                    <a:pt x="876" y="893"/>
                  </a:lnTo>
                  <a:cubicBezTo>
                    <a:pt x="874" y="892"/>
                    <a:pt x="873" y="891"/>
                    <a:pt x="873" y="889"/>
                  </a:cubicBezTo>
                  <a:cubicBezTo>
                    <a:pt x="873" y="887"/>
                    <a:pt x="874" y="886"/>
                    <a:pt x="875" y="885"/>
                  </a:cubicBezTo>
                  <a:lnTo>
                    <a:pt x="976" y="824"/>
                  </a:lnTo>
                  <a:lnTo>
                    <a:pt x="967" y="816"/>
                  </a:lnTo>
                  <a:lnTo>
                    <a:pt x="818" y="800"/>
                  </a:lnTo>
                  <a:cubicBezTo>
                    <a:pt x="816" y="800"/>
                    <a:pt x="815" y="799"/>
                    <a:pt x="814" y="798"/>
                  </a:cubicBezTo>
                  <a:cubicBezTo>
                    <a:pt x="813" y="796"/>
                    <a:pt x="814" y="794"/>
                    <a:pt x="815" y="793"/>
                  </a:cubicBezTo>
                  <a:lnTo>
                    <a:pt x="827" y="777"/>
                  </a:lnTo>
                  <a:lnTo>
                    <a:pt x="800" y="766"/>
                  </a:lnTo>
                  <a:cubicBezTo>
                    <a:pt x="797" y="765"/>
                    <a:pt x="796" y="763"/>
                    <a:pt x="797" y="761"/>
                  </a:cubicBezTo>
                  <a:cubicBezTo>
                    <a:pt x="797" y="759"/>
                    <a:pt x="799" y="757"/>
                    <a:pt x="801" y="757"/>
                  </a:cubicBezTo>
                  <a:lnTo>
                    <a:pt x="842" y="757"/>
                  </a:lnTo>
                  <a:lnTo>
                    <a:pt x="821" y="733"/>
                  </a:lnTo>
                  <a:lnTo>
                    <a:pt x="729" y="762"/>
                  </a:lnTo>
                  <a:lnTo>
                    <a:pt x="712" y="802"/>
                  </a:lnTo>
                  <a:cubicBezTo>
                    <a:pt x="712" y="803"/>
                    <a:pt x="711" y="804"/>
                    <a:pt x="709" y="804"/>
                  </a:cubicBezTo>
                  <a:cubicBezTo>
                    <a:pt x="709" y="805"/>
                    <a:pt x="708" y="805"/>
                    <a:pt x="708" y="805"/>
                  </a:cubicBezTo>
                  <a:cubicBezTo>
                    <a:pt x="707" y="805"/>
                    <a:pt x="706" y="804"/>
                    <a:pt x="705" y="804"/>
                  </a:cubicBezTo>
                  <a:lnTo>
                    <a:pt x="687" y="790"/>
                  </a:lnTo>
                  <a:lnTo>
                    <a:pt x="700" y="815"/>
                  </a:lnTo>
                  <a:cubicBezTo>
                    <a:pt x="700" y="817"/>
                    <a:pt x="700" y="819"/>
                    <a:pt x="698" y="820"/>
                  </a:cubicBezTo>
                  <a:lnTo>
                    <a:pt x="648" y="867"/>
                  </a:lnTo>
                  <a:cubicBezTo>
                    <a:pt x="647" y="868"/>
                    <a:pt x="646" y="868"/>
                    <a:pt x="644" y="868"/>
                  </a:cubicBezTo>
                  <a:lnTo>
                    <a:pt x="644" y="868"/>
                  </a:lnTo>
                  <a:cubicBezTo>
                    <a:pt x="642" y="868"/>
                    <a:pt x="641" y="867"/>
                    <a:pt x="640" y="866"/>
                  </a:cubicBezTo>
                  <a:lnTo>
                    <a:pt x="635" y="855"/>
                  </a:lnTo>
                  <a:lnTo>
                    <a:pt x="632" y="885"/>
                  </a:lnTo>
                  <a:cubicBezTo>
                    <a:pt x="632" y="887"/>
                    <a:pt x="631" y="889"/>
                    <a:pt x="629" y="889"/>
                  </a:cubicBezTo>
                  <a:lnTo>
                    <a:pt x="543" y="906"/>
                  </a:lnTo>
                  <a:cubicBezTo>
                    <a:pt x="542" y="906"/>
                    <a:pt x="541" y="906"/>
                    <a:pt x="540" y="905"/>
                  </a:cubicBezTo>
                  <a:lnTo>
                    <a:pt x="511" y="884"/>
                  </a:lnTo>
                  <a:cubicBezTo>
                    <a:pt x="509" y="883"/>
                    <a:pt x="508" y="881"/>
                    <a:pt x="509" y="880"/>
                  </a:cubicBezTo>
                  <a:cubicBezTo>
                    <a:pt x="509" y="878"/>
                    <a:pt x="510" y="877"/>
                    <a:pt x="512" y="876"/>
                  </a:cubicBezTo>
                  <a:lnTo>
                    <a:pt x="543" y="864"/>
                  </a:lnTo>
                  <a:lnTo>
                    <a:pt x="551" y="841"/>
                  </a:lnTo>
                  <a:lnTo>
                    <a:pt x="582" y="805"/>
                  </a:lnTo>
                  <a:lnTo>
                    <a:pt x="593" y="761"/>
                  </a:lnTo>
                  <a:cubicBezTo>
                    <a:pt x="594" y="759"/>
                    <a:pt x="596" y="757"/>
                    <a:pt x="598" y="757"/>
                  </a:cubicBezTo>
                  <a:lnTo>
                    <a:pt x="665" y="757"/>
                  </a:lnTo>
                  <a:lnTo>
                    <a:pt x="665" y="718"/>
                  </a:lnTo>
                  <a:lnTo>
                    <a:pt x="641" y="698"/>
                  </a:lnTo>
                  <a:lnTo>
                    <a:pt x="627" y="649"/>
                  </a:lnTo>
                  <a:lnTo>
                    <a:pt x="599" y="630"/>
                  </a:lnTo>
                  <a:cubicBezTo>
                    <a:pt x="598" y="630"/>
                    <a:pt x="597" y="628"/>
                    <a:pt x="597" y="627"/>
                  </a:cubicBezTo>
                  <a:lnTo>
                    <a:pt x="597" y="570"/>
                  </a:lnTo>
                  <a:lnTo>
                    <a:pt x="558" y="550"/>
                  </a:lnTo>
                  <a:lnTo>
                    <a:pt x="526" y="555"/>
                  </a:lnTo>
                  <a:lnTo>
                    <a:pt x="456" y="516"/>
                  </a:lnTo>
                  <a:lnTo>
                    <a:pt x="414" y="521"/>
                  </a:lnTo>
                  <a:lnTo>
                    <a:pt x="394" y="545"/>
                  </a:lnTo>
                  <a:lnTo>
                    <a:pt x="244" y="597"/>
                  </a:lnTo>
                  <a:cubicBezTo>
                    <a:pt x="243" y="597"/>
                    <a:pt x="243" y="597"/>
                    <a:pt x="242" y="597"/>
                  </a:cubicBezTo>
                  <a:cubicBezTo>
                    <a:pt x="241" y="597"/>
                    <a:pt x="240" y="597"/>
                    <a:pt x="240" y="597"/>
                  </a:cubicBezTo>
                  <a:lnTo>
                    <a:pt x="206" y="575"/>
                  </a:lnTo>
                  <a:lnTo>
                    <a:pt x="60" y="580"/>
                  </a:lnTo>
                  <a:cubicBezTo>
                    <a:pt x="59" y="580"/>
                    <a:pt x="57" y="580"/>
                    <a:pt x="57" y="579"/>
                  </a:cubicBezTo>
                  <a:lnTo>
                    <a:pt x="1" y="524"/>
                  </a:lnTo>
                  <a:cubicBezTo>
                    <a:pt x="0" y="523"/>
                    <a:pt x="0" y="521"/>
                    <a:pt x="0" y="520"/>
                  </a:cubicBezTo>
                  <a:lnTo>
                    <a:pt x="26" y="431"/>
                  </a:lnTo>
                  <a:cubicBezTo>
                    <a:pt x="26" y="429"/>
                    <a:pt x="28" y="427"/>
                    <a:pt x="30" y="427"/>
                  </a:cubicBezTo>
                  <a:lnTo>
                    <a:pt x="47" y="427"/>
                  </a:lnTo>
                  <a:lnTo>
                    <a:pt x="47" y="390"/>
                  </a:lnTo>
                  <a:lnTo>
                    <a:pt x="73" y="328"/>
                  </a:lnTo>
                  <a:lnTo>
                    <a:pt x="156" y="236"/>
                  </a:lnTo>
                  <a:lnTo>
                    <a:pt x="111" y="108"/>
                  </a:lnTo>
                  <a:cubicBezTo>
                    <a:pt x="110" y="107"/>
                    <a:pt x="110" y="105"/>
                    <a:pt x="111" y="104"/>
                  </a:cubicBezTo>
                  <a:cubicBezTo>
                    <a:pt x="112" y="103"/>
                    <a:pt x="113" y="102"/>
                    <a:pt x="114" y="102"/>
                  </a:cubicBezTo>
                  <a:lnTo>
                    <a:pt x="194" y="85"/>
                  </a:lnTo>
                  <a:lnTo>
                    <a:pt x="213" y="61"/>
                  </a:lnTo>
                  <a:cubicBezTo>
                    <a:pt x="214" y="60"/>
                    <a:pt x="215" y="59"/>
                    <a:pt x="216" y="59"/>
                  </a:cubicBezTo>
                  <a:lnTo>
                    <a:pt x="327" y="55"/>
                  </a:lnTo>
                  <a:lnTo>
                    <a:pt x="421" y="81"/>
                  </a:lnTo>
                  <a:lnTo>
                    <a:pt x="447" y="106"/>
                  </a:lnTo>
                  <a:lnTo>
                    <a:pt x="467" y="106"/>
                  </a:lnTo>
                  <a:cubicBezTo>
                    <a:pt x="468" y="106"/>
                    <a:pt x="470" y="107"/>
                    <a:pt x="471" y="108"/>
                  </a:cubicBezTo>
                  <a:lnTo>
                    <a:pt x="481" y="125"/>
                  </a:lnTo>
                  <a:lnTo>
                    <a:pt x="520" y="106"/>
                  </a:lnTo>
                  <a:cubicBezTo>
                    <a:pt x="520" y="106"/>
                    <a:pt x="521" y="106"/>
                    <a:pt x="522" y="106"/>
                  </a:cubicBezTo>
                  <a:cubicBezTo>
                    <a:pt x="522" y="106"/>
                    <a:pt x="523" y="106"/>
                    <a:pt x="524" y="106"/>
                  </a:cubicBezTo>
                  <a:lnTo>
                    <a:pt x="571" y="130"/>
                  </a:lnTo>
                  <a:lnTo>
                    <a:pt x="594" y="103"/>
                  </a:lnTo>
                  <a:cubicBezTo>
                    <a:pt x="595" y="102"/>
                    <a:pt x="596" y="102"/>
                    <a:pt x="598" y="101"/>
                  </a:cubicBezTo>
                  <a:lnTo>
                    <a:pt x="598" y="101"/>
                  </a:lnTo>
                  <a:cubicBezTo>
                    <a:pt x="599" y="101"/>
                    <a:pt x="600" y="102"/>
                    <a:pt x="601" y="103"/>
                  </a:cubicBezTo>
                  <a:lnTo>
                    <a:pt x="633" y="135"/>
                  </a:lnTo>
                  <a:lnTo>
                    <a:pt x="691" y="127"/>
                  </a:lnTo>
                  <a:cubicBezTo>
                    <a:pt x="692" y="127"/>
                    <a:pt x="693" y="127"/>
                    <a:pt x="694" y="128"/>
                  </a:cubicBezTo>
                  <a:lnTo>
                    <a:pt x="708" y="138"/>
                  </a:lnTo>
                  <a:lnTo>
                    <a:pt x="721" y="129"/>
                  </a:lnTo>
                  <a:lnTo>
                    <a:pt x="729" y="72"/>
                  </a:lnTo>
                  <a:lnTo>
                    <a:pt x="756" y="44"/>
                  </a:lnTo>
                  <a:lnTo>
                    <a:pt x="822" y="30"/>
                  </a:lnTo>
                  <a:cubicBezTo>
                    <a:pt x="823" y="30"/>
                    <a:pt x="824" y="30"/>
                    <a:pt x="825" y="30"/>
                  </a:cubicBezTo>
                  <a:lnTo>
                    <a:pt x="843" y="41"/>
                  </a:lnTo>
                  <a:lnTo>
                    <a:pt x="874" y="6"/>
                  </a:lnTo>
                  <a:cubicBezTo>
                    <a:pt x="875" y="5"/>
                    <a:pt x="876" y="4"/>
                    <a:pt x="877" y="4"/>
                  </a:cubicBezTo>
                  <a:lnTo>
                    <a:pt x="988" y="0"/>
                  </a:lnTo>
                  <a:cubicBezTo>
                    <a:pt x="989" y="0"/>
                    <a:pt x="991" y="1"/>
                    <a:pt x="991" y="2"/>
                  </a:cubicBezTo>
                  <a:lnTo>
                    <a:pt x="1042" y="70"/>
                  </a:lnTo>
                  <a:lnTo>
                    <a:pt x="1043" y="85"/>
                  </a:lnTo>
                  <a:cubicBezTo>
                    <a:pt x="1043" y="87"/>
                    <a:pt x="1042" y="89"/>
                    <a:pt x="1040" y="89"/>
                  </a:cubicBezTo>
                  <a:lnTo>
                    <a:pt x="1023" y="96"/>
                  </a:lnTo>
                  <a:lnTo>
                    <a:pt x="1034" y="137"/>
                  </a:lnTo>
                  <a:lnTo>
                    <a:pt x="1074" y="153"/>
                  </a:lnTo>
                  <a:lnTo>
                    <a:pt x="1098" y="148"/>
                  </a:lnTo>
                  <a:cubicBezTo>
                    <a:pt x="1099" y="148"/>
                    <a:pt x="1101" y="149"/>
                    <a:pt x="1102" y="150"/>
                  </a:cubicBezTo>
                  <a:lnTo>
                    <a:pt x="1123" y="180"/>
                  </a:lnTo>
                  <a:lnTo>
                    <a:pt x="1128" y="237"/>
                  </a:lnTo>
                  <a:lnTo>
                    <a:pt x="1142" y="254"/>
                  </a:lnTo>
                  <a:lnTo>
                    <a:pt x="1187" y="254"/>
                  </a:lnTo>
                  <a:cubicBezTo>
                    <a:pt x="1188" y="254"/>
                    <a:pt x="1189" y="254"/>
                    <a:pt x="1190" y="255"/>
                  </a:cubicBezTo>
                  <a:lnTo>
                    <a:pt x="1206" y="271"/>
                  </a:lnTo>
                  <a:lnTo>
                    <a:pt x="1225" y="271"/>
                  </a:lnTo>
                  <a:lnTo>
                    <a:pt x="1283" y="250"/>
                  </a:lnTo>
                  <a:lnTo>
                    <a:pt x="1284" y="250"/>
                  </a:lnTo>
                  <a:cubicBezTo>
                    <a:pt x="1285" y="250"/>
                    <a:pt x="1287" y="250"/>
                    <a:pt x="1288" y="251"/>
                  </a:cubicBezTo>
                  <a:lnTo>
                    <a:pt x="1341" y="312"/>
                  </a:lnTo>
                  <a:lnTo>
                    <a:pt x="1368" y="305"/>
                  </a:lnTo>
                  <a:lnTo>
                    <a:pt x="1368" y="305"/>
                  </a:lnTo>
                  <a:cubicBezTo>
                    <a:pt x="1370" y="305"/>
                    <a:pt x="1371" y="305"/>
                    <a:pt x="1371" y="305"/>
                  </a:cubicBezTo>
                  <a:lnTo>
                    <a:pt x="1408" y="330"/>
                  </a:lnTo>
                  <a:lnTo>
                    <a:pt x="1432" y="326"/>
                  </a:lnTo>
                  <a:lnTo>
                    <a:pt x="1519" y="364"/>
                  </a:lnTo>
                  <a:cubicBezTo>
                    <a:pt x="1521" y="365"/>
                    <a:pt x="1521" y="366"/>
                    <a:pt x="1522" y="368"/>
                  </a:cubicBezTo>
                  <a:cubicBezTo>
                    <a:pt x="1522" y="369"/>
                    <a:pt x="1522" y="371"/>
                    <a:pt x="1520" y="372"/>
                  </a:cubicBezTo>
                  <a:lnTo>
                    <a:pt x="1514" y="378"/>
                  </a:lnTo>
                  <a:lnTo>
                    <a:pt x="1526" y="409"/>
                  </a:lnTo>
                  <a:cubicBezTo>
                    <a:pt x="1526" y="410"/>
                    <a:pt x="1526" y="412"/>
                    <a:pt x="1525" y="413"/>
                  </a:cubicBezTo>
                  <a:lnTo>
                    <a:pt x="1513" y="434"/>
                  </a:lnTo>
                  <a:cubicBezTo>
                    <a:pt x="1512" y="435"/>
                    <a:pt x="1511" y="436"/>
                    <a:pt x="1510" y="436"/>
                  </a:cubicBezTo>
                  <a:lnTo>
                    <a:pt x="1494" y="442"/>
                  </a:lnTo>
                  <a:lnTo>
                    <a:pt x="1516" y="458"/>
                  </a:lnTo>
                  <a:cubicBezTo>
                    <a:pt x="1517" y="459"/>
                    <a:pt x="1518" y="460"/>
                    <a:pt x="1518" y="462"/>
                  </a:cubicBezTo>
                  <a:cubicBezTo>
                    <a:pt x="1517" y="463"/>
                    <a:pt x="1517" y="465"/>
                    <a:pt x="1515" y="466"/>
                  </a:cubicBezTo>
                  <a:lnTo>
                    <a:pt x="1488" y="481"/>
                  </a:lnTo>
                  <a:lnTo>
                    <a:pt x="1492" y="521"/>
                  </a:lnTo>
                  <a:lnTo>
                    <a:pt x="1502" y="525"/>
                  </a:lnTo>
                  <a:cubicBezTo>
                    <a:pt x="1504" y="525"/>
                    <a:pt x="1505" y="528"/>
                    <a:pt x="1505" y="530"/>
                  </a:cubicBezTo>
                  <a:lnTo>
                    <a:pt x="1488" y="594"/>
                  </a:lnTo>
                  <a:cubicBezTo>
                    <a:pt x="1487" y="596"/>
                    <a:pt x="1485" y="597"/>
                    <a:pt x="1483" y="597"/>
                  </a:cubicBezTo>
                  <a:lnTo>
                    <a:pt x="1437" y="597"/>
                  </a:lnTo>
                  <a:lnTo>
                    <a:pt x="1416" y="586"/>
                  </a:lnTo>
                  <a:lnTo>
                    <a:pt x="1394" y="613"/>
                  </a:lnTo>
                  <a:lnTo>
                    <a:pt x="1371" y="622"/>
                  </a:lnTo>
                  <a:lnTo>
                    <a:pt x="1360" y="642"/>
                  </a:lnTo>
                  <a:lnTo>
                    <a:pt x="1365" y="685"/>
                  </a:lnTo>
                  <a:cubicBezTo>
                    <a:pt x="1365" y="687"/>
                    <a:pt x="1364" y="690"/>
                    <a:pt x="1362" y="690"/>
                  </a:cubicBezTo>
                  <a:lnTo>
                    <a:pt x="1150" y="750"/>
                  </a:lnTo>
                  <a:lnTo>
                    <a:pt x="1114" y="786"/>
                  </a:lnTo>
                  <a:cubicBezTo>
                    <a:pt x="1113" y="787"/>
                    <a:pt x="1112" y="788"/>
                    <a:pt x="1111" y="788"/>
                  </a:cubicBezTo>
                  <a:lnTo>
                    <a:pt x="1110" y="788"/>
                  </a:lnTo>
                  <a:cubicBezTo>
                    <a:pt x="1109" y="788"/>
                    <a:pt x="1108" y="787"/>
                    <a:pt x="1107" y="786"/>
                  </a:cubicBezTo>
                  <a:lnTo>
                    <a:pt x="1094" y="770"/>
                  </a:lnTo>
                  <a:lnTo>
                    <a:pt x="1076" y="802"/>
                  </a:lnTo>
                  <a:lnTo>
                    <a:pt x="1077" y="825"/>
                  </a:lnTo>
                  <a:cubicBezTo>
                    <a:pt x="1077" y="828"/>
                    <a:pt x="1076" y="829"/>
                    <a:pt x="1074" y="830"/>
                  </a:cubicBezTo>
                  <a:cubicBezTo>
                    <a:pt x="1073" y="830"/>
                    <a:pt x="1073" y="830"/>
                    <a:pt x="1072" y="830"/>
                  </a:cubicBezTo>
                  <a:cubicBezTo>
                    <a:pt x="1071" y="830"/>
                    <a:pt x="1069" y="829"/>
                    <a:pt x="1068" y="828"/>
                  </a:cubicBezTo>
                  <a:lnTo>
                    <a:pt x="1055" y="808"/>
                  </a:lnTo>
                  <a:lnTo>
                    <a:pt x="1045" y="821"/>
                  </a:lnTo>
                  <a:lnTo>
                    <a:pt x="1047" y="821"/>
                  </a:lnTo>
                  <a:cubicBezTo>
                    <a:pt x="1048" y="821"/>
                    <a:pt x="1050" y="821"/>
                    <a:pt x="1051" y="822"/>
                  </a:cubicBezTo>
                  <a:cubicBezTo>
                    <a:pt x="1052" y="824"/>
                    <a:pt x="1052" y="826"/>
                    <a:pt x="1051" y="827"/>
                  </a:cubicBezTo>
                  <a:lnTo>
                    <a:pt x="1045" y="844"/>
                  </a:lnTo>
                  <a:lnTo>
                    <a:pt x="1074" y="855"/>
                  </a:lnTo>
                  <a:cubicBezTo>
                    <a:pt x="1075" y="855"/>
                    <a:pt x="1076" y="856"/>
                    <a:pt x="1076" y="858"/>
                  </a:cubicBezTo>
                  <a:lnTo>
                    <a:pt x="1092" y="896"/>
                  </a:lnTo>
                  <a:lnTo>
                    <a:pt x="1216" y="880"/>
                  </a:lnTo>
                  <a:cubicBezTo>
                    <a:pt x="1218" y="880"/>
                    <a:pt x="1219" y="880"/>
                    <a:pt x="1220" y="881"/>
                  </a:cubicBezTo>
                  <a:cubicBezTo>
                    <a:pt x="1221" y="883"/>
                    <a:pt x="1221" y="884"/>
                    <a:pt x="1221" y="886"/>
                  </a:cubicBezTo>
                  <a:lnTo>
                    <a:pt x="1208" y="932"/>
                  </a:lnTo>
                  <a:cubicBezTo>
                    <a:pt x="1208" y="934"/>
                    <a:pt x="1206" y="936"/>
                    <a:pt x="1204" y="936"/>
                  </a:cubicBezTo>
                  <a:lnTo>
                    <a:pt x="1123" y="927"/>
                  </a:lnTo>
                  <a:lnTo>
                    <a:pt x="999" y="1011"/>
                  </a:lnTo>
                  <a:cubicBezTo>
                    <a:pt x="998" y="1012"/>
                    <a:pt x="997" y="1012"/>
                    <a:pt x="996" y="1012"/>
                  </a:cubicBezTo>
                  <a:lnTo>
                    <a:pt x="995" y="101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0" name="Freeform 725"/>
            <p:cNvSpPr>
              <a:spLocks noChangeArrowheads="1"/>
            </p:cNvSpPr>
            <p:nvPr/>
          </p:nvSpPr>
          <p:spPr bwMode="auto">
            <a:xfrm>
              <a:off x="5260975" y="2174875"/>
              <a:ext cx="14288" cy="12700"/>
            </a:xfrm>
            <a:custGeom>
              <a:avLst/>
              <a:gdLst/>
              <a:ahLst/>
              <a:cxnLst>
                <a:cxn ang="0">
                  <a:pos x="22" y="35"/>
                </a:cxn>
                <a:cxn ang="0">
                  <a:pos x="0" y="13"/>
                </a:cxn>
                <a:cxn ang="0">
                  <a:pos x="12" y="15"/>
                </a:cxn>
                <a:cxn ang="0">
                  <a:pos x="16" y="11"/>
                </a:cxn>
                <a:cxn ang="0">
                  <a:pos x="18" y="0"/>
                </a:cxn>
                <a:cxn ang="0">
                  <a:pos x="40" y="32"/>
                </a:cxn>
                <a:cxn ang="0">
                  <a:pos x="22" y="35"/>
                </a:cxn>
              </a:cxnLst>
              <a:rect l="0" t="0" r="r" b="b"/>
              <a:pathLst>
                <a:path w="41" h="36">
                  <a:moveTo>
                    <a:pt x="22" y="35"/>
                  </a:moveTo>
                  <a:lnTo>
                    <a:pt x="0" y="13"/>
                  </a:lnTo>
                  <a:lnTo>
                    <a:pt x="12" y="15"/>
                  </a:lnTo>
                  <a:cubicBezTo>
                    <a:pt x="14" y="15"/>
                    <a:pt x="16" y="13"/>
                    <a:pt x="16" y="11"/>
                  </a:cubicBezTo>
                  <a:lnTo>
                    <a:pt x="18" y="0"/>
                  </a:lnTo>
                  <a:lnTo>
                    <a:pt x="40" y="32"/>
                  </a:lnTo>
                  <a:lnTo>
                    <a:pt x="22" y="3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1" name="Freeform 726"/>
            <p:cNvSpPr>
              <a:spLocks noChangeArrowheads="1"/>
            </p:cNvSpPr>
            <p:nvPr/>
          </p:nvSpPr>
          <p:spPr bwMode="auto">
            <a:xfrm>
              <a:off x="5545138" y="2374900"/>
              <a:ext cx="100012" cy="101600"/>
            </a:xfrm>
            <a:custGeom>
              <a:avLst/>
              <a:gdLst/>
              <a:ahLst/>
              <a:cxnLst>
                <a:cxn ang="0">
                  <a:pos x="221" y="280"/>
                </a:cxn>
                <a:cxn ang="0">
                  <a:pos x="217" y="277"/>
                </a:cxn>
                <a:cxn ang="0">
                  <a:pos x="197" y="204"/>
                </a:cxn>
                <a:cxn ang="0">
                  <a:pos x="166" y="204"/>
                </a:cxn>
                <a:cxn ang="0">
                  <a:pos x="136" y="184"/>
                </a:cxn>
                <a:cxn ang="0">
                  <a:pos x="113" y="195"/>
                </a:cxn>
                <a:cxn ang="0">
                  <a:pos x="111" y="196"/>
                </a:cxn>
                <a:cxn ang="0">
                  <a:pos x="107" y="194"/>
                </a:cxn>
                <a:cxn ang="0">
                  <a:pos x="95" y="177"/>
                </a:cxn>
                <a:cxn ang="0">
                  <a:pos x="32" y="136"/>
                </a:cxn>
                <a:cxn ang="0">
                  <a:pos x="1" y="44"/>
                </a:cxn>
                <a:cxn ang="0">
                  <a:pos x="1" y="41"/>
                </a:cxn>
                <a:cxn ang="0">
                  <a:pos x="4" y="38"/>
                </a:cxn>
                <a:cxn ang="0">
                  <a:pos x="119" y="9"/>
                </a:cxn>
                <a:cxn ang="0">
                  <a:pos x="135" y="1"/>
                </a:cxn>
                <a:cxn ang="0">
                  <a:pos x="137" y="0"/>
                </a:cxn>
                <a:cxn ang="0">
                  <a:pos x="141" y="3"/>
                </a:cxn>
                <a:cxn ang="0">
                  <a:pos x="157" y="31"/>
                </a:cxn>
                <a:cxn ang="0">
                  <a:pos x="180" y="38"/>
                </a:cxn>
                <a:cxn ang="0">
                  <a:pos x="184" y="43"/>
                </a:cxn>
                <a:cxn ang="0">
                  <a:pos x="180" y="87"/>
                </a:cxn>
                <a:cxn ang="0">
                  <a:pos x="216" y="115"/>
                </a:cxn>
                <a:cxn ang="0">
                  <a:pos x="217" y="121"/>
                </a:cxn>
                <a:cxn ang="0">
                  <a:pos x="205" y="156"/>
                </a:cxn>
                <a:cxn ang="0">
                  <a:pos x="240" y="186"/>
                </a:cxn>
                <a:cxn ang="0">
                  <a:pos x="259" y="186"/>
                </a:cxn>
                <a:cxn ang="0">
                  <a:pos x="264" y="191"/>
                </a:cxn>
                <a:cxn ang="0">
                  <a:pos x="264" y="233"/>
                </a:cxn>
                <a:cxn ang="0">
                  <a:pos x="262" y="238"/>
                </a:cxn>
                <a:cxn ang="0">
                  <a:pos x="258" y="240"/>
                </a:cxn>
                <a:cxn ang="0">
                  <a:pos x="276" y="273"/>
                </a:cxn>
                <a:cxn ang="0">
                  <a:pos x="276" y="278"/>
                </a:cxn>
                <a:cxn ang="0">
                  <a:pos x="272" y="280"/>
                </a:cxn>
                <a:cxn ang="0">
                  <a:pos x="221" y="280"/>
                </a:cxn>
              </a:cxnLst>
              <a:rect l="0" t="0" r="r" b="b"/>
              <a:pathLst>
                <a:path w="278" h="281">
                  <a:moveTo>
                    <a:pt x="221" y="280"/>
                  </a:moveTo>
                  <a:cubicBezTo>
                    <a:pt x="219" y="280"/>
                    <a:pt x="217" y="279"/>
                    <a:pt x="217" y="277"/>
                  </a:cubicBezTo>
                  <a:lnTo>
                    <a:pt x="197" y="204"/>
                  </a:lnTo>
                  <a:lnTo>
                    <a:pt x="166" y="204"/>
                  </a:lnTo>
                  <a:lnTo>
                    <a:pt x="136" y="184"/>
                  </a:lnTo>
                  <a:lnTo>
                    <a:pt x="113" y="195"/>
                  </a:lnTo>
                  <a:cubicBezTo>
                    <a:pt x="113" y="196"/>
                    <a:pt x="112" y="196"/>
                    <a:pt x="111" y="196"/>
                  </a:cubicBezTo>
                  <a:cubicBezTo>
                    <a:pt x="110" y="196"/>
                    <a:pt x="108" y="195"/>
                    <a:pt x="107" y="194"/>
                  </a:cubicBezTo>
                  <a:lnTo>
                    <a:pt x="95" y="177"/>
                  </a:lnTo>
                  <a:lnTo>
                    <a:pt x="32" y="136"/>
                  </a:lnTo>
                  <a:lnTo>
                    <a:pt x="1" y="44"/>
                  </a:lnTo>
                  <a:cubicBezTo>
                    <a:pt x="0" y="43"/>
                    <a:pt x="0" y="42"/>
                    <a:pt x="1" y="41"/>
                  </a:cubicBezTo>
                  <a:cubicBezTo>
                    <a:pt x="2" y="40"/>
                    <a:pt x="3" y="39"/>
                    <a:pt x="4" y="38"/>
                  </a:cubicBezTo>
                  <a:lnTo>
                    <a:pt x="119" y="9"/>
                  </a:lnTo>
                  <a:lnTo>
                    <a:pt x="135" y="1"/>
                  </a:lnTo>
                  <a:cubicBezTo>
                    <a:pt x="135" y="0"/>
                    <a:pt x="136" y="0"/>
                    <a:pt x="137" y="0"/>
                  </a:cubicBezTo>
                  <a:cubicBezTo>
                    <a:pt x="138" y="0"/>
                    <a:pt x="140" y="1"/>
                    <a:pt x="141" y="3"/>
                  </a:cubicBezTo>
                  <a:lnTo>
                    <a:pt x="157" y="31"/>
                  </a:lnTo>
                  <a:lnTo>
                    <a:pt x="180" y="38"/>
                  </a:lnTo>
                  <a:cubicBezTo>
                    <a:pt x="183" y="39"/>
                    <a:pt x="184" y="41"/>
                    <a:pt x="184" y="43"/>
                  </a:cubicBezTo>
                  <a:lnTo>
                    <a:pt x="180" y="87"/>
                  </a:lnTo>
                  <a:lnTo>
                    <a:pt x="216" y="115"/>
                  </a:lnTo>
                  <a:cubicBezTo>
                    <a:pt x="217" y="117"/>
                    <a:pt x="218" y="119"/>
                    <a:pt x="217" y="121"/>
                  </a:cubicBezTo>
                  <a:lnTo>
                    <a:pt x="205" y="156"/>
                  </a:lnTo>
                  <a:lnTo>
                    <a:pt x="240" y="186"/>
                  </a:lnTo>
                  <a:lnTo>
                    <a:pt x="259" y="186"/>
                  </a:lnTo>
                  <a:cubicBezTo>
                    <a:pt x="262" y="186"/>
                    <a:pt x="264" y="188"/>
                    <a:pt x="264" y="191"/>
                  </a:cubicBezTo>
                  <a:lnTo>
                    <a:pt x="264" y="233"/>
                  </a:lnTo>
                  <a:cubicBezTo>
                    <a:pt x="264" y="235"/>
                    <a:pt x="263" y="237"/>
                    <a:pt x="262" y="238"/>
                  </a:cubicBezTo>
                  <a:lnTo>
                    <a:pt x="258" y="240"/>
                  </a:lnTo>
                  <a:lnTo>
                    <a:pt x="276" y="273"/>
                  </a:lnTo>
                  <a:cubicBezTo>
                    <a:pt x="277" y="275"/>
                    <a:pt x="277" y="277"/>
                    <a:pt x="276" y="278"/>
                  </a:cubicBezTo>
                  <a:cubicBezTo>
                    <a:pt x="275" y="280"/>
                    <a:pt x="274" y="280"/>
                    <a:pt x="272" y="280"/>
                  </a:cubicBezTo>
                  <a:lnTo>
                    <a:pt x="221" y="28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2" name="Freeform 727"/>
            <p:cNvSpPr>
              <a:spLocks noChangeArrowheads="1"/>
            </p:cNvSpPr>
            <p:nvPr/>
          </p:nvSpPr>
          <p:spPr bwMode="auto">
            <a:xfrm>
              <a:off x="5545138" y="2374900"/>
              <a:ext cx="100012" cy="101600"/>
            </a:xfrm>
            <a:custGeom>
              <a:avLst/>
              <a:gdLst/>
              <a:ahLst/>
              <a:cxnLst>
                <a:cxn ang="0">
                  <a:pos x="221" y="280"/>
                </a:cxn>
                <a:cxn ang="0">
                  <a:pos x="217" y="277"/>
                </a:cxn>
                <a:cxn ang="0">
                  <a:pos x="197" y="204"/>
                </a:cxn>
                <a:cxn ang="0">
                  <a:pos x="166" y="204"/>
                </a:cxn>
                <a:cxn ang="0">
                  <a:pos x="136" y="184"/>
                </a:cxn>
                <a:cxn ang="0">
                  <a:pos x="113" y="195"/>
                </a:cxn>
                <a:cxn ang="0">
                  <a:pos x="111" y="196"/>
                </a:cxn>
                <a:cxn ang="0">
                  <a:pos x="107" y="194"/>
                </a:cxn>
                <a:cxn ang="0">
                  <a:pos x="95" y="177"/>
                </a:cxn>
                <a:cxn ang="0">
                  <a:pos x="32" y="136"/>
                </a:cxn>
                <a:cxn ang="0">
                  <a:pos x="1" y="44"/>
                </a:cxn>
                <a:cxn ang="0">
                  <a:pos x="1" y="41"/>
                </a:cxn>
                <a:cxn ang="0">
                  <a:pos x="4" y="38"/>
                </a:cxn>
                <a:cxn ang="0">
                  <a:pos x="119" y="9"/>
                </a:cxn>
                <a:cxn ang="0">
                  <a:pos x="135" y="1"/>
                </a:cxn>
                <a:cxn ang="0">
                  <a:pos x="137" y="0"/>
                </a:cxn>
                <a:cxn ang="0">
                  <a:pos x="141" y="3"/>
                </a:cxn>
                <a:cxn ang="0">
                  <a:pos x="157" y="31"/>
                </a:cxn>
                <a:cxn ang="0">
                  <a:pos x="180" y="38"/>
                </a:cxn>
                <a:cxn ang="0">
                  <a:pos x="184" y="43"/>
                </a:cxn>
                <a:cxn ang="0">
                  <a:pos x="180" y="87"/>
                </a:cxn>
                <a:cxn ang="0">
                  <a:pos x="216" y="115"/>
                </a:cxn>
                <a:cxn ang="0">
                  <a:pos x="217" y="121"/>
                </a:cxn>
                <a:cxn ang="0">
                  <a:pos x="205" y="156"/>
                </a:cxn>
                <a:cxn ang="0">
                  <a:pos x="240" y="186"/>
                </a:cxn>
                <a:cxn ang="0">
                  <a:pos x="259" y="186"/>
                </a:cxn>
                <a:cxn ang="0">
                  <a:pos x="264" y="191"/>
                </a:cxn>
                <a:cxn ang="0">
                  <a:pos x="264" y="233"/>
                </a:cxn>
                <a:cxn ang="0">
                  <a:pos x="262" y="238"/>
                </a:cxn>
                <a:cxn ang="0">
                  <a:pos x="258" y="240"/>
                </a:cxn>
                <a:cxn ang="0">
                  <a:pos x="276" y="273"/>
                </a:cxn>
                <a:cxn ang="0">
                  <a:pos x="276" y="278"/>
                </a:cxn>
                <a:cxn ang="0">
                  <a:pos x="272" y="280"/>
                </a:cxn>
                <a:cxn ang="0">
                  <a:pos x="221" y="280"/>
                </a:cxn>
              </a:cxnLst>
              <a:rect l="0" t="0" r="r" b="b"/>
              <a:pathLst>
                <a:path w="278" h="281">
                  <a:moveTo>
                    <a:pt x="221" y="280"/>
                  </a:moveTo>
                  <a:cubicBezTo>
                    <a:pt x="219" y="280"/>
                    <a:pt x="217" y="279"/>
                    <a:pt x="217" y="277"/>
                  </a:cubicBezTo>
                  <a:lnTo>
                    <a:pt x="197" y="204"/>
                  </a:lnTo>
                  <a:lnTo>
                    <a:pt x="166" y="204"/>
                  </a:lnTo>
                  <a:lnTo>
                    <a:pt x="136" y="184"/>
                  </a:lnTo>
                  <a:lnTo>
                    <a:pt x="113" y="195"/>
                  </a:lnTo>
                  <a:cubicBezTo>
                    <a:pt x="113" y="196"/>
                    <a:pt x="112" y="196"/>
                    <a:pt x="111" y="196"/>
                  </a:cubicBezTo>
                  <a:cubicBezTo>
                    <a:pt x="110" y="196"/>
                    <a:pt x="108" y="195"/>
                    <a:pt x="107" y="194"/>
                  </a:cubicBezTo>
                  <a:lnTo>
                    <a:pt x="95" y="177"/>
                  </a:lnTo>
                  <a:lnTo>
                    <a:pt x="32" y="136"/>
                  </a:lnTo>
                  <a:lnTo>
                    <a:pt x="1" y="44"/>
                  </a:lnTo>
                  <a:cubicBezTo>
                    <a:pt x="0" y="43"/>
                    <a:pt x="0" y="42"/>
                    <a:pt x="1" y="41"/>
                  </a:cubicBezTo>
                  <a:cubicBezTo>
                    <a:pt x="2" y="40"/>
                    <a:pt x="3" y="39"/>
                    <a:pt x="4" y="38"/>
                  </a:cubicBezTo>
                  <a:lnTo>
                    <a:pt x="119" y="9"/>
                  </a:lnTo>
                  <a:lnTo>
                    <a:pt x="135" y="1"/>
                  </a:lnTo>
                  <a:cubicBezTo>
                    <a:pt x="135" y="0"/>
                    <a:pt x="136" y="0"/>
                    <a:pt x="137" y="0"/>
                  </a:cubicBezTo>
                  <a:cubicBezTo>
                    <a:pt x="138" y="0"/>
                    <a:pt x="140" y="1"/>
                    <a:pt x="141" y="3"/>
                  </a:cubicBezTo>
                  <a:lnTo>
                    <a:pt x="157" y="31"/>
                  </a:lnTo>
                  <a:lnTo>
                    <a:pt x="180" y="38"/>
                  </a:lnTo>
                  <a:cubicBezTo>
                    <a:pt x="183" y="39"/>
                    <a:pt x="184" y="41"/>
                    <a:pt x="184" y="43"/>
                  </a:cubicBezTo>
                  <a:lnTo>
                    <a:pt x="180" y="87"/>
                  </a:lnTo>
                  <a:lnTo>
                    <a:pt x="216" y="115"/>
                  </a:lnTo>
                  <a:cubicBezTo>
                    <a:pt x="217" y="117"/>
                    <a:pt x="218" y="119"/>
                    <a:pt x="217" y="121"/>
                  </a:cubicBezTo>
                  <a:lnTo>
                    <a:pt x="205" y="156"/>
                  </a:lnTo>
                  <a:lnTo>
                    <a:pt x="240" y="186"/>
                  </a:lnTo>
                  <a:lnTo>
                    <a:pt x="259" y="186"/>
                  </a:lnTo>
                  <a:cubicBezTo>
                    <a:pt x="262" y="186"/>
                    <a:pt x="264" y="188"/>
                    <a:pt x="264" y="191"/>
                  </a:cubicBezTo>
                  <a:lnTo>
                    <a:pt x="264" y="233"/>
                  </a:lnTo>
                  <a:cubicBezTo>
                    <a:pt x="264" y="235"/>
                    <a:pt x="263" y="237"/>
                    <a:pt x="262" y="238"/>
                  </a:cubicBezTo>
                  <a:lnTo>
                    <a:pt x="258" y="240"/>
                  </a:lnTo>
                  <a:lnTo>
                    <a:pt x="276" y="273"/>
                  </a:lnTo>
                  <a:cubicBezTo>
                    <a:pt x="277" y="275"/>
                    <a:pt x="277" y="277"/>
                    <a:pt x="276" y="278"/>
                  </a:cubicBezTo>
                  <a:cubicBezTo>
                    <a:pt x="275" y="280"/>
                    <a:pt x="274" y="280"/>
                    <a:pt x="272" y="280"/>
                  </a:cubicBezTo>
                  <a:lnTo>
                    <a:pt x="221" y="28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3" name="Freeform 728"/>
            <p:cNvSpPr>
              <a:spLocks noChangeArrowheads="1"/>
            </p:cNvSpPr>
            <p:nvPr/>
          </p:nvSpPr>
          <p:spPr bwMode="auto">
            <a:xfrm>
              <a:off x="5583238" y="2436813"/>
              <a:ext cx="42862" cy="38100"/>
            </a:xfrm>
            <a:custGeom>
              <a:avLst/>
              <a:gdLst/>
              <a:ahLst/>
              <a:cxnLst>
                <a:cxn ang="0">
                  <a:pos x="64" y="102"/>
                </a:cxn>
                <a:cxn ang="0">
                  <a:pos x="61" y="100"/>
                </a:cxn>
                <a:cxn ang="0">
                  <a:pos x="1" y="20"/>
                </a:cxn>
                <a:cxn ang="0">
                  <a:pos x="1" y="16"/>
                </a:cxn>
                <a:cxn ang="0">
                  <a:pos x="3" y="13"/>
                </a:cxn>
                <a:cxn ang="0">
                  <a:pos x="29" y="0"/>
                </a:cxn>
                <a:cxn ang="0">
                  <a:pos x="31" y="0"/>
                </a:cxn>
                <a:cxn ang="0">
                  <a:pos x="33" y="0"/>
                </a:cxn>
                <a:cxn ang="0">
                  <a:pos x="63" y="22"/>
                </a:cxn>
                <a:cxn ang="0">
                  <a:pos x="94" y="21"/>
                </a:cxn>
                <a:cxn ang="0">
                  <a:pos x="99" y="24"/>
                </a:cxn>
                <a:cxn ang="0">
                  <a:pos x="120" y="101"/>
                </a:cxn>
                <a:cxn ang="0">
                  <a:pos x="119" y="105"/>
                </a:cxn>
                <a:cxn ang="0">
                  <a:pos x="115" y="106"/>
                </a:cxn>
                <a:cxn ang="0">
                  <a:pos x="64" y="102"/>
                </a:cxn>
              </a:cxnLst>
              <a:rect l="0" t="0" r="r" b="b"/>
              <a:pathLst>
                <a:path w="121" h="107">
                  <a:moveTo>
                    <a:pt x="64" y="102"/>
                  </a:moveTo>
                  <a:cubicBezTo>
                    <a:pt x="63" y="102"/>
                    <a:pt x="62" y="101"/>
                    <a:pt x="61" y="100"/>
                  </a:cubicBezTo>
                  <a:lnTo>
                    <a:pt x="1" y="20"/>
                  </a:lnTo>
                  <a:cubicBezTo>
                    <a:pt x="1" y="19"/>
                    <a:pt x="0" y="17"/>
                    <a:pt x="1" y="16"/>
                  </a:cubicBezTo>
                  <a:cubicBezTo>
                    <a:pt x="1" y="15"/>
                    <a:pt x="2" y="14"/>
                    <a:pt x="3" y="13"/>
                  </a:cubicBezTo>
                  <a:lnTo>
                    <a:pt x="29" y="0"/>
                  </a:lnTo>
                  <a:cubicBezTo>
                    <a:pt x="29" y="0"/>
                    <a:pt x="30" y="0"/>
                    <a:pt x="31" y="0"/>
                  </a:cubicBezTo>
                  <a:cubicBezTo>
                    <a:pt x="32" y="0"/>
                    <a:pt x="33" y="0"/>
                    <a:pt x="33" y="0"/>
                  </a:cubicBezTo>
                  <a:lnTo>
                    <a:pt x="63" y="22"/>
                  </a:lnTo>
                  <a:lnTo>
                    <a:pt x="94" y="21"/>
                  </a:lnTo>
                  <a:cubicBezTo>
                    <a:pt x="96" y="21"/>
                    <a:pt x="98" y="22"/>
                    <a:pt x="99" y="24"/>
                  </a:cubicBezTo>
                  <a:lnTo>
                    <a:pt x="120" y="101"/>
                  </a:lnTo>
                  <a:cubicBezTo>
                    <a:pt x="120" y="102"/>
                    <a:pt x="120" y="104"/>
                    <a:pt x="119" y="105"/>
                  </a:cubicBezTo>
                  <a:cubicBezTo>
                    <a:pt x="118" y="106"/>
                    <a:pt x="117" y="106"/>
                    <a:pt x="115" y="106"/>
                  </a:cubicBezTo>
                  <a:lnTo>
                    <a:pt x="64" y="102"/>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4" name="Freeform 729"/>
            <p:cNvSpPr>
              <a:spLocks noChangeArrowheads="1"/>
            </p:cNvSpPr>
            <p:nvPr/>
          </p:nvSpPr>
          <p:spPr bwMode="auto">
            <a:xfrm>
              <a:off x="5583238" y="2436813"/>
              <a:ext cx="42862" cy="38100"/>
            </a:xfrm>
            <a:custGeom>
              <a:avLst/>
              <a:gdLst/>
              <a:ahLst/>
              <a:cxnLst>
                <a:cxn ang="0">
                  <a:pos x="64" y="102"/>
                </a:cxn>
                <a:cxn ang="0">
                  <a:pos x="61" y="100"/>
                </a:cxn>
                <a:cxn ang="0">
                  <a:pos x="1" y="20"/>
                </a:cxn>
                <a:cxn ang="0">
                  <a:pos x="1" y="16"/>
                </a:cxn>
                <a:cxn ang="0">
                  <a:pos x="3" y="13"/>
                </a:cxn>
                <a:cxn ang="0">
                  <a:pos x="29" y="0"/>
                </a:cxn>
                <a:cxn ang="0">
                  <a:pos x="31" y="0"/>
                </a:cxn>
                <a:cxn ang="0">
                  <a:pos x="33" y="0"/>
                </a:cxn>
                <a:cxn ang="0">
                  <a:pos x="63" y="22"/>
                </a:cxn>
                <a:cxn ang="0">
                  <a:pos x="94" y="21"/>
                </a:cxn>
                <a:cxn ang="0">
                  <a:pos x="99" y="24"/>
                </a:cxn>
                <a:cxn ang="0">
                  <a:pos x="120" y="101"/>
                </a:cxn>
                <a:cxn ang="0">
                  <a:pos x="119" y="105"/>
                </a:cxn>
                <a:cxn ang="0">
                  <a:pos x="115" y="106"/>
                </a:cxn>
                <a:cxn ang="0">
                  <a:pos x="64" y="102"/>
                </a:cxn>
              </a:cxnLst>
              <a:rect l="0" t="0" r="r" b="b"/>
              <a:pathLst>
                <a:path w="121" h="107">
                  <a:moveTo>
                    <a:pt x="64" y="102"/>
                  </a:moveTo>
                  <a:cubicBezTo>
                    <a:pt x="63" y="102"/>
                    <a:pt x="62" y="101"/>
                    <a:pt x="61" y="100"/>
                  </a:cubicBezTo>
                  <a:lnTo>
                    <a:pt x="1" y="20"/>
                  </a:lnTo>
                  <a:cubicBezTo>
                    <a:pt x="1" y="19"/>
                    <a:pt x="0" y="17"/>
                    <a:pt x="1" y="16"/>
                  </a:cubicBezTo>
                  <a:cubicBezTo>
                    <a:pt x="1" y="15"/>
                    <a:pt x="2" y="14"/>
                    <a:pt x="3" y="13"/>
                  </a:cubicBezTo>
                  <a:lnTo>
                    <a:pt x="29" y="0"/>
                  </a:lnTo>
                  <a:cubicBezTo>
                    <a:pt x="29" y="0"/>
                    <a:pt x="30" y="0"/>
                    <a:pt x="31" y="0"/>
                  </a:cubicBezTo>
                  <a:cubicBezTo>
                    <a:pt x="32" y="0"/>
                    <a:pt x="33" y="0"/>
                    <a:pt x="33" y="0"/>
                  </a:cubicBezTo>
                  <a:lnTo>
                    <a:pt x="63" y="22"/>
                  </a:lnTo>
                  <a:lnTo>
                    <a:pt x="94" y="21"/>
                  </a:lnTo>
                  <a:cubicBezTo>
                    <a:pt x="96" y="21"/>
                    <a:pt x="98" y="22"/>
                    <a:pt x="99" y="24"/>
                  </a:cubicBezTo>
                  <a:lnTo>
                    <a:pt x="120" y="101"/>
                  </a:lnTo>
                  <a:cubicBezTo>
                    <a:pt x="120" y="102"/>
                    <a:pt x="120" y="104"/>
                    <a:pt x="119" y="105"/>
                  </a:cubicBezTo>
                  <a:cubicBezTo>
                    <a:pt x="118" y="106"/>
                    <a:pt x="117" y="106"/>
                    <a:pt x="115" y="106"/>
                  </a:cubicBezTo>
                  <a:lnTo>
                    <a:pt x="64" y="10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5" name="Freeform 730"/>
            <p:cNvSpPr>
              <a:spLocks noChangeArrowheads="1"/>
            </p:cNvSpPr>
            <p:nvPr/>
          </p:nvSpPr>
          <p:spPr bwMode="auto">
            <a:xfrm>
              <a:off x="5592763" y="2349500"/>
              <a:ext cx="163512" cy="141288"/>
            </a:xfrm>
            <a:custGeom>
              <a:avLst/>
              <a:gdLst/>
              <a:ahLst/>
              <a:cxnLst>
                <a:cxn ang="0">
                  <a:pos x="249" y="352"/>
                </a:cxn>
                <a:cxn ang="0">
                  <a:pos x="248" y="344"/>
                </a:cxn>
                <a:cxn ang="0">
                  <a:pos x="260" y="275"/>
                </a:cxn>
                <a:cxn ang="0">
                  <a:pos x="181" y="289"/>
                </a:cxn>
                <a:cxn ang="0">
                  <a:pos x="141" y="348"/>
                </a:cxn>
                <a:cxn ang="0">
                  <a:pos x="137" y="346"/>
                </a:cxn>
                <a:cxn ang="0">
                  <a:pos x="115" y="304"/>
                </a:cxn>
                <a:cxn ang="0">
                  <a:pos x="124" y="299"/>
                </a:cxn>
                <a:cxn ang="0">
                  <a:pos x="107" y="264"/>
                </a:cxn>
                <a:cxn ang="0">
                  <a:pos x="66" y="229"/>
                </a:cxn>
                <a:cxn ang="0">
                  <a:pos x="76" y="189"/>
                </a:cxn>
                <a:cxn ang="0">
                  <a:pos x="39" y="157"/>
                </a:cxn>
                <a:cxn ang="0">
                  <a:pos x="21" y="107"/>
                </a:cxn>
                <a:cxn ang="0">
                  <a:pos x="2" y="75"/>
                </a:cxn>
                <a:cxn ang="0">
                  <a:pos x="33" y="52"/>
                </a:cxn>
                <a:cxn ang="0">
                  <a:pos x="37" y="52"/>
                </a:cxn>
                <a:cxn ang="0">
                  <a:pos x="132" y="70"/>
                </a:cxn>
                <a:cxn ang="0">
                  <a:pos x="103" y="32"/>
                </a:cxn>
                <a:cxn ang="0">
                  <a:pos x="123" y="1"/>
                </a:cxn>
                <a:cxn ang="0">
                  <a:pos x="127" y="1"/>
                </a:cxn>
                <a:cxn ang="0">
                  <a:pos x="199" y="73"/>
                </a:cxn>
                <a:cxn ang="0">
                  <a:pos x="285" y="19"/>
                </a:cxn>
                <a:cxn ang="0">
                  <a:pos x="289" y="17"/>
                </a:cxn>
                <a:cxn ang="0">
                  <a:pos x="331" y="57"/>
                </a:cxn>
                <a:cxn ang="0">
                  <a:pos x="434" y="157"/>
                </a:cxn>
                <a:cxn ang="0">
                  <a:pos x="450" y="185"/>
                </a:cxn>
                <a:cxn ang="0">
                  <a:pos x="446" y="192"/>
                </a:cxn>
                <a:cxn ang="0">
                  <a:pos x="409" y="184"/>
                </a:cxn>
                <a:cxn ang="0">
                  <a:pos x="358" y="328"/>
                </a:cxn>
                <a:cxn ang="0">
                  <a:pos x="353" y="331"/>
                </a:cxn>
                <a:cxn ang="0">
                  <a:pos x="328" y="318"/>
                </a:cxn>
                <a:cxn ang="0">
                  <a:pos x="326" y="390"/>
                </a:cxn>
                <a:cxn ang="0">
                  <a:pos x="321" y="390"/>
                </a:cxn>
              </a:cxnLst>
              <a:rect l="0" t="0" r="r" b="b"/>
              <a:pathLst>
                <a:path w="452" h="392">
                  <a:moveTo>
                    <a:pt x="321" y="390"/>
                  </a:moveTo>
                  <a:lnTo>
                    <a:pt x="249" y="352"/>
                  </a:lnTo>
                  <a:cubicBezTo>
                    <a:pt x="248" y="351"/>
                    <a:pt x="247" y="350"/>
                    <a:pt x="247" y="348"/>
                  </a:cubicBezTo>
                  <a:cubicBezTo>
                    <a:pt x="246" y="347"/>
                    <a:pt x="247" y="345"/>
                    <a:pt x="248" y="344"/>
                  </a:cubicBezTo>
                  <a:lnTo>
                    <a:pt x="271" y="325"/>
                  </a:lnTo>
                  <a:lnTo>
                    <a:pt x="260" y="275"/>
                  </a:lnTo>
                  <a:lnTo>
                    <a:pt x="237" y="268"/>
                  </a:lnTo>
                  <a:lnTo>
                    <a:pt x="181" y="289"/>
                  </a:lnTo>
                  <a:lnTo>
                    <a:pt x="145" y="346"/>
                  </a:lnTo>
                  <a:cubicBezTo>
                    <a:pt x="144" y="348"/>
                    <a:pt x="143" y="348"/>
                    <a:pt x="141" y="348"/>
                  </a:cubicBezTo>
                  <a:lnTo>
                    <a:pt x="141" y="348"/>
                  </a:lnTo>
                  <a:cubicBezTo>
                    <a:pt x="139" y="348"/>
                    <a:pt x="138" y="347"/>
                    <a:pt x="137" y="346"/>
                  </a:cubicBezTo>
                  <a:lnTo>
                    <a:pt x="116" y="308"/>
                  </a:lnTo>
                  <a:cubicBezTo>
                    <a:pt x="115" y="307"/>
                    <a:pt x="115" y="305"/>
                    <a:pt x="115" y="304"/>
                  </a:cubicBezTo>
                  <a:cubicBezTo>
                    <a:pt x="116" y="303"/>
                    <a:pt x="117" y="302"/>
                    <a:pt x="118" y="301"/>
                  </a:cubicBezTo>
                  <a:lnTo>
                    <a:pt x="124" y="299"/>
                  </a:lnTo>
                  <a:lnTo>
                    <a:pt x="124" y="264"/>
                  </a:lnTo>
                  <a:lnTo>
                    <a:pt x="107" y="264"/>
                  </a:lnTo>
                  <a:cubicBezTo>
                    <a:pt x="106" y="264"/>
                    <a:pt x="105" y="263"/>
                    <a:pt x="104" y="263"/>
                  </a:cubicBezTo>
                  <a:lnTo>
                    <a:pt x="66" y="229"/>
                  </a:lnTo>
                  <a:cubicBezTo>
                    <a:pt x="65" y="228"/>
                    <a:pt x="64" y="226"/>
                    <a:pt x="65" y="224"/>
                  </a:cubicBezTo>
                  <a:lnTo>
                    <a:pt x="76" y="189"/>
                  </a:lnTo>
                  <a:lnTo>
                    <a:pt x="41" y="161"/>
                  </a:lnTo>
                  <a:cubicBezTo>
                    <a:pt x="40" y="160"/>
                    <a:pt x="39" y="159"/>
                    <a:pt x="39" y="157"/>
                  </a:cubicBezTo>
                  <a:lnTo>
                    <a:pt x="43" y="114"/>
                  </a:lnTo>
                  <a:lnTo>
                    <a:pt x="21" y="107"/>
                  </a:lnTo>
                  <a:cubicBezTo>
                    <a:pt x="20" y="107"/>
                    <a:pt x="19" y="106"/>
                    <a:pt x="18" y="105"/>
                  </a:cubicBezTo>
                  <a:lnTo>
                    <a:pt x="2" y="75"/>
                  </a:lnTo>
                  <a:cubicBezTo>
                    <a:pt x="0" y="73"/>
                    <a:pt x="1" y="70"/>
                    <a:pt x="3" y="69"/>
                  </a:cubicBezTo>
                  <a:lnTo>
                    <a:pt x="33" y="52"/>
                  </a:lnTo>
                  <a:cubicBezTo>
                    <a:pt x="34" y="52"/>
                    <a:pt x="34" y="51"/>
                    <a:pt x="35" y="51"/>
                  </a:cubicBezTo>
                  <a:cubicBezTo>
                    <a:pt x="36" y="51"/>
                    <a:pt x="36" y="51"/>
                    <a:pt x="37" y="52"/>
                  </a:cubicBezTo>
                  <a:lnTo>
                    <a:pt x="132" y="83"/>
                  </a:lnTo>
                  <a:lnTo>
                    <a:pt x="132" y="70"/>
                  </a:lnTo>
                  <a:lnTo>
                    <a:pt x="104" y="38"/>
                  </a:lnTo>
                  <a:cubicBezTo>
                    <a:pt x="102" y="36"/>
                    <a:pt x="102" y="34"/>
                    <a:pt x="103" y="32"/>
                  </a:cubicBezTo>
                  <a:lnTo>
                    <a:pt x="120" y="3"/>
                  </a:lnTo>
                  <a:cubicBezTo>
                    <a:pt x="121" y="2"/>
                    <a:pt x="122" y="1"/>
                    <a:pt x="123" y="1"/>
                  </a:cubicBezTo>
                  <a:lnTo>
                    <a:pt x="124" y="0"/>
                  </a:lnTo>
                  <a:cubicBezTo>
                    <a:pt x="125" y="0"/>
                    <a:pt x="126" y="1"/>
                    <a:pt x="127" y="1"/>
                  </a:cubicBezTo>
                  <a:lnTo>
                    <a:pt x="186" y="39"/>
                  </a:lnTo>
                  <a:lnTo>
                    <a:pt x="199" y="73"/>
                  </a:lnTo>
                  <a:lnTo>
                    <a:pt x="245" y="76"/>
                  </a:lnTo>
                  <a:lnTo>
                    <a:pt x="285" y="19"/>
                  </a:lnTo>
                  <a:cubicBezTo>
                    <a:pt x="286" y="18"/>
                    <a:pt x="288" y="17"/>
                    <a:pt x="289" y="17"/>
                  </a:cubicBezTo>
                  <a:lnTo>
                    <a:pt x="289" y="17"/>
                  </a:lnTo>
                  <a:cubicBezTo>
                    <a:pt x="291" y="17"/>
                    <a:pt x="292" y="18"/>
                    <a:pt x="293" y="19"/>
                  </a:cubicBezTo>
                  <a:lnTo>
                    <a:pt x="331" y="57"/>
                  </a:lnTo>
                  <a:lnTo>
                    <a:pt x="386" y="149"/>
                  </a:lnTo>
                  <a:lnTo>
                    <a:pt x="434" y="157"/>
                  </a:lnTo>
                  <a:cubicBezTo>
                    <a:pt x="436" y="157"/>
                    <a:pt x="437" y="158"/>
                    <a:pt x="438" y="160"/>
                  </a:cubicBezTo>
                  <a:lnTo>
                    <a:pt x="450" y="185"/>
                  </a:lnTo>
                  <a:cubicBezTo>
                    <a:pt x="451" y="187"/>
                    <a:pt x="451" y="189"/>
                    <a:pt x="450" y="190"/>
                  </a:cubicBezTo>
                  <a:cubicBezTo>
                    <a:pt x="449" y="191"/>
                    <a:pt x="447" y="192"/>
                    <a:pt x="446" y="192"/>
                  </a:cubicBezTo>
                  <a:cubicBezTo>
                    <a:pt x="446" y="192"/>
                    <a:pt x="446" y="192"/>
                    <a:pt x="445" y="192"/>
                  </a:cubicBezTo>
                  <a:lnTo>
                    <a:pt x="409" y="184"/>
                  </a:lnTo>
                  <a:lnTo>
                    <a:pt x="386" y="207"/>
                  </a:lnTo>
                  <a:lnTo>
                    <a:pt x="358" y="328"/>
                  </a:lnTo>
                  <a:cubicBezTo>
                    <a:pt x="357" y="329"/>
                    <a:pt x="356" y="330"/>
                    <a:pt x="355" y="331"/>
                  </a:cubicBezTo>
                  <a:cubicBezTo>
                    <a:pt x="354" y="331"/>
                    <a:pt x="354" y="331"/>
                    <a:pt x="353" y="331"/>
                  </a:cubicBezTo>
                  <a:cubicBezTo>
                    <a:pt x="352" y="331"/>
                    <a:pt x="351" y="331"/>
                    <a:pt x="351" y="331"/>
                  </a:cubicBezTo>
                  <a:lnTo>
                    <a:pt x="328" y="318"/>
                  </a:lnTo>
                  <a:lnTo>
                    <a:pt x="328" y="386"/>
                  </a:lnTo>
                  <a:cubicBezTo>
                    <a:pt x="328" y="388"/>
                    <a:pt x="327" y="389"/>
                    <a:pt x="326" y="390"/>
                  </a:cubicBezTo>
                  <a:cubicBezTo>
                    <a:pt x="325" y="390"/>
                    <a:pt x="324" y="391"/>
                    <a:pt x="323" y="391"/>
                  </a:cubicBezTo>
                  <a:cubicBezTo>
                    <a:pt x="323" y="391"/>
                    <a:pt x="322" y="390"/>
                    <a:pt x="321" y="39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6" name="Freeform 731"/>
            <p:cNvSpPr>
              <a:spLocks noChangeArrowheads="1"/>
            </p:cNvSpPr>
            <p:nvPr/>
          </p:nvSpPr>
          <p:spPr bwMode="auto">
            <a:xfrm>
              <a:off x="5592763" y="2349500"/>
              <a:ext cx="163512" cy="141288"/>
            </a:xfrm>
            <a:custGeom>
              <a:avLst/>
              <a:gdLst/>
              <a:ahLst/>
              <a:cxnLst>
                <a:cxn ang="0">
                  <a:pos x="321" y="390"/>
                </a:cxn>
                <a:cxn ang="0">
                  <a:pos x="247" y="348"/>
                </a:cxn>
                <a:cxn ang="0">
                  <a:pos x="271" y="325"/>
                </a:cxn>
                <a:cxn ang="0">
                  <a:pos x="237" y="268"/>
                </a:cxn>
                <a:cxn ang="0">
                  <a:pos x="145" y="346"/>
                </a:cxn>
                <a:cxn ang="0">
                  <a:pos x="141" y="348"/>
                </a:cxn>
                <a:cxn ang="0">
                  <a:pos x="116" y="308"/>
                </a:cxn>
                <a:cxn ang="0">
                  <a:pos x="118" y="301"/>
                </a:cxn>
                <a:cxn ang="0">
                  <a:pos x="124" y="264"/>
                </a:cxn>
                <a:cxn ang="0">
                  <a:pos x="104" y="263"/>
                </a:cxn>
                <a:cxn ang="0">
                  <a:pos x="65" y="224"/>
                </a:cxn>
                <a:cxn ang="0">
                  <a:pos x="41" y="161"/>
                </a:cxn>
                <a:cxn ang="0">
                  <a:pos x="43" y="114"/>
                </a:cxn>
                <a:cxn ang="0">
                  <a:pos x="18" y="105"/>
                </a:cxn>
                <a:cxn ang="0">
                  <a:pos x="3" y="69"/>
                </a:cxn>
                <a:cxn ang="0">
                  <a:pos x="35" y="51"/>
                </a:cxn>
                <a:cxn ang="0">
                  <a:pos x="132" y="83"/>
                </a:cxn>
                <a:cxn ang="0">
                  <a:pos x="104" y="38"/>
                </a:cxn>
                <a:cxn ang="0">
                  <a:pos x="120" y="3"/>
                </a:cxn>
                <a:cxn ang="0">
                  <a:pos x="124" y="0"/>
                </a:cxn>
                <a:cxn ang="0">
                  <a:pos x="186" y="39"/>
                </a:cxn>
                <a:cxn ang="0">
                  <a:pos x="245" y="76"/>
                </a:cxn>
                <a:cxn ang="0">
                  <a:pos x="289" y="17"/>
                </a:cxn>
                <a:cxn ang="0">
                  <a:pos x="293" y="19"/>
                </a:cxn>
                <a:cxn ang="0">
                  <a:pos x="386" y="149"/>
                </a:cxn>
                <a:cxn ang="0">
                  <a:pos x="438" y="160"/>
                </a:cxn>
                <a:cxn ang="0">
                  <a:pos x="450" y="190"/>
                </a:cxn>
                <a:cxn ang="0">
                  <a:pos x="445" y="192"/>
                </a:cxn>
                <a:cxn ang="0">
                  <a:pos x="386" y="207"/>
                </a:cxn>
                <a:cxn ang="0">
                  <a:pos x="355" y="331"/>
                </a:cxn>
                <a:cxn ang="0">
                  <a:pos x="351" y="331"/>
                </a:cxn>
                <a:cxn ang="0">
                  <a:pos x="328" y="386"/>
                </a:cxn>
                <a:cxn ang="0">
                  <a:pos x="323" y="391"/>
                </a:cxn>
              </a:cxnLst>
              <a:rect l="0" t="0" r="r" b="b"/>
              <a:pathLst>
                <a:path w="452" h="392">
                  <a:moveTo>
                    <a:pt x="323" y="391"/>
                  </a:moveTo>
                  <a:cubicBezTo>
                    <a:pt x="323" y="391"/>
                    <a:pt x="322" y="390"/>
                    <a:pt x="321" y="390"/>
                  </a:cubicBezTo>
                  <a:lnTo>
                    <a:pt x="249" y="352"/>
                  </a:lnTo>
                  <a:cubicBezTo>
                    <a:pt x="248" y="351"/>
                    <a:pt x="247" y="350"/>
                    <a:pt x="247" y="348"/>
                  </a:cubicBezTo>
                  <a:cubicBezTo>
                    <a:pt x="246" y="347"/>
                    <a:pt x="247" y="345"/>
                    <a:pt x="248" y="344"/>
                  </a:cubicBezTo>
                  <a:lnTo>
                    <a:pt x="271" y="325"/>
                  </a:lnTo>
                  <a:lnTo>
                    <a:pt x="260" y="275"/>
                  </a:lnTo>
                  <a:lnTo>
                    <a:pt x="237" y="268"/>
                  </a:lnTo>
                  <a:lnTo>
                    <a:pt x="181" y="289"/>
                  </a:lnTo>
                  <a:lnTo>
                    <a:pt x="145" y="346"/>
                  </a:lnTo>
                  <a:cubicBezTo>
                    <a:pt x="144" y="348"/>
                    <a:pt x="143" y="348"/>
                    <a:pt x="141" y="348"/>
                  </a:cubicBezTo>
                  <a:lnTo>
                    <a:pt x="141" y="348"/>
                  </a:lnTo>
                  <a:cubicBezTo>
                    <a:pt x="139" y="348"/>
                    <a:pt x="138" y="347"/>
                    <a:pt x="137" y="346"/>
                  </a:cubicBezTo>
                  <a:lnTo>
                    <a:pt x="116" y="308"/>
                  </a:lnTo>
                  <a:cubicBezTo>
                    <a:pt x="115" y="307"/>
                    <a:pt x="115" y="305"/>
                    <a:pt x="115" y="304"/>
                  </a:cubicBezTo>
                  <a:cubicBezTo>
                    <a:pt x="116" y="303"/>
                    <a:pt x="117" y="302"/>
                    <a:pt x="118" y="301"/>
                  </a:cubicBezTo>
                  <a:lnTo>
                    <a:pt x="124" y="299"/>
                  </a:lnTo>
                  <a:lnTo>
                    <a:pt x="124" y="264"/>
                  </a:lnTo>
                  <a:lnTo>
                    <a:pt x="107" y="264"/>
                  </a:lnTo>
                  <a:cubicBezTo>
                    <a:pt x="106" y="264"/>
                    <a:pt x="105" y="263"/>
                    <a:pt x="104" y="263"/>
                  </a:cubicBezTo>
                  <a:lnTo>
                    <a:pt x="66" y="229"/>
                  </a:lnTo>
                  <a:cubicBezTo>
                    <a:pt x="65" y="228"/>
                    <a:pt x="64" y="226"/>
                    <a:pt x="65" y="224"/>
                  </a:cubicBezTo>
                  <a:lnTo>
                    <a:pt x="76" y="189"/>
                  </a:lnTo>
                  <a:lnTo>
                    <a:pt x="41" y="161"/>
                  </a:lnTo>
                  <a:cubicBezTo>
                    <a:pt x="40" y="160"/>
                    <a:pt x="39" y="159"/>
                    <a:pt x="39" y="157"/>
                  </a:cubicBezTo>
                  <a:lnTo>
                    <a:pt x="43" y="114"/>
                  </a:lnTo>
                  <a:lnTo>
                    <a:pt x="21" y="107"/>
                  </a:lnTo>
                  <a:cubicBezTo>
                    <a:pt x="20" y="107"/>
                    <a:pt x="19" y="106"/>
                    <a:pt x="18" y="105"/>
                  </a:cubicBezTo>
                  <a:lnTo>
                    <a:pt x="2" y="75"/>
                  </a:lnTo>
                  <a:cubicBezTo>
                    <a:pt x="0" y="73"/>
                    <a:pt x="1" y="70"/>
                    <a:pt x="3" y="69"/>
                  </a:cubicBezTo>
                  <a:lnTo>
                    <a:pt x="33" y="52"/>
                  </a:lnTo>
                  <a:cubicBezTo>
                    <a:pt x="34" y="52"/>
                    <a:pt x="34" y="51"/>
                    <a:pt x="35" y="51"/>
                  </a:cubicBezTo>
                  <a:cubicBezTo>
                    <a:pt x="36" y="51"/>
                    <a:pt x="36" y="51"/>
                    <a:pt x="37" y="52"/>
                  </a:cubicBezTo>
                  <a:lnTo>
                    <a:pt x="132" y="83"/>
                  </a:lnTo>
                  <a:lnTo>
                    <a:pt x="132" y="70"/>
                  </a:lnTo>
                  <a:lnTo>
                    <a:pt x="104" y="38"/>
                  </a:lnTo>
                  <a:cubicBezTo>
                    <a:pt x="102" y="36"/>
                    <a:pt x="102" y="34"/>
                    <a:pt x="103" y="32"/>
                  </a:cubicBezTo>
                  <a:lnTo>
                    <a:pt x="120" y="3"/>
                  </a:lnTo>
                  <a:cubicBezTo>
                    <a:pt x="121" y="2"/>
                    <a:pt x="122" y="1"/>
                    <a:pt x="123" y="1"/>
                  </a:cubicBezTo>
                  <a:lnTo>
                    <a:pt x="124" y="0"/>
                  </a:lnTo>
                  <a:cubicBezTo>
                    <a:pt x="125" y="0"/>
                    <a:pt x="126" y="1"/>
                    <a:pt x="127" y="1"/>
                  </a:cubicBezTo>
                  <a:lnTo>
                    <a:pt x="186" y="39"/>
                  </a:lnTo>
                  <a:lnTo>
                    <a:pt x="199" y="73"/>
                  </a:lnTo>
                  <a:lnTo>
                    <a:pt x="245" y="76"/>
                  </a:lnTo>
                  <a:lnTo>
                    <a:pt x="285" y="19"/>
                  </a:lnTo>
                  <a:cubicBezTo>
                    <a:pt x="286" y="18"/>
                    <a:pt x="288" y="17"/>
                    <a:pt x="289" y="17"/>
                  </a:cubicBezTo>
                  <a:lnTo>
                    <a:pt x="289" y="17"/>
                  </a:lnTo>
                  <a:cubicBezTo>
                    <a:pt x="291" y="17"/>
                    <a:pt x="292" y="18"/>
                    <a:pt x="293" y="19"/>
                  </a:cubicBezTo>
                  <a:lnTo>
                    <a:pt x="331" y="57"/>
                  </a:lnTo>
                  <a:lnTo>
                    <a:pt x="386" y="149"/>
                  </a:lnTo>
                  <a:lnTo>
                    <a:pt x="434" y="157"/>
                  </a:lnTo>
                  <a:cubicBezTo>
                    <a:pt x="436" y="157"/>
                    <a:pt x="437" y="158"/>
                    <a:pt x="438" y="160"/>
                  </a:cubicBezTo>
                  <a:lnTo>
                    <a:pt x="450" y="185"/>
                  </a:lnTo>
                  <a:cubicBezTo>
                    <a:pt x="451" y="187"/>
                    <a:pt x="451" y="189"/>
                    <a:pt x="450" y="190"/>
                  </a:cubicBezTo>
                  <a:cubicBezTo>
                    <a:pt x="449" y="191"/>
                    <a:pt x="447" y="192"/>
                    <a:pt x="446" y="192"/>
                  </a:cubicBezTo>
                  <a:cubicBezTo>
                    <a:pt x="446" y="192"/>
                    <a:pt x="446" y="192"/>
                    <a:pt x="445" y="192"/>
                  </a:cubicBezTo>
                  <a:lnTo>
                    <a:pt x="409" y="184"/>
                  </a:lnTo>
                  <a:lnTo>
                    <a:pt x="386" y="207"/>
                  </a:lnTo>
                  <a:lnTo>
                    <a:pt x="358" y="328"/>
                  </a:lnTo>
                  <a:cubicBezTo>
                    <a:pt x="357" y="329"/>
                    <a:pt x="356" y="330"/>
                    <a:pt x="355" y="331"/>
                  </a:cubicBezTo>
                  <a:cubicBezTo>
                    <a:pt x="354" y="331"/>
                    <a:pt x="354" y="331"/>
                    <a:pt x="353" y="331"/>
                  </a:cubicBezTo>
                  <a:cubicBezTo>
                    <a:pt x="352" y="331"/>
                    <a:pt x="351" y="331"/>
                    <a:pt x="351" y="331"/>
                  </a:cubicBezTo>
                  <a:lnTo>
                    <a:pt x="328" y="318"/>
                  </a:lnTo>
                  <a:lnTo>
                    <a:pt x="328" y="386"/>
                  </a:lnTo>
                  <a:cubicBezTo>
                    <a:pt x="328" y="388"/>
                    <a:pt x="327" y="389"/>
                    <a:pt x="326" y="390"/>
                  </a:cubicBezTo>
                  <a:cubicBezTo>
                    <a:pt x="325" y="390"/>
                    <a:pt x="324" y="391"/>
                    <a:pt x="323" y="391"/>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7" name="Freeform 732"/>
            <p:cNvSpPr>
              <a:spLocks noChangeArrowheads="1"/>
            </p:cNvSpPr>
            <p:nvPr/>
          </p:nvSpPr>
          <p:spPr bwMode="auto">
            <a:xfrm>
              <a:off x="5435600" y="2284413"/>
              <a:ext cx="207963" cy="107950"/>
            </a:xfrm>
            <a:custGeom>
              <a:avLst/>
              <a:gdLst/>
              <a:ahLst/>
              <a:cxnLst>
                <a:cxn ang="0">
                  <a:pos x="307" y="295"/>
                </a:cxn>
                <a:cxn ang="0">
                  <a:pos x="250" y="238"/>
                </a:cxn>
                <a:cxn ang="0">
                  <a:pos x="214" y="246"/>
                </a:cxn>
                <a:cxn ang="0">
                  <a:pos x="144" y="233"/>
                </a:cxn>
                <a:cxn ang="0">
                  <a:pos x="141" y="230"/>
                </a:cxn>
                <a:cxn ang="0">
                  <a:pos x="142" y="225"/>
                </a:cxn>
                <a:cxn ang="0">
                  <a:pos x="157" y="213"/>
                </a:cxn>
                <a:cxn ang="0">
                  <a:pos x="157" y="182"/>
                </a:cxn>
                <a:cxn ang="0">
                  <a:pos x="124" y="99"/>
                </a:cxn>
                <a:cxn ang="0">
                  <a:pos x="41" y="51"/>
                </a:cxn>
                <a:cxn ang="0">
                  <a:pos x="2" y="16"/>
                </a:cxn>
                <a:cxn ang="0">
                  <a:pos x="1" y="11"/>
                </a:cxn>
                <a:cxn ang="0">
                  <a:pos x="5" y="8"/>
                </a:cxn>
                <a:cxn ang="0">
                  <a:pos x="77" y="0"/>
                </a:cxn>
                <a:cxn ang="0">
                  <a:pos x="172" y="34"/>
                </a:cxn>
                <a:cxn ang="0">
                  <a:pos x="268" y="38"/>
                </a:cxn>
                <a:cxn ang="0">
                  <a:pos x="358" y="105"/>
                </a:cxn>
                <a:cxn ang="0">
                  <a:pos x="415" y="84"/>
                </a:cxn>
                <a:cxn ang="0">
                  <a:pos x="459" y="93"/>
                </a:cxn>
                <a:cxn ang="0">
                  <a:pos x="503" y="114"/>
                </a:cxn>
                <a:cxn ang="0">
                  <a:pos x="506" y="118"/>
                </a:cxn>
                <a:cxn ang="0">
                  <a:pos x="506" y="150"/>
                </a:cxn>
                <a:cxn ang="0">
                  <a:pos x="562" y="182"/>
                </a:cxn>
                <a:cxn ang="0">
                  <a:pos x="565" y="185"/>
                </a:cxn>
                <a:cxn ang="0">
                  <a:pos x="564" y="188"/>
                </a:cxn>
                <a:cxn ang="0">
                  <a:pos x="549" y="215"/>
                </a:cxn>
                <a:cxn ang="0">
                  <a:pos x="576" y="247"/>
                </a:cxn>
                <a:cxn ang="0">
                  <a:pos x="578" y="250"/>
                </a:cxn>
                <a:cxn ang="0">
                  <a:pos x="578" y="271"/>
                </a:cxn>
                <a:cxn ang="0">
                  <a:pos x="576" y="275"/>
                </a:cxn>
                <a:cxn ang="0">
                  <a:pos x="573" y="276"/>
                </a:cxn>
                <a:cxn ang="0">
                  <a:pos x="571" y="275"/>
                </a:cxn>
                <a:cxn ang="0">
                  <a:pos x="472" y="242"/>
                </a:cxn>
                <a:cxn ang="0">
                  <a:pos x="444" y="258"/>
                </a:cxn>
                <a:cxn ang="0">
                  <a:pos x="427" y="266"/>
                </a:cxn>
                <a:cxn ang="0">
                  <a:pos x="311" y="296"/>
                </a:cxn>
                <a:cxn ang="0">
                  <a:pos x="310" y="297"/>
                </a:cxn>
                <a:cxn ang="0">
                  <a:pos x="307" y="295"/>
                </a:cxn>
              </a:cxnLst>
              <a:rect l="0" t="0" r="r" b="b"/>
              <a:pathLst>
                <a:path w="579" h="298">
                  <a:moveTo>
                    <a:pt x="307" y="295"/>
                  </a:moveTo>
                  <a:lnTo>
                    <a:pt x="250" y="238"/>
                  </a:lnTo>
                  <a:lnTo>
                    <a:pt x="214" y="246"/>
                  </a:lnTo>
                  <a:lnTo>
                    <a:pt x="144" y="233"/>
                  </a:lnTo>
                  <a:cubicBezTo>
                    <a:pt x="142" y="233"/>
                    <a:pt x="141" y="232"/>
                    <a:pt x="141" y="230"/>
                  </a:cubicBezTo>
                  <a:cubicBezTo>
                    <a:pt x="140" y="228"/>
                    <a:pt x="141" y="226"/>
                    <a:pt x="142" y="225"/>
                  </a:cubicBezTo>
                  <a:lnTo>
                    <a:pt x="157" y="213"/>
                  </a:lnTo>
                  <a:lnTo>
                    <a:pt x="157" y="182"/>
                  </a:lnTo>
                  <a:lnTo>
                    <a:pt x="124" y="99"/>
                  </a:lnTo>
                  <a:lnTo>
                    <a:pt x="41" y="51"/>
                  </a:lnTo>
                  <a:lnTo>
                    <a:pt x="2" y="16"/>
                  </a:lnTo>
                  <a:cubicBezTo>
                    <a:pt x="1" y="15"/>
                    <a:pt x="0" y="13"/>
                    <a:pt x="1" y="11"/>
                  </a:cubicBezTo>
                  <a:cubicBezTo>
                    <a:pt x="1" y="9"/>
                    <a:pt x="3" y="8"/>
                    <a:pt x="5" y="8"/>
                  </a:cubicBezTo>
                  <a:lnTo>
                    <a:pt x="77" y="0"/>
                  </a:lnTo>
                  <a:lnTo>
                    <a:pt x="172" y="34"/>
                  </a:lnTo>
                  <a:lnTo>
                    <a:pt x="268" y="38"/>
                  </a:lnTo>
                  <a:lnTo>
                    <a:pt x="358" y="105"/>
                  </a:lnTo>
                  <a:lnTo>
                    <a:pt x="415" y="84"/>
                  </a:lnTo>
                  <a:lnTo>
                    <a:pt x="459" y="93"/>
                  </a:lnTo>
                  <a:lnTo>
                    <a:pt x="503" y="114"/>
                  </a:lnTo>
                  <a:cubicBezTo>
                    <a:pt x="505" y="115"/>
                    <a:pt x="506" y="117"/>
                    <a:pt x="506" y="118"/>
                  </a:cubicBezTo>
                  <a:lnTo>
                    <a:pt x="506" y="150"/>
                  </a:lnTo>
                  <a:lnTo>
                    <a:pt x="562" y="182"/>
                  </a:lnTo>
                  <a:cubicBezTo>
                    <a:pt x="563" y="183"/>
                    <a:pt x="564" y="184"/>
                    <a:pt x="565" y="185"/>
                  </a:cubicBezTo>
                  <a:cubicBezTo>
                    <a:pt x="565" y="186"/>
                    <a:pt x="565" y="187"/>
                    <a:pt x="564" y="188"/>
                  </a:cubicBezTo>
                  <a:lnTo>
                    <a:pt x="549" y="215"/>
                  </a:lnTo>
                  <a:lnTo>
                    <a:pt x="576" y="247"/>
                  </a:lnTo>
                  <a:cubicBezTo>
                    <a:pt x="577" y="248"/>
                    <a:pt x="578" y="248"/>
                    <a:pt x="578" y="250"/>
                  </a:cubicBezTo>
                  <a:lnTo>
                    <a:pt x="578" y="271"/>
                  </a:lnTo>
                  <a:cubicBezTo>
                    <a:pt x="578" y="272"/>
                    <a:pt x="577" y="274"/>
                    <a:pt x="576" y="275"/>
                  </a:cubicBezTo>
                  <a:cubicBezTo>
                    <a:pt x="575" y="275"/>
                    <a:pt x="574" y="276"/>
                    <a:pt x="573" y="276"/>
                  </a:cubicBezTo>
                  <a:cubicBezTo>
                    <a:pt x="572" y="276"/>
                    <a:pt x="572" y="275"/>
                    <a:pt x="571" y="275"/>
                  </a:cubicBezTo>
                  <a:lnTo>
                    <a:pt x="472" y="242"/>
                  </a:lnTo>
                  <a:lnTo>
                    <a:pt x="444" y="258"/>
                  </a:lnTo>
                  <a:lnTo>
                    <a:pt x="427" y="266"/>
                  </a:lnTo>
                  <a:lnTo>
                    <a:pt x="311" y="296"/>
                  </a:lnTo>
                  <a:cubicBezTo>
                    <a:pt x="311" y="297"/>
                    <a:pt x="311" y="297"/>
                    <a:pt x="310" y="297"/>
                  </a:cubicBezTo>
                  <a:cubicBezTo>
                    <a:pt x="309" y="297"/>
                    <a:pt x="308" y="296"/>
                    <a:pt x="307" y="29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8" name="Freeform 733"/>
            <p:cNvSpPr>
              <a:spLocks noChangeArrowheads="1"/>
            </p:cNvSpPr>
            <p:nvPr/>
          </p:nvSpPr>
          <p:spPr bwMode="auto">
            <a:xfrm>
              <a:off x="5435600" y="2284413"/>
              <a:ext cx="207963" cy="107950"/>
            </a:xfrm>
            <a:custGeom>
              <a:avLst/>
              <a:gdLst/>
              <a:ahLst/>
              <a:cxnLst>
                <a:cxn ang="0">
                  <a:pos x="310" y="297"/>
                </a:cxn>
                <a:cxn ang="0">
                  <a:pos x="307" y="295"/>
                </a:cxn>
                <a:cxn ang="0">
                  <a:pos x="250" y="238"/>
                </a:cxn>
                <a:cxn ang="0">
                  <a:pos x="214" y="246"/>
                </a:cxn>
                <a:cxn ang="0">
                  <a:pos x="144" y="233"/>
                </a:cxn>
                <a:cxn ang="0">
                  <a:pos x="141" y="230"/>
                </a:cxn>
                <a:cxn ang="0">
                  <a:pos x="142" y="225"/>
                </a:cxn>
                <a:cxn ang="0">
                  <a:pos x="157" y="213"/>
                </a:cxn>
                <a:cxn ang="0">
                  <a:pos x="157" y="182"/>
                </a:cxn>
                <a:cxn ang="0">
                  <a:pos x="124" y="99"/>
                </a:cxn>
                <a:cxn ang="0">
                  <a:pos x="41" y="51"/>
                </a:cxn>
                <a:cxn ang="0">
                  <a:pos x="2" y="16"/>
                </a:cxn>
                <a:cxn ang="0">
                  <a:pos x="1" y="11"/>
                </a:cxn>
                <a:cxn ang="0">
                  <a:pos x="5" y="8"/>
                </a:cxn>
                <a:cxn ang="0">
                  <a:pos x="77" y="0"/>
                </a:cxn>
                <a:cxn ang="0">
                  <a:pos x="172" y="34"/>
                </a:cxn>
                <a:cxn ang="0">
                  <a:pos x="268" y="38"/>
                </a:cxn>
                <a:cxn ang="0">
                  <a:pos x="358" y="105"/>
                </a:cxn>
                <a:cxn ang="0">
                  <a:pos x="415" y="84"/>
                </a:cxn>
                <a:cxn ang="0">
                  <a:pos x="459" y="93"/>
                </a:cxn>
                <a:cxn ang="0">
                  <a:pos x="503" y="114"/>
                </a:cxn>
                <a:cxn ang="0">
                  <a:pos x="506" y="118"/>
                </a:cxn>
                <a:cxn ang="0">
                  <a:pos x="506" y="150"/>
                </a:cxn>
                <a:cxn ang="0">
                  <a:pos x="562" y="182"/>
                </a:cxn>
                <a:cxn ang="0">
                  <a:pos x="565" y="185"/>
                </a:cxn>
                <a:cxn ang="0">
                  <a:pos x="564" y="188"/>
                </a:cxn>
                <a:cxn ang="0">
                  <a:pos x="549" y="215"/>
                </a:cxn>
                <a:cxn ang="0">
                  <a:pos x="576" y="247"/>
                </a:cxn>
                <a:cxn ang="0">
                  <a:pos x="578" y="250"/>
                </a:cxn>
                <a:cxn ang="0">
                  <a:pos x="578" y="271"/>
                </a:cxn>
                <a:cxn ang="0">
                  <a:pos x="576" y="275"/>
                </a:cxn>
                <a:cxn ang="0">
                  <a:pos x="573" y="276"/>
                </a:cxn>
                <a:cxn ang="0">
                  <a:pos x="571" y="275"/>
                </a:cxn>
                <a:cxn ang="0">
                  <a:pos x="472" y="242"/>
                </a:cxn>
                <a:cxn ang="0">
                  <a:pos x="444" y="258"/>
                </a:cxn>
                <a:cxn ang="0">
                  <a:pos x="427" y="266"/>
                </a:cxn>
                <a:cxn ang="0">
                  <a:pos x="311" y="296"/>
                </a:cxn>
                <a:cxn ang="0">
                  <a:pos x="310" y="297"/>
                </a:cxn>
              </a:cxnLst>
              <a:rect l="0" t="0" r="r" b="b"/>
              <a:pathLst>
                <a:path w="579" h="298">
                  <a:moveTo>
                    <a:pt x="310" y="297"/>
                  </a:moveTo>
                  <a:cubicBezTo>
                    <a:pt x="309" y="297"/>
                    <a:pt x="308" y="296"/>
                    <a:pt x="307" y="295"/>
                  </a:cubicBezTo>
                  <a:lnTo>
                    <a:pt x="250" y="238"/>
                  </a:lnTo>
                  <a:lnTo>
                    <a:pt x="214" y="246"/>
                  </a:lnTo>
                  <a:lnTo>
                    <a:pt x="144" y="233"/>
                  </a:lnTo>
                  <a:cubicBezTo>
                    <a:pt x="142" y="233"/>
                    <a:pt x="141" y="232"/>
                    <a:pt x="141" y="230"/>
                  </a:cubicBezTo>
                  <a:cubicBezTo>
                    <a:pt x="140" y="228"/>
                    <a:pt x="141" y="226"/>
                    <a:pt x="142" y="225"/>
                  </a:cubicBezTo>
                  <a:lnTo>
                    <a:pt x="157" y="213"/>
                  </a:lnTo>
                  <a:lnTo>
                    <a:pt x="157" y="182"/>
                  </a:lnTo>
                  <a:lnTo>
                    <a:pt x="124" y="99"/>
                  </a:lnTo>
                  <a:lnTo>
                    <a:pt x="41" y="51"/>
                  </a:lnTo>
                  <a:lnTo>
                    <a:pt x="2" y="16"/>
                  </a:lnTo>
                  <a:cubicBezTo>
                    <a:pt x="1" y="15"/>
                    <a:pt x="0" y="13"/>
                    <a:pt x="1" y="11"/>
                  </a:cubicBezTo>
                  <a:cubicBezTo>
                    <a:pt x="1" y="9"/>
                    <a:pt x="3" y="8"/>
                    <a:pt x="5" y="8"/>
                  </a:cubicBezTo>
                  <a:lnTo>
                    <a:pt x="77" y="0"/>
                  </a:lnTo>
                  <a:lnTo>
                    <a:pt x="172" y="34"/>
                  </a:lnTo>
                  <a:lnTo>
                    <a:pt x="268" y="38"/>
                  </a:lnTo>
                  <a:lnTo>
                    <a:pt x="358" y="105"/>
                  </a:lnTo>
                  <a:lnTo>
                    <a:pt x="415" y="84"/>
                  </a:lnTo>
                  <a:lnTo>
                    <a:pt x="459" y="93"/>
                  </a:lnTo>
                  <a:lnTo>
                    <a:pt x="503" y="114"/>
                  </a:lnTo>
                  <a:cubicBezTo>
                    <a:pt x="505" y="115"/>
                    <a:pt x="506" y="117"/>
                    <a:pt x="506" y="118"/>
                  </a:cubicBezTo>
                  <a:lnTo>
                    <a:pt x="506" y="150"/>
                  </a:lnTo>
                  <a:lnTo>
                    <a:pt x="562" y="182"/>
                  </a:lnTo>
                  <a:cubicBezTo>
                    <a:pt x="563" y="183"/>
                    <a:pt x="564" y="184"/>
                    <a:pt x="565" y="185"/>
                  </a:cubicBezTo>
                  <a:cubicBezTo>
                    <a:pt x="565" y="186"/>
                    <a:pt x="565" y="187"/>
                    <a:pt x="564" y="188"/>
                  </a:cubicBezTo>
                  <a:lnTo>
                    <a:pt x="549" y="215"/>
                  </a:lnTo>
                  <a:lnTo>
                    <a:pt x="576" y="247"/>
                  </a:lnTo>
                  <a:cubicBezTo>
                    <a:pt x="577" y="248"/>
                    <a:pt x="578" y="248"/>
                    <a:pt x="578" y="250"/>
                  </a:cubicBezTo>
                  <a:lnTo>
                    <a:pt x="578" y="271"/>
                  </a:lnTo>
                  <a:cubicBezTo>
                    <a:pt x="578" y="272"/>
                    <a:pt x="577" y="274"/>
                    <a:pt x="576" y="275"/>
                  </a:cubicBezTo>
                  <a:cubicBezTo>
                    <a:pt x="575" y="275"/>
                    <a:pt x="574" y="276"/>
                    <a:pt x="573" y="276"/>
                  </a:cubicBezTo>
                  <a:cubicBezTo>
                    <a:pt x="572" y="276"/>
                    <a:pt x="572" y="275"/>
                    <a:pt x="571" y="275"/>
                  </a:cubicBezTo>
                  <a:lnTo>
                    <a:pt x="472" y="242"/>
                  </a:lnTo>
                  <a:lnTo>
                    <a:pt x="444" y="258"/>
                  </a:lnTo>
                  <a:lnTo>
                    <a:pt x="427" y="266"/>
                  </a:lnTo>
                  <a:lnTo>
                    <a:pt x="311" y="296"/>
                  </a:lnTo>
                  <a:cubicBezTo>
                    <a:pt x="311" y="297"/>
                    <a:pt x="311" y="297"/>
                    <a:pt x="310" y="29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39" name="Freeform 734"/>
            <p:cNvSpPr>
              <a:spLocks noChangeArrowheads="1"/>
            </p:cNvSpPr>
            <p:nvPr/>
          </p:nvSpPr>
          <p:spPr bwMode="auto">
            <a:xfrm>
              <a:off x="5815013" y="2314575"/>
              <a:ext cx="433387" cy="300038"/>
            </a:xfrm>
            <a:custGeom>
              <a:avLst/>
              <a:gdLst/>
              <a:ahLst/>
              <a:cxnLst>
                <a:cxn ang="0">
                  <a:pos x="735" y="787"/>
                </a:cxn>
                <a:cxn ang="0">
                  <a:pos x="738" y="761"/>
                </a:cxn>
                <a:cxn ang="0">
                  <a:pos x="691" y="687"/>
                </a:cxn>
                <a:cxn ang="0">
                  <a:pos x="570" y="580"/>
                </a:cxn>
                <a:cxn ang="0">
                  <a:pos x="393" y="501"/>
                </a:cxn>
                <a:cxn ang="0">
                  <a:pos x="177" y="584"/>
                </a:cxn>
                <a:cxn ang="0">
                  <a:pos x="128" y="598"/>
                </a:cxn>
                <a:cxn ang="0">
                  <a:pos x="123" y="593"/>
                </a:cxn>
                <a:cxn ang="0">
                  <a:pos x="135" y="430"/>
                </a:cxn>
                <a:cxn ang="0">
                  <a:pos x="77" y="394"/>
                </a:cxn>
                <a:cxn ang="0">
                  <a:pos x="115" y="365"/>
                </a:cxn>
                <a:cxn ang="0">
                  <a:pos x="77" y="344"/>
                </a:cxn>
                <a:cxn ang="0">
                  <a:pos x="91" y="327"/>
                </a:cxn>
                <a:cxn ang="0">
                  <a:pos x="40" y="331"/>
                </a:cxn>
                <a:cxn ang="0">
                  <a:pos x="37" y="331"/>
                </a:cxn>
                <a:cxn ang="0">
                  <a:pos x="22" y="286"/>
                </a:cxn>
                <a:cxn ang="0">
                  <a:pos x="38" y="195"/>
                </a:cxn>
                <a:cxn ang="0">
                  <a:pos x="44" y="198"/>
                </a:cxn>
                <a:cxn ang="0">
                  <a:pos x="152" y="250"/>
                </a:cxn>
                <a:cxn ang="0">
                  <a:pos x="151" y="238"/>
                </a:cxn>
                <a:cxn ang="0">
                  <a:pos x="151" y="230"/>
                </a:cxn>
                <a:cxn ang="0">
                  <a:pos x="138" y="152"/>
                </a:cxn>
                <a:cxn ang="0">
                  <a:pos x="89" y="103"/>
                </a:cxn>
                <a:cxn ang="0">
                  <a:pos x="35" y="191"/>
                </a:cxn>
                <a:cxn ang="0">
                  <a:pos x="31" y="196"/>
                </a:cxn>
                <a:cxn ang="0">
                  <a:pos x="1" y="116"/>
                </a:cxn>
                <a:cxn ang="0">
                  <a:pos x="58" y="73"/>
                </a:cxn>
                <a:cxn ang="0">
                  <a:pos x="153" y="47"/>
                </a:cxn>
                <a:cxn ang="0">
                  <a:pos x="202" y="73"/>
                </a:cxn>
                <a:cxn ang="0">
                  <a:pos x="310" y="161"/>
                </a:cxn>
                <a:cxn ang="0">
                  <a:pos x="399" y="168"/>
                </a:cxn>
                <a:cxn ang="0">
                  <a:pos x="391" y="99"/>
                </a:cxn>
                <a:cxn ang="0">
                  <a:pos x="416" y="72"/>
                </a:cxn>
                <a:cxn ang="0">
                  <a:pos x="475" y="37"/>
                </a:cxn>
                <a:cxn ang="0">
                  <a:pos x="480" y="34"/>
                </a:cxn>
                <a:cxn ang="0">
                  <a:pos x="499" y="43"/>
                </a:cxn>
                <a:cxn ang="0">
                  <a:pos x="488" y="24"/>
                </a:cxn>
                <a:cxn ang="0">
                  <a:pos x="511" y="18"/>
                </a:cxn>
                <a:cxn ang="0">
                  <a:pos x="526" y="0"/>
                </a:cxn>
                <a:cxn ang="0">
                  <a:pos x="530" y="2"/>
                </a:cxn>
                <a:cxn ang="0">
                  <a:pos x="637" y="60"/>
                </a:cxn>
                <a:cxn ang="0">
                  <a:pos x="645" y="96"/>
                </a:cxn>
                <a:cxn ang="0">
                  <a:pos x="667" y="116"/>
                </a:cxn>
                <a:cxn ang="0">
                  <a:pos x="654" y="123"/>
                </a:cxn>
                <a:cxn ang="0">
                  <a:pos x="750" y="182"/>
                </a:cxn>
                <a:cxn ang="0">
                  <a:pos x="776" y="161"/>
                </a:cxn>
                <a:cxn ang="0">
                  <a:pos x="805" y="188"/>
                </a:cxn>
                <a:cxn ang="0">
                  <a:pos x="944" y="373"/>
                </a:cxn>
                <a:cxn ang="0">
                  <a:pos x="1032" y="432"/>
                </a:cxn>
                <a:cxn ang="0">
                  <a:pos x="1136" y="491"/>
                </a:cxn>
                <a:cxn ang="0">
                  <a:pos x="1204" y="532"/>
                </a:cxn>
                <a:cxn ang="0">
                  <a:pos x="1192" y="597"/>
                </a:cxn>
                <a:cxn ang="0">
                  <a:pos x="1187" y="602"/>
                </a:cxn>
                <a:cxn ang="0">
                  <a:pos x="1093" y="618"/>
                </a:cxn>
                <a:cxn ang="0">
                  <a:pos x="1051" y="619"/>
                </a:cxn>
                <a:cxn ang="0">
                  <a:pos x="1016" y="712"/>
                </a:cxn>
                <a:cxn ang="0">
                  <a:pos x="911" y="776"/>
                </a:cxn>
                <a:cxn ang="0">
                  <a:pos x="895" y="807"/>
                </a:cxn>
                <a:cxn ang="0">
                  <a:pos x="865" y="831"/>
                </a:cxn>
                <a:cxn ang="0">
                  <a:pos x="762" y="805"/>
                </a:cxn>
              </a:cxnLst>
              <a:rect l="0" t="0" r="r" b="b"/>
              <a:pathLst>
                <a:path w="1206" h="832">
                  <a:moveTo>
                    <a:pt x="762" y="805"/>
                  </a:moveTo>
                  <a:lnTo>
                    <a:pt x="735" y="787"/>
                  </a:lnTo>
                  <a:cubicBezTo>
                    <a:pt x="734" y="786"/>
                    <a:pt x="733" y="784"/>
                    <a:pt x="733" y="782"/>
                  </a:cubicBezTo>
                  <a:lnTo>
                    <a:pt x="738" y="761"/>
                  </a:lnTo>
                  <a:lnTo>
                    <a:pt x="729" y="687"/>
                  </a:lnTo>
                  <a:lnTo>
                    <a:pt x="691" y="687"/>
                  </a:lnTo>
                  <a:lnTo>
                    <a:pt x="591" y="622"/>
                  </a:lnTo>
                  <a:lnTo>
                    <a:pt x="570" y="580"/>
                  </a:lnTo>
                  <a:lnTo>
                    <a:pt x="423" y="538"/>
                  </a:lnTo>
                  <a:lnTo>
                    <a:pt x="393" y="501"/>
                  </a:lnTo>
                  <a:lnTo>
                    <a:pt x="252" y="530"/>
                  </a:lnTo>
                  <a:lnTo>
                    <a:pt x="177" y="584"/>
                  </a:lnTo>
                  <a:lnTo>
                    <a:pt x="129" y="597"/>
                  </a:lnTo>
                  <a:cubicBezTo>
                    <a:pt x="129" y="598"/>
                    <a:pt x="129" y="598"/>
                    <a:pt x="128" y="598"/>
                  </a:cubicBezTo>
                  <a:cubicBezTo>
                    <a:pt x="127" y="598"/>
                    <a:pt x="126" y="597"/>
                    <a:pt x="125" y="597"/>
                  </a:cubicBezTo>
                  <a:cubicBezTo>
                    <a:pt x="124" y="596"/>
                    <a:pt x="124" y="595"/>
                    <a:pt x="123" y="593"/>
                  </a:cubicBezTo>
                  <a:lnTo>
                    <a:pt x="111" y="484"/>
                  </a:lnTo>
                  <a:lnTo>
                    <a:pt x="135" y="430"/>
                  </a:lnTo>
                  <a:lnTo>
                    <a:pt x="79" y="398"/>
                  </a:lnTo>
                  <a:cubicBezTo>
                    <a:pt x="78" y="397"/>
                    <a:pt x="77" y="396"/>
                    <a:pt x="77" y="394"/>
                  </a:cubicBezTo>
                  <a:cubicBezTo>
                    <a:pt x="77" y="393"/>
                    <a:pt x="77" y="391"/>
                    <a:pt x="79" y="390"/>
                  </a:cubicBezTo>
                  <a:lnTo>
                    <a:pt x="115" y="365"/>
                  </a:lnTo>
                  <a:lnTo>
                    <a:pt x="79" y="348"/>
                  </a:lnTo>
                  <a:cubicBezTo>
                    <a:pt x="78" y="347"/>
                    <a:pt x="77" y="346"/>
                    <a:pt x="77" y="344"/>
                  </a:cubicBezTo>
                  <a:cubicBezTo>
                    <a:pt x="76" y="343"/>
                    <a:pt x="77" y="341"/>
                    <a:pt x="78" y="340"/>
                  </a:cubicBezTo>
                  <a:lnTo>
                    <a:pt x="91" y="327"/>
                  </a:lnTo>
                  <a:lnTo>
                    <a:pt x="81" y="319"/>
                  </a:lnTo>
                  <a:lnTo>
                    <a:pt x="40" y="331"/>
                  </a:lnTo>
                  <a:cubicBezTo>
                    <a:pt x="40" y="331"/>
                    <a:pt x="40" y="331"/>
                    <a:pt x="39" y="331"/>
                  </a:cubicBezTo>
                  <a:cubicBezTo>
                    <a:pt x="38" y="331"/>
                    <a:pt x="38" y="331"/>
                    <a:pt x="37" y="331"/>
                  </a:cubicBezTo>
                  <a:cubicBezTo>
                    <a:pt x="36" y="330"/>
                    <a:pt x="35" y="329"/>
                    <a:pt x="35" y="328"/>
                  </a:cubicBezTo>
                  <a:lnTo>
                    <a:pt x="22" y="286"/>
                  </a:lnTo>
                  <a:lnTo>
                    <a:pt x="35" y="199"/>
                  </a:lnTo>
                  <a:cubicBezTo>
                    <a:pt x="35" y="197"/>
                    <a:pt x="36" y="195"/>
                    <a:pt x="38" y="195"/>
                  </a:cubicBezTo>
                  <a:cubicBezTo>
                    <a:pt x="39" y="195"/>
                    <a:pt x="39" y="195"/>
                    <a:pt x="39" y="195"/>
                  </a:cubicBezTo>
                  <a:cubicBezTo>
                    <a:pt x="41" y="195"/>
                    <a:pt x="43" y="196"/>
                    <a:pt x="44" y="198"/>
                  </a:cubicBezTo>
                  <a:lnTo>
                    <a:pt x="59" y="233"/>
                  </a:lnTo>
                  <a:lnTo>
                    <a:pt x="152" y="250"/>
                  </a:lnTo>
                  <a:lnTo>
                    <a:pt x="162" y="243"/>
                  </a:lnTo>
                  <a:lnTo>
                    <a:pt x="151" y="238"/>
                  </a:lnTo>
                  <a:cubicBezTo>
                    <a:pt x="150" y="237"/>
                    <a:pt x="149" y="235"/>
                    <a:pt x="149" y="234"/>
                  </a:cubicBezTo>
                  <a:cubicBezTo>
                    <a:pt x="149" y="232"/>
                    <a:pt x="149" y="231"/>
                    <a:pt x="151" y="230"/>
                  </a:cubicBezTo>
                  <a:lnTo>
                    <a:pt x="189" y="199"/>
                  </a:lnTo>
                  <a:lnTo>
                    <a:pt x="138" y="152"/>
                  </a:lnTo>
                  <a:lnTo>
                    <a:pt x="108" y="106"/>
                  </a:lnTo>
                  <a:lnTo>
                    <a:pt x="89" y="103"/>
                  </a:lnTo>
                  <a:lnTo>
                    <a:pt x="31" y="134"/>
                  </a:lnTo>
                  <a:lnTo>
                    <a:pt x="35" y="191"/>
                  </a:lnTo>
                  <a:cubicBezTo>
                    <a:pt x="36" y="193"/>
                    <a:pt x="34" y="195"/>
                    <a:pt x="32" y="196"/>
                  </a:cubicBezTo>
                  <a:lnTo>
                    <a:pt x="31" y="196"/>
                  </a:lnTo>
                  <a:cubicBezTo>
                    <a:pt x="29" y="196"/>
                    <a:pt x="27" y="195"/>
                    <a:pt x="26" y="193"/>
                  </a:cubicBezTo>
                  <a:lnTo>
                    <a:pt x="1" y="116"/>
                  </a:lnTo>
                  <a:cubicBezTo>
                    <a:pt x="0" y="115"/>
                    <a:pt x="1" y="112"/>
                    <a:pt x="3" y="111"/>
                  </a:cubicBezTo>
                  <a:lnTo>
                    <a:pt x="58" y="73"/>
                  </a:lnTo>
                  <a:lnTo>
                    <a:pt x="152" y="47"/>
                  </a:lnTo>
                  <a:cubicBezTo>
                    <a:pt x="153" y="47"/>
                    <a:pt x="153" y="47"/>
                    <a:pt x="153" y="47"/>
                  </a:cubicBezTo>
                  <a:cubicBezTo>
                    <a:pt x="154" y="47"/>
                    <a:pt x="155" y="47"/>
                    <a:pt x="156" y="47"/>
                  </a:cubicBezTo>
                  <a:lnTo>
                    <a:pt x="202" y="73"/>
                  </a:lnTo>
                  <a:lnTo>
                    <a:pt x="262" y="169"/>
                  </a:lnTo>
                  <a:lnTo>
                    <a:pt x="310" y="161"/>
                  </a:lnTo>
                  <a:lnTo>
                    <a:pt x="390" y="174"/>
                  </a:lnTo>
                  <a:lnTo>
                    <a:pt x="399" y="168"/>
                  </a:lnTo>
                  <a:lnTo>
                    <a:pt x="390" y="103"/>
                  </a:lnTo>
                  <a:cubicBezTo>
                    <a:pt x="390" y="102"/>
                    <a:pt x="391" y="100"/>
                    <a:pt x="391" y="99"/>
                  </a:cubicBezTo>
                  <a:lnTo>
                    <a:pt x="413" y="74"/>
                  </a:lnTo>
                  <a:cubicBezTo>
                    <a:pt x="413" y="73"/>
                    <a:pt x="414" y="72"/>
                    <a:pt x="416" y="72"/>
                  </a:cubicBezTo>
                  <a:lnTo>
                    <a:pt x="464" y="64"/>
                  </a:lnTo>
                  <a:lnTo>
                    <a:pt x="475" y="37"/>
                  </a:lnTo>
                  <a:cubicBezTo>
                    <a:pt x="476" y="36"/>
                    <a:pt x="477" y="35"/>
                    <a:pt x="478" y="34"/>
                  </a:cubicBezTo>
                  <a:cubicBezTo>
                    <a:pt x="479" y="34"/>
                    <a:pt x="479" y="34"/>
                    <a:pt x="480" y="34"/>
                  </a:cubicBezTo>
                  <a:cubicBezTo>
                    <a:pt x="481" y="34"/>
                    <a:pt x="481" y="34"/>
                    <a:pt x="482" y="35"/>
                  </a:cubicBezTo>
                  <a:lnTo>
                    <a:pt x="499" y="43"/>
                  </a:lnTo>
                  <a:lnTo>
                    <a:pt x="489" y="29"/>
                  </a:lnTo>
                  <a:cubicBezTo>
                    <a:pt x="488" y="28"/>
                    <a:pt x="488" y="26"/>
                    <a:pt x="488" y="24"/>
                  </a:cubicBezTo>
                  <a:cubicBezTo>
                    <a:pt x="489" y="23"/>
                    <a:pt x="490" y="22"/>
                    <a:pt x="492" y="22"/>
                  </a:cubicBezTo>
                  <a:lnTo>
                    <a:pt x="511" y="18"/>
                  </a:lnTo>
                  <a:lnTo>
                    <a:pt x="522" y="2"/>
                  </a:lnTo>
                  <a:cubicBezTo>
                    <a:pt x="523" y="1"/>
                    <a:pt x="525" y="0"/>
                    <a:pt x="526" y="0"/>
                  </a:cubicBezTo>
                  <a:lnTo>
                    <a:pt x="526" y="0"/>
                  </a:lnTo>
                  <a:cubicBezTo>
                    <a:pt x="528" y="0"/>
                    <a:pt x="529" y="1"/>
                    <a:pt x="530" y="2"/>
                  </a:cubicBezTo>
                  <a:lnTo>
                    <a:pt x="589" y="57"/>
                  </a:lnTo>
                  <a:lnTo>
                    <a:pt x="637" y="60"/>
                  </a:lnTo>
                  <a:cubicBezTo>
                    <a:pt x="639" y="60"/>
                    <a:pt x="641" y="61"/>
                    <a:pt x="641" y="64"/>
                  </a:cubicBezTo>
                  <a:lnTo>
                    <a:pt x="645" y="96"/>
                  </a:lnTo>
                  <a:lnTo>
                    <a:pt x="665" y="111"/>
                  </a:lnTo>
                  <a:cubicBezTo>
                    <a:pt x="666" y="112"/>
                    <a:pt x="667" y="114"/>
                    <a:pt x="667" y="116"/>
                  </a:cubicBezTo>
                  <a:cubicBezTo>
                    <a:pt x="666" y="117"/>
                    <a:pt x="665" y="119"/>
                    <a:pt x="663" y="119"/>
                  </a:cubicBezTo>
                  <a:lnTo>
                    <a:pt x="654" y="123"/>
                  </a:lnTo>
                  <a:lnTo>
                    <a:pt x="658" y="162"/>
                  </a:lnTo>
                  <a:lnTo>
                    <a:pt x="750" y="182"/>
                  </a:lnTo>
                  <a:lnTo>
                    <a:pt x="773" y="162"/>
                  </a:lnTo>
                  <a:cubicBezTo>
                    <a:pt x="774" y="161"/>
                    <a:pt x="775" y="161"/>
                    <a:pt x="776" y="161"/>
                  </a:cubicBezTo>
                  <a:cubicBezTo>
                    <a:pt x="777" y="161"/>
                    <a:pt x="779" y="162"/>
                    <a:pt x="780" y="162"/>
                  </a:cubicBezTo>
                  <a:lnTo>
                    <a:pt x="805" y="188"/>
                  </a:lnTo>
                  <a:lnTo>
                    <a:pt x="870" y="329"/>
                  </a:lnTo>
                  <a:lnTo>
                    <a:pt x="944" y="373"/>
                  </a:lnTo>
                  <a:lnTo>
                    <a:pt x="987" y="416"/>
                  </a:lnTo>
                  <a:lnTo>
                    <a:pt x="1032" y="432"/>
                  </a:lnTo>
                  <a:lnTo>
                    <a:pt x="1104" y="495"/>
                  </a:lnTo>
                  <a:lnTo>
                    <a:pt x="1136" y="491"/>
                  </a:lnTo>
                  <a:lnTo>
                    <a:pt x="1202" y="525"/>
                  </a:lnTo>
                  <a:cubicBezTo>
                    <a:pt x="1204" y="527"/>
                    <a:pt x="1205" y="529"/>
                    <a:pt x="1204" y="532"/>
                  </a:cubicBezTo>
                  <a:lnTo>
                    <a:pt x="1191" y="557"/>
                  </a:lnTo>
                  <a:lnTo>
                    <a:pt x="1192" y="597"/>
                  </a:lnTo>
                  <a:cubicBezTo>
                    <a:pt x="1192" y="599"/>
                    <a:pt x="1191" y="600"/>
                    <a:pt x="1190" y="601"/>
                  </a:cubicBezTo>
                  <a:cubicBezTo>
                    <a:pt x="1190" y="602"/>
                    <a:pt x="1188" y="602"/>
                    <a:pt x="1187" y="602"/>
                  </a:cubicBezTo>
                  <a:lnTo>
                    <a:pt x="1117" y="594"/>
                  </a:lnTo>
                  <a:lnTo>
                    <a:pt x="1093" y="618"/>
                  </a:lnTo>
                  <a:cubicBezTo>
                    <a:pt x="1092" y="618"/>
                    <a:pt x="1091" y="619"/>
                    <a:pt x="1090" y="619"/>
                  </a:cubicBezTo>
                  <a:lnTo>
                    <a:pt x="1051" y="619"/>
                  </a:lnTo>
                  <a:lnTo>
                    <a:pt x="1018" y="709"/>
                  </a:lnTo>
                  <a:cubicBezTo>
                    <a:pt x="1018" y="710"/>
                    <a:pt x="1017" y="711"/>
                    <a:pt x="1016" y="712"/>
                  </a:cubicBezTo>
                  <a:lnTo>
                    <a:pt x="902" y="764"/>
                  </a:lnTo>
                  <a:lnTo>
                    <a:pt x="911" y="776"/>
                  </a:lnTo>
                  <a:cubicBezTo>
                    <a:pt x="913" y="778"/>
                    <a:pt x="913" y="780"/>
                    <a:pt x="911" y="782"/>
                  </a:cubicBezTo>
                  <a:lnTo>
                    <a:pt x="895" y="807"/>
                  </a:lnTo>
                  <a:lnTo>
                    <a:pt x="868" y="829"/>
                  </a:lnTo>
                  <a:cubicBezTo>
                    <a:pt x="867" y="830"/>
                    <a:pt x="866" y="831"/>
                    <a:pt x="865" y="831"/>
                  </a:cubicBezTo>
                  <a:cubicBezTo>
                    <a:pt x="865" y="830"/>
                    <a:pt x="864" y="830"/>
                    <a:pt x="864" y="830"/>
                  </a:cubicBezTo>
                  <a:lnTo>
                    <a:pt x="762" y="80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0" name="Freeform 735"/>
            <p:cNvSpPr>
              <a:spLocks noChangeArrowheads="1"/>
            </p:cNvSpPr>
            <p:nvPr/>
          </p:nvSpPr>
          <p:spPr bwMode="auto">
            <a:xfrm>
              <a:off x="5815013" y="2314575"/>
              <a:ext cx="433387" cy="300038"/>
            </a:xfrm>
            <a:custGeom>
              <a:avLst/>
              <a:gdLst/>
              <a:ahLst/>
              <a:cxnLst>
                <a:cxn ang="0">
                  <a:pos x="762" y="805"/>
                </a:cxn>
                <a:cxn ang="0">
                  <a:pos x="733" y="782"/>
                </a:cxn>
                <a:cxn ang="0">
                  <a:pos x="729" y="687"/>
                </a:cxn>
                <a:cxn ang="0">
                  <a:pos x="591" y="622"/>
                </a:cxn>
                <a:cxn ang="0">
                  <a:pos x="423" y="538"/>
                </a:cxn>
                <a:cxn ang="0">
                  <a:pos x="252" y="530"/>
                </a:cxn>
                <a:cxn ang="0">
                  <a:pos x="129" y="597"/>
                </a:cxn>
                <a:cxn ang="0">
                  <a:pos x="125" y="597"/>
                </a:cxn>
                <a:cxn ang="0">
                  <a:pos x="111" y="484"/>
                </a:cxn>
                <a:cxn ang="0">
                  <a:pos x="79" y="398"/>
                </a:cxn>
                <a:cxn ang="0">
                  <a:pos x="79" y="390"/>
                </a:cxn>
                <a:cxn ang="0">
                  <a:pos x="79" y="348"/>
                </a:cxn>
                <a:cxn ang="0">
                  <a:pos x="78" y="340"/>
                </a:cxn>
                <a:cxn ang="0">
                  <a:pos x="81" y="319"/>
                </a:cxn>
                <a:cxn ang="0">
                  <a:pos x="39" y="331"/>
                </a:cxn>
                <a:cxn ang="0">
                  <a:pos x="35" y="328"/>
                </a:cxn>
                <a:cxn ang="0">
                  <a:pos x="35" y="199"/>
                </a:cxn>
                <a:cxn ang="0">
                  <a:pos x="39" y="195"/>
                </a:cxn>
                <a:cxn ang="0">
                  <a:pos x="59" y="233"/>
                </a:cxn>
                <a:cxn ang="0">
                  <a:pos x="162" y="243"/>
                </a:cxn>
                <a:cxn ang="0">
                  <a:pos x="149" y="234"/>
                </a:cxn>
                <a:cxn ang="0">
                  <a:pos x="189" y="199"/>
                </a:cxn>
                <a:cxn ang="0">
                  <a:pos x="108" y="106"/>
                </a:cxn>
                <a:cxn ang="0">
                  <a:pos x="31" y="134"/>
                </a:cxn>
                <a:cxn ang="0">
                  <a:pos x="32" y="196"/>
                </a:cxn>
                <a:cxn ang="0">
                  <a:pos x="26" y="193"/>
                </a:cxn>
                <a:cxn ang="0">
                  <a:pos x="3" y="111"/>
                </a:cxn>
                <a:cxn ang="0">
                  <a:pos x="152" y="47"/>
                </a:cxn>
                <a:cxn ang="0">
                  <a:pos x="156" y="47"/>
                </a:cxn>
                <a:cxn ang="0">
                  <a:pos x="262" y="169"/>
                </a:cxn>
                <a:cxn ang="0">
                  <a:pos x="390" y="174"/>
                </a:cxn>
                <a:cxn ang="0">
                  <a:pos x="390" y="103"/>
                </a:cxn>
                <a:cxn ang="0">
                  <a:pos x="413" y="74"/>
                </a:cxn>
                <a:cxn ang="0">
                  <a:pos x="464" y="64"/>
                </a:cxn>
                <a:cxn ang="0">
                  <a:pos x="478" y="34"/>
                </a:cxn>
                <a:cxn ang="0">
                  <a:pos x="482" y="35"/>
                </a:cxn>
                <a:cxn ang="0">
                  <a:pos x="489" y="29"/>
                </a:cxn>
                <a:cxn ang="0">
                  <a:pos x="492" y="22"/>
                </a:cxn>
                <a:cxn ang="0">
                  <a:pos x="522" y="2"/>
                </a:cxn>
                <a:cxn ang="0">
                  <a:pos x="526" y="0"/>
                </a:cxn>
                <a:cxn ang="0">
                  <a:pos x="589" y="57"/>
                </a:cxn>
                <a:cxn ang="0">
                  <a:pos x="641" y="64"/>
                </a:cxn>
                <a:cxn ang="0">
                  <a:pos x="665" y="111"/>
                </a:cxn>
                <a:cxn ang="0">
                  <a:pos x="663" y="119"/>
                </a:cxn>
                <a:cxn ang="0">
                  <a:pos x="658" y="162"/>
                </a:cxn>
                <a:cxn ang="0">
                  <a:pos x="773" y="162"/>
                </a:cxn>
                <a:cxn ang="0">
                  <a:pos x="780" y="162"/>
                </a:cxn>
                <a:cxn ang="0">
                  <a:pos x="870" y="329"/>
                </a:cxn>
                <a:cxn ang="0">
                  <a:pos x="987" y="416"/>
                </a:cxn>
                <a:cxn ang="0">
                  <a:pos x="1104" y="495"/>
                </a:cxn>
                <a:cxn ang="0">
                  <a:pos x="1202" y="525"/>
                </a:cxn>
                <a:cxn ang="0">
                  <a:pos x="1191" y="557"/>
                </a:cxn>
                <a:cxn ang="0">
                  <a:pos x="1190" y="601"/>
                </a:cxn>
                <a:cxn ang="0">
                  <a:pos x="1117" y="594"/>
                </a:cxn>
                <a:cxn ang="0">
                  <a:pos x="1090" y="619"/>
                </a:cxn>
                <a:cxn ang="0">
                  <a:pos x="1018" y="709"/>
                </a:cxn>
                <a:cxn ang="0">
                  <a:pos x="902" y="764"/>
                </a:cxn>
                <a:cxn ang="0">
                  <a:pos x="911" y="782"/>
                </a:cxn>
                <a:cxn ang="0">
                  <a:pos x="868" y="829"/>
                </a:cxn>
                <a:cxn ang="0">
                  <a:pos x="864" y="830"/>
                </a:cxn>
              </a:cxnLst>
              <a:rect l="0" t="0" r="r" b="b"/>
              <a:pathLst>
                <a:path w="1206" h="832">
                  <a:moveTo>
                    <a:pt x="864" y="830"/>
                  </a:moveTo>
                  <a:lnTo>
                    <a:pt x="762" y="805"/>
                  </a:lnTo>
                  <a:lnTo>
                    <a:pt x="735" y="787"/>
                  </a:lnTo>
                  <a:cubicBezTo>
                    <a:pt x="734" y="786"/>
                    <a:pt x="733" y="784"/>
                    <a:pt x="733" y="782"/>
                  </a:cubicBezTo>
                  <a:lnTo>
                    <a:pt x="738" y="761"/>
                  </a:lnTo>
                  <a:lnTo>
                    <a:pt x="729" y="687"/>
                  </a:lnTo>
                  <a:lnTo>
                    <a:pt x="691" y="687"/>
                  </a:lnTo>
                  <a:lnTo>
                    <a:pt x="591" y="622"/>
                  </a:lnTo>
                  <a:lnTo>
                    <a:pt x="570" y="580"/>
                  </a:lnTo>
                  <a:lnTo>
                    <a:pt x="423" y="538"/>
                  </a:lnTo>
                  <a:lnTo>
                    <a:pt x="393" y="501"/>
                  </a:lnTo>
                  <a:lnTo>
                    <a:pt x="252" y="530"/>
                  </a:lnTo>
                  <a:lnTo>
                    <a:pt x="177" y="584"/>
                  </a:lnTo>
                  <a:lnTo>
                    <a:pt x="129" y="597"/>
                  </a:lnTo>
                  <a:cubicBezTo>
                    <a:pt x="129" y="598"/>
                    <a:pt x="129" y="598"/>
                    <a:pt x="128" y="598"/>
                  </a:cubicBezTo>
                  <a:cubicBezTo>
                    <a:pt x="127" y="598"/>
                    <a:pt x="126" y="597"/>
                    <a:pt x="125" y="597"/>
                  </a:cubicBezTo>
                  <a:cubicBezTo>
                    <a:pt x="124" y="596"/>
                    <a:pt x="124" y="595"/>
                    <a:pt x="123" y="593"/>
                  </a:cubicBezTo>
                  <a:lnTo>
                    <a:pt x="111" y="484"/>
                  </a:lnTo>
                  <a:lnTo>
                    <a:pt x="135" y="430"/>
                  </a:lnTo>
                  <a:lnTo>
                    <a:pt x="79" y="398"/>
                  </a:lnTo>
                  <a:cubicBezTo>
                    <a:pt x="78" y="397"/>
                    <a:pt x="77" y="396"/>
                    <a:pt x="77" y="394"/>
                  </a:cubicBezTo>
                  <a:cubicBezTo>
                    <a:pt x="77" y="393"/>
                    <a:pt x="77" y="391"/>
                    <a:pt x="79" y="390"/>
                  </a:cubicBezTo>
                  <a:lnTo>
                    <a:pt x="115" y="365"/>
                  </a:lnTo>
                  <a:lnTo>
                    <a:pt x="79" y="348"/>
                  </a:lnTo>
                  <a:cubicBezTo>
                    <a:pt x="78" y="347"/>
                    <a:pt x="77" y="346"/>
                    <a:pt x="77" y="344"/>
                  </a:cubicBezTo>
                  <a:cubicBezTo>
                    <a:pt x="76" y="343"/>
                    <a:pt x="77" y="341"/>
                    <a:pt x="78" y="340"/>
                  </a:cubicBezTo>
                  <a:lnTo>
                    <a:pt x="91" y="327"/>
                  </a:lnTo>
                  <a:lnTo>
                    <a:pt x="81" y="319"/>
                  </a:lnTo>
                  <a:lnTo>
                    <a:pt x="40" y="331"/>
                  </a:lnTo>
                  <a:cubicBezTo>
                    <a:pt x="40" y="331"/>
                    <a:pt x="40" y="331"/>
                    <a:pt x="39" y="331"/>
                  </a:cubicBezTo>
                  <a:cubicBezTo>
                    <a:pt x="38" y="331"/>
                    <a:pt x="38" y="331"/>
                    <a:pt x="37" y="331"/>
                  </a:cubicBezTo>
                  <a:cubicBezTo>
                    <a:pt x="36" y="330"/>
                    <a:pt x="35" y="329"/>
                    <a:pt x="35" y="328"/>
                  </a:cubicBezTo>
                  <a:lnTo>
                    <a:pt x="22" y="286"/>
                  </a:lnTo>
                  <a:lnTo>
                    <a:pt x="35" y="199"/>
                  </a:lnTo>
                  <a:cubicBezTo>
                    <a:pt x="35" y="197"/>
                    <a:pt x="36" y="195"/>
                    <a:pt x="38" y="195"/>
                  </a:cubicBezTo>
                  <a:cubicBezTo>
                    <a:pt x="39" y="195"/>
                    <a:pt x="39" y="195"/>
                    <a:pt x="39" y="195"/>
                  </a:cubicBezTo>
                  <a:cubicBezTo>
                    <a:pt x="41" y="195"/>
                    <a:pt x="43" y="196"/>
                    <a:pt x="44" y="198"/>
                  </a:cubicBezTo>
                  <a:lnTo>
                    <a:pt x="59" y="233"/>
                  </a:lnTo>
                  <a:lnTo>
                    <a:pt x="152" y="250"/>
                  </a:lnTo>
                  <a:lnTo>
                    <a:pt x="162" y="243"/>
                  </a:lnTo>
                  <a:lnTo>
                    <a:pt x="151" y="238"/>
                  </a:lnTo>
                  <a:cubicBezTo>
                    <a:pt x="150" y="237"/>
                    <a:pt x="149" y="235"/>
                    <a:pt x="149" y="234"/>
                  </a:cubicBezTo>
                  <a:cubicBezTo>
                    <a:pt x="149" y="232"/>
                    <a:pt x="149" y="231"/>
                    <a:pt x="151" y="230"/>
                  </a:cubicBezTo>
                  <a:lnTo>
                    <a:pt x="189" y="199"/>
                  </a:lnTo>
                  <a:lnTo>
                    <a:pt x="138" y="152"/>
                  </a:lnTo>
                  <a:lnTo>
                    <a:pt x="108" y="106"/>
                  </a:lnTo>
                  <a:lnTo>
                    <a:pt x="89" y="103"/>
                  </a:lnTo>
                  <a:lnTo>
                    <a:pt x="31" y="134"/>
                  </a:lnTo>
                  <a:lnTo>
                    <a:pt x="35" y="191"/>
                  </a:lnTo>
                  <a:cubicBezTo>
                    <a:pt x="36" y="193"/>
                    <a:pt x="34" y="195"/>
                    <a:pt x="32" y="196"/>
                  </a:cubicBezTo>
                  <a:lnTo>
                    <a:pt x="31" y="196"/>
                  </a:lnTo>
                  <a:cubicBezTo>
                    <a:pt x="29" y="196"/>
                    <a:pt x="27" y="195"/>
                    <a:pt x="26" y="193"/>
                  </a:cubicBezTo>
                  <a:lnTo>
                    <a:pt x="1" y="116"/>
                  </a:lnTo>
                  <a:cubicBezTo>
                    <a:pt x="0" y="115"/>
                    <a:pt x="1" y="112"/>
                    <a:pt x="3" y="111"/>
                  </a:cubicBezTo>
                  <a:lnTo>
                    <a:pt x="58" y="73"/>
                  </a:lnTo>
                  <a:lnTo>
                    <a:pt x="152" y="47"/>
                  </a:lnTo>
                  <a:cubicBezTo>
                    <a:pt x="153" y="47"/>
                    <a:pt x="153" y="47"/>
                    <a:pt x="153" y="47"/>
                  </a:cubicBezTo>
                  <a:cubicBezTo>
                    <a:pt x="154" y="47"/>
                    <a:pt x="155" y="47"/>
                    <a:pt x="156" y="47"/>
                  </a:cubicBezTo>
                  <a:lnTo>
                    <a:pt x="202" y="73"/>
                  </a:lnTo>
                  <a:lnTo>
                    <a:pt x="262" y="169"/>
                  </a:lnTo>
                  <a:lnTo>
                    <a:pt x="310" y="161"/>
                  </a:lnTo>
                  <a:lnTo>
                    <a:pt x="390" y="174"/>
                  </a:lnTo>
                  <a:lnTo>
                    <a:pt x="399" y="168"/>
                  </a:lnTo>
                  <a:lnTo>
                    <a:pt x="390" y="103"/>
                  </a:lnTo>
                  <a:cubicBezTo>
                    <a:pt x="390" y="102"/>
                    <a:pt x="391" y="100"/>
                    <a:pt x="391" y="99"/>
                  </a:cubicBezTo>
                  <a:lnTo>
                    <a:pt x="413" y="74"/>
                  </a:lnTo>
                  <a:cubicBezTo>
                    <a:pt x="413" y="73"/>
                    <a:pt x="414" y="72"/>
                    <a:pt x="416" y="72"/>
                  </a:cubicBezTo>
                  <a:lnTo>
                    <a:pt x="464" y="64"/>
                  </a:lnTo>
                  <a:lnTo>
                    <a:pt x="475" y="37"/>
                  </a:lnTo>
                  <a:cubicBezTo>
                    <a:pt x="476" y="36"/>
                    <a:pt x="477" y="35"/>
                    <a:pt x="478" y="34"/>
                  </a:cubicBezTo>
                  <a:cubicBezTo>
                    <a:pt x="479" y="34"/>
                    <a:pt x="479" y="34"/>
                    <a:pt x="480" y="34"/>
                  </a:cubicBezTo>
                  <a:cubicBezTo>
                    <a:pt x="481" y="34"/>
                    <a:pt x="481" y="34"/>
                    <a:pt x="482" y="35"/>
                  </a:cubicBezTo>
                  <a:lnTo>
                    <a:pt x="499" y="43"/>
                  </a:lnTo>
                  <a:lnTo>
                    <a:pt x="489" y="29"/>
                  </a:lnTo>
                  <a:cubicBezTo>
                    <a:pt x="488" y="28"/>
                    <a:pt x="488" y="26"/>
                    <a:pt x="488" y="24"/>
                  </a:cubicBezTo>
                  <a:cubicBezTo>
                    <a:pt x="489" y="23"/>
                    <a:pt x="490" y="22"/>
                    <a:pt x="492" y="22"/>
                  </a:cubicBezTo>
                  <a:lnTo>
                    <a:pt x="511" y="18"/>
                  </a:lnTo>
                  <a:lnTo>
                    <a:pt x="522" y="2"/>
                  </a:lnTo>
                  <a:cubicBezTo>
                    <a:pt x="523" y="1"/>
                    <a:pt x="525" y="0"/>
                    <a:pt x="526" y="0"/>
                  </a:cubicBezTo>
                  <a:lnTo>
                    <a:pt x="526" y="0"/>
                  </a:lnTo>
                  <a:cubicBezTo>
                    <a:pt x="528" y="0"/>
                    <a:pt x="529" y="1"/>
                    <a:pt x="530" y="2"/>
                  </a:cubicBezTo>
                  <a:lnTo>
                    <a:pt x="589" y="57"/>
                  </a:lnTo>
                  <a:lnTo>
                    <a:pt x="637" y="60"/>
                  </a:lnTo>
                  <a:cubicBezTo>
                    <a:pt x="639" y="60"/>
                    <a:pt x="641" y="61"/>
                    <a:pt x="641" y="64"/>
                  </a:cubicBezTo>
                  <a:lnTo>
                    <a:pt x="645" y="96"/>
                  </a:lnTo>
                  <a:lnTo>
                    <a:pt x="665" y="111"/>
                  </a:lnTo>
                  <a:cubicBezTo>
                    <a:pt x="666" y="112"/>
                    <a:pt x="667" y="114"/>
                    <a:pt x="667" y="116"/>
                  </a:cubicBezTo>
                  <a:cubicBezTo>
                    <a:pt x="666" y="117"/>
                    <a:pt x="665" y="119"/>
                    <a:pt x="663" y="119"/>
                  </a:cubicBezTo>
                  <a:lnTo>
                    <a:pt x="654" y="123"/>
                  </a:lnTo>
                  <a:lnTo>
                    <a:pt x="658" y="162"/>
                  </a:lnTo>
                  <a:lnTo>
                    <a:pt x="750" y="182"/>
                  </a:lnTo>
                  <a:lnTo>
                    <a:pt x="773" y="162"/>
                  </a:lnTo>
                  <a:cubicBezTo>
                    <a:pt x="774" y="161"/>
                    <a:pt x="775" y="161"/>
                    <a:pt x="776" y="161"/>
                  </a:cubicBezTo>
                  <a:cubicBezTo>
                    <a:pt x="777" y="161"/>
                    <a:pt x="779" y="162"/>
                    <a:pt x="780" y="162"/>
                  </a:cubicBezTo>
                  <a:lnTo>
                    <a:pt x="805" y="188"/>
                  </a:lnTo>
                  <a:lnTo>
                    <a:pt x="870" y="329"/>
                  </a:lnTo>
                  <a:lnTo>
                    <a:pt x="944" y="373"/>
                  </a:lnTo>
                  <a:lnTo>
                    <a:pt x="987" y="416"/>
                  </a:lnTo>
                  <a:lnTo>
                    <a:pt x="1032" y="432"/>
                  </a:lnTo>
                  <a:lnTo>
                    <a:pt x="1104" y="495"/>
                  </a:lnTo>
                  <a:lnTo>
                    <a:pt x="1136" y="491"/>
                  </a:lnTo>
                  <a:lnTo>
                    <a:pt x="1202" y="525"/>
                  </a:lnTo>
                  <a:cubicBezTo>
                    <a:pt x="1204" y="527"/>
                    <a:pt x="1205" y="529"/>
                    <a:pt x="1204" y="532"/>
                  </a:cubicBezTo>
                  <a:lnTo>
                    <a:pt x="1191" y="557"/>
                  </a:lnTo>
                  <a:lnTo>
                    <a:pt x="1192" y="597"/>
                  </a:lnTo>
                  <a:cubicBezTo>
                    <a:pt x="1192" y="599"/>
                    <a:pt x="1191" y="600"/>
                    <a:pt x="1190" y="601"/>
                  </a:cubicBezTo>
                  <a:cubicBezTo>
                    <a:pt x="1190" y="602"/>
                    <a:pt x="1188" y="602"/>
                    <a:pt x="1187" y="602"/>
                  </a:cubicBezTo>
                  <a:lnTo>
                    <a:pt x="1117" y="594"/>
                  </a:lnTo>
                  <a:lnTo>
                    <a:pt x="1093" y="618"/>
                  </a:lnTo>
                  <a:cubicBezTo>
                    <a:pt x="1092" y="618"/>
                    <a:pt x="1091" y="619"/>
                    <a:pt x="1090" y="619"/>
                  </a:cubicBezTo>
                  <a:lnTo>
                    <a:pt x="1051" y="619"/>
                  </a:lnTo>
                  <a:lnTo>
                    <a:pt x="1018" y="709"/>
                  </a:lnTo>
                  <a:cubicBezTo>
                    <a:pt x="1018" y="710"/>
                    <a:pt x="1017" y="711"/>
                    <a:pt x="1016" y="712"/>
                  </a:cubicBezTo>
                  <a:lnTo>
                    <a:pt x="902" y="764"/>
                  </a:lnTo>
                  <a:lnTo>
                    <a:pt x="911" y="776"/>
                  </a:lnTo>
                  <a:cubicBezTo>
                    <a:pt x="913" y="778"/>
                    <a:pt x="913" y="780"/>
                    <a:pt x="911" y="782"/>
                  </a:cubicBezTo>
                  <a:lnTo>
                    <a:pt x="895" y="807"/>
                  </a:lnTo>
                  <a:lnTo>
                    <a:pt x="868" y="829"/>
                  </a:lnTo>
                  <a:cubicBezTo>
                    <a:pt x="867" y="830"/>
                    <a:pt x="866" y="831"/>
                    <a:pt x="865" y="831"/>
                  </a:cubicBezTo>
                  <a:cubicBezTo>
                    <a:pt x="865" y="830"/>
                    <a:pt x="864" y="830"/>
                    <a:pt x="864" y="83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1" name="Freeform 736"/>
            <p:cNvSpPr>
              <a:spLocks noChangeArrowheads="1"/>
            </p:cNvSpPr>
            <p:nvPr/>
          </p:nvSpPr>
          <p:spPr bwMode="auto">
            <a:xfrm>
              <a:off x="5924550" y="2200275"/>
              <a:ext cx="517525" cy="336550"/>
            </a:xfrm>
            <a:custGeom>
              <a:avLst/>
              <a:gdLst/>
              <a:ahLst/>
              <a:cxnLst>
                <a:cxn ang="0">
                  <a:pos x="1220" y="609"/>
                </a:cxn>
                <a:cxn ang="0">
                  <a:pos x="1233" y="554"/>
                </a:cxn>
                <a:cxn ang="0">
                  <a:pos x="1211" y="520"/>
                </a:cxn>
                <a:cxn ang="0">
                  <a:pos x="1123" y="559"/>
                </a:cxn>
                <a:cxn ang="0">
                  <a:pos x="1110" y="614"/>
                </a:cxn>
                <a:cxn ang="0">
                  <a:pos x="1050" y="677"/>
                </a:cxn>
                <a:cxn ang="0">
                  <a:pos x="953" y="707"/>
                </a:cxn>
                <a:cxn ang="0">
                  <a:pos x="1012" y="745"/>
                </a:cxn>
                <a:cxn ang="0">
                  <a:pos x="1034" y="834"/>
                </a:cxn>
                <a:cxn ang="0">
                  <a:pos x="970" y="935"/>
                </a:cxn>
                <a:cxn ang="0">
                  <a:pos x="881" y="876"/>
                </a:cxn>
                <a:cxn ang="0">
                  <a:pos x="830" y="817"/>
                </a:cxn>
                <a:cxn ang="0">
                  <a:pos x="724" y="758"/>
                </a:cxn>
                <a:cxn ang="0">
                  <a:pos x="635" y="698"/>
                </a:cxn>
                <a:cxn ang="0">
                  <a:pos x="496" y="512"/>
                </a:cxn>
                <a:cxn ang="0">
                  <a:pos x="445" y="508"/>
                </a:cxn>
                <a:cxn ang="0">
                  <a:pos x="343" y="440"/>
                </a:cxn>
                <a:cxn ang="0">
                  <a:pos x="335" y="419"/>
                </a:cxn>
                <a:cxn ang="0">
                  <a:pos x="279" y="381"/>
                </a:cxn>
                <a:cxn ang="0">
                  <a:pos x="207" y="343"/>
                </a:cxn>
                <a:cxn ang="0">
                  <a:pos x="207" y="377"/>
                </a:cxn>
                <a:cxn ang="0">
                  <a:pos x="161" y="389"/>
                </a:cxn>
                <a:cxn ang="0">
                  <a:pos x="89" y="423"/>
                </a:cxn>
                <a:cxn ang="0">
                  <a:pos x="85" y="499"/>
                </a:cxn>
                <a:cxn ang="0">
                  <a:pos x="0" y="72"/>
                </a:cxn>
                <a:cxn ang="0">
                  <a:pos x="262" y="21"/>
                </a:cxn>
                <a:cxn ang="0">
                  <a:pos x="508" y="246"/>
                </a:cxn>
                <a:cxn ang="0">
                  <a:pos x="809" y="263"/>
                </a:cxn>
                <a:cxn ang="0">
                  <a:pos x="856" y="313"/>
                </a:cxn>
                <a:cxn ang="0">
                  <a:pos x="898" y="432"/>
                </a:cxn>
                <a:cxn ang="0">
                  <a:pos x="995" y="495"/>
                </a:cxn>
                <a:cxn ang="0">
                  <a:pos x="1127" y="466"/>
                </a:cxn>
                <a:cxn ang="0">
                  <a:pos x="1203" y="406"/>
                </a:cxn>
                <a:cxn ang="0">
                  <a:pos x="1245" y="381"/>
                </a:cxn>
                <a:cxn ang="0">
                  <a:pos x="1275" y="398"/>
                </a:cxn>
                <a:cxn ang="0">
                  <a:pos x="1195" y="470"/>
                </a:cxn>
                <a:cxn ang="0">
                  <a:pos x="1241" y="495"/>
                </a:cxn>
                <a:cxn ang="0">
                  <a:pos x="1309" y="470"/>
                </a:cxn>
                <a:cxn ang="0">
                  <a:pos x="1436" y="546"/>
                </a:cxn>
                <a:cxn ang="0">
                  <a:pos x="1250" y="609"/>
                </a:cxn>
              </a:cxnLst>
              <a:rect l="0" t="0" r="r" b="b"/>
              <a:pathLst>
                <a:path w="1437" h="936">
                  <a:moveTo>
                    <a:pt x="1250" y="609"/>
                  </a:moveTo>
                  <a:lnTo>
                    <a:pt x="1220" y="609"/>
                  </a:lnTo>
                  <a:lnTo>
                    <a:pt x="1207" y="576"/>
                  </a:lnTo>
                  <a:lnTo>
                    <a:pt x="1233" y="554"/>
                  </a:lnTo>
                  <a:lnTo>
                    <a:pt x="1224" y="520"/>
                  </a:lnTo>
                  <a:lnTo>
                    <a:pt x="1211" y="520"/>
                  </a:lnTo>
                  <a:lnTo>
                    <a:pt x="1152" y="563"/>
                  </a:lnTo>
                  <a:lnTo>
                    <a:pt x="1123" y="559"/>
                  </a:lnTo>
                  <a:lnTo>
                    <a:pt x="1110" y="580"/>
                  </a:lnTo>
                  <a:lnTo>
                    <a:pt x="1110" y="614"/>
                  </a:lnTo>
                  <a:lnTo>
                    <a:pt x="1067" y="631"/>
                  </a:lnTo>
                  <a:lnTo>
                    <a:pt x="1050" y="677"/>
                  </a:lnTo>
                  <a:lnTo>
                    <a:pt x="970" y="681"/>
                  </a:lnTo>
                  <a:lnTo>
                    <a:pt x="953" y="707"/>
                  </a:lnTo>
                  <a:lnTo>
                    <a:pt x="978" y="736"/>
                  </a:lnTo>
                  <a:lnTo>
                    <a:pt x="1012" y="745"/>
                  </a:lnTo>
                  <a:lnTo>
                    <a:pt x="1008" y="779"/>
                  </a:lnTo>
                  <a:lnTo>
                    <a:pt x="1034" y="834"/>
                  </a:lnTo>
                  <a:lnTo>
                    <a:pt x="995" y="893"/>
                  </a:lnTo>
                  <a:lnTo>
                    <a:pt x="970" y="935"/>
                  </a:lnTo>
                  <a:lnTo>
                    <a:pt x="881" y="918"/>
                  </a:lnTo>
                  <a:lnTo>
                    <a:pt x="881" y="876"/>
                  </a:lnTo>
                  <a:lnTo>
                    <a:pt x="894" y="851"/>
                  </a:lnTo>
                  <a:lnTo>
                    <a:pt x="830" y="817"/>
                  </a:lnTo>
                  <a:lnTo>
                    <a:pt x="796" y="821"/>
                  </a:lnTo>
                  <a:lnTo>
                    <a:pt x="724" y="758"/>
                  </a:lnTo>
                  <a:lnTo>
                    <a:pt x="678" y="741"/>
                  </a:lnTo>
                  <a:lnTo>
                    <a:pt x="635" y="698"/>
                  </a:lnTo>
                  <a:lnTo>
                    <a:pt x="559" y="652"/>
                  </a:lnTo>
                  <a:lnTo>
                    <a:pt x="496" y="512"/>
                  </a:lnTo>
                  <a:lnTo>
                    <a:pt x="470" y="487"/>
                  </a:lnTo>
                  <a:lnTo>
                    <a:pt x="445" y="508"/>
                  </a:lnTo>
                  <a:lnTo>
                    <a:pt x="347" y="487"/>
                  </a:lnTo>
                  <a:lnTo>
                    <a:pt x="343" y="440"/>
                  </a:lnTo>
                  <a:lnTo>
                    <a:pt x="356" y="436"/>
                  </a:lnTo>
                  <a:lnTo>
                    <a:pt x="335" y="419"/>
                  </a:lnTo>
                  <a:lnTo>
                    <a:pt x="330" y="385"/>
                  </a:lnTo>
                  <a:lnTo>
                    <a:pt x="279" y="381"/>
                  </a:lnTo>
                  <a:lnTo>
                    <a:pt x="220" y="326"/>
                  </a:lnTo>
                  <a:lnTo>
                    <a:pt x="207" y="343"/>
                  </a:lnTo>
                  <a:lnTo>
                    <a:pt x="186" y="347"/>
                  </a:lnTo>
                  <a:lnTo>
                    <a:pt x="207" y="377"/>
                  </a:lnTo>
                  <a:lnTo>
                    <a:pt x="174" y="360"/>
                  </a:lnTo>
                  <a:lnTo>
                    <a:pt x="161" y="389"/>
                  </a:lnTo>
                  <a:lnTo>
                    <a:pt x="110" y="398"/>
                  </a:lnTo>
                  <a:lnTo>
                    <a:pt x="89" y="423"/>
                  </a:lnTo>
                  <a:lnTo>
                    <a:pt x="97" y="491"/>
                  </a:lnTo>
                  <a:lnTo>
                    <a:pt x="85" y="499"/>
                  </a:lnTo>
                  <a:lnTo>
                    <a:pt x="4" y="487"/>
                  </a:lnTo>
                  <a:lnTo>
                    <a:pt x="0" y="72"/>
                  </a:lnTo>
                  <a:lnTo>
                    <a:pt x="216" y="0"/>
                  </a:lnTo>
                  <a:lnTo>
                    <a:pt x="262" y="21"/>
                  </a:lnTo>
                  <a:lnTo>
                    <a:pt x="343" y="81"/>
                  </a:lnTo>
                  <a:lnTo>
                    <a:pt x="508" y="246"/>
                  </a:lnTo>
                  <a:lnTo>
                    <a:pt x="750" y="216"/>
                  </a:lnTo>
                  <a:lnTo>
                    <a:pt x="809" y="263"/>
                  </a:lnTo>
                  <a:lnTo>
                    <a:pt x="834" y="313"/>
                  </a:lnTo>
                  <a:lnTo>
                    <a:pt x="856" y="313"/>
                  </a:lnTo>
                  <a:lnTo>
                    <a:pt x="847" y="423"/>
                  </a:lnTo>
                  <a:lnTo>
                    <a:pt x="898" y="432"/>
                  </a:lnTo>
                  <a:lnTo>
                    <a:pt x="911" y="504"/>
                  </a:lnTo>
                  <a:lnTo>
                    <a:pt x="995" y="495"/>
                  </a:lnTo>
                  <a:lnTo>
                    <a:pt x="1067" y="520"/>
                  </a:lnTo>
                  <a:lnTo>
                    <a:pt x="1127" y="466"/>
                  </a:lnTo>
                  <a:lnTo>
                    <a:pt x="1182" y="436"/>
                  </a:lnTo>
                  <a:lnTo>
                    <a:pt x="1203" y="406"/>
                  </a:lnTo>
                  <a:lnTo>
                    <a:pt x="1224" y="406"/>
                  </a:lnTo>
                  <a:lnTo>
                    <a:pt x="1245" y="381"/>
                  </a:lnTo>
                  <a:lnTo>
                    <a:pt x="1271" y="385"/>
                  </a:lnTo>
                  <a:lnTo>
                    <a:pt x="1275" y="398"/>
                  </a:lnTo>
                  <a:lnTo>
                    <a:pt x="1195" y="457"/>
                  </a:lnTo>
                  <a:lnTo>
                    <a:pt x="1195" y="470"/>
                  </a:lnTo>
                  <a:lnTo>
                    <a:pt x="1224" y="474"/>
                  </a:lnTo>
                  <a:lnTo>
                    <a:pt x="1241" y="495"/>
                  </a:lnTo>
                  <a:lnTo>
                    <a:pt x="1288" y="512"/>
                  </a:lnTo>
                  <a:lnTo>
                    <a:pt x="1309" y="470"/>
                  </a:lnTo>
                  <a:lnTo>
                    <a:pt x="1355" y="520"/>
                  </a:lnTo>
                  <a:lnTo>
                    <a:pt x="1436" y="546"/>
                  </a:lnTo>
                  <a:lnTo>
                    <a:pt x="1330" y="609"/>
                  </a:lnTo>
                  <a:lnTo>
                    <a:pt x="1250" y="60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2" name="Freeform 737"/>
            <p:cNvSpPr>
              <a:spLocks noChangeArrowheads="1"/>
            </p:cNvSpPr>
            <p:nvPr/>
          </p:nvSpPr>
          <p:spPr bwMode="auto">
            <a:xfrm>
              <a:off x="5924550" y="2200275"/>
              <a:ext cx="517525" cy="336550"/>
            </a:xfrm>
            <a:custGeom>
              <a:avLst/>
              <a:gdLst/>
              <a:ahLst/>
              <a:cxnLst>
                <a:cxn ang="0">
                  <a:pos x="1220" y="609"/>
                </a:cxn>
                <a:cxn ang="0">
                  <a:pos x="1233" y="554"/>
                </a:cxn>
                <a:cxn ang="0">
                  <a:pos x="1211" y="520"/>
                </a:cxn>
                <a:cxn ang="0">
                  <a:pos x="1123" y="559"/>
                </a:cxn>
                <a:cxn ang="0">
                  <a:pos x="1110" y="614"/>
                </a:cxn>
                <a:cxn ang="0">
                  <a:pos x="1050" y="677"/>
                </a:cxn>
                <a:cxn ang="0">
                  <a:pos x="953" y="707"/>
                </a:cxn>
                <a:cxn ang="0">
                  <a:pos x="1012" y="745"/>
                </a:cxn>
                <a:cxn ang="0">
                  <a:pos x="1034" y="834"/>
                </a:cxn>
                <a:cxn ang="0">
                  <a:pos x="970" y="935"/>
                </a:cxn>
                <a:cxn ang="0">
                  <a:pos x="881" y="876"/>
                </a:cxn>
                <a:cxn ang="0">
                  <a:pos x="830" y="817"/>
                </a:cxn>
                <a:cxn ang="0">
                  <a:pos x="724" y="758"/>
                </a:cxn>
                <a:cxn ang="0">
                  <a:pos x="635" y="698"/>
                </a:cxn>
                <a:cxn ang="0">
                  <a:pos x="496" y="512"/>
                </a:cxn>
                <a:cxn ang="0">
                  <a:pos x="445" y="508"/>
                </a:cxn>
                <a:cxn ang="0">
                  <a:pos x="343" y="440"/>
                </a:cxn>
                <a:cxn ang="0">
                  <a:pos x="335" y="419"/>
                </a:cxn>
                <a:cxn ang="0">
                  <a:pos x="279" y="381"/>
                </a:cxn>
                <a:cxn ang="0">
                  <a:pos x="207" y="343"/>
                </a:cxn>
                <a:cxn ang="0">
                  <a:pos x="207" y="377"/>
                </a:cxn>
                <a:cxn ang="0">
                  <a:pos x="161" y="389"/>
                </a:cxn>
                <a:cxn ang="0">
                  <a:pos x="89" y="423"/>
                </a:cxn>
                <a:cxn ang="0">
                  <a:pos x="85" y="499"/>
                </a:cxn>
                <a:cxn ang="0">
                  <a:pos x="0" y="72"/>
                </a:cxn>
                <a:cxn ang="0">
                  <a:pos x="262" y="21"/>
                </a:cxn>
                <a:cxn ang="0">
                  <a:pos x="508" y="246"/>
                </a:cxn>
                <a:cxn ang="0">
                  <a:pos x="809" y="263"/>
                </a:cxn>
                <a:cxn ang="0">
                  <a:pos x="856" y="313"/>
                </a:cxn>
                <a:cxn ang="0">
                  <a:pos x="898" y="432"/>
                </a:cxn>
                <a:cxn ang="0">
                  <a:pos x="995" y="495"/>
                </a:cxn>
                <a:cxn ang="0">
                  <a:pos x="1127" y="466"/>
                </a:cxn>
                <a:cxn ang="0">
                  <a:pos x="1203" y="406"/>
                </a:cxn>
                <a:cxn ang="0">
                  <a:pos x="1245" y="381"/>
                </a:cxn>
                <a:cxn ang="0">
                  <a:pos x="1275" y="398"/>
                </a:cxn>
                <a:cxn ang="0">
                  <a:pos x="1195" y="470"/>
                </a:cxn>
                <a:cxn ang="0">
                  <a:pos x="1241" y="495"/>
                </a:cxn>
                <a:cxn ang="0">
                  <a:pos x="1309" y="470"/>
                </a:cxn>
                <a:cxn ang="0">
                  <a:pos x="1436" y="546"/>
                </a:cxn>
                <a:cxn ang="0">
                  <a:pos x="1250" y="609"/>
                </a:cxn>
              </a:cxnLst>
              <a:rect l="0" t="0" r="r" b="b"/>
              <a:pathLst>
                <a:path w="1437" h="936">
                  <a:moveTo>
                    <a:pt x="1250" y="609"/>
                  </a:moveTo>
                  <a:lnTo>
                    <a:pt x="1220" y="609"/>
                  </a:lnTo>
                  <a:lnTo>
                    <a:pt x="1207" y="576"/>
                  </a:lnTo>
                  <a:lnTo>
                    <a:pt x="1233" y="554"/>
                  </a:lnTo>
                  <a:lnTo>
                    <a:pt x="1224" y="520"/>
                  </a:lnTo>
                  <a:lnTo>
                    <a:pt x="1211" y="520"/>
                  </a:lnTo>
                  <a:lnTo>
                    <a:pt x="1152" y="563"/>
                  </a:lnTo>
                  <a:lnTo>
                    <a:pt x="1123" y="559"/>
                  </a:lnTo>
                  <a:lnTo>
                    <a:pt x="1110" y="580"/>
                  </a:lnTo>
                  <a:lnTo>
                    <a:pt x="1110" y="614"/>
                  </a:lnTo>
                  <a:lnTo>
                    <a:pt x="1067" y="631"/>
                  </a:lnTo>
                  <a:lnTo>
                    <a:pt x="1050" y="677"/>
                  </a:lnTo>
                  <a:lnTo>
                    <a:pt x="970" y="681"/>
                  </a:lnTo>
                  <a:lnTo>
                    <a:pt x="953" y="707"/>
                  </a:lnTo>
                  <a:lnTo>
                    <a:pt x="978" y="736"/>
                  </a:lnTo>
                  <a:lnTo>
                    <a:pt x="1012" y="745"/>
                  </a:lnTo>
                  <a:lnTo>
                    <a:pt x="1008" y="779"/>
                  </a:lnTo>
                  <a:lnTo>
                    <a:pt x="1034" y="834"/>
                  </a:lnTo>
                  <a:lnTo>
                    <a:pt x="995" y="893"/>
                  </a:lnTo>
                  <a:lnTo>
                    <a:pt x="970" y="935"/>
                  </a:lnTo>
                  <a:lnTo>
                    <a:pt x="881" y="918"/>
                  </a:lnTo>
                  <a:lnTo>
                    <a:pt x="881" y="876"/>
                  </a:lnTo>
                  <a:lnTo>
                    <a:pt x="894" y="851"/>
                  </a:lnTo>
                  <a:lnTo>
                    <a:pt x="830" y="817"/>
                  </a:lnTo>
                  <a:lnTo>
                    <a:pt x="796" y="821"/>
                  </a:lnTo>
                  <a:lnTo>
                    <a:pt x="724" y="758"/>
                  </a:lnTo>
                  <a:lnTo>
                    <a:pt x="678" y="741"/>
                  </a:lnTo>
                  <a:lnTo>
                    <a:pt x="635" y="698"/>
                  </a:lnTo>
                  <a:lnTo>
                    <a:pt x="559" y="652"/>
                  </a:lnTo>
                  <a:lnTo>
                    <a:pt x="496" y="512"/>
                  </a:lnTo>
                  <a:lnTo>
                    <a:pt x="470" y="487"/>
                  </a:lnTo>
                  <a:lnTo>
                    <a:pt x="445" y="508"/>
                  </a:lnTo>
                  <a:lnTo>
                    <a:pt x="347" y="487"/>
                  </a:lnTo>
                  <a:lnTo>
                    <a:pt x="343" y="440"/>
                  </a:lnTo>
                  <a:lnTo>
                    <a:pt x="356" y="436"/>
                  </a:lnTo>
                  <a:lnTo>
                    <a:pt x="335" y="419"/>
                  </a:lnTo>
                  <a:lnTo>
                    <a:pt x="330" y="385"/>
                  </a:lnTo>
                  <a:lnTo>
                    <a:pt x="279" y="381"/>
                  </a:lnTo>
                  <a:lnTo>
                    <a:pt x="220" y="326"/>
                  </a:lnTo>
                  <a:lnTo>
                    <a:pt x="207" y="343"/>
                  </a:lnTo>
                  <a:lnTo>
                    <a:pt x="186" y="347"/>
                  </a:lnTo>
                  <a:lnTo>
                    <a:pt x="207" y="377"/>
                  </a:lnTo>
                  <a:lnTo>
                    <a:pt x="174" y="360"/>
                  </a:lnTo>
                  <a:lnTo>
                    <a:pt x="161" y="389"/>
                  </a:lnTo>
                  <a:lnTo>
                    <a:pt x="110" y="398"/>
                  </a:lnTo>
                  <a:lnTo>
                    <a:pt x="89" y="423"/>
                  </a:lnTo>
                  <a:lnTo>
                    <a:pt x="97" y="491"/>
                  </a:lnTo>
                  <a:lnTo>
                    <a:pt x="85" y="499"/>
                  </a:lnTo>
                  <a:lnTo>
                    <a:pt x="4" y="487"/>
                  </a:lnTo>
                  <a:lnTo>
                    <a:pt x="0" y="72"/>
                  </a:lnTo>
                  <a:lnTo>
                    <a:pt x="216" y="0"/>
                  </a:lnTo>
                  <a:lnTo>
                    <a:pt x="262" y="21"/>
                  </a:lnTo>
                  <a:lnTo>
                    <a:pt x="343" y="81"/>
                  </a:lnTo>
                  <a:lnTo>
                    <a:pt x="508" y="246"/>
                  </a:lnTo>
                  <a:lnTo>
                    <a:pt x="750" y="216"/>
                  </a:lnTo>
                  <a:lnTo>
                    <a:pt x="809" y="263"/>
                  </a:lnTo>
                  <a:lnTo>
                    <a:pt x="834" y="313"/>
                  </a:lnTo>
                  <a:lnTo>
                    <a:pt x="856" y="313"/>
                  </a:lnTo>
                  <a:lnTo>
                    <a:pt x="847" y="423"/>
                  </a:lnTo>
                  <a:lnTo>
                    <a:pt x="898" y="432"/>
                  </a:lnTo>
                  <a:lnTo>
                    <a:pt x="911" y="504"/>
                  </a:lnTo>
                  <a:lnTo>
                    <a:pt x="995" y="495"/>
                  </a:lnTo>
                  <a:lnTo>
                    <a:pt x="1067" y="520"/>
                  </a:lnTo>
                  <a:lnTo>
                    <a:pt x="1127" y="466"/>
                  </a:lnTo>
                  <a:lnTo>
                    <a:pt x="1182" y="436"/>
                  </a:lnTo>
                  <a:lnTo>
                    <a:pt x="1203" y="406"/>
                  </a:lnTo>
                  <a:lnTo>
                    <a:pt x="1224" y="406"/>
                  </a:lnTo>
                  <a:lnTo>
                    <a:pt x="1245" y="381"/>
                  </a:lnTo>
                  <a:lnTo>
                    <a:pt x="1271" y="385"/>
                  </a:lnTo>
                  <a:lnTo>
                    <a:pt x="1275" y="398"/>
                  </a:lnTo>
                  <a:lnTo>
                    <a:pt x="1195" y="457"/>
                  </a:lnTo>
                  <a:lnTo>
                    <a:pt x="1195" y="470"/>
                  </a:lnTo>
                  <a:lnTo>
                    <a:pt x="1224" y="474"/>
                  </a:lnTo>
                  <a:lnTo>
                    <a:pt x="1241" y="495"/>
                  </a:lnTo>
                  <a:lnTo>
                    <a:pt x="1288" y="512"/>
                  </a:lnTo>
                  <a:lnTo>
                    <a:pt x="1309" y="470"/>
                  </a:lnTo>
                  <a:lnTo>
                    <a:pt x="1355" y="520"/>
                  </a:lnTo>
                  <a:lnTo>
                    <a:pt x="1436" y="546"/>
                  </a:lnTo>
                  <a:lnTo>
                    <a:pt x="1330" y="609"/>
                  </a:lnTo>
                  <a:lnTo>
                    <a:pt x="1250" y="60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3" name="Freeform 738"/>
            <p:cNvSpPr>
              <a:spLocks noChangeArrowheads="1"/>
            </p:cNvSpPr>
            <p:nvPr/>
          </p:nvSpPr>
          <p:spPr bwMode="auto">
            <a:xfrm>
              <a:off x="5924550" y="2200275"/>
              <a:ext cx="517525" cy="336550"/>
            </a:xfrm>
            <a:custGeom>
              <a:avLst/>
              <a:gdLst/>
              <a:ahLst/>
              <a:cxnLst>
                <a:cxn ang="0">
                  <a:pos x="1207" y="576"/>
                </a:cxn>
                <a:cxn ang="0">
                  <a:pos x="1224" y="520"/>
                </a:cxn>
                <a:cxn ang="0">
                  <a:pos x="1152" y="563"/>
                </a:cxn>
                <a:cxn ang="0">
                  <a:pos x="1110" y="580"/>
                </a:cxn>
                <a:cxn ang="0">
                  <a:pos x="1067" y="631"/>
                </a:cxn>
                <a:cxn ang="0">
                  <a:pos x="970" y="681"/>
                </a:cxn>
                <a:cxn ang="0">
                  <a:pos x="978" y="736"/>
                </a:cxn>
                <a:cxn ang="0">
                  <a:pos x="1008" y="779"/>
                </a:cxn>
                <a:cxn ang="0">
                  <a:pos x="995" y="893"/>
                </a:cxn>
                <a:cxn ang="0">
                  <a:pos x="881" y="918"/>
                </a:cxn>
                <a:cxn ang="0">
                  <a:pos x="894" y="851"/>
                </a:cxn>
                <a:cxn ang="0">
                  <a:pos x="796" y="821"/>
                </a:cxn>
                <a:cxn ang="0">
                  <a:pos x="678" y="741"/>
                </a:cxn>
                <a:cxn ang="0">
                  <a:pos x="559" y="652"/>
                </a:cxn>
                <a:cxn ang="0">
                  <a:pos x="470" y="487"/>
                </a:cxn>
                <a:cxn ang="0">
                  <a:pos x="347" y="487"/>
                </a:cxn>
                <a:cxn ang="0">
                  <a:pos x="356" y="436"/>
                </a:cxn>
                <a:cxn ang="0">
                  <a:pos x="330" y="385"/>
                </a:cxn>
                <a:cxn ang="0">
                  <a:pos x="220" y="326"/>
                </a:cxn>
                <a:cxn ang="0">
                  <a:pos x="186" y="347"/>
                </a:cxn>
                <a:cxn ang="0">
                  <a:pos x="174" y="360"/>
                </a:cxn>
                <a:cxn ang="0">
                  <a:pos x="110" y="398"/>
                </a:cxn>
                <a:cxn ang="0">
                  <a:pos x="97" y="491"/>
                </a:cxn>
                <a:cxn ang="0">
                  <a:pos x="4" y="487"/>
                </a:cxn>
                <a:cxn ang="0">
                  <a:pos x="216" y="0"/>
                </a:cxn>
                <a:cxn ang="0">
                  <a:pos x="343" y="81"/>
                </a:cxn>
                <a:cxn ang="0">
                  <a:pos x="750" y="216"/>
                </a:cxn>
                <a:cxn ang="0">
                  <a:pos x="834" y="313"/>
                </a:cxn>
                <a:cxn ang="0">
                  <a:pos x="847" y="423"/>
                </a:cxn>
                <a:cxn ang="0">
                  <a:pos x="911" y="504"/>
                </a:cxn>
                <a:cxn ang="0">
                  <a:pos x="1067" y="520"/>
                </a:cxn>
                <a:cxn ang="0">
                  <a:pos x="1182" y="436"/>
                </a:cxn>
                <a:cxn ang="0">
                  <a:pos x="1224" y="406"/>
                </a:cxn>
                <a:cxn ang="0">
                  <a:pos x="1271" y="385"/>
                </a:cxn>
                <a:cxn ang="0">
                  <a:pos x="1195" y="457"/>
                </a:cxn>
                <a:cxn ang="0">
                  <a:pos x="1224" y="474"/>
                </a:cxn>
                <a:cxn ang="0">
                  <a:pos x="1288" y="512"/>
                </a:cxn>
                <a:cxn ang="0">
                  <a:pos x="1355" y="520"/>
                </a:cxn>
                <a:cxn ang="0">
                  <a:pos x="1330" y="609"/>
                </a:cxn>
                <a:cxn ang="0">
                  <a:pos x="1220" y="609"/>
                </a:cxn>
              </a:cxnLst>
              <a:rect l="0" t="0" r="r" b="b"/>
              <a:pathLst>
                <a:path w="1437" h="936">
                  <a:moveTo>
                    <a:pt x="1220" y="609"/>
                  </a:moveTo>
                  <a:lnTo>
                    <a:pt x="1207" y="576"/>
                  </a:lnTo>
                  <a:lnTo>
                    <a:pt x="1233" y="554"/>
                  </a:lnTo>
                  <a:lnTo>
                    <a:pt x="1224" y="520"/>
                  </a:lnTo>
                  <a:lnTo>
                    <a:pt x="1211" y="520"/>
                  </a:lnTo>
                  <a:lnTo>
                    <a:pt x="1152" y="563"/>
                  </a:lnTo>
                  <a:lnTo>
                    <a:pt x="1123" y="559"/>
                  </a:lnTo>
                  <a:lnTo>
                    <a:pt x="1110" y="580"/>
                  </a:lnTo>
                  <a:lnTo>
                    <a:pt x="1110" y="614"/>
                  </a:lnTo>
                  <a:lnTo>
                    <a:pt x="1067" y="631"/>
                  </a:lnTo>
                  <a:lnTo>
                    <a:pt x="1050" y="677"/>
                  </a:lnTo>
                  <a:lnTo>
                    <a:pt x="970" y="681"/>
                  </a:lnTo>
                  <a:lnTo>
                    <a:pt x="953" y="707"/>
                  </a:lnTo>
                  <a:lnTo>
                    <a:pt x="978" y="736"/>
                  </a:lnTo>
                  <a:lnTo>
                    <a:pt x="1012" y="745"/>
                  </a:lnTo>
                  <a:lnTo>
                    <a:pt x="1008" y="779"/>
                  </a:lnTo>
                  <a:lnTo>
                    <a:pt x="1034" y="834"/>
                  </a:lnTo>
                  <a:lnTo>
                    <a:pt x="995" y="893"/>
                  </a:lnTo>
                  <a:lnTo>
                    <a:pt x="970" y="935"/>
                  </a:lnTo>
                  <a:lnTo>
                    <a:pt x="881" y="918"/>
                  </a:lnTo>
                  <a:lnTo>
                    <a:pt x="881" y="876"/>
                  </a:lnTo>
                  <a:lnTo>
                    <a:pt x="894" y="851"/>
                  </a:lnTo>
                  <a:lnTo>
                    <a:pt x="830" y="817"/>
                  </a:lnTo>
                  <a:lnTo>
                    <a:pt x="796" y="821"/>
                  </a:lnTo>
                  <a:lnTo>
                    <a:pt x="724" y="758"/>
                  </a:lnTo>
                  <a:lnTo>
                    <a:pt x="678" y="741"/>
                  </a:lnTo>
                  <a:lnTo>
                    <a:pt x="635" y="698"/>
                  </a:lnTo>
                  <a:lnTo>
                    <a:pt x="559" y="652"/>
                  </a:lnTo>
                  <a:lnTo>
                    <a:pt x="496" y="512"/>
                  </a:lnTo>
                  <a:lnTo>
                    <a:pt x="470" y="487"/>
                  </a:lnTo>
                  <a:lnTo>
                    <a:pt x="445" y="508"/>
                  </a:lnTo>
                  <a:lnTo>
                    <a:pt x="347" y="487"/>
                  </a:lnTo>
                  <a:lnTo>
                    <a:pt x="343" y="440"/>
                  </a:lnTo>
                  <a:lnTo>
                    <a:pt x="356" y="436"/>
                  </a:lnTo>
                  <a:lnTo>
                    <a:pt x="335" y="419"/>
                  </a:lnTo>
                  <a:lnTo>
                    <a:pt x="330" y="385"/>
                  </a:lnTo>
                  <a:lnTo>
                    <a:pt x="279" y="381"/>
                  </a:lnTo>
                  <a:lnTo>
                    <a:pt x="220" y="326"/>
                  </a:lnTo>
                  <a:lnTo>
                    <a:pt x="207" y="343"/>
                  </a:lnTo>
                  <a:lnTo>
                    <a:pt x="186" y="347"/>
                  </a:lnTo>
                  <a:lnTo>
                    <a:pt x="207" y="377"/>
                  </a:lnTo>
                  <a:lnTo>
                    <a:pt x="174" y="360"/>
                  </a:lnTo>
                  <a:lnTo>
                    <a:pt x="161" y="389"/>
                  </a:lnTo>
                  <a:lnTo>
                    <a:pt x="110" y="398"/>
                  </a:lnTo>
                  <a:lnTo>
                    <a:pt x="89" y="423"/>
                  </a:lnTo>
                  <a:lnTo>
                    <a:pt x="97" y="491"/>
                  </a:lnTo>
                  <a:lnTo>
                    <a:pt x="85" y="499"/>
                  </a:lnTo>
                  <a:lnTo>
                    <a:pt x="4" y="487"/>
                  </a:lnTo>
                  <a:lnTo>
                    <a:pt x="0" y="72"/>
                  </a:lnTo>
                  <a:lnTo>
                    <a:pt x="216" y="0"/>
                  </a:lnTo>
                  <a:lnTo>
                    <a:pt x="262" y="21"/>
                  </a:lnTo>
                  <a:lnTo>
                    <a:pt x="343" y="81"/>
                  </a:lnTo>
                  <a:lnTo>
                    <a:pt x="508" y="246"/>
                  </a:lnTo>
                  <a:lnTo>
                    <a:pt x="750" y="216"/>
                  </a:lnTo>
                  <a:lnTo>
                    <a:pt x="809" y="263"/>
                  </a:lnTo>
                  <a:lnTo>
                    <a:pt x="834" y="313"/>
                  </a:lnTo>
                  <a:lnTo>
                    <a:pt x="856" y="313"/>
                  </a:lnTo>
                  <a:lnTo>
                    <a:pt x="847" y="423"/>
                  </a:lnTo>
                  <a:lnTo>
                    <a:pt x="898" y="432"/>
                  </a:lnTo>
                  <a:lnTo>
                    <a:pt x="911" y="504"/>
                  </a:lnTo>
                  <a:lnTo>
                    <a:pt x="995" y="495"/>
                  </a:lnTo>
                  <a:lnTo>
                    <a:pt x="1067" y="520"/>
                  </a:lnTo>
                  <a:lnTo>
                    <a:pt x="1127" y="466"/>
                  </a:lnTo>
                  <a:lnTo>
                    <a:pt x="1182" y="436"/>
                  </a:lnTo>
                  <a:lnTo>
                    <a:pt x="1203" y="406"/>
                  </a:lnTo>
                  <a:lnTo>
                    <a:pt x="1224" y="406"/>
                  </a:lnTo>
                  <a:lnTo>
                    <a:pt x="1245" y="381"/>
                  </a:lnTo>
                  <a:lnTo>
                    <a:pt x="1271" y="385"/>
                  </a:lnTo>
                  <a:lnTo>
                    <a:pt x="1275" y="398"/>
                  </a:lnTo>
                  <a:lnTo>
                    <a:pt x="1195" y="457"/>
                  </a:lnTo>
                  <a:lnTo>
                    <a:pt x="1195" y="470"/>
                  </a:lnTo>
                  <a:lnTo>
                    <a:pt x="1224" y="474"/>
                  </a:lnTo>
                  <a:lnTo>
                    <a:pt x="1241" y="495"/>
                  </a:lnTo>
                  <a:lnTo>
                    <a:pt x="1288" y="512"/>
                  </a:lnTo>
                  <a:lnTo>
                    <a:pt x="1309" y="470"/>
                  </a:lnTo>
                  <a:lnTo>
                    <a:pt x="1355" y="520"/>
                  </a:lnTo>
                  <a:lnTo>
                    <a:pt x="1436" y="546"/>
                  </a:lnTo>
                  <a:lnTo>
                    <a:pt x="1330" y="609"/>
                  </a:lnTo>
                  <a:lnTo>
                    <a:pt x="1250" y="609"/>
                  </a:lnTo>
                  <a:lnTo>
                    <a:pt x="1220" y="609"/>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4" name="Freeform 739"/>
            <p:cNvSpPr>
              <a:spLocks noChangeArrowheads="1"/>
            </p:cNvSpPr>
            <p:nvPr/>
          </p:nvSpPr>
          <p:spPr bwMode="auto">
            <a:xfrm>
              <a:off x="5924550" y="2200275"/>
              <a:ext cx="517525" cy="336550"/>
            </a:xfrm>
            <a:custGeom>
              <a:avLst/>
              <a:gdLst/>
              <a:ahLst/>
              <a:cxnLst>
                <a:cxn ang="0">
                  <a:pos x="1220" y="609"/>
                </a:cxn>
                <a:cxn ang="0">
                  <a:pos x="1233" y="554"/>
                </a:cxn>
                <a:cxn ang="0">
                  <a:pos x="1211" y="520"/>
                </a:cxn>
                <a:cxn ang="0">
                  <a:pos x="1123" y="559"/>
                </a:cxn>
                <a:cxn ang="0">
                  <a:pos x="1110" y="614"/>
                </a:cxn>
                <a:cxn ang="0">
                  <a:pos x="1050" y="677"/>
                </a:cxn>
                <a:cxn ang="0">
                  <a:pos x="953" y="707"/>
                </a:cxn>
                <a:cxn ang="0">
                  <a:pos x="1012" y="745"/>
                </a:cxn>
                <a:cxn ang="0">
                  <a:pos x="1034" y="834"/>
                </a:cxn>
                <a:cxn ang="0">
                  <a:pos x="970" y="935"/>
                </a:cxn>
                <a:cxn ang="0">
                  <a:pos x="881" y="876"/>
                </a:cxn>
                <a:cxn ang="0">
                  <a:pos x="830" y="817"/>
                </a:cxn>
                <a:cxn ang="0">
                  <a:pos x="724" y="758"/>
                </a:cxn>
                <a:cxn ang="0">
                  <a:pos x="635" y="698"/>
                </a:cxn>
                <a:cxn ang="0">
                  <a:pos x="496" y="512"/>
                </a:cxn>
                <a:cxn ang="0">
                  <a:pos x="445" y="508"/>
                </a:cxn>
                <a:cxn ang="0">
                  <a:pos x="343" y="440"/>
                </a:cxn>
                <a:cxn ang="0">
                  <a:pos x="335" y="419"/>
                </a:cxn>
                <a:cxn ang="0">
                  <a:pos x="279" y="381"/>
                </a:cxn>
                <a:cxn ang="0">
                  <a:pos x="207" y="343"/>
                </a:cxn>
                <a:cxn ang="0">
                  <a:pos x="207" y="377"/>
                </a:cxn>
                <a:cxn ang="0">
                  <a:pos x="161" y="389"/>
                </a:cxn>
                <a:cxn ang="0">
                  <a:pos x="89" y="423"/>
                </a:cxn>
                <a:cxn ang="0">
                  <a:pos x="85" y="499"/>
                </a:cxn>
                <a:cxn ang="0">
                  <a:pos x="0" y="72"/>
                </a:cxn>
                <a:cxn ang="0">
                  <a:pos x="262" y="21"/>
                </a:cxn>
                <a:cxn ang="0">
                  <a:pos x="508" y="246"/>
                </a:cxn>
                <a:cxn ang="0">
                  <a:pos x="809" y="263"/>
                </a:cxn>
                <a:cxn ang="0">
                  <a:pos x="856" y="313"/>
                </a:cxn>
                <a:cxn ang="0">
                  <a:pos x="898" y="432"/>
                </a:cxn>
                <a:cxn ang="0">
                  <a:pos x="995" y="495"/>
                </a:cxn>
                <a:cxn ang="0">
                  <a:pos x="1127" y="466"/>
                </a:cxn>
                <a:cxn ang="0">
                  <a:pos x="1203" y="406"/>
                </a:cxn>
                <a:cxn ang="0">
                  <a:pos x="1245" y="381"/>
                </a:cxn>
                <a:cxn ang="0">
                  <a:pos x="1275" y="398"/>
                </a:cxn>
                <a:cxn ang="0">
                  <a:pos x="1195" y="470"/>
                </a:cxn>
                <a:cxn ang="0">
                  <a:pos x="1241" y="495"/>
                </a:cxn>
                <a:cxn ang="0">
                  <a:pos x="1309" y="470"/>
                </a:cxn>
                <a:cxn ang="0">
                  <a:pos x="1436" y="546"/>
                </a:cxn>
                <a:cxn ang="0">
                  <a:pos x="1250" y="609"/>
                </a:cxn>
              </a:cxnLst>
              <a:rect l="0" t="0" r="r" b="b"/>
              <a:pathLst>
                <a:path w="1437" h="936">
                  <a:moveTo>
                    <a:pt x="1250" y="609"/>
                  </a:moveTo>
                  <a:lnTo>
                    <a:pt x="1220" y="609"/>
                  </a:lnTo>
                  <a:lnTo>
                    <a:pt x="1207" y="576"/>
                  </a:lnTo>
                  <a:lnTo>
                    <a:pt x="1233" y="554"/>
                  </a:lnTo>
                  <a:lnTo>
                    <a:pt x="1224" y="520"/>
                  </a:lnTo>
                  <a:lnTo>
                    <a:pt x="1211" y="520"/>
                  </a:lnTo>
                  <a:lnTo>
                    <a:pt x="1152" y="563"/>
                  </a:lnTo>
                  <a:lnTo>
                    <a:pt x="1123" y="559"/>
                  </a:lnTo>
                  <a:lnTo>
                    <a:pt x="1110" y="580"/>
                  </a:lnTo>
                  <a:lnTo>
                    <a:pt x="1110" y="614"/>
                  </a:lnTo>
                  <a:lnTo>
                    <a:pt x="1067" y="631"/>
                  </a:lnTo>
                  <a:lnTo>
                    <a:pt x="1050" y="677"/>
                  </a:lnTo>
                  <a:lnTo>
                    <a:pt x="970" y="681"/>
                  </a:lnTo>
                  <a:lnTo>
                    <a:pt x="953" y="707"/>
                  </a:lnTo>
                  <a:lnTo>
                    <a:pt x="978" y="736"/>
                  </a:lnTo>
                  <a:lnTo>
                    <a:pt x="1012" y="745"/>
                  </a:lnTo>
                  <a:lnTo>
                    <a:pt x="1008" y="779"/>
                  </a:lnTo>
                  <a:lnTo>
                    <a:pt x="1034" y="834"/>
                  </a:lnTo>
                  <a:lnTo>
                    <a:pt x="995" y="893"/>
                  </a:lnTo>
                  <a:lnTo>
                    <a:pt x="970" y="935"/>
                  </a:lnTo>
                  <a:lnTo>
                    <a:pt x="881" y="918"/>
                  </a:lnTo>
                  <a:lnTo>
                    <a:pt x="881" y="876"/>
                  </a:lnTo>
                  <a:lnTo>
                    <a:pt x="894" y="851"/>
                  </a:lnTo>
                  <a:lnTo>
                    <a:pt x="830" y="817"/>
                  </a:lnTo>
                  <a:lnTo>
                    <a:pt x="796" y="821"/>
                  </a:lnTo>
                  <a:lnTo>
                    <a:pt x="724" y="758"/>
                  </a:lnTo>
                  <a:lnTo>
                    <a:pt x="678" y="741"/>
                  </a:lnTo>
                  <a:lnTo>
                    <a:pt x="635" y="698"/>
                  </a:lnTo>
                  <a:lnTo>
                    <a:pt x="559" y="652"/>
                  </a:lnTo>
                  <a:lnTo>
                    <a:pt x="496" y="512"/>
                  </a:lnTo>
                  <a:lnTo>
                    <a:pt x="470" y="487"/>
                  </a:lnTo>
                  <a:lnTo>
                    <a:pt x="445" y="508"/>
                  </a:lnTo>
                  <a:lnTo>
                    <a:pt x="347" y="487"/>
                  </a:lnTo>
                  <a:lnTo>
                    <a:pt x="343" y="440"/>
                  </a:lnTo>
                  <a:lnTo>
                    <a:pt x="356" y="436"/>
                  </a:lnTo>
                  <a:lnTo>
                    <a:pt x="335" y="419"/>
                  </a:lnTo>
                  <a:lnTo>
                    <a:pt x="330" y="385"/>
                  </a:lnTo>
                  <a:lnTo>
                    <a:pt x="279" y="381"/>
                  </a:lnTo>
                  <a:lnTo>
                    <a:pt x="220" y="326"/>
                  </a:lnTo>
                  <a:lnTo>
                    <a:pt x="207" y="343"/>
                  </a:lnTo>
                  <a:lnTo>
                    <a:pt x="186" y="347"/>
                  </a:lnTo>
                  <a:lnTo>
                    <a:pt x="207" y="377"/>
                  </a:lnTo>
                  <a:lnTo>
                    <a:pt x="174" y="360"/>
                  </a:lnTo>
                  <a:lnTo>
                    <a:pt x="161" y="389"/>
                  </a:lnTo>
                  <a:lnTo>
                    <a:pt x="110" y="398"/>
                  </a:lnTo>
                  <a:lnTo>
                    <a:pt x="89" y="423"/>
                  </a:lnTo>
                  <a:lnTo>
                    <a:pt x="97" y="491"/>
                  </a:lnTo>
                  <a:lnTo>
                    <a:pt x="85" y="499"/>
                  </a:lnTo>
                  <a:lnTo>
                    <a:pt x="4" y="487"/>
                  </a:lnTo>
                  <a:lnTo>
                    <a:pt x="0" y="72"/>
                  </a:lnTo>
                  <a:lnTo>
                    <a:pt x="216" y="0"/>
                  </a:lnTo>
                  <a:lnTo>
                    <a:pt x="262" y="21"/>
                  </a:lnTo>
                  <a:lnTo>
                    <a:pt x="343" y="81"/>
                  </a:lnTo>
                  <a:lnTo>
                    <a:pt x="508" y="246"/>
                  </a:lnTo>
                  <a:lnTo>
                    <a:pt x="750" y="216"/>
                  </a:lnTo>
                  <a:lnTo>
                    <a:pt x="809" y="263"/>
                  </a:lnTo>
                  <a:lnTo>
                    <a:pt x="834" y="313"/>
                  </a:lnTo>
                  <a:lnTo>
                    <a:pt x="856" y="313"/>
                  </a:lnTo>
                  <a:lnTo>
                    <a:pt x="847" y="423"/>
                  </a:lnTo>
                  <a:lnTo>
                    <a:pt x="898" y="432"/>
                  </a:lnTo>
                  <a:lnTo>
                    <a:pt x="911" y="504"/>
                  </a:lnTo>
                  <a:lnTo>
                    <a:pt x="995" y="495"/>
                  </a:lnTo>
                  <a:lnTo>
                    <a:pt x="1067" y="520"/>
                  </a:lnTo>
                  <a:lnTo>
                    <a:pt x="1127" y="466"/>
                  </a:lnTo>
                  <a:lnTo>
                    <a:pt x="1182" y="436"/>
                  </a:lnTo>
                  <a:lnTo>
                    <a:pt x="1203" y="406"/>
                  </a:lnTo>
                  <a:lnTo>
                    <a:pt x="1224" y="406"/>
                  </a:lnTo>
                  <a:lnTo>
                    <a:pt x="1245" y="381"/>
                  </a:lnTo>
                  <a:lnTo>
                    <a:pt x="1271" y="385"/>
                  </a:lnTo>
                  <a:lnTo>
                    <a:pt x="1275" y="398"/>
                  </a:lnTo>
                  <a:lnTo>
                    <a:pt x="1195" y="457"/>
                  </a:lnTo>
                  <a:lnTo>
                    <a:pt x="1195" y="470"/>
                  </a:lnTo>
                  <a:lnTo>
                    <a:pt x="1224" y="474"/>
                  </a:lnTo>
                  <a:lnTo>
                    <a:pt x="1241" y="495"/>
                  </a:lnTo>
                  <a:lnTo>
                    <a:pt x="1288" y="512"/>
                  </a:lnTo>
                  <a:lnTo>
                    <a:pt x="1309" y="470"/>
                  </a:lnTo>
                  <a:lnTo>
                    <a:pt x="1355" y="520"/>
                  </a:lnTo>
                  <a:lnTo>
                    <a:pt x="1436" y="546"/>
                  </a:lnTo>
                  <a:lnTo>
                    <a:pt x="1330" y="609"/>
                  </a:lnTo>
                  <a:lnTo>
                    <a:pt x="1250" y="609"/>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5" name="Freeform 740"/>
            <p:cNvSpPr>
              <a:spLocks noChangeArrowheads="1"/>
            </p:cNvSpPr>
            <p:nvPr/>
          </p:nvSpPr>
          <p:spPr bwMode="auto">
            <a:xfrm>
              <a:off x="5640388" y="1736725"/>
              <a:ext cx="1227137" cy="652463"/>
            </a:xfrm>
            <a:custGeom>
              <a:avLst/>
              <a:gdLst/>
              <a:ahLst/>
              <a:cxnLst>
                <a:cxn ang="0">
                  <a:pos x="1635" y="1710"/>
                </a:cxn>
                <a:cxn ang="0">
                  <a:pos x="1301" y="1537"/>
                </a:cxn>
                <a:cxn ang="0">
                  <a:pos x="802" y="1774"/>
                </a:cxn>
                <a:cxn ang="0">
                  <a:pos x="548" y="1689"/>
                </a:cxn>
                <a:cxn ang="0">
                  <a:pos x="397" y="1583"/>
                </a:cxn>
                <a:cxn ang="0">
                  <a:pos x="408" y="1413"/>
                </a:cxn>
                <a:cxn ang="0">
                  <a:pos x="467" y="1314"/>
                </a:cxn>
                <a:cxn ang="0">
                  <a:pos x="680" y="1320"/>
                </a:cxn>
                <a:cxn ang="0">
                  <a:pos x="366" y="1102"/>
                </a:cxn>
                <a:cxn ang="0">
                  <a:pos x="162" y="1147"/>
                </a:cxn>
                <a:cxn ang="0">
                  <a:pos x="79" y="1037"/>
                </a:cxn>
                <a:cxn ang="0">
                  <a:pos x="0" y="943"/>
                </a:cxn>
                <a:cxn ang="0">
                  <a:pos x="40" y="754"/>
                </a:cxn>
                <a:cxn ang="0">
                  <a:pos x="163" y="769"/>
                </a:cxn>
                <a:cxn ang="0">
                  <a:pos x="234" y="633"/>
                </a:cxn>
                <a:cxn ang="0">
                  <a:pos x="399" y="517"/>
                </a:cxn>
                <a:cxn ang="0">
                  <a:pos x="450" y="515"/>
                </a:cxn>
                <a:cxn ang="0">
                  <a:pos x="589" y="542"/>
                </a:cxn>
                <a:cxn ang="0">
                  <a:pos x="685" y="610"/>
                </a:cxn>
                <a:cxn ang="0">
                  <a:pos x="828" y="615"/>
                </a:cxn>
                <a:cxn ang="0">
                  <a:pos x="893" y="602"/>
                </a:cxn>
                <a:cxn ang="0">
                  <a:pos x="1033" y="656"/>
                </a:cxn>
                <a:cxn ang="0">
                  <a:pos x="1132" y="633"/>
                </a:cxn>
                <a:cxn ang="0">
                  <a:pos x="1211" y="560"/>
                </a:cxn>
                <a:cxn ang="0">
                  <a:pos x="1130" y="500"/>
                </a:cxn>
                <a:cxn ang="0">
                  <a:pos x="1183" y="385"/>
                </a:cxn>
                <a:cxn ang="0">
                  <a:pos x="1281" y="313"/>
                </a:cxn>
                <a:cxn ang="0">
                  <a:pos x="1249" y="264"/>
                </a:cxn>
                <a:cxn ang="0">
                  <a:pos x="1207" y="211"/>
                </a:cxn>
                <a:cxn ang="0">
                  <a:pos x="1335" y="203"/>
                </a:cxn>
                <a:cxn ang="0">
                  <a:pos x="1434" y="166"/>
                </a:cxn>
                <a:cxn ang="0">
                  <a:pos x="1507" y="153"/>
                </a:cxn>
                <a:cxn ang="0">
                  <a:pos x="1817" y="34"/>
                </a:cxn>
                <a:cxn ang="0">
                  <a:pos x="1979" y="34"/>
                </a:cxn>
                <a:cxn ang="0">
                  <a:pos x="2055" y="92"/>
                </a:cxn>
                <a:cxn ang="0">
                  <a:pos x="2132" y="174"/>
                </a:cxn>
                <a:cxn ang="0">
                  <a:pos x="2157" y="155"/>
                </a:cxn>
                <a:cxn ang="0">
                  <a:pos x="2176" y="191"/>
                </a:cxn>
                <a:cxn ang="0">
                  <a:pos x="2271" y="195"/>
                </a:cxn>
                <a:cxn ang="0">
                  <a:pos x="2246" y="259"/>
                </a:cxn>
                <a:cxn ang="0">
                  <a:pos x="2334" y="250"/>
                </a:cxn>
                <a:cxn ang="0">
                  <a:pos x="2528" y="145"/>
                </a:cxn>
                <a:cxn ang="0">
                  <a:pos x="2513" y="190"/>
                </a:cxn>
                <a:cxn ang="0">
                  <a:pos x="2850" y="580"/>
                </a:cxn>
                <a:cxn ang="0">
                  <a:pos x="2903" y="618"/>
                </a:cxn>
                <a:cxn ang="0">
                  <a:pos x="3068" y="611"/>
                </a:cxn>
                <a:cxn ang="0">
                  <a:pos x="3165" y="713"/>
                </a:cxn>
                <a:cxn ang="0">
                  <a:pos x="3330" y="790"/>
                </a:cxn>
                <a:cxn ang="0">
                  <a:pos x="3376" y="897"/>
                </a:cxn>
                <a:cxn ang="0">
                  <a:pos x="3260" y="1122"/>
                </a:cxn>
                <a:cxn ang="0">
                  <a:pos x="2987" y="1255"/>
                </a:cxn>
                <a:cxn ang="0">
                  <a:pos x="2826" y="1665"/>
                </a:cxn>
                <a:cxn ang="0">
                  <a:pos x="2554" y="1596"/>
                </a:cxn>
                <a:cxn ang="0">
                  <a:pos x="2246" y="1652"/>
                </a:cxn>
                <a:cxn ang="0">
                  <a:pos x="2055" y="1621"/>
                </a:cxn>
                <a:cxn ang="0">
                  <a:pos x="1978" y="1726"/>
                </a:cxn>
              </a:cxnLst>
              <a:rect l="0" t="0" r="r" b="b"/>
              <a:pathLst>
                <a:path w="3408" h="1813">
                  <a:moveTo>
                    <a:pt x="1787" y="1787"/>
                  </a:moveTo>
                  <a:lnTo>
                    <a:pt x="1704" y="1795"/>
                  </a:lnTo>
                  <a:cubicBezTo>
                    <a:pt x="1701" y="1795"/>
                    <a:pt x="1700" y="1794"/>
                    <a:pt x="1699" y="1791"/>
                  </a:cubicBezTo>
                  <a:lnTo>
                    <a:pt x="1687" y="1723"/>
                  </a:lnTo>
                  <a:lnTo>
                    <a:pt x="1639" y="1715"/>
                  </a:lnTo>
                  <a:cubicBezTo>
                    <a:pt x="1637" y="1714"/>
                    <a:pt x="1635" y="1712"/>
                    <a:pt x="1635" y="1710"/>
                  </a:cubicBezTo>
                  <a:lnTo>
                    <a:pt x="1643" y="1605"/>
                  </a:lnTo>
                  <a:lnTo>
                    <a:pt x="1627" y="1605"/>
                  </a:lnTo>
                  <a:cubicBezTo>
                    <a:pt x="1626" y="1605"/>
                    <a:pt x="1624" y="1604"/>
                    <a:pt x="1623" y="1602"/>
                  </a:cubicBezTo>
                  <a:lnTo>
                    <a:pt x="1598" y="1552"/>
                  </a:lnTo>
                  <a:lnTo>
                    <a:pt x="1541" y="1508"/>
                  </a:lnTo>
                  <a:lnTo>
                    <a:pt x="1301" y="1537"/>
                  </a:lnTo>
                  <a:cubicBezTo>
                    <a:pt x="1300" y="1537"/>
                    <a:pt x="1299" y="1537"/>
                    <a:pt x="1298" y="1536"/>
                  </a:cubicBezTo>
                  <a:lnTo>
                    <a:pt x="1133" y="1371"/>
                  </a:lnTo>
                  <a:lnTo>
                    <a:pt x="1053" y="1312"/>
                  </a:lnTo>
                  <a:lnTo>
                    <a:pt x="1009" y="1292"/>
                  </a:lnTo>
                  <a:lnTo>
                    <a:pt x="798" y="1362"/>
                  </a:lnTo>
                  <a:lnTo>
                    <a:pt x="802" y="1774"/>
                  </a:lnTo>
                  <a:cubicBezTo>
                    <a:pt x="802" y="1776"/>
                    <a:pt x="800" y="1778"/>
                    <a:pt x="798" y="1778"/>
                  </a:cubicBezTo>
                  <a:lnTo>
                    <a:pt x="746" y="1787"/>
                  </a:lnTo>
                  <a:cubicBezTo>
                    <a:pt x="745" y="1787"/>
                    <a:pt x="743" y="1786"/>
                    <a:pt x="742" y="1784"/>
                  </a:cubicBezTo>
                  <a:lnTo>
                    <a:pt x="683" y="1687"/>
                  </a:lnTo>
                  <a:lnTo>
                    <a:pt x="640" y="1665"/>
                  </a:lnTo>
                  <a:lnTo>
                    <a:pt x="548" y="1689"/>
                  </a:lnTo>
                  <a:lnTo>
                    <a:pt x="495" y="1727"/>
                  </a:lnTo>
                  <a:cubicBezTo>
                    <a:pt x="494" y="1727"/>
                    <a:pt x="493" y="1728"/>
                    <a:pt x="492" y="1728"/>
                  </a:cubicBezTo>
                  <a:cubicBezTo>
                    <a:pt x="491" y="1728"/>
                    <a:pt x="490" y="1727"/>
                    <a:pt x="490" y="1727"/>
                  </a:cubicBezTo>
                  <a:cubicBezTo>
                    <a:pt x="488" y="1726"/>
                    <a:pt x="487" y="1724"/>
                    <a:pt x="487" y="1722"/>
                  </a:cubicBezTo>
                  <a:lnTo>
                    <a:pt x="504" y="1628"/>
                  </a:lnTo>
                  <a:lnTo>
                    <a:pt x="397" y="1583"/>
                  </a:lnTo>
                  <a:cubicBezTo>
                    <a:pt x="396" y="1583"/>
                    <a:pt x="395" y="1582"/>
                    <a:pt x="394" y="1580"/>
                  </a:cubicBezTo>
                  <a:lnTo>
                    <a:pt x="369" y="1487"/>
                  </a:lnTo>
                  <a:lnTo>
                    <a:pt x="294" y="1422"/>
                  </a:lnTo>
                  <a:cubicBezTo>
                    <a:pt x="293" y="1420"/>
                    <a:pt x="292" y="1418"/>
                    <a:pt x="293" y="1417"/>
                  </a:cubicBezTo>
                  <a:cubicBezTo>
                    <a:pt x="294" y="1415"/>
                    <a:pt x="295" y="1413"/>
                    <a:pt x="297" y="1413"/>
                  </a:cubicBezTo>
                  <a:lnTo>
                    <a:pt x="408" y="1413"/>
                  </a:lnTo>
                  <a:lnTo>
                    <a:pt x="386" y="1370"/>
                  </a:lnTo>
                  <a:cubicBezTo>
                    <a:pt x="385" y="1368"/>
                    <a:pt x="385" y="1367"/>
                    <a:pt x="386" y="1365"/>
                  </a:cubicBezTo>
                  <a:lnTo>
                    <a:pt x="399" y="1340"/>
                  </a:lnTo>
                  <a:cubicBezTo>
                    <a:pt x="400" y="1338"/>
                    <a:pt x="401" y="1337"/>
                    <a:pt x="403" y="1337"/>
                  </a:cubicBezTo>
                  <a:lnTo>
                    <a:pt x="447" y="1337"/>
                  </a:lnTo>
                  <a:lnTo>
                    <a:pt x="467" y="1314"/>
                  </a:lnTo>
                  <a:cubicBezTo>
                    <a:pt x="468" y="1313"/>
                    <a:pt x="469" y="1312"/>
                    <a:pt x="471" y="1312"/>
                  </a:cubicBezTo>
                  <a:lnTo>
                    <a:pt x="673" y="1349"/>
                  </a:lnTo>
                  <a:lnTo>
                    <a:pt x="669" y="1326"/>
                  </a:lnTo>
                  <a:cubicBezTo>
                    <a:pt x="669" y="1324"/>
                    <a:pt x="670" y="1323"/>
                    <a:pt x="671" y="1322"/>
                  </a:cubicBezTo>
                  <a:cubicBezTo>
                    <a:pt x="672" y="1321"/>
                    <a:pt x="673" y="1320"/>
                    <a:pt x="674" y="1320"/>
                  </a:cubicBezTo>
                  <a:lnTo>
                    <a:pt x="680" y="1320"/>
                  </a:lnTo>
                  <a:lnTo>
                    <a:pt x="674" y="1301"/>
                  </a:lnTo>
                  <a:lnTo>
                    <a:pt x="616" y="1257"/>
                  </a:lnTo>
                  <a:lnTo>
                    <a:pt x="552" y="1146"/>
                  </a:lnTo>
                  <a:lnTo>
                    <a:pt x="508" y="1110"/>
                  </a:lnTo>
                  <a:lnTo>
                    <a:pt x="442" y="1127"/>
                  </a:lnTo>
                  <a:lnTo>
                    <a:pt x="366" y="1102"/>
                  </a:lnTo>
                  <a:lnTo>
                    <a:pt x="318" y="1151"/>
                  </a:lnTo>
                  <a:lnTo>
                    <a:pt x="171" y="1182"/>
                  </a:lnTo>
                  <a:lnTo>
                    <a:pt x="156" y="1177"/>
                  </a:lnTo>
                  <a:cubicBezTo>
                    <a:pt x="154" y="1177"/>
                    <a:pt x="152" y="1174"/>
                    <a:pt x="153" y="1172"/>
                  </a:cubicBezTo>
                  <a:lnTo>
                    <a:pt x="157" y="1151"/>
                  </a:lnTo>
                  <a:cubicBezTo>
                    <a:pt x="158" y="1149"/>
                    <a:pt x="159" y="1147"/>
                    <a:pt x="162" y="1147"/>
                  </a:cubicBezTo>
                  <a:lnTo>
                    <a:pt x="201" y="1147"/>
                  </a:lnTo>
                  <a:lnTo>
                    <a:pt x="170" y="1069"/>
                  </a:lnTo>
                  <a:lnTo>
                    <a:pt x="142" y="1033"/>
                  </a:lnTo>
                  <a:lnTo>
                    <a:pt x="82" y="1026"/>
                  </a:lnTo>
                  <a:lnTo>
                    <a:pt x="82" y="1033"/>
                  </a:lnTo>
                  <a:cubicBezTo>
                    <a:pt x="82" y="1035"/>
                    <a:pt x="80" y="1037"/>
                    <a:pt x="79" y="1037"/>
                  </a:cubicBezTo>
                  <a:cubicBezTo>
                    <a:pt x="78" y="1038"/>
                    <a:pt x="78" y="1038"/>
                    <a:pt x="77" y="1038"/>
                  </a:cubicBezTo>
                  <a:cubicBezTo>
                    <a:pt x="76" y="1038"/>
                    <a:pt x="74" y="1037"/>
                    <a:pt x="74" y="1036"/>
                  </a:cubicBezTo>
                  <a:lnTo>
                    <a:pt x="57" y="1020"/>
                  </a:lnTo>
                  <a:lnTo>
                    <a:pt x="43" y="965"/>
                  </a:lnTo>
                  <a:lnTo>
                    <a:pt x="3" y="949"/>
                  </a:lnTo>
                  <a:cubicBezTo>
                    <a:pt x="1" y="948"/>
                    <a:pt x="0" y="945"/>
                    <a:pt x="0" y="943"/>
                  </a:cubicBezTo>
                  <a:lnTo>
                    <a:pt x="17" y="880"/>
                  </a:lnTo>
                  <a:lnTo>
                    <a:pt x="45" y="855"/>
                  </a:lnTo>
                  <a:lnTo>
                    <a:pt x="27" y="833"/>
                  </a:lnTo>
                  <a:cubicBezTo>
                    <a:pt x="26" y="832"/>
                    <a:pt x="25" y="831"/>
                    <a:pt x="26" y="829"/>
                  </a:cubicBezTo>
                  <a:lnTo>
                    <a:pt x="38" y="757"/>
                  </a:lnTo>
                  <a:cubicBezTo>
                    <a:pt x="39" y="756"/>
                    <a:pt x="39" y="755"/>
                    <a:pt x="40" y="754"/>
                  </a:cubicBezTo>
                  <a:lnTo>
                    <a:pt x="68" y="734"/>
                  </a:lnTo>
                  <a:lnTo>
                    <a:pt x="81" y="677"/>
                  </a:lnTo>
                  <a:cubicBezTo>
                    <a:pt x="81" y="675"/>
                    <a:pt x="83" y="674"/>
                    <a:pt x="84" y="673"/>
                  </a:cubicBezTo>
                  <a:cubicBezTo>
                    <a:pt x="85" y="673"/>
                    <a:pt x="85" y="673"/>
                    <a:pt x="85" y="673"/>
                  </a:cubicBezTo>
                  <a:cubicBezTo>
                    <a:pt x="87" y="673"/>
                    <a:pt x="88" y="674"/>
                    <a:pt x="89" y="675"/>
                  </a:cubicBezTo>
                  <a:lnTo>
                    <a:pt x="163" y="769"/>
                  </a:lnTo>
                  <a:lnTo>
                    <a:pt x="194" y="744"/>
                  </a:lnTo>
                  <a:lnTo>
                    <a:pt x="170" y="667"/>
                  </a:lnTo>
                  <a:cubicBezTo>
                    <a:pt x="169" y="665"/>
                    <a:pt x="170" y="664"/>
                    <a:pt x="170" y="663"/>
                  </a:cubicBezTo>
                  <a:cubicBezTo>
                    <a:pt x="171" y="662"/>
                    <a:pt x="172" y="661"/>
                    <a:pt x="173" y="661"/>
                  </a:cubicBezTo>
                  <a:lnTo>
                    <a:pt x="195" y="656"/>
                  </a:lnTo>
                  <a:lnTo>
                    <a:pt x="234" y="633"/>
                  </a:lnTo>
                  <a:lnTo>
                    <a:pt x="242" y="601"/>
                  </a:lnTo>
                  <a:cubicBezTo>
                    <a:pt x="242" y="599"/>
                    <a:pt x="243" y="598"/>
                    <a:pt x="245" y="597"/>
                  </a:cubicBezTo>
                  <a:lnTo>
                    <a:pt x="313" y="572"/>
                  </a:lnTo>
                  <a:lnTo>
                    <a:pt x="344" y="527"/>
                  </a:lnTo>
                  <a:cubicBezTo>
                    <a:pt x="345" y="526"/>
                    <a:pt x="346" y="525"/>
                    <a:pt x="347" y="525"/>
                  </a:cubicBezTo>
                  <a:lnTo>
                    <a:pt x="399" y="517"/>
                  </a:lnTo>
                  <a:cubicBezTo>
                    <a:pt x="401" y="517"/>
                    <a:pt x="403" y="518"/>
                    <a:pt x="403" y="520"/>
                  </a:cubicBezTo>
                  <a:lnTo>
                    <a:pt x="411" y="541"/>
                  </a:lnTo>
                  <a:lnTo>
                    <a:pt x="429" y="538"/>
                  </a:lnTo>
                  <a:cubicBezTo>
                    <a:pt x="430" y="538"/>
                    <a:pt x="431" y="538"/>
                    <a:pt x="432" y="539"/>
                  </a:cubicBezTo>
                  <a:lnTo>
                    <a:pt x="436" y="543"/>
                  </a:lnTo>
                  <a:lnTo>
                    <a:pt x="450" y="515"/>
                  </a:lnTo>
                  <a:cubicBezTo>
                    <a:pt x="450" y="514"/>
                    <a:pt x="452" y="513"/>
                    <a:pt x="453" y="512"/>
                  </a:cubicBezTo>
                  <a:lnTo>
                    <a:pt x="479" y="508"/>
                  </a:lnTo>
                  <a:lnTo>
                    <a:pt x="492" y="508"/>
                  </a:lnTo>
                  <a:cubicBezTo>
                    <a:pt x="494" y="508"/>
                    <a:pt x="496" y="509"/>
                    <a:pt x="496" y="511"/>
                  </a:cubicBezTo>
                  <a:lnTo>
                    <a:pt x="512" y="542"/>
                  </a:lnTo>
                  <a:lnTo>
                    <a:pt x="589" y="542"/>
                  </a:lnTo>
                  <a:cubicBezTo>
                    <a:pt x="591" y="542"/>
                    <a:pt x="592" y="543"/>
                    <a:pt x="593" y="544"/>
                  </a:cubicBezTo>
                  <a:lnTo>
                    <a:pt x="669" y="632"/>
                  </a:lnTo>
                  <a:lnTo>
                    <a:pt x="678" y="668"/>
                  </a:lnTo>
                  <a:lnTo>
                    <a:pt x="682" y="666"/>
                  </a:lnTo>
                  <a:lnTo>
                    <a:pt x="682" y="614"/>
                  </a:lnTo>
                  <a:cubicBezTo>
                    <a:pt x="682" y="612"/>
                    <a:pt x="684" y="611"/>
                    <a:pt x="685" y="610"/>
                  </a:cubicBezTo>
                  <a:lnTo>
                    <a:pt x="698" y="606"/>
                  </a:lnTo>
                  <a:cubicBezTo>
                    <a:pt x="699" y="606"/>
                    <a:pt x="699" y="605"/>
                    <a:pt x="700" y="605"/>
                  </a:cubicBezTo>
                  <a:cubicBezTo>
                    <a:pt x="701" y="605"/>
                    <a:pt x="703" y="606"/>
                    <a:pt x="704" y="607"/>
                  </a:cubicBezTo>
                  <a:lnTo>
                    <a:pt x="729" y="646"/>
                  </a:lnTo>
                  <a:lnTo>
                    <a:pt x="771" y="664"/>
                  </a:lnTo>
                  <a:lnTo>
                    <a:pt x="828" y="615"/>
                  </a:lnTo>
                  <a:cubicBezTo>
                    <a:pt x="829" y="614"/>
                    <a:pt x="830" y="614"/>
                    <a:pt x="831" y="614"/>
                  </a:cubicBezTo>
                  <a:lnTo>
                    <a:pt x="852" y="617"/>
                  </a:lnTo>
                  <a:lnTo>
                    <a:pt x="852" y="610"/>
                  </a:lnTo>
                  <a:cubicBezTo>
                    <a:pt x="852" y="608"/>
                    <a:pt x="853" y="606"/>
                    <a:pt x="856" y="605"/>
                  </a:cubicBezTo>
                  <a:lnTo>
                    <a:pt x="890" y="601"/>
                  </a:lnTo>
                  <a:cubicBezTo>
                    <a:pt x="891" y="601"/>
                    <a:pt x="892" y="602"/>
                    <a:pt x="893" y="602"/>
                  </a:cubicBezTo>
                  <a:lnTo>
                    <a:pt x="920" y="625"/>
                  </a:lnTo>
                  <a:lnTo>
                    <a:pt x="947" y="602"/>
                  </a:lnTo>
                  <a:lnTo>
                    <a:pt x="983" y="597"/>
                  </a:lnTo>
                  <a:lnTo>
                    <a:pt x="1006" y="601"/>
                  </a:lnTo>
                  <a:cubicBezTo>
                    <a:pt x="1007" y="602"/>
                    <a:pt x="1008" y="603"/>
                    <a:pt x="1009" y="604"/>
                  </a:cubicBezTo>
                  <a:lnTo>
                    <a:pt x="1033" y="656"/>
                  </a:lnTo>
                  <a:lnTo>
                    <a:pt x="1081" y="656"/>
                  </a:lnTo>
                  <a:cubicBezTo>
                    <a:pt x="1083" y="656"/>
                    <a:pt x="1086" y="658"/>
                    <a:pt x="1086" y="661"/>
                  </a:cubicBezTo>
                  <a:cubicBezTo>
                    <a:pt x="1086" y="662"/>
                    <a:pt x="1085" y="664"/>
                    <a:pt x="1084" y="665"/>
                  </a:cubicBezTo>
                  <a:lnTo>
                    <a:pt x="1088" y="673"/>
                  </a:lnTo>
                  <a:lnTo>
                    <a:pt x="1108" y="673"/>
                  </a:lnTo>
                  <a:lnTo>
                    <a:pt x="1132" y="633"/>
                  </a:lnTo>
                  <a:cubicBezTo>
                    <a:pt x="1133" y="632"/>
                    <a:pt x="1134" y="631"/>
                    <a:pt x="1136" y="631"/>
                  </a:cubicBezTo>
                  <a:cubicBezTo>
                    <a:pt x="1137" y="631"/>
                    <a:pt x="1138" y="631"/>
                    <a:pt x="1138" y="631"/>
                  </a:cubicBezTo>
                  <a:lnTo>
                    <a:pt x="1179" y="656"/>
                  </a:lnTo>
                  <a:lnTo>
                    <a:pt x="1242" y="640"/>
                  </a:lnTo>
                  <a:lnTo>
                    <a:pt x="1265" y="575"/>
                  </a:lnTo>
                  <a:lnTo>
                    <a:pt x="1211" y="560"/>
                  </a:lnTo>
                  <a:cubicBezTo>
                    <a:pt x="1210" y="559"/>
                    <a:pt x="1209" y="559"/>
                    <a:pt x="1208" y="558"/>
                  </a:cubicBezTo>
                  <a:lnTo>
                    <a:pt x="1196" y="538"/>
                  </a:lnTo>
                  <a:lnTo>
                    <a:pt x="1160" y="530"/>
                  </a:lnTo>
                  <a:cubicBezTo>
                    <a:pt x="1158" y="530"/>
                    <a:pt x="1157" y="528"/>
                    <a:pt x="1157" y="526"/>
                  </a:cubicBezTo>
                  <a:lnTo>
                    <a:pt x="1153" y="508"/>
                  </a:lnTo>
                  <a:lnTo>
                    <a:pt x="1130" y="500"/>
                  </a:lnTo>
                  <a:cubicBezTo>
                    <a:pt x="1128" y="500"/>
                    <a:pt x="1127" y="498"/>
                    <a:pt x="1127" y="496"/>
                  </a:cubicBezTo>
                  <a:lnTo>
                    <a:pt x="1127" y="488"/>
                  </a:lnTo>
                  <a:cubicBezTo>
                    <a:pt x="1127" y="486"/>
                    <a:pt x="1128" y="484"/>
                    <a:pt x="1129" y="483"/>
                  </a:cubicBezTo>
                  <a:lnTo>
                    <a:pt x="1204" y="442"/>
                  </a:lnTo>
                  <a:lnTo>
                    <a:pt x="1211" y="421"/>
                  </a:lnTo>
                  <a:lnTo>
                    <a:pt x="1183" y="385"/>
                  </a:lnTo>
                  <a:cubicBezTo>
                    <a:pt x="1181" y="383"/>
                    <a:pt x="1182" y="380"/>
                    <a:pt x="1183" y="378"/>
                  </a:cubicBezTo>
                  <a:lnTo>
                    <a:pt x="1217" y="344"/>
                  </a:lnTo>
                  <a:cubicBezTo>
                    <a:pt x="1218" y="344"/>
                    <a:pt x="1219" y="343"/>
                    <a:pt x="1221" y="343"/>
                  </a:cubicBezTo>
                  <a:lnTo>
                    <a:pt x="1297" y="343"/>
                  </a:lnTo>
                  <a:lnTo>
                    <a:pt x="1306" y="335"/>
                  </a:lnTo>
                  <a:lnTo>
                    <a:pt x="1281" y="313"/>
                  </a:lnTo>
                  <a:lnTo>
                    <a:pt x="1233" y="310"/>
                  </a:lnTo>
                  <a:cubicBezTo>
                    <a:pt x="1231" y="310"/>
                    <a:pt x="1229" y="308"/>
                    <a:pt x="1229" y="306"/>
                  </a:cubicBezTo>
                  <a:lnTo>
                    <a:pt x="1224" y="281"/>
                  </a:lnTo>
                  <a:cubicBezTo>
                    <a:pt x="1224" y="279"/>
                    <a:pt x="1225" y="277"/>
                    <a:pt x="1227" y="276"/>
                  </a:cubicBezTo>
                  <a:lnTo>
                    <a:pt x="1250" y="266"/>
                  </a:lnTo>
                  <a:lnTo>
                    <a:pt x="1249" y="264"/>
                  </a:lnTo>
                  <a:lnTo>
                    <a:pt x="1216" y="268"/>
                  </a:lnTo>
                  <a:cubicBezTo>
                    <a:pt x="1215" y="268"/>
                    <a:pt x="1214" y="267"/>
                    <a:pt x="1213" y="266"/>
                  </a:cubicBezTo>
                  <a:cubicBezTo>
                    <a:pt x="1212" y="265"/>
                    <a:pt x="1211" y="263"/>
                    <a:pt x="1212" y="262"/>
                  </a:cubicBezTo>
                  <a:lnTo>
                    <a:pt x="1224" y="230"/>
                  </a:lnTo>
                  <a:lnTo>
                    <a:pt x="1209" y="216"/>
                  </a:lnTo>
                  <a:cubicBezTo>
                    <a:pt x="1208" y="215"/>
                    <a:pt x="1207" y="213"/>
                    <a:pt x="1207" y="211"/>
                  </a:cubicBezTo>
                  <a:cubicBezTo>
                    <a:pt x="1208" y="210"/>
                    <a:pt x="1209" y="208"/>
                    <a:pt x="1211" y="208"/>
                  </a:cubicBezTo>
                  <a:lnTo>
                    <a:pt x="1253" y="195"/>
                  </a:lnTo>
                  <a:lnTo>
                    <a:pt x="1254" y="195"/>
                  </a:lnTo>
                  <a:cubicBezTo>
                    <a:pt x="1256" y="195"/>
                    <a:pt x="1257" y="196"/>
                    <a:pt x="1258" y="197"/>
                  </a:cubicBezTo>
                  <a:lnTo>
                    <a:pt x="1265" y="208"/>
                  </a:lnTo>
                  <a:lnTo>
                    <a:pt x="1335" y="203"/>
                  </a:lnTo>
                  <a:cubicBezTo>
                    <a:pt x="1337" y="203"/>
                    <a:pt x="1338" y="204"/>
                    <a:pt x="1339" y="205"/>
                  </a:cubicBezTo>
                  <a:lnTo>
                    <a:pt x="1343" y="212"/>
                  </a:lnTo>
                  <a:lnTo>
                    <a:pt x="1352" y="197"/>
                  </a:lnTo>
                  <a:cubicBezTo>
                    <a:pt x="1353" y="196"/>
                    <a:pt x="1355" y="195"/>
                    <a:pt x="1356" y="195"/>
                  </a:cubicBezTo>
                  <a:lnTo>
                    <a:pt x="1394" y="195"/>
                  </a:lnTo>
                  <a:lnTo>
                    <a:pt x="1434" y="166"/>
                  </a:lnTo>
                  <a:cubicBezTo>
                    <a:pt x="1435" y="166"/>
                    <a:pt x="1436" y="165"/>
                    <a:pt x="1437" y="165"/>
                  </a:cubicBezTo>
                  <a:lnTo>
                    <a:pt x="1438" y="166"/>
                  </a:lnTo>
                  <a:lnTo>
                    <a:pt x="1468" y="177"/>
                  </a:lnTo>
                  <a:lnTo>
                    <a:pt x="1470" y="169"/>
                  </a:lnTo>
                  <a:cubicBezTo>
                    <a:pt x="1471" y="167"/>
                    <a:pt x="1472" y="166"/>
                    <a:pt x="1473" y="166"/>
                  </a:cubicBezTo>
                  <a:lnTo>
                    <a:pt x="1507" y="153"/>
                  </a:lnTo>
                  <a:lnTo>
                    <a:pt x="1552" y="153"/>
                  </a:lnTo>
                  <a:lnTo>
                    <a:pt x="1563" y="122"/>
                  </a:lnTo>
                  <a:cubicBezTo>
                    <a:pt x="1564" y="120"/>
                    <a:pt x="1565" y="119"/>
                    <a:pt x="1567" y="119"/>
                  </a:cubicBezTo>
                  <a:lnTo>
                    <a:pt x="1630" y="106"/>
                  </a:lnTo>
                  <a:lnTo>
                    <a:pt x="1810" y="65"/>
                  </a:lnTo>
                  <a:lnTo>
                    <a:pt x="1817" y="34"/>
                  </a:lnTo>
                  <a:cubicBezTo>
                    <a:pt x="1818" y="32"/>
                    <a:pt x="1819" y="31"/>
                    <a:pt x="1821" y="30"/>
                  </a:cubicBezTo>
                  <a:lnTo>
                    <a:pt x="1842" y="26"/>
                  </a:lnTo>
                  <a:lnTo>
                    <a:pt x="1879" y="1"/>
                  </a:lnTo>
                  <a:cubicBezTo>
                    <a:pt x="1880" y="1"/>
                    <a:pt x="1880" y="0"/>
                    <a:pt x="1881" y="0"/>
                  </a:cubicBezTo>
                  <a:lnTo>
                    <a:pt x="1937" y="9"/>
                  </a:lnTo>
                  <a:lnTo>
                    <a:pt x="1979" y="34"/>
                  </a:lnTo>
                  <a:lnTo>
                    <a:pt x="2020" y="18"/>
                  </a:lnTo>
                  <a:lnTo>
                    <a:pt x="2021" y="17"/>
                  </a:lnTo>
                  <a:cubicBezTo>
                    <a:pt x="2022" y="17"/>
                    <a:pt x="2023" y="18"/>
                    <a:pt x="2024" y="18"/>
                  </a:cubicBezTo>
                  <a:lnTo>
                    <a:pt x="2045" y="31"/>
                  </a:lnTo>
                  <a:cubicBezTo>
                    <a:pt x="2046" y="32"/>
                    <a:pt x="2047" y="33"/>
                    <a:pt x="2047" y="34"/>
                  </a:cubicBezTo>
                  <a:lnTo>
                    <a:pt x="2055" y="92"/>
                  </a:lnTo>
                  <a:lnTo>
                    <a:pt x="2075" y="107"/>
                  </a:lnTo>
                  <a:cubicBezTo>
                    <a:pt x="2076" y="108"/>
                    <a:pt x="2077" y="110"/>
                    <a:pt x="2077" y="111"/>
                  </a:cubicBezTo>
                  <a:lnTo>
                    <a:pt x="2072" y="145"/>
                  </a:lnTo>
                  <a:lnTo>
                    <a:pt x="2056" y="166"/>
                  </a:lnTo>
                  <a:lnTo>
                    <a:pt x="2066" y="182"/>
                  </a:lnTo>
                  <a:lnTo>
                    <a:pt x="2132" y="174"/>
                  </a:lnTo>
                  <a:lnTo>
                    <a:pt x="2135" y="153"/>
                  </a:lnTo>
                  <a:cubicBezTo>
                    <a:pt x="2135" y="151"/>
                    <a:pt x="2136" y="150"/>
                    <a:pt x="2137" y="149"/>
                  </a:cubicBezTo>
                  <a:cubicBezTo>
                    <a:pt x="2138" y="149"/>
                    <a:pt x="2139" y="149"/>
                    <a:pt x="2140" y="149"/>
                  </a:cubicBezTo>
                  <a:lnTo>
                    <a:pt x="2141" y="149"/>
                  </a:lnTo>
                  <a:lnTo>
                    <a:pt x="2154" y="153"/>
                  </a:lnTo>
                  <a:cubicBezTo>
                    <a:pt x="2155" y="153"/>
                    <a:pt x="2156" y="154"/>
                    <a:pt x="2157" y="155"/>
                  </a:cubicBezTo>
                  <a:lnTo>
                    <a:pt x="2174" y="185"/>
                  </a:lnTo>
                  <a:lnTo>
                    <a:pt x="2171" y="208"/>
                  </a:lnTo>
                  <a:lnTo>
                    <a:pt x="2179" y="208"/>
                  </a:lnTo>
                  <a:lnTo>
                    <a:pt x="2174" y="198"/>
                  </a:lnTo>
                  <a:cubicBezTo>
                    <a:pt x="2173" y="197"/>
                    <a:pt x="2173" y="195"/>
                    <a:pt x="2173" y="194"/>
                  </a:cubicBezTo>
                  <a:cubicBezTo>
                    <a:pt x="2174" y="193"/>
                    <a:pt x="2175" y="192"/>
                    <a:pt x="2176" y="191"/>
                  </a:cubicBezTo>
                  <a:lnTo>
                    <a:pt x="2184" y="187"/>
                  </a:lnTo>
                  <a:cubicBezTo>
                    <a:pt x="2185" y="187"/>
                    <a:pt x="2185" y="187"/>
                    <a:pt x="2186" y="187"/>
                  </a:cubicBezTo>
                  <a:cubicBezTo>
                    <a:pt x="2187" y="187"/>
                    <a:pt x="2188" y="187"/>
                    <a:pt x="2188" y="187"/>
                  </a:cubicBezTo>
                  <a:lnTo>
                    <a:pt x="2241" y="211"/>
                  </a:lnTo>
                  <a:lnTo>
                    <a:pt x="2269" y="196"/>
                  </a:lnTo>
                  <a:cubicBezTo>
                    <a:pt x="2269" y="195"/>
                    <a:pt x="2270" y="195"/>
                    <a:pt x="2271" y="195"/>
                  </a:cubicBezTo>
                  <a:cubicBezTo>
                    <a:pt x="2272" y="195"/>
                    <a:pt x="2272" y="195"/>
                    <a:pt x="2273" y="196"/>
                  </a:cubicBezTo>
                  <a:cubicBezTo>
                    <a:pt x="2275" y="196"/>
                    <a:pt x="2275" y="197"/>
                    <a:pt x="2276" y="199"/>
                  </a:cubicBezTo>
                  <a:lnTo>
                    <a:pt x="2280" y="224"/>
                  </a:lnTo>
                  <a:cubicBezTo>
                    <a:pt x="2280" y="226"/>
                    <a:pt x="2279" y="229"/>
                    <a:pt x="2277" y="230"/>
                  </a:cubicBezTo>
                  <a:lnTo>
                    <a:pt x="2257" y="237"/>
                  </a:lnTo>
                  <a:lnTo>
                    <a:pt x="2246" y="259"/>
                  </a:lnTo>
                  <a:lnTo>
                    <a:pt x="2252" y="274"/>
                  </a:lnTo>
                  <a:lnTo>
                    <a:pt x="2290" y="255"/>
                  </a:lnTo>
                  <a:cubicBezTo>
                    <a:pt x="2291" y="255"/>
                    <a:pt x="2291" y="254"/>
                    <a:pt x="2292" y="254"/>
                  </a:cubicBezTo>
                  <a:lnTo>
                    <a:pt x="2293" y="254"/>
                  </a:lnTo>
                  <a:lnTo>
                    <a:pt x="2334" y="265"/>
                  </a:lnTo>
                  <a:lnTo>
                    <a:pt x="2334" y="250"/>
                  </a:lnTo>
                  <a:cubicBezTo>
                    <a:pt x="2334" y="249"/>
                    <a:pt x="2335" y="247"/>
                    <a:pt x="2337" y="246"/>
                  </a:cubicBezTo>
                  <a:lnTo>
                    <a:pt x="2392" y="225"/>
                  </a:lnTo>
                  <a:lnTo>
                    <a:pt x="2428" y="180"/>
                  </a:lnTo>
                  <a:cubicBezTo>
                    <a:pt x="2429" y="179"/>
                    <a:pt x="2430" y="178"/>
                    <a:pt x="2431" y="178"/>
                  </a:cubicBezTo>
                  <a:lnTo>
                    <a:pt x="2465" y="174"/>
                  </a:lnTo>
                  <a:lnTo>
                    <a:pt x="2528" y="145"/>
                  </a:lnTo>
                  <a:cubicBezTo>
                    <a:pt x="2528" y="144"/>
                    <a:pt x="2529" y="144"/>
                    <a:pt x="2529" y="144"/>
                  </a:cubicBezTo>
                  <a:cubicBezTo>
                    <a:pt x="2530" y="144"/>
                    <a:pt x="2531" y="144"/>
                    <a:pt x="2531" y="145"/>
                  </a:cubicBezTo>
                  <a:cubicBezTo>
                    <a:pt x="2532" y="145"/>
                    <a:pt x="2533" y="146"/>
                    <a:pt x="2534" y="147"/>
                  </a:cubicBezTo>
                  <a:lnTo>
                    <a:pt x="2542" y="168"/>
                  </a:lnTo>
                  <a:cubicBezTo>
                    <a:pt x="2543" y="171"/>
                    <a:pt x="2542" y="173"/>
                    <a:pt x="2540" y="174"/>
                  </a:cubicBezTo>
                  <a:lnTo>
                    <a:pt x="2513" y="190"/>
                  </a:lnTo>
                  <a:lnTo>
                    <a:pt x="2513" y="206"/>
                  </a:lnTo>
                  <a:lnTo>
                    <a:pt x="2630" y="306"/>
                  </a:lnTo>
                  <a:lnTo>
                    <a:pt x="2810" y="637"/>
                  </a:lnTo>
                  <a:lnTo>
                    <a:pt x="2827" y="623"/>
                  </a:lnTo>
                  <a:lnTo>
                    <a:pt x="2847" y="583"/>
                  </a:lnTo>
                  <a:cubicBezTo>
                    <a:pt x="2848" y="581"/>
                    <a:pt x="2849" y="581"/>
                    <a:pt x="2850" y="580"/>
                  </a:cubicBezTo>
                  <a:lnTo>
                    <a:pt x="2863" y="576"/>
                  </a:lnTo>
                  <a:cubicBezTo>
                    <a:pt x="2863" y="576"/>
                    <a:pt x="2863" y="576"/>
                    <a:pt x="2864" y="576"/>
                  </a:cubicBezTo>
                  <a:cubicBezTo>
                    <a:pt x="2865" y="576"/>
                    <a:pt x="2866" y="576"/>
                    <a:pt x="2867" y="577"/>
                  </a:cubicBezTo>
                  <a:lnTo>
                    <a:pt x="2905" y="602"/>
                  </a:lnTo>
                  <a:cubicBezTo>
                    <a:pt x="2907" y="603"/>
                    <a:pt x="2907" y="605"/>
                    <a:pt x="2907" y="607"/>
                  </a:cubicBezTo>
                  <a:lnTo>
                    <a:pt x="2903" y="618"/>
                  </a:lnTo>
                  <a:lnTo>
                    <a:pt x="2922" y="648"/>
                  </a:lnTo>
                  <a:lnTo>
                    <a:pt x="3018" y="648"/>
                  </a:lnTo>
                  <a:lnTo>
                    <a:pt x="3029" y="629"/>
                  </a:lnTo>
                  <a:cubicBezTo>
                    <a:pt x="3030" y="628"/>
                    <a:pt x="3032" y="627"/>
                    <a:pt x="3033" y="627"/>
                  </a:cubicBezTo>
                  <a:lnTo>
                    <a:pt x="3053" y="627"/>
                  </a:lnTo>
                  <a:lnTo>
                    <a:pt x="3068" y="611"/>
                  </a:lnTo>
                  <a:cubicBezTo>
                    <a:pt x="3069" y="610"/>
                    <a:pt x="3070" y="610"/>
                    <a:pt x="3072" y="610"/>
                  </a:cubicBezTo>
                  <a:lnTo>
                    <a:pt x="3073" y="610"/>
                  </a:lnTo>
                  <a:lnTo>
                    <a:pt x="3095" y="618"/>
                  </a:lnTo>
                  <a:lnTo>
                    <a:pt x="3155" y="661"/>
                  </a:lnTo>
                  <a:cubicBezTo>
                    <a:pt x="3156" y="662"/>
                    <a:pt x="3156" y="663"/>
                    <a:pt x="3157" y="664"/>
                  </a:cubicBezTo>
                  <a:lnTo>
                    <a:pt x="3165" y="713"/>
                  </a:lnTo>
                  <a:lnTo>
                    <a:pt x="3205" y="729"/>
                  </a:lnTo>
                  <a:cubicBezTo>
                    <a:pt x="3206" y="729"/>
                    <a:pt x="3207" y="730"/>
                    <a:pt x="3207" y="732"/>
                  </a:cubicBezTo>
                  <a:lnTo>
                    <a:pt x="3212" y="753"/>
                  </a:lnTo>
                  <a:lnTo>
                    <a:pt x="3241" y="789"/>
                  </a:lnTo>
                  <a:lnTo>
                    <a:pt x="3319" y="808"/>
                  </a:lnTo>
                  <a:lnTo>
                    <a:pt x="3330" y="790"/>
                  </a:lnTo>
                  <a:lnTo>
                    <a:pt x="3354" y="779"/>
                  </a:lnTo>
                  <a:cubicBezTo>
                    <a:pt x="3354" y="779"/>
                    <a:pt x="3355" y="779"/>
                    <a:pt x="3356" y="779"/>
                  </a:cubicBezTo>
                  <a:cubicBezTo>
                    <a:pt x="3357" y="779"/>
                    <a:pt x="3358" y="780"/>
                    <a:pt x="3359" y="781"/>
                  </a:cubicBezTo>
                  <a:lnTo>
                    <a:pt x="3406" y="853"/>
                  </a:lnTo>
                  <a:cubicBezTo>
                    <a:pt x="3407" y="855"/>
                    <a:pt x="3407" y="857"/>
                    <a:pt x="3406" y="858"/>
                  </a:cubicBezTo>
                  <a:lnTo>
                    <a:pt x="3376" y="897"/>
                  </a:lnTo>
                  <a:lnTo>
                    <a:pt x="3343" y="955"/>
                  </a:lnTo>
                  <a:cubicBezTo>
                    <a:pt x="3342" y="957"/>
                    <a:pt x="3340" y="957"/>
                    <a:pt x="3339" y="957"/>
                  </a:cubicBezTo>
                  <a:lnTo>
                    <a:pt x="3283" y="961"/>
                  </a:lnTo>
                  <a:lnTo>
                    <a:pt x="3262" y="1030"/>
                  </a:lnTo>
                  <a:lnTo>
                    <a:pt x="3263" y="1118"/>
                  </a:lnTo>
                  <a:cubicBezTo>
                    <a:pt x="3263" y="1120"/>
                    <a:pt x="3262" y="1121"/>
                    <a:pt x="3260" y="1122"/>
                  </a:cubicBezTo>
                  <a:lnTo>
                    <a:pt x="3201" y="1152"/>
                  </a:lnTo>
                  <a:cubicBezTo>
                    <a:pt x="3200" y="1152"/>
                    <a:pt x="3199" y="1152"/>
                    <a:pt x="3199" y="1152"/>
                  </a:cubicBezTo>
                  <a:cubicBezTo>
                    <a:pt x="3197" y="1152"/>
                    <a:pt x="3196" y="1152"/>
                    <a:pt x="3195" y="1151"/>
                  </a:cubicBezTo>
                  <a:lnTo>
                    <a:pt x="3170" y="1125"/>
                  </a:lnTo>
                  <a:lnTo>
                    <a:pt x="3045" y="1110"/>
                  </a:lnTo>
                  <a:lnTo>
                    <a:pt x="2987" y="1255"/>
                  </a:lnTo>
                  <a:lnTo>
                    <a:pt x="2992" y="1338"/>
                  </a:lnTo>
                  <a:cubicBezTo>
                    <a:pt x="2992" y="1340"/>
                    <a:pt x="2990" y="1342"/>
                    <a:pt x="2988" y="1342"/>
                  </a:cubicBezTo>
                  <a:lnTo>
                    <a:pt x="2796" y="1387"/>
                  </a:lnTo>
                  <a:lnTo>
                    <a:pt x="2817" y="1415"/>
                  </a:lnTo>
                  <a:lnTo>
                    <a:pt x="2852" y="1561"/>
                  </a:lnTo>
                  <a:lnTo>
                    <a:pt x="2826" y="1665"/>
                  </a:lnTo>
                  <a:cubicBezTo>
                    <a:pt x="2826" y="1666"/>
                    <a:pt x="2825" y="1667"/>
                    <a:pt x="2824" y="1668"/>
                  </a:cubicBezTo>
                  <a:cubicBezTo>
                    <a:pt x="2823" y="1668"/>
                    <a:pt x="2822" y="1668"/>
                    <a:pt x="2822" y="1668"/>
                  </a:cubicBezTo>
                  <a:cubicBezTo>
                    <a:pt x="2822" y="1668"/>
                    <a:pt x="2821" y="1668"/>
                    <a:pt x="2820" y="1668"/>
                  </a:cubicBezTo>
                  <a:lnTo>
                    <a:pt x="2757" y="1651"/>
                  </a:lnTo>
                  <a:lnTo>
                    <a:pt x="2734" y="1621"/>
                  </a:lnTo>
                  <a:lnTo>
                    <a:pt x="2554" y="1596"/>
                  </a:lnTo>
                  <a:lnTo>
                    <a:pt x="2522" y="1604"/>
                  </a:lnTo>
                  <a:lnTo>
                    <a:pt x="2411" y="1605"/>
                  </a:lnTo>
                  <a:lnTo>
                    <a:pt x="2351" y="1596"/>
                  </a:lnTo>
                  <a:lnTo>
                    <a:pt x="2309" y="1572"/>
                  </a:lnTo>
                  <a:lnTo>
                    <a:pt x="2262" y="1595"/>
                  </a:lnTo>
                  <a:lnTo>
                    <a:pt x="2246" y="1652"/>
                  </a:lnTo>
                  <a:cubicBezTo>
                    <a:pt x="2246" y="1653"/>
                    <a:pt x="2245" y="1654"/>
                    <a:pt x="2244" y="1655"/>
                  </a:cubicBezTo>
                  <a:cubicBezTo>
                    <a:pt x="2243" y="1655"/>
                    <a:pt x="2242" y="1656"/>
                    <a:pt x="2241" y="1656"/>
                  </a:cubicBezTo>
                  <a:lnTo>
                    <a:pt x="2240" y="1655"/>
                  </a:lnTo>
                  <a:lnTo>
                    <a:pt x="2146" y="1621"/>
                  </a:lnTo>
                  <a:lnTo>
                    <a:pt x="2088" y="1613"/>
                  </a:lnTo>
                  <a:lnTo>
                    <a:pt x="2055" y="1621"/>
                  </a:lnTo>
                  <a:lnTo>
                    <a:pt x="2055" y="1642"/>
                  </a:lnTo>
                  <a:lnTo>
                    <a:pt x="2042" y="1670"/>
                  </a:lnTo>
                  <a:lnTo>
                    <a:pt x="2020" y="1696"/>
                  </a:lnTo>
                  <a:cubicBezTo>
                    <a:pt x="2020" y="1697"/>
                    <a:pt x="2018" y="1698"/>
                    <a:pt x="2017" y="1698"/>
                  </a:cubicBezTo>
                  <a:lnTo>
                    <a:pt x="1998" y="1698"/>
                  </a:lnTo>
                  <a:lnTo>
                    <a:pt x="1978" y="1726"/>
                  </a:lnTo>
                  <a:lnTo>
                    <a:pt x="1921" y="1756"/>
                  </a:lnTo>
                  <a:lnTo>
                    <a:pt x="1863" y="1811"/>
                  </a:lnTo>
                  <a:cubicBezTo>
                    <a:pt x="1862" y="1812"/>
                    <a:pt x="1861" y="1812"/>
                    <a:pt x="1860" y="1812"/>
                  </a:cubicBezTo>
                  <a:lnTo>
                    <a:pt x="1859" y="1812"/>
                  </a:lnTo>
                  <a:lnTo>
                    <a:pt x="1787" y="1787"/>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6" name="Freeform 741"/>
            <p:cNvSpPr>
              <a:spLocks noChangeArrowheads="1"/>
            </p:cNvSpPr>
            <p:nvPr/>
          </p:nvSpPr>
          <p:spPr bwMode="auto">
            <a:xfrm>
              <a:off x="5640388" y="1736725"/>
              <a:ext cx="1227137" cy="652463"/>
            </a:xfrm>
            <a:custGeom>
              <a:avLst/>
              <a:gdLst/>
              <a:ahLst/>
              <a:cxnLst>
                <a:cxn ang="0">
                  <a:pos x="1639" y="1715"/>
                </a:cxn>
                <a:cxn ang="0">
                  <a:pos x="1541" y="1508"/>
                </a:cxn>
                <a:cxn ang="0">
                  <a:pos x="798" y="1362"/>
                </a:cxn>
                <a:cxn ang="0">
                  <a:pos x="640" y="1665"/>
                </a:cxn>
                <a:cxn ang="0">
                  <a:pos x="504" y="1628"/>
                </a:cxn>
                <a:cxn ang="0">
                  <a:pos x="297" y="1413"/>
                </a:cxn>
                <a:cxn ang="0">
                  <a:pos x="447" y="1337"/>
                </a:cxn>
                <a:cxn ang="0">
                  <a:pos x="674" y="1320"/>
                </a:cxn>
                <a:cxn ang="0">
                  <a:pos x="442" y="1127"/>
                </a:cxn>
                <a:cxn ang="0">
                  <a:pos x="157" y="1151"/>
                </a:cxn>
                <a:cxn ang="0">
                  <a:pos x="82" y="1033"/>
                </a:cxn>
                <a:cxn ang="0">
                  <a:pos x="3" y="949"/>
                </a:cxn>
                <a:cxn ang="0">
                  <a:pos x="38" y="757"/>
                </a:cxn>
                <a:cxn ang="0">
                  <a:pos x="89" y="675"/>
                </a:cxn>
                <a:cxn ang="0">
                  <a:pos x="195" y="656"/>
                </a:cxn>
                <a:cxn ang="0">
                  <a:pos x="347" y="525"/>
                </a:cxn>
                <a:cxn ang="0">
                  <a:pos x="436" y="543"/>
                </a:cxn>
                <a:cxn ang="0">
                  <a:pos x="512" y="542"/>
                </a:cxn>
                <a:cxn ang="0">
                  <a:pos x="682" y="614"/>
                </a:cxn>
                <a:cxn ang="0">
                  <a:pos x="771" y="664"/>
                </a:cxn>
                <a:cxn ang="0">
                  <a:pos x="890" y="601"/>
                </a:cxn>
                <a:cxn ang="0">
                  <a:pos x="1009" y="604"/>
                </a:cxn>
                <a:cxn ang="0">
                  <a:pos x="1108" y="673"/>
                </a:cxn>
                <a:cxn ang="0">
                  <a:pos x="1265" y="575"/>
                </a:cxn>
                <a:cxn ang="0">
                  <a:pos x="1153" y="508"/>
                </a:cxn>
                <a:cxn ang="0">
                  <a:pos x="1211" y="421"/>
                </a:cxn>
                <a:cxn ang="0">
                  <a:pos x="1306" y="335"/>
                </a:cxn>
                <a:cxn ang="0">
                  <a:pos x="1250" y="266"/>
                </a:cxn>
                <a:cxn ang="0">
                  <a:pos x="1209" y="216"/>
                </a:cxn>
                <a:cxn ang="0">
                  <a:pos x="1265" y="208"/>
                </a:cxn>
                <a:cxn ang="0">
                  <a:pos x="1394" y="195"/>
                </a:cxn>
                <a:cxn ang="0">
                  <a:pos x="1473" y="166"/>
                </a:cxn>
                <a:cxn ang="0">
                  <a:pos x="1810" y="65"/>
                </a:cxn>
                <a:cxn ang="0">
                  <a:pos x="1937" y="9"/>
                </a:cxn>
                <a:cxn ang="0">
                  <a:pos x="2047" y="34"/>
                </a:cxn>
                <a:cxn ang="0">
                  <a:pos x="2066" y="182"/>
                </a:cxn>
                <a:cxn ang="0">
                  <a:pos x="2154" y="153"/>
                </a:cxn>
                <a:cxn ang="0">
                  <a:pos x="2173" y="194"/>
                </a:cxn>
                <a:cxn ang="0">
                  <a:pos x="2269" y="196"/>
                </a:cxn>
                <a:cxn ang="0">
                  <a:pos x="2257" y="237"/>
                </a:cxn>
                <a:cxn ang="0">
                  <a:pos x="2334" y="265"/>
                </a:cxn>
                <a:cxn ang="0">
                  <a:pos x="2465" y="174"/>
                </a:cxn>
                <a:cxn ang="0">
                  <a:pos x="2540" y="174"/>
                </a:cxn>
                <a:cxn ang="0">
                  <a:pos x="2847" y="583"/>
                </a:cxn>
                <a:cxn ang="0">
                  <a:pos x="2907" y="607"/>
                </a:cxn>
                <a:cxn ang="0">
                  <a:pos x="3053" y="627"/>
                </a:cxn>
                <a:cxn ang="0">
                  <a:pos x="3157" y="664"/>
                </a:cxn>
                <a:cxn ang="0">
                  <a:pos x="3319" y="808"/>
                </a:cxn>
                <a:cxn ang="0">
                  <a:pos x="3406" y="858"/>
                </a:cxn>
                <a:cxn ang="0">
                  <a:pos x="3263" y="1118"/>
                </a:cxn>
                <a:cxn ang="0">
                  <a:pos x="3045" y="1110"/>
                </a:cxn>
                <a:cxn ang="0">
                  <a:pos x="2852" y="1561"/>
                </a:cxn>
                <a:cxn ang="0">
                  <a:pos x="2734" y="1621"/>
                </a:cxn>
                <a:cxn ang="0">
                  <a:pos x="2262" y="1595"/>
                </a:cxn>
                <a:cxn ang="0">
                  <a:pos x="2088" y="1613"/>
                </a:cxn>
                <a:cxn ang="0">
                  <a:pos x="1998" y="1698"/>
                </a:cxn>
              </a:cxnLst>
              <a:rect l="0" t="0" r="r" b="b"/>
              <a:pathLst>
                <a:path w="3408" h="1813">
                  <a:moveTo>
                    <a:pt x="1859" y="1812"/>
                  </a:moveTo>
                  <a:lnTo>
                    <a:pt x="1787" y="1787"/>
                  </a:lnTo>
                  <a:lnTo>
                    <a:pt x="1704" y="1795"/>
                  </a:lnTo>
                  <a:cubicBezTo>
                    <a:pt x="1701" y="1795"/>
                    <a:pt x="1700" y="1794"/>
                    <a:pt x="1699" y="1791"/>
                  </a:cubicBezTo>
                  <a:lnTo>
                    <a:pt x="1687" y="1723"/>
                  </a:lnTo>
                  <a:lnTo>
                    <a:pt x="1639" y="1715"/>
                  </a:lnTo>
                  <a:cubicBezTo>
                    <a:pt x="1637" y="1714"/>
                    <a:pt x="1635" y="1712"/>
                    <a:pt x="1635" y="1710"/>
                  </a:cubicBezTo>
                  <a:lnTo>
                    <a:pt x="1643" y="1605"/>
                  </a:lnTo>
                  <a:lnTo>
                    <a:pt x="1627" y="1605"/>
                  </a:lnTo>
                  <a:cubicBezTo>
                    <a:pt x="1626" y="1605"/>
                    <a:pt x="1624" y="1604"/>
                    <a:pt x="1623" y="1602"/>
                  </a:cubicBezTo>
                  <a:lnTo>
                    <a:pt x="1598" y="1552"/>
                  </a:lnTo>
                  <a:lnTo>
                    <a:pt x="1541" y="1508"/>
                  </a:lnTo>
                  <a:lnTo>
                    <a:pt x="1301" y="1537"/>
                  </a:lnTo>
                  <a:cubicBezTo>
                    <a:pt x="1300" y="1537"/>
                    <a:pt x="1299" y="1537"/>
                    <a:pt x="1298" y="1536"/>
                  </a:cubicBezTo>
                  <a:lnTo>
                    <a:pt x="1133" y="1371"/>
                  </a:lnTo>
                  <a:lnTo>
                    <a:pt x="1053" y="1312"/>
                  </a:lnTo>
                  <a:lnTo>
                    <a:pt x="1009" y="1292"/>
                  </a:lnTo>
                  <a:lnTo>
                    <a:pt x="798" y="1362"/>
                  </a:lnTo>
                  <a:lnTo>
                    <a:pt x="802" y="1774"/>
                  </a:lnTo>
                  <a:cubicBezTo>
                    <a:pt x="802" y="1776"/>
                    <a:pt x="800" y="1778"/>
                    <a:pt x="798" y="1778"/>
                  </a:cubicBezTo>
                  <a:lnTo>
                    <a:pt x="746" y="1787"/>
                  </a:lnTo>
                  <a:cubicBezTo>
                    <a:pt x="745" y="1787"/>
                    <a:pt x="743" y="1786"/>
                    <a:pt x="742" y="1784"/>
                  </a:cubicBezTo>
                  <a:lnTo>
                    <a:pt x="683" y="1687"/>
                  </a:lnTo>
                  <a:lnTo>
                    <a:pt x="640" y="1665"/>
                  </a:lnTo>
                  <a:lnTo>
                    <a:pt x="548" y="1689"/>
                  </a:lnTo>
                  <a:lnTo>
                    <a:pt x="495" y="1727"/>
                  </a:lnTo>
                  <a:cubicBezTo>
                    <a:pt x="494" y="1727"/>
                    <a:pt x="493" y="1728"/>
                    <a:pt x="492" y="1728"/>
                  </a:cubicBezTo>
                  <a:cubicBezTo>
                    <a:pt x="491" y="1728"/>
                    <a:pt x="490" y="1727"/>
                    <a:pt x="490" y="1727"/>
                  </a:cubicBezTo>
                  <a:cubicBezTo>
                    <a:pt x="488" y="1726"/>
                    <a:pt x="487" y="1724"/>
                    <a:pt x="487" y="1722"/>
                  </a:cubicBezTo>
                  <a:lnTo>
                    <a:pt x="504" y="1628"/>
                  </a:lnTo>
                  <a:lnTo>
                    <a:pt x="397" y="1583"/>
                  </a:lnTo>
                  <a:cubicBezTo>
                    <a:pt x="396" y="1583"/>
                    <a:pt x="395" y="1582"/>
                    <a:pt x="394" y="1580"/>
                  </a:cubicBezTo>
                  <a:lnTo>
                    <a:pt x="369" y="1487"/>
                  </a:lnTo>
                  <a:lnTo>
                    <a:pt x="294" y="1422"/>
                  </a:lnTo>
                  <a:cubicBezTo>
                    <a:pt x="293" y="1420"/>
                    <a:pt x="292" y="1418"/>
                    <a:pt x="293" y="1417"/>
                  </a:cubicBezTo>
                  <a:cubicBezTo>
                    <a:pt x="294" y="1415"/>
                    <a:pt x="295" y="1413"/>
                    <a:pt x="297" y="1413"/>
                  </a:cubicBezTo>
                  <a:lnTo>
                    <a:pt x="408" y="1413"/>
                  </a:lnTo>
                  <a:lnTo>
                    <a:pt x="386" y="1370"/>
                  </a:lnTo>
                  <a:cubicBezTo>
                    <a:pt x="385" y="1368"/>
                    <a:pt x="385" y="1367"/>
                    <a:pt x="386" y="1365"/>
                  </a:cubicBezTo>
                  <a:lnTo>
                    <a:pt x="399" y="1340"/>
                  </a:lnTo>
                  <a:cubicBezTo>
                    <a:pt x="400" y="1338"/>
                    <a:pt x="401" y="1337"/>
                    <a:pt x="403" y="1337"/>
                  </a:cubicBezTo>
                  <a:lnTo>
                    <a:pt x="447" y="1337"/>
                  </a:lnTo>
                  <a:lnTo>
                    <a:pt x="467" y="1314"/>
                  </a:lnTo>
                  <a:cubicBezTo>
                    <a:pt x="468" y="1313"/>
                    <a:pt x="469" y="1312"/>
                    <a:pt x="471" y="1312"/>
                  </a:cubicBezTo>
                  <a:lnTo>
                    <a:pt x="673" y="1349"/>
                  </a:lnTo>
                  <a:lnTo>
                    <a:pt x="669" y="1326"/>
                  </a:lnTo>
                  <a:cubicBezTo>
                    <a:pt x="669" y="1324"/>
                    <a:pt x="670" y="1323"/>
                    <a:pt x="671" y="1322"/>
                  </a:cubicBezTo>
                  <a:cubicBezTo>
                    <a:pt x="672" y="1321"/>
                    <a:pt x="673" y="1320"/>
                    <a:pt x="674" y="1320"/>
                  </a:cubicBezTo>
                  <a:lnTo>
                    <a:pt x="680" y="1320"/>
                  </a:lnTo>
                  <a:lnTo>
                    <a:pt x="674" y="1301"/>
                  </a:lnTo>
                  <a:lnTo>
                    <a:pt x="616" y="1257"/>
                  </a:lnTo>
                  <a:lnTo>
                    <a:pt x="552" y="1146"/>
                  </a:lnTo>
                  <a:lnTo>
                    <a:pt x="508" y="1110"/>
                  </a:lnTo>
                  <a:lnTo>
                    <a:pt x="442" y="1127"/>
                  </a:lnTo>
                  <a:lnTo>
                    <a:pt x="366" y="1102"/>
                  </a:lnTo>
                  <a:lnTo>
                    <a:pt x="318" y="1151"/>
                  </a:lnTo>
                  <a:lnTo>
                    <a:pt x="171" y="1182"/>
                  </a:lnTo>
                  <a:lnTo>
                    <a:pt x="156" y="1177"/>
                  </a:lnTo>
                  <a:cubicBezTo>
                    <a:pt x="154" y="1177"/>
                    <a:pt x="152" y="1174"/>
                    <a:pt x="153" y="1172"/>
                  </a:cubicBezTo>
                  <a:lnTo>
                    <a:pt x="157" y="1151"/>
                  </a:lnTo>
                  <a:cubicBezTo>
                    <a:pt x="158" y="1149"/>
                    <a:pt x="159" y="1147"/>
                    <a:pt x="162" y="1147"/>
                  </a:cubicBezTo>
                  <a:lnTo>
                    <a:pt x="201" y="1147"/>
                  </a:lnTo>
                  <a:lnTo>
                    <a:pt x="170" y="1069"/>
                  </a:lnTo>
                  <a:lnTo>
                    <a:pt x="142" y="1033"/>
                  </a:lnTo>
                  <a:lnTo>
                    <a:pt x="82" y="1026"/>
                  </a:lnTo>
                  <a:lnTo>
                    <a:pt x="82" y="1033"/>
                  </a:lnTo>
                  <a:cubicBezTo>
                    <a:pt x="82" y="1035"/>
                    <a:pt x="80" y="1037"/>
                    <a:pt x="79" y="1037"/>
                  </a:cubicBezTo>
                  <a:cubicBezTo>
                    <a:pt x="78" y="1038"/>
                    <a:pt x="78" y="1038"/>
                    <a:pt x="77" y="1038"/>
                  </a:cubicBezTo>
                  <a:cubicBezTo>
                    <a:pt x="76" y="1038"/>
                    <a:pt x="74" y="1037"/>
                    <a:pt x="74" y="1036"/>
                  </a:cubicBezTo>
                  <a:lnTo>
                    <a:pt x="57" y="1020"/>
                  </a:lnTo>
                  <a:lnTo>
                    <a:pt x="43" y="965"/>
                  </a:lnTo>
                  <a:lnTo>
                    <a:pt x="3" y="949"/>
                  </a:lnTo>
                  <a:cubicBezTo>
                    <a:pt x="1" y="948"/>
                    <a:pt x="0" y="945"/>
                    <a:pt x="0" y="943"/>
                  </a:cubicBezTo>
                  <a:lnTo>
                    <a:pt x="17" y="880"/>
                  </a:lnTo>
                  <a:lnTo>
                    <a:pt x="45" y="855"/>
                  </a:lnTo>
                  <a:lnTo>
                    <a:pt x="27" y="833"/>
                  </a:lnTo>
                  <a:cubicBezTo>
                    <a:pt x="26" y="832"/>
                    <a:pt x="25" y="831"/>
                    <a:pt x="26" y="829"/>
                  </a:cubicBezTo>
                  <a:lnTo>
                    <a:pt x="38" y="757"/>
                  </a:lnTo>
                  <a:cubicBezTo>
                    <a:pt x="39" y="756"/>
                    <a:pt x="39" y="755"/>
                    <a:pt x="40" y="754"/>
                  </a:cubicBezTo>
                  <a:lnTo>
                    <a:pt x="68" y="734"/>
                  </a:lnTo>
                  <a:lnTo>
                    <a:pt x="81" y="677"/>
                  </a:lnTo>
                  <a:cubicBezTo>
                    <a:pt x="81" y="675"/>
                    <a:pt x="83" y="674"/>
                    <a:pt x="84" y="673"/>
                  </a:cubicBezTo>
                  <a:cubicBezTo>
                    <a:pt x="85" y="673"/>
                    <a:pt x="85" y="673"/>
                    <a:pt x="85" y="673"/>
                  </a:cubicBezTo>
                  <a:cubicBezTo>
                    <a:pt x="87" y="673"/>
                    <a:pt x="88" y="674"/>
                    <a:pt x="89" y="675"/>
                  </a:cubicBezTo>
                  <a:lnTo>
                    <a:pt x="163" y="769"/>
                  </a:lnTo>
                  <a:lnTo>
                    <a:pt x="194" y="744"/>
                  </a:lnTo>
                  <a:lnTo>
                    <a:pt x="170" y="667"/>
                  </a:lnTo>
                  <a:cubicBezTo>
                    <a:pt x="169" y="665"/>
                    <a:pt x="170" y="664"/>
                    <a:pt x="170" y="663"/>
                  </a:cubicBezTo>
                  <a:cubicBezTo>
                    <a:pt x="171" y="662"/>
                    <a:pt x="172" y="661"/>
                    <a:pt x="173" y="661"/>
                  </a:cubicBezTo>
                  <a:lnTo>
                    <a:pt x="195" y="656"/>
                  </a:lnTo>
                  <a:lnTo>
                    <a:pt x="234" y="633"/>
                  </a:lnTo>
                  <a:lnTo>
                    <a:pt x="242" y="601"/>
                  </a:lnTo>
                  <a:cubicBezTo>
                    <a:pt x="242" y="599"/>
                    <a:pt x="243" y="598"/>
                    <a:pt x="245" y="597"/>
                  </a:cubicBezTo>
                  <a:lnTo>
                    <a:pt x="313" y="572"/>
                  </a:lnTo>
                  <a:lnTo>
                    <a:pt x="344" y="527"/>
                  </a:lnTo>
                  <a:cubicBezTo>
                    <a:pt x="345" y="526"/>
                    <a:pt x="346" y="525"/>
                    <a:pt x="347" y="525"/>
                  </a:cubicBezTo>
                  <a:lnTo>
                    <a:pt x="399" y="517"/>
                  </a:lnTo>
                  <a:cubicBezTo>
                    <a:pt x="401" y="517"/>
                    <a:pt x="403" y="518"/>
                    <a:pt x="403" y="520"/>
                  </a:cubicBezTo>
                  <a:lnTo>
                    <a:pt x="411" y="541"/>
                  </a:lnTo>
                  <a:lnTo>
                    <a:pt x="429" y="538"/>
                  </a:lnTo>
                  <a:cubicBezTo>
                    <a:pt x="430" y="538"/>
                    <a:pt x="431" y="538"/>
                    <a:pt x="432" y="539"/>
                  </a:cubicBezTo>
                  <a:lnTo>
                    <a:pt x="436" y="543"/>
                  </a:lnTo>
                  <a:lnTo>
                    <a:pt x="450" y="515"/>
                  </a:lnTo>
                  <a:cubicBezTo>
                    <a:pt x="450" y="514"/>
                    <a:pt x="452" y="513"/>
                    <a:pt x="453" y="512"/>
                  </a:cubicBezTo>
                  <a:lnTo>
                    <a:pt x="479" y="508"/>
                  </a:lnTo>
                  <a:lnTo>
                    <a:pt x="492" y="508"/>
                  </a:lnTo>
                  <a:cubicBezTo>
                    <a:pt x="494" y="508"/>
                    <a:pt x="496" y="509"/>
                    <a:pt x="496" y="511"/>
                  </a:cubicBezTo>
                  <a:lnTo>
                    <a:pt x="512" y="542"/>
                  </a:lnTo>
                  <a:lnTo>
                    <a:pt x="589" y="542"/>
                  </a:lnTo>
                  <a:cubicBezTo>
                    <a:pt x="591" y="542"/>
                    <a:pt x="592" y="543"/>
                    <a:pt x="593" y="544"/>
                  </a:cubicBezTo>
                  <a:lnTo>
                    <a:pt x="669" y="632"/>
                  </a:lnTo>
                  <a:lnTo>
                    <a:pt x="678" y="668"/>
                  </a:lnTo>
                  <a:lnTo>
                    <a:pt x="682" y="666"/>
                  </a:lnTo>
                  <a:lnTo>
                    <a:pt x="682" y="614"/>
                  </a:lnTo>
                  <a:cubicBezTo>
                    <a:pt x="682" y="612"/>
                    <a:pt x="684" y="611"/>
                    <a:pt x="685" y="610"/>
                  </a:cubicBezTo>
                  <a:lnTo>
                    <a:pt x="698" y="606"/>
                  </a:lnTo>
                  <a:cubicBezTo>
                    <a:pt x="699" y="606"/>
                    <a:pt x="699" y="605"/>
                    <a:pt x="700" y="605"/>
                  </a:cubicBezTo>
                  <a:cubicBezTo>
                    <a:pt x="701" y="605"/>
                    <a:pt x="703" y="606"/>
                    <a:pt x="704" y="607"/>
                  </a:cubicBezTo>
                  <a:lnTo>
                    <a:pt x="729" y="646"/>
                  </a:lnTo>
                  <a:lnTo>
                    <a:pt x="771" y="664"/>
                  </a:lnTo>
                  <a:lnTo>
                    <a:pt x="828" y="615"/>
                  </a:lnTo>
                  <a:cubicBezTo>
                    <a:pt x="829" y="614"/>
                    <a:pt x="830" y="614"/>
                    <a:pt x="831" y="614"/>
                  </a:cubicBezTo>
                  <a:lnTo>
                    <a:pt x="852" y="617"/>
                  </a:lnTo>
                  <a:lnTo>
                    <a:pt x="852" y="610"/>
                  </a:lnTo>
                  <a:cubicBezTo>
                    <a:pt x="852" y="608"/>
                    <a:pt x="853" y="606"/>
                    <a:pt x="856" y="605"/>
                  </a:cubicBezTo>
                  <a:lnTo>
                    <a:pt x="890" y="601"/>
                  </a:lnTo>
                  <a:cubicBezTo>
                    <a:pt x="891" y="601"/>
                    <a:pt x="892" y="602"/>
                    <a:pt x="893" y="602"/>
                  </a:cubicBezTo>
                  <a:lnTo>
                    <a:pt x="920" y="625"/>
                  </a:lnTo>
                  <a:lnTo>
                    <a:pt x="947" y="602"/>
                  </a:lnTo>
                  <a:lnTo>
                    <a:pt x="983" y="597"/>
                  </a:lnTo>
                  <a:lnTo>
                    <a:pt x="1006" y="601"/>
                  </a:lnTo>
                  <a:cubicBezTo>
                    <a:pt x="1007" y="602"/>
                    <a:pt x="1008" y="603"/>
                    <a:pt x="1009" y="604"/>
                  </a:cubicBezTo>
                  <a:lnTo>
                    <a:pt x="1033" y="656"/>
                  </a:lnTo>
                  <a:lnTo>
                    <a:pt x="1081" y="656"/>
                  </a:lnTo>
                  <a:cubicBezTo>
                    <a:pt x="1083" y="656"/>
                    <a:pt x="1086" y="658"/>
                    <a:pt x="1086" y="661"/>
                  </a:cubicBezTo>
                  <a:cubicBezTo>
                    <a:pt x="1086" y="662"/>
                    <a:pt x="1085" y="664"/>
                    <a:pt x="1084" y="665"/>
                  </a:cubicBezTo>
                  <a:lnTo>
                    <a:pt x="1088" y="673"/>
                  </a:lnTo>
                  <a:lnTo>
                    <a:pt x="1108" y="673"/>
                  </a:lnTo>
                  <a:lnTo>
                    <a:pt x="1132" y="633"/>
                  </a:lnTo>
                  <a:cubicBezTo>
                    <a:pt x="1133" y="632"/>
                    <a:pt x="1134" y="631"/>
                    <a:pt x="1136" y="631"/>
                  </a:cubicBezTo>
                  <a:cubicBezTo>
                    <a:pt x="1137" y="631"/>
                    <a:pt x="1138" y="631"/>
                    <a:pt x="1138" y="631"/>
                  </a:cubicBezTo>
                  <a:lnTo>
                    <a:pt x="1179" y="656"/>
                  </a:lnTo>
                  <a:lnTo>
                    <a:pt x="1242" y="640"/>
                  </a:lnTo>
                  <a:lnTo>
                    <a:pt x="1265" y="575"/>
                  </a:lnTo>
                  <a:lnTo>
                    <a:pt x="1211" y="560"/>
                  </a:lnTo>
                  <a:cubicBezTo>
                    <a:pt x="1210" y="559"/>
                    <a:pt x="1209" y="559"/>
                    <a:pt x="1208" y="558"/>
                  </a:cubicBezTo>
                  <a:lnTo>
                    <a:pt x="1196" y="538"/>
                  </a:lnTo>
                  <a:lnTo>
                    <a:pt x="1160" y="530"/>
                  </a:lnTo>
                  <a:cubicBezTo>
                    <a:pt x="1158" y="530"/>
                    <a:pt x="1157" y="528"/>
                    <a:pt x="1157" y="526"/>
                  </a:cubicBezTo>
                  <a:lnTo>
                    <a:pt x="1153" y="508"/>
                  </a:lnTo>
                  <a:lnTo>
                    <a:pt x="1130" y="500"/>
                  </a:lnTo>
                  <a:cubicBezTo>
                    <a:pt x="1128" y="500"/>
                    <a:pt x="1127" y="498"/>
                    <a:pt x="1127" y="496"/>
                  </a:cubicBezTo>
                  <a:lnTo>
                    <a:pt x="1127" y="488"/>
                  </a:lnTo>
                  <a:cubicBezTo>
                    <a:pt x="1127" y="486"/>
                    <a:pt x="1128" y="484"/>
                    <a:pt x="1129" y="483"/>
                  </a:cubicBezTo>
                  <a:lnTo>
                    <a:pt x="1204" y="442"/>
                  </a:lnTo>
                  <a:lnTo>
                    <a:pt x="1211" y="421"/>
                  </a:lnTo>
                  <a:lnTo>
                    <a:pt x="1183" y="385"/>
                  </a:lnTo>
                  <a:cubicBezTo>
                    <a:pt x="1181" y="383"/>
                    <a:pt x="1182" y="380"/>
                    <a:pt x="1183" y="378"/>
                  </a:cubicBezTo>
                  <a:lnTo>
                    <a:pt x="1217" y="344"/>
                  </a:lnTo>
                  <a:cubicBezTo>
                    <a:pt x="1218" y="344"/>
                    <a:pt x="1219" y="343"/>
                    <a:pt x="1221" y="343"/>
                  </a:cubicBezTo>
                  <a:lnTo>
                    <a:pt x="1297" y="343"/>
                  </a:lnTo>
                  <a:lnTo>
                    <a:pt x="1306" y="335"/>
                  </a:lnTo>
                  <a:lnTo>
                    <a:pt x="1281" y="313"/>
                  </a:lnTo>
                  <a:lnTo>
                    <a:pt x="1233" y="310"/>
                  </a:lnTo>
                  <a:cubicBezTo>
                    <a:pt x="1231" y="310"/>
                    <a:pt x="1229" y="308"/>
                    <a:pt x="1229" y="306"/>
                  </a:cubicBezTo>
                  <a:lnTo>
                    <a:pt x="1224" y="281"/>
                  </a:lnTo>
                  <a:cubicBezTo>
                    <a:pt x="1224" y="279"/>
                    <a:pt x="1225" y="277"/>
                    <a:pt x="1227" y="276"/>
                  </a:cubicBezTo>
                  <a:lnTo>
                    <a:pt x="1250" y="266"/>
                  </a:lnTo>
                  <a:lnTo>
                    <a:pt x="1249" y="264"/>
                  </a:lnTo>
                  <a:lnTo>
                    <a:pt x="1216" y="268"/>
                  </a:lnTo>
                  <a:cubicBezTo>
                    <a:pt x="1215" y="268"/>
                    <a:pt x="1214" y="267"/>
                    <a:pt x="1213" y="266"/>
                  </a:cubicBezTo>
                  <a:cubicBezTo>
                    <a:pt x="1212" y="265"/>
                    <a:pt x="1211" y="263"/>
                    <a:pt x="1212" y="262"/>
                  </a:cubicBezTo>
                  <a:lnTo>
                    <a:pt x="1224" y="230"/>
                  </a:lnTo>
                  <a:lnTo>
                    <a:pt x="1209" y="216"/>
                  </a:lnTo>
                  <a:cubicBezTo>
                    <a:pt x="1208" y="215"/>
                    <a:pt x="1207" y="213"/>
                    <a:pt x="1207" y="211"/>
                  </a:cubicBezTo>
                  <a:cubicBezTo>
                    <a:pt x="1208" y="210"/>
                    <a:pt x="1209" y="208"/>
                    <a:pt x="1211" y="208"/>
                  </a:cubicBezTo>
                  <a:lnTo>
                    <a:pt x="1253" y="195"/>
                  </a:lnTo>
                  <a:lnTo>
                    <a:pt x="1254" y="195"/>
                  </a:lnTo>
                  <a:cubicBezTo>
                    <a:pt x="1256" y="195"/>
                    <a:pt x="1257" y="196"/>
                    <a:pt x="1258" y="197"/>
                  </a:cubicBezTo>
                  <a:lnTo>
                    <a:pt x="1265" y="208"/>
                  </a:lnTo>
                  <a:lnTo>
                    <a:pt x="1335" y="203"/>
                  </a:lnTo>
                  <a:cubicBezTo>
                    <a:pt x="1337" y="203"/>
                    <a:pt x="1338" y="204"/>
                    <a:pt x="1339" y="205"/>
                  </a:cubicBezTo>
                  <a:lnTo>
                    <a:pt x="1343" y="212"/>
                  </a:lnTo>
                  <a:lnTo>
                    <a:pt x="1352" y="197"/>
                  </a:lnTo>
                  <a:cubicBezTo>
                    <a:pt x="1353" y="196"/>
                    <a:pt x="1355" y="195"/>
                    <a:pt x="1356" y="195"/>
                  </a:cubicBezTo>
                  <a:lnTo>
                    <a:pt x="1394" y="195"/>
                  </a:lnTo>
                  <a:lnTo>
                    <a:pt x="1434" y="166"/>
                  </a:lnTo>
                  <a:cubicBezTo>
                    <a:pt x="1435" y="166"/>
                    <a:pt x="1436" y="165"/>
                    <a:pt x="1437" y="165"/>
                  </a:cubicBezTo>
                  <a:lnTo>
                    <a:pt x="1438" y="166"/>
                  </a:lnTo>
                  <a:lnTo>
                    <a:pt x="1468" y="177"/>
                  </a:lnTo>
                  <a:lnTo>
                    <a:pt x="1470" y="169"/>
                  </a:lnTo>
                  <a:cubicBezTo>
                    <a:pt x="1471" y="167"/>
                    <a:pt x="1472" y="166"/>
                    <a:pt x="1473" y="166"/>
                  </a:cubicBezTo>
                  <a:lnTo>
                    <a:pt x="1507" y="153"/>
                  </a:lnTo>
                  <a:lnTo>
                    <a:pt x="1552" y="153"/>
                  </a:lnTo>
                  <a:lnTo>
                    <a:pt x="1563" y="122"/>
                  </a:lnTo>
                  <a:cubicBezTo>
                    <a:pt x="1564" y="120"/>
                    <a:pt x="1565" y="119"/>
                    <a:pt x="1567" y="119"/>
                  </a:cubicBezTo>
                  <a:lnTo>
                    <a:pt x="1630" y="106"/>
                  </a:lnTo>
                  <a:lnTo>
                    <a:pt x="1810" y="65"/>
                  </a:lnTo>
                  <a:lnTo>
                    <a:pt x="1817" y="34"/>
                  </a:lnTo>
                  <a:cubicBezTo>
                    <a:pt x="1818" y="32"/>
                    <a:pt x="1819" y="31"/>
                    <a:pt x="1821" y="30"/>
                  </a:cubicBezTo>
                  <a:lnTo>
                    <a:pt x="1842" y="26"/>
                  </a:lnTo>
                  <a:lnTo>
                    <a:pt x="1879" y="1"/>
                  </a:lnTo>
                  <a:cubicBezTo>
                    <a:pt x="1880" y="1"/>
                    <a:pt x="1880" y="0"/>
                    <a:pt x="1881" y="0"/>
                  </a:cubicBezTo>
                  <a:lnTo>
                    <a:pt x="1937" y="9"/>
                  </a:lnTo>
                  <a:lnTo>
                    <a:pt x="1979" y="34"/>
                  </a:lnTo>
                  <a:lnTo>
                    <a:pt x="2020" y="18"/>
                  </a:lnTo>
                  <a:lnTo>
                    <a:pt x="2021" y="17"/>
                  </a:lnTo>
                  <a:cubicBezTo>
                    <a:pt x="2022" y="17"/>
                    <a:pt x="2023" y="18"/>
                    <a:pt x="2024" y="18"/>
                  </a:cubicBezTo>
                  <a:lnTo>
                    <a:pt x="2045" y="31"/>
                  </a:lnTo>
                  <a:cubicBezTo>
                    <a:pt x="2046" y="32"/>
                    <a:pt x="2047" y="33"/>
                    <a:pt x="2047" y="34"/>
                  </a:cubicBezTo>
                  <a:lnTo>
                    <a:pt x="2055" y="92"/>
                  </a:lnTo>
                  <a:lnTo>
                    <a:pt x="2075" y="107"/>
                  </a:lnTo>
                  <a:cubicBezTo>
                    <a:pt x="2076" y="108"/>
                    <a:pt x="2077" y="110"/>
                    <a:pt x="2077" y="111"/>
                  </a:cubicBezTo>
                  <a:lnTo>
                    <a:pt x="2072" y="145"/>
                  </a:lnTo>
                  <a:lnTo>
                    <a:pt x="2056" y="166"/>
                  </a:lnTo>
                  <a:lnTo>
                    <a:pt x="2066" y="182"/>
                  </a:lnTo>
                  <a:lnTo>
                    <a:pt x="2132" y="174"/>
                  </a:lnTo>
                  <a:lnTo>
                    <a:pt x="2135" y="153"/>
                  </a:lnTo>
                  <a:cubicBezTo>
                    <a:pt x="2135" y="151"/>
                    <a:pt x="2136" y="150"/>
                    <a:pt x="2137" y="149"/>
                  </a:cubicBezTo>
                  <a:cubicBezTo>
                    <a:pt x="2138" y="149"/>
                    <a:pt x="2139" y="149"/>
                    <a:pt x="2140" y="149"/>
                  </a:cubicBezTo>
                  <a:lnTo>
                    <a:pt x="2141" y="149"/>
                  </a:lnTo>
                  <a:lnTo>
                    <a:pt x="2154" y="153"/>
                  </a:lnTo>
                  <a:cubicBezTo>
                    <a:pt x="2155" y="153"/>
                    <a:pt x="2156" y="154"/>
                    <a:pt x="2157" y="155"/>
                  </a:cubicBezTo>
                  <a:lnTo>
                    <a:pt x="2174" y="185"/>
                  </a:lnTo>
                  <a:lnTo>
                    <a:pt x="2171" y="208"/>
                  </a:lnTo>
                  <a:lnTo>
                    <a:pt x="2179" y="208"/>
                  </a:lnTo>
                  <a:lnTo>
                    <a:pt x="2174" y="198"/>
                  </a:lnTo>
                  <a:cubicBezTo>
                    <a:pt x="2173" y="197"/>
                    <a:pt x="2173" y="195"/>
                    <a:pt x="2173" y="194"/>
                  </a:cubicBezTo>
                  <a:cubicBezTo>
                    <a:pt x="2174" y="193"/>
                    <a:pt x="2175" y="192"/>
                    <a:pt x="2176" y="191"/>
                  </a:cubicBezTo>
                  <a:lnTo>
                    <a:pt x="2184" y="187"/>
                  </a:lnTo>
                  <a:cubicBezTo>
                    <a:pt x="2185" y="187"/>
                    <a:pt x="2185" y="187"/>
                    <a:pt x="2186" y="187"/>
                  </a:cubicBezTo>
                  <a:cubicBezTo>
                    <a:pt x="2187" y="187"/>
                    <a:pt x="2188" y="187"/>
                    <a:pt x="2188" y="187"/>
                  </a:cubicBezTo>
                  <a:lnTo>
                    <a:pt x="2241" y="211"/>
                  </a:lnTo>
                  <a:lnTo>
                    <a:pt x="2269" y="196"/>
                  </a:lnTo>
                  <a:cubicBezTo>
                    <a:pt x="2269" y="195"/>
                    <a:pt x="2270" y="195"/>
                    <a:pt x="2271" y="195"/>
                  </a:cubicBezTo>
                  <a:cubicBezTo>
                    <a:pt x="2272" y="195"/>
                    <a:pt x="2272" y="195"/>
                    <a:pt x="2273" y="196"/>
                  </a:cubicBezTo>
                  <a:cubicBezTo>
                    <a:pt x="2275" y="196"/>
                    <a:pt x="2275" y="197"/>
                    <a:pt x="2276" y="199"/>
                  </a:cubicBezTo>
                  <a:lnTo>
                    <a:pt x="2280" y="224"/>
                  </a:lnTo>
                  <a:cubicBezTo>
                    <a:pt x="2280" y="226"/>
                    <a:pt x="2279" y="229"/>
                    <a:pt x="2277" y="230"/>
                  </a:cubicBezTo>
                  <a:lnTo>
                    <a:pt x="2257" y="237"/>
                  </a:lnTo>
                  <a:lnTo>
                    <a:pt x="2246" y="259"/>
                  </a:lnTo>
                  <a:lnTo>
                    <a:pt x="2252" y="274"/>
                  </a:lnTo>
                  <a:lnTo>
                    <a:pt x="2290" y="255"/>
                  </a:lnTo>
                  <a:cubicBezTo>
                    <a:pt x="2291" y="255"/>
                    <a:pt x="2291" y="254"/>
                    <a:pt x="2292" y="254"/>
                  </a:cubicBezTo>
                  <a:lnTo>
                    <a:pt x="2293" y="254"/>
                  </a:lnTo>
                  <a:lnTo>
                    <a:pt x="2334" y="265"/>
                  </a:lnTo>
                  <a:lnTo>
                    <a:pt x="2334" y="250"/>
                  </a:lnTo>
                  <a:cubicBezTo>
                    <a:pt x="2334" y="249"/>
                    <a:pt x="2335" y="247"/>
                    <a:pt x="2337" y="246"/>
                  </a:cubicBezTo>
                  <a:lnTo>
                    <a:pt x="2392" y="225"/>
                  </a:lnTo>
                  <a:lnTo>
                    <a:pt x="2428" y="180"/>
                  </a:lnTo>
                  <a:cubicBezTo>
                    <a:pt x="2429" y="179"/>
                    <a:pt x="2430" y="178"/>
                    <a:pt x="2431" y="178"/>
                  </a:cubicBezTo>
                  <a:lnTo>
                    <a:pt x="2465" y="174"/>
                  </a:lnTo>
                  <a:lnTo>
                    <a:pt x="2528" y="145"/>
                  </a:lnTo>
                  <a:cubicBezTo>
                    <a:pt x="2528" y="144"/>
                    <a:pt x="2529" y="144"/>
                    <a:pt x="2529" y="144"/>
                  </a:cubicBezTo>
                  <a:cubicBezTo>
                    <a:pt x="2530" y="144"/>
                    <a:pt x="2531" y="144"/>
                    <a:pt x="2531" y="145"/>
                  </a:cubicBezTo>
                  <a:cubicBezTo>
                    <a:pt x="2532" y="145"/>
                    <a:pt x="2533" y="146"/>
                    <a:pt x="2534" y="147"/>
                  </a:cubicBezTo>
                  <a:lnTo>
                    <a:pt x="2542" y="168"/>
                  </a:lnTo>
                  <a:cubicBezTo>
                    <a:pt x="2543" y="171"/>
                    <a:pt x="2542" y="173"/>
                    <a:pt x="2540" y="174"/>
                  </a:cubicBezTo>
                  <a:lnTo>
                    <a:pt x="2513" y="190"/>
                  </a:lnTo>
                  <a:lnTo>
                    <a:pt x="2513" y="206"/>
                  </a:lnTo>
                  <a:lnTo>
                    <a:pt x="2630" y="306"/>
                  </a:lnTo>
                  <a:lnTo>
                    <a:pt x="2810" y="637"/>
                  </a:lnTo>
                  <a:lnTo>
                    <a:pt x="2827" y="623"/>
                  </a:lnTo>
                  <a:lnTo>
                    <a:pt x="2847" y="583"/>
                  </a:lnTo>
                  <a:cubicBezTo>
                    <a:pt x="2848" y="581"/>
                    <a:pt x="2849" y="581"/>
                    <a:pt x="2850" y="580"/>
                  </a:cubicBezTo>
                  <a:lnTo>
                    <a:pt x="2863" y="576"/>
                  </a:lnTo>
                  <a:cubicBezTo>
                    <a:pt x="2863" y="576"/>
                    <a:pt x="2863" y="576"/>
                    <a:pt x="2864" y="576"/>
                  </a:cubicBezTo>
                  <a:cubicBezTo>
                    <a:pt x="2865" y="576"/>
                    <a:pt x="2866" y="576"/>
                    <a:pt x="2867" y="577"/>
                  </a:cubicBezTo>
                  <a:lnTo>
                    <a:pt x="2905" y="602"/>
                  </a:lnTo>
                  <a:cubicBezTo>
                    <a:pt x="2907" y="603"/>
                    <a:pt x="2907" y="605"/>
                    <a:pt x="2907" y="607"/>
                  </a:cubicBezTo>
                  <a:lnTo>
                    <a:pt x="2903" y="618"/>
                  </a:lnTo>
                  <a:lnTo>
                    <a:pt x="2922" y="648"/>
                  </a:lnTo>
                  <a:lnTo>
                    <a:pt x="3018" y="648"/>
                  </a:lnTo>
                  <a:lnTo>
                    <a:pt x="3029" y="629"/>
                  </a:lnTo>
                  <a:cubicBezTo>
                    <a:pt x="3030" y="628"/>
                    <a:pt x="3032" y="627"/>
                    <a:pt x="3033" y="627"/>
                  </a:cubicBezTo>
                  <a:lnTo>
                    <a:pt x="3053" y="627"/>
                  </a:lnTo>
                  <a:lnTo>
                    <a:pt x="3068" y="611"/>
                  </a:lnTo>
                  <a:cubicBezTo>
                    <a:pt x="3069" y="610"/>
                    <a:pt x="3070" y="610"/>
                    <a:pt x="3072" y="610"/>
                  </a:cubicBezTo>
                  <a:lnTo>
                    <a:pt x="3073" y="610"/>
                  </a:lnTo>
                  <a:lnTo>
                    <a:pt x="3095" y="618"/>
                  </a:lnTo>
                  <a:lnTo>
                    <a:pt x="3155" y="661"/>
                  </a:lnTo>
                  <a:cubicBezTo>
                    <a:pt x="3156" y="662"/>
                    <a:pt x="3156" y="663"/>
                    <a:pt x="3157" y="664"/>
                  </a:cubicBezTo>
                  <a:lnTo>
                    <a:pt x="3165" y="713"/>
                  </a:lnTo>
                  <a:lnTo>
                    <a:pt x="3205" y="729"/>
                  </a:lnTo>
                  <a:cubicBezTo>
                    <a:pt x="3206" y="729"/>
                    <a:pt x="3207" y="730"/>
                    <a:pt x="3207" y="732"/>
                  </a:cubicBezTo>
                  <a:lnTo>
                    <a:pt x="3212" y="753"/>
                  </a:lnTo>
                  <a:lnTo>
                    <a:pt x="3241" y="789"/>
                  </a:lnTo>
                  <a:lnTo>
                    <a:pt x="3319" y="808"/>
                  </a:lnTo>
                  <a:lnTo>
                    <a:pt x="3330" y="790"/>
                  </a:lnTo>
                  <a:lnTo>
                    <a:pt x="3354" y="779"/>
                  </a:lnTo>
                  <a:cubicBezTo>
                    <a:pt x="3354" y="779"/>
                    <a:pt x="3355" y="779"/>
                    <a:pt x="3356" y="779"/>
                  </a:cubicBezTo>
                  <a:cubicBezTo>
                    <a:pt x="3357" y="779"/>
                    <a:pt x="3358" y="780"/>
                    <a:pt x="3359" y="781"/>
                  </a:cubicBezTo>
                  <a:lnTo>
                    <a:pt x="3406" y="853"/>
                  </a:lnTo>
                  <a:cubicBezTo>
                    <a:pt x="3407" y="855"/>
                    <a:pt x="3407" y="857"/>
                    <a:pt x="3406" y="858"/>
                  </a:cubicBezTo>
                  <a:lnTo>
                    <a:pt x="3376" y="897"/>
                  </a:lnTo>
                  <a:lnTo>
                    <a:pt x="3343" y="955"/>
                  </a:lnTo>
                  <a:cubicBezTo>
                    <a:pt x="3342" y="957"/>
                    <a:pt x="3340" y="957"/>
                    <a:pt x="3339" y="957"/>
                  </a:cubicBezTo>
                  <a:lnTo>
                    <a:pt x="3283" y="961"/>
                  </a:lnTo>
                  <a:lnTo>
                    <a:pt x="3262" y="1030"/>
                  </a:lnTo>
                  <a:lnTo>
                    <a:pt x="3263" y="1118"/>
                  </a:lnTo>
                  <a:cubicBezTo>
                    <a:pt x="3263" y="1120"/>
                    <a:pt x="3262" y="1121"/>
                    <a:pt x="3260" y="1122"/>
                  </a:cubicBezTo>
                  <a:lnTo>
                    <a:pt x="3201" y="1152"/>
                  </a:lnTo>
                  <a:cubicBezTo>
                    <a:pt x="3200" y="1152"/>
                    <a:pt x="3199" y="1152"/>
                    <a:pt x="3199" y="1152"/>
                  </a:cubicBezTo>
                  <a:cubicBezTo>
                    <a:pt x="3197" y="1152"/>
                    <a:pt x="3196" y="1152"/>
                    <a:pt x="3195" y="1151"/>
                  </a:cubicBezTo>
                  <a:lnTo>
                    <a:pt x="3170" y="1125"/>
                  </a:lnTo>
                  <a:lnTo>
                    <a:pt x="3045" y="1110"/>
                  </a:lnTo>
                  <a:lnTo>
                    <a:pt x="2987" y="1255"/>
                  </a:lnTo>
                  <a:lnTo>
                    <a:pt x="2992" y="1338"/>
                  </a:lnTo>
                  <a:cubicBezTo>
                    <a:pt x="2992" y="1340"/>
                    <a:pt x="2990" y="1342"/>
                    <a:pt x="2988" y="1342"/>
                  </a:cubicBezTo>
                  <a:lnTo>
                    <a:pt x="2796" y="1387"/>
                  </a:lnTo>
                  <a:lnTo>
                    <a:pt x="2817" y="1415"/>
                  </a:lnTo>
                  <a:lnTo>
                    <a:pt x="2852" y="1561"/>
                  </a:lnTo>
                  <a:lnTo>
                    <a:pt x="2826" y="1665"/>
                  </a:lnTo>
                  <a:cubicBezTo>
                    <a:pt x="2826" y="1666"/>
                    <a:pt x="2825" y="1667"/>
                    <a:pt x="2824" y="1668"/>
                  </a:cubicBezTo>
                  <a:cubicBezTo>
                    <a:pt x="2823" y="1668"/>
                    <a:pt x="2822" y="1668"/>
                    <a:pt x="2822" y="1668"/>
                  </a:cubicBezTo>
                  <a:cubicBezTo>
                    <a:pt x="2822" y="1668"/>
                    <a:pt x="2821" y="1668"/>
                    <a:pt x="2820" y="1668"/>
                  </a:cubicBezTo>
                  <a:lnTo>
                    <a:pt x="2757" y="1651"/>
                  </a:lnTo>
                  <a:lnTo>
                    <a:pt x="2734" y="1621"/>
                  </a:lnTo>
                  <a:lnTo>
                    <a:pt x="2554" y="1596"/>
                  </a:lnTo>
                  <a:lnTo>
                    <a:pt x="2522" y="1604"/>
                  </a:lnTo>
                  <a:lnTo>
                    <a:pt x="2411" y="1605"/>
                  </a:lnTo>
                  <a:lnTo>
                    <a:pt x="2351" y="1596"/>
                  </a:lnTo>
                  <a:lnTo>
                    <a:pt x="2309" y="1572"/>
                  </a:lnTo>
                  <a:lnTo>
                    <a:pt x="2262" y="1595"/>
                  </a:lnTo>
                  <a:lnTo>
                    <a:pt x="2246" y="1652"/>
                  </a:lnTo>
                  <a:cubicBezTo>
                    <a:pt x="2246" y="1653"/>
                    <a:pt x="2245" y="1654"/>
                    <a:pt x="2244" y="1655"/>
                  </a:cubicBezTo>
                  <a:cubicBezTo>
                    <a:pt x="2243" y="1655"/>
                    <a:pt x="2242" y="1656"/>
                    <a:pt x="2241" y="1656"/>
                  </a:cubicBezTo>
                  <a:lnTo>
                    <a:pt x="2240" y="1655"/>
                  </a:lnTo>
                  <a:lnTo>
                    <a:pt x="2146" y="1621"/>
                  </a:lnTo>
                  <a:lnTo>
                    <a:pt x="2088" y="1613"/>
                  </a:lnTo>
                  <a:lnTo>
                    <a:pt x="2055" y="1621"/>
                  </a:lnTo>
                  <a:lnTo>
                    <a:pt x="2055" y="1642"/>
                  </a:lnTo>
                  <a:lnTo>
                    <a:pt x="2042" y="1670"/>
                  </a:lnTo>
                  <a:lnTo>
                    <a:pt x="2020" y="1696"/>
                  </a:lnTo>
                  <a:cubicBezTo>
                    <a:pt x="2020" y="1697"/>
                    <a:pt x="2018" y="1698"/>
                    <a:pt x="2017" y="1698"/>
                  </a:cubicBezTo>
                  <a:lnTo>
                    <a:pt x="1998" y="1698"/>
                  </a:lnTo>
                  <a:lnTo>
                    <a:pt x="1978" y="1726"/>
                  </a:lnTo>
                  <a:lnTo>
                    <a:pt x="1921" y="1756"/>
                  </a:lnTo>
                  <a:lnTo>
                    <a:pt x="1863" y="1811"/>
                  </a:lnTo>
                  <a:cubicBezTo>
                    <a:pt x="1862" y="1812"/>
                    <a:pt x="1861" y="1812"/>
                    <a:pt x="1860" y="1812"/>
                  </a:cubicBezTo>
                  <a:lnTo>
                    <a:pt x="1859" y="1812"/>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7" name="Freeform 742"/>
            <p:cNvSpPr>
              <a:spLocks noChangeArrowheads="1"/>
            </p:cNvSpPr>
            <p:nvPr/>
          </p:nvSpPr>
          <p:spPr bwMode="auto">
            <a:xfrm>
              <a:off x="6323013" y="2298700"/>
              <a:ext cx="334962" cy="160338"/>
            </a:xfrm>
            <a:custGeom>
              <a:avLst/>
              <a:gdLst/>
              <a:ahLst/>
              <a:cxnLst>
                <a:cxn ang="0">
                  <a:pos x="212" y="437"/>
                </a:cxn>
                <a:cxn ang="0">
                  <a:pos x="185" y="411"/>
                </a:cxn>
                <a:cxn ang="0">
                  <a:pos x="109" y="411"/>
                </a:cxn>
                <a:cxn ang="0">
                  <a:pos x="9" y="407"/>
                </a:cxn>
                <a:cxn ang="0">
                  <a:pos x="4" y="359"/>
                </a:cxn>
                <a:cxn ang="0">
                  <a:pos x="110" y="355"/>
                </a:cxn>
                <a:cxn ang="0">
                  <a:pos x="225" y="330"/>
                </a:cxn>
                <a:cxn ang="0">
                  <a:pos x="249" y="250"/>
                </a:cxn>
                <a:cxn ang="0">
                  <a:pos x="187" y="239"/>
                </a:cxn>
                <a:cxn ang="0">
                  <a:pos x="181" y="241"/>
                </a:cxn>
                <a:cxn ang="0">
                  <a:pos x="117" y="203"/>
                </a:cxn>
                <a:cxn ang="0">
                  <a:pos x="85" y="195"/>
                </a:cxn>
                <a:cxn ang="0">
                  <a:pos x="87" y="178"/>
                </a:cxn>
                <a:cxn ang="0">
                  <a:pos x="162" y="114"/>
                </a:cxn>
                <a:cxn ang="0">
                  <a:pos x="136" y="108"/>
                </a:cxn>
                <a:cxn ang="0">
                  <a:pos x="149" y="79"/>
                </a:cxn>
                <a:cxn ang="0">
                  <a:pos x="152" y="51"/>
                </a:cxn>
                <a:cxn ang="0">
                  <a:pos x="251" y="51"/>
                </a:cxn>
                <a:cxn ang="0">
                  <a:pos x="356" y="29"/>
                </a:cxn>
                <a:cxn ang="0">
                  <a:pos x="409" y="0"/>
                </a:cxn>
                <a:cxn ang="0">
                  <a:pos x="414" y="0"/>
                </a:cxn>
                <a:cxn ang="0">
                  <a:pos x="514" y="34"/>
                </a:cxn>
                <a:cxn ang="0">
                  <a:pos x="656" y="25"/>
                </a:cxn>
                <a:cxn ang="0">
                  <a:pos x="843" y="53"/>
                </a:cxn>
                <a:cxn ang="0">
                  <a:pos x="925" y="97"/>
                </a:cxn>
                <a:cxn ang="0">
                  <a:pos x="928" y="103"/>
                </a:cxn>
                <a:cxn ang="0">
                  <a:pos x="909" y="157"/>
                </a:cxn>
                <a:cxn ang="0">
                  <a:pos x="750" y="257"/>
                </a:cxn>
                <a:cxn ang="0">
                  <a:pos x="637" y="280"/>
                </a:cxn>
                <a:cxn ang="0">
                  <a:pos x="585" y="335"/>
                </a:cxn>
                <a:cxn ang="0">
                  <a:pos x="462" y="341"/>
                </a:cxn>
                <a:cxn ang="0">
                  <a:pos x="386" y="420"/>
                </a:cxn>
                <a:cxn ang="0">
                  <a:pos x="255" y="445"/>
                </a:cxn>
              </a:cxnLst>
              <a:rect l="0" t="0" r="r" b="b"/>
              <a:pathLst>
                <a:path w="930" h="446">
                  <a:moveTo>
                    <a:pt x="216" y="441"/>
                  </a:moveTo>
                  <a:cubicBezTo>
                    <a:pt x="214" y="440"/>
                    <a:pt x="212" y="439"/>
                    <a:pt x="212" y="437"/>
                  </a:cubicBezTo>
                  <a:lnTo>
                    <a:pt x="208" y="418"/>
                  </a:lnTo>
                  <a:lnTo>
                    <a:pt x="185" y="411"/>
                  </a:lnTo>
                  <a:lnTo>
                    <a:pt x="142" y="423"/>
                  </a:lnTo>
                  <a:lnTo>
                    <a:pt x="109" y="411"/>
                  </a:lnTo>
                  <a:lnTo>
                    <a:pt x="13" y="411"/>
                  </a:lnTo>
                  <a:cubicBezTo>
                    <a:pt x="11" y="411"/>
                    <a:pt x="9" y="409"/>
                    <a:pt x="9" y="407"/>
                  </a:cubicBezTo>
                  <a:lnTo>
                    <a:pt x="0" y="365"/>
                  </a:lnTo>
                  <a:cubicBezTo>
                    <a:pt x="0" y="362"/>
                    <a:pt x="1" y="360"/>
                    <a:pt x="4" y="359"/>
                  </a:cubicBezTo>
                  <a:lnTo>
                    <a:pt x="76" y="343"/>
                  </a:lnTo>
                  <a:lnTo>
                    <a:pt x="110" y="355"/>
                  </a:lnTo>
                  <a:lnTo>
                    <a:pt x="142" y="331"/>
                  </a:lnTo>
                  <a:lnTo>
                    <a:pt x="225" y="330"/>
                  </a:lnTo>
                  <a:lnTo>
                    <a:pt x="320" y="272"/>
                  </a:lnTo>
                  <a:lnTo>
                    <a:pt x="249" y="250"/>
                  </a:lnTo>
                  <a:lnTo>
                    <a:pt x="205" y="203"/>
                  </a:lnTo>
                  <a:lnTo>
                    <a:pt x="187" y="239"/>
                  </a:lnTo>
                  <a:cubicBezTo>
                    <a:pt x="186" y="241"/>
                    <a:pt x="184" y="242"/>
                    <a:pt x="183" y="242"/>
                  </a:cubicBezTo>
                  <a:cubicBezTo>
                    <a:pt x="182" y="242"/>
                    <a:pt x="182" y="242"/>
                    <a:pt x="181" y="241"/>
                  </a:cubicBezTo>
                  <a:lnTo>
                    <a:pt x="135" y="225"/>
                  </a:lnTo>
                  <a:lnTo>
                    <a:pt x="117" y="203"/>
                  </a:lnTo>
                  <a:lnTo>
                    <a:pt x="89" y="199"/>
                  </a:lnTo>
                  <a:cubicBezTo>
                    <a:pt x="87" y="199"/>
                    <a:pt x="85" y="197"/>
                    <a:pt x="85" y="195"/>
                  </a:cubicBezTo>
                  <a:lnTo>
                    <a:pt x="85" y="182"/>
                  </a:lnTo>
                  <a:cubicBezTo>
                    <a:pt x="85" y="181"/>
                    <a:pt x="86" y="179"/>
                    <a:pt x="87" y="178"/>
                  </a:cubicBezTo>
                  <a:lnTo>
                    <a:pt x="165" y="121"/>
                  </a:lnTo>
                  <a:lnTo>
                    <a:pt x="162" y="114"/>
                  </a:lnTo>
                  <a:lnTo>
                    <a:pt x="140" y="111"/>
                  </a:lnTo>
                  <a:cubicBezTo>
                    <a:pt x="138" y="110"/>
                    <a:pt x="137" y="110"/>
                    <a:pt x="136" y="108"/>
                  </a:cubicBezTo>
                  <a:cubicBezTo>
                    <a:pt x="135" y="107"/>
                    <a:pt x="135" y="105"/>
                    <a:pt x="136" y="104"/>
                  </a:cubicBezTo>
                  <a:lnTo>
                    <a:pt x="149" y="79"/>
                  </a:lnTo>
                  <a:lnTo>
                    <a:pt x="148" y="55"/>
                  </a:lnTo>
                  <a:cubicBezTo>
                    <a:pt x="148" y="53"/>
                    <a:pt x="150" y="51"/>
                    <a:pt x="152" y="51"/>
                  </a:cubicBezTo>
                  <a:lnTo>
                    <a:pt x="190" y="42"/>
                  </a:lnTo>
                  <a:lnTo>
                    <a:pt x="251" y="51"/>
                  </a:lnTo>
                  <a:lnTo>
                    <a:pt x="340" y="83"/>
                  </a:lnTo>
                  <a:lnTo>
                    <a:pt x="356" y="29"/>
                  </a:lnTo>
                  <a:cubicBezTo>
                    <a:pt x="356" y="27"/>
                    <a:pt x="357" y="26"/>
                    <a:pt x="359" y="26"/>
                  </a:cubicBezTo>
                  <a:lnTo>
                    <a:pt x="409" y="0"/>
                  </a:lnTo>
                  <a:cubicBezTo>
                    <a:pt x="410" y="0"/>
                    <a:pt x="411" y="0"/>
                    <a:pt x="411" y="0"/>
                  </a:cubicBezTo>
                  <a:cubicBezTo>
                    <a:pt x="412" y="0"/>
                    <a:pt x="413" y="0"/>
                    <a:pt x="414" y="0"/>
                  </a:cubicBezTo>
                  <a:lnTo>
                    <a:pt x="456" y="26"/>
                  </a:lnTo>
                  <a:lnTo>
                    <a:pt x="514" y="34"/>
                  </a:lnTo>
                  <a:lnTo>
                    <a:pt x="623" y="34"/>
                  </a:lnTo>
                  <a:lnTo>
                    <a:pt x="656" y="25"/>
                  </a:lnTo>
                  <a:lnTo>
                    <a:pt x="840" y="51"/>
                  </a:lnTo>
                  <a:cubicBezTo>
                    <a:pt x="841" y="51"/>
                    <a:pt x="842" y="51"/>
                    <a:pt x="843" y="53"/>
                  </a:cubicBezTo>
                  <a:lnTo>
                    <a:pt x="864" y="82"/>
                  </a:lnTo>
                  <a:lnTo>
                    <a:pt x="925" y="97"/>
                  </a:lnTo>
                  <a:cubicBezTo>
                    <a:pt x="926" y="98"/>
                    <a:pt x="928" y="98"/>
                    <a:pt x="928" y="100"/>
                  </a:cubicBezTo>
                  <a:cubicBezTo>
                    <a:pt x="929" y="101"/>
                    <a:pt x="929" y="102"/>
                    <a:pt x="928" y="103"/>
                  </a:cubicBezTo>
                  <a:lnTo>
                    <a:pt x="912" y="154"/>
                  </a:lnTo>
                  <a:cubicBezTo>
                    <a:pt x="911" y="155"/>
                    <a:pt x="910" y="156"/>
                    <a:pt x="909" y="157"/>
                  </a:cubicBezTo>
                  <a:lnTo>
                    <a:pt x="782" y="216"/>
                  </a:lnTo>
                  <a:lnTo>
                    <a:pt x="750" y="257"/>
                  </a:lnTo>
                  <a:cubicBezTo>
                    <a:pt x="749" y="258"/>
                    <a:pt x="748" y="258"/>
                    <a:pt x="747" y="259"/>
                  </a:cubicBezTo>
                  <a:lnTo>
                    <a:pt x="637" y="280"/>
                  </a:lnTo>
                  <a:lnTo>
                    <a:pt x="589" y="333"/>
                  </a:lnTo>
                  <a:cubicBezTo>
                    <a:pt x="588" y="334"/>
                    <a:pt x="586" y="335"/>
                    <a:pt x="585" y="335"/>
                  </a:cubicBezTo>
                  <a:lnTo>
                    <a:pt x="473" y="323"/>
                  </a:lnTo>
                  <a:lnTo>
                    <a:pt x="462" y="341"/>
                  </a:lnTo>
                  <a:lnTo>
                    <a:pt x="395" y="372"/>
                  </a:lnTo>
                  <a:lnTo>
                    <a:pt x="386" y="420"/>
                  </a:lnTo>
                  <a:cubicBezTo>
                    <a:pt x="386" y="422"/>
                    <a:pt x="385" y="423"/>
                    <a:pt x="383" y="424"/>
                  </a:cubicBezTo>
                  <a:lnTo>
                    <a:pt x="255" y="445"/>
                  </a:lnTo>
                  <a:lnTo>
                    <a:pt x="216" y="44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8" name="Freeform 743"/>
            <p:cNvSpPr>
              <a:spLocks noChangeArrowheads="1"/>
            </p:cNvSpPr>
            <p:nvPr/>
          </p:nvSpPr>
          <p:spPr bwMode="auto">
            <a:xfrm>
              <a:off x="6323013" y="2298700"/>
              <a:ext cx="334962" cy="160338"/>
            </a:xfrm>
            <a:custGeom>
              <a:avLst/>
              <a:gdLst/>
              <a:ahLst/>
              <a:cxnLst>
                <a:cxn ang="0">
                  <a:pos x="212" y="437"/>
                </a:cxn>
                <a:cxn ang="0">
                  <a:pos x="185" y="411"/>
                </a:cxn>
                <a:cxn ang="0">
                  <a:pos x="109" y="411"/>
                </a:cxn>
                <a:cxn ang="0">
                  <a:pos x="9" y="407"/>
                </a:cxn>
                <a:cxn ang="0">
                  <a:pos x="4" y="359"/>
                </a:cxn>
                <a:cxn ang="0">
                  <a:pos x="110" y="355"/>
                </a:cxn>
                <a:cxn ang="0">
                  <a:pos x="225" y="330"/>
                </a:cxn>
                <a:cxn ang="0">
                  <a:pos x="249" y="250"/>
                </a:cxn>
                <a:cxn ang="0">
                  <a:pos x="187" y="239"/>
                </a:cxn>
                <a:cxn ang="0">
                  <a:pos x="181" y="241"/>
                </a:cxn>
                <a:cxn ang="0">
                  <a:pos x="117" y="203"/>
                </a:cxn>
                <a:cxn ang="0">
                  <a:pos x="85" y="195"/>
                </a:cxn>
                <a:cxn ang="0">
                  <a:pos x="87" y="178"/>
                </a:cxn>
                <a:cxn ang="0">
                  <a:pos x="162" y="114"/>
                </a:cxn>
                <a:cxn ang="0">
                  <a:pos x="136" y="108"/>
                </a:cxn>
                <a:cxn ang="0">
                  <a:pos x="149" y="79"/>
                </a:cxn>
                <a:cxn ang="0">
                  <a:pos x="152" y="51"/>
                </a:cxn>
                <a:cxn ang="0">
                  <a:pos x="251" y="51"/>
                </a:cxn>
                <a:cxn ang="0">
                  <a:pos x="356" y="29"/>
                </a:cxn>
                <a:cxn ang="0">
                  <a:pos x="409" y="0"/>
                </a:cxn>
                <a:cxn ang="0">
                  <a:pos x="414" y="0"/>
                </a:cxn>
                <a:cxn ang="0">
                  <a:pos x="514" y="34"/>
                </a:cxn>
                <a:cxn ang="0">
                  <a:pos x="656" y="25"/>
                </a:cxn>
                <a:cxn ang="0">
                  <a:pos x="843" y="53"/>
                </a:cxn>
                <a:cxn ang="0">
                  <a:pos x="925" y="97"/>
                </a:cxn>
                <a:cxn ang="0">
                  <a:pos x="928" y="103"/>
                </a:cxn>
                <a:cxn ang="0">
                  <a:pos x="909" y="157"/>
                </a:cxn>
                <a:cxn ang="0">
                  <a:pos x="750" y="257"/>
                </a:cxn>
                <a:cxn ang="0">
                  <a:pos x="637" y="280"/>
                </a:cxn>
                <a:cxn ang="0">
                  <a:pos x="585" y="335"/>
                </a:cxn>
                <a:cxn ang="0">
                  <a:pos x="462" y="341"/>
                </a:cxn>
                <a:cxn ang="0">
                  <a:pos x="386" y="420"/>
                </a:cxn>
                <a:cxn ang="0">
                  <a:pos x="255" y="445"/>
                </a:cxn>
              </a:cxnLst>
              <a:rect l="0" t="0" r="r" b="b"/>
              <a:pathLst>
                <a:path w="930" h="446">
                  <a:moveTo>
                    <a:pt x="216" y="441"/>
                  </a:moveTo>
                  <a:cubicBezTo>
                    <a:pt x="214" y="440"/>
                    <a:pt x="212" y="439"/>
                    <a:pt x="212" y="437"/>
                  </a:cubicBezTo>
                  <a:lnTo>
                    <a:pt x="208" y="418"/>
                  </a:lnTo>
                  <a:lnTo>
                    <a:pt x="185" y="411"/>
                  </a:lnTo>
                  <a:lnTo>
                    <a:pt x="142" y="423"/>
                  </a:lnTo>
                  <a:lnTo>
                    <a:pt x="109" y="411"/>
                  </a:lnTo>
                  <a:lnTo>
                    <a:pt x="13" y="411"/>
                  </a:lnTo>
                  <a:cubicBezTo>
                    <a:pt x="11" y="411"/>
                    <a:pt x="9" y="409"/>
                    <a:pt x="9" y="407"/>
                  </a:cubicBezTo>
                  <a:lnTo>
                    <a:pt x="0" y="365"/>
                  </a:lnTo>
                  <a:cubicBezTo>
                    <a:pt x="0" y="362"/>
                    <a:pt x="1" y="360"/>
                    <a:pt x="4" y="359"/>
                  </a:cubicBezTo>
                  <a:lnTo>
                    <a:pt x="76" y="343"/>
                  </a:lnTo>
                  <a:lnTo>
                    <a:pt x="110" y="355"/>
                  </a:lnTo>
                  <a:lnTo>
                    <a:pt x="142" y="331"/>
                  </a:lnTo>
                  <a:lnTo>
                    <a:pt x="225" y="330"/>
                  </a:lnTo>
                  <a:lnTo>
                    <a:pt x="320" y="272"/>
                  </a:lnTo>
                  <a:lnTo>
                    <a:pt x="249" y="250"/>
                  </a:lnTo>
                  <a:lnTo>
                    <a:pt x="205" y="203"/>
                  </a:lnTo>
                  <a:lnTo>
                    <a:pt x="187" y="239"/>
                  </a:lnTo>
                  <a:cubicBezTo>
                    <a:pt x="186" y="241"/>
                    <a:pt x="184" y="242"/>
                    <a:pt x="183" y="242"/>
                  </a:cubicBezTo>
                  <a:cubicBezTo>
                    <a:pt x="182" y="242"/>
                    <a:pt x="182" y="242"/>
                    <a:pt x="181" y="241"/>
                  </a:cubicBezTo>
                  <a:lnTo>
                    <a:pt x="135" y="225"/>
                  </a:lnTo>
                  <a:lnTo>
                    <a:pt x="117" y="203"/>
                  </a:lnTo>
                  <a:lnTo>
                    <a:pt x="89" y="199"/>
                  </a:lnTo>
                  <a:cubicBezTo>
                    <a:pt x="87" y="199"/>
                    <a:pt x="85" y="197"/>
                    <a:pt x="85" y="195"/>
                  </a:cubicBezTo>
                  <a:lnTo>
                    <a:pt x="85" y="182"/>
                  </a:lnTo>
                  <a:cubicBezTo>
                    <a:pt x="85" y="181"/>
                    <a:pt x="86" y="179"/>
                    <a:pt x="87" y="178"/>
                  </a:cubicBezTo>
                  <a:lnTo>
                    <a:pt x="165" y="121"/>
                  </a:lnTo>
                  <a:lnTo>
                    <a:pt x="162" y="114"/>
                  </a:lnTo>
                  <a:lnTo>
                    <a:pt x="140" y="111"/>
                  </a:lnTo>
                  <a:cubicBezTo>
                    <a:pt x="138" y="110"/>
                    <a:pt x="137" y="110"/>
                    <a:pt x="136" y="108"/>
                  </a:cubicBezTo>
                  <a:cubicBezTo>
                    <a:pt x="135" y="107"/>
                    <a:pt x="135" y="105"/>
                    <a:pt x="136" y="104"/>
                  </a:cubicBezTo>
                  <a:lnTo>
                    <a:pt x="149" y="79"/>
                  </a:lnTo>
                  <a:lnTo>
                    <a:pt x="148" y="55"/>
                  </a:lnTo>
                  <a:cubicBezTo>
                    <a:pt x="148" y="53"/>
                    <a:pt x="150" y="51"/>
                    <a:pt x="152" y="51"/>
                  </a:cubicBezTo>
                  <a:lnTo>
                    <a:pt x="190" y="42"/>
                  </a:lnTo>
                  <a:lnTo>
                    <a:pt x="251" y="51"/>
                  </a:lnTo>
                  <a:lnTo>
                    <a:pt x="340" y="83"/>
                  </a:lnTo>
                  <a:lnTo>
                    <a:pt x="356" y="29"/>
                  </a:lnTo>
                  <a:cubicBezTo>
                    <a:pt x="356" y="27"/>
                    <a:pt x="357" y="26"/>
                    <a:pt x="359" y="26"/>
                  </a:cubicBezTo>
                  <a:lnTo>
                    <a:pt x="409" y="0"/>
                  </a:lnTo>
                  <a:cubicBezTo>
                    <a:pt x="410" y="0"/>
                    <a:pt x="411" y="0"/>
                    <a:pt x="411" y="0"/>
                  </a:cubicBezTo>
                  <a:cubicBezTo>
                    <a:pt x="412" y="0"/>
                    <a:pt x="413" y="0"/>
                    <a:pt x="414" y="0"/>
                  </a:cubicBezTo>
                  <a:lnTo>
                    <a:pt x="456" y="26"/>
                  </a:lnTo>
                  <a:lnTo>
                    <a:pt x="514" y="34"/>
                  </a:lnTo>
                  <a:lnTo>
                    <a:pt x="623" y="34"/>
                  </a:lnTo>
                  <a:lnTo>
                    <a:pt x="656" y="25"/>
                  </a:lnTo>
                  <a:lnTo>
                    <a:pt x="840" y="51"/>
                  </a:lnTo>
                  <a:cubicBezTo>
                    <a:pt x="841" y="51"/>
                    <a:pt x="842" y="51"/>
                    <a:pt x="843" y="53"/>
                  </a:cubicBezTo>
                  <a:lnTo>
                    <a:pt x="864" y="82"/>
                  </a:lnTo>
                  <a:lnTo>
                    <a:pt x="925" y="97"/>
                  </a:lnTo>
                  <a:cubicBezTo>
                    <a:pt x="926" y="98"/>
                    <a:pt x="928" y="98"/>
                    <a:pt x="928" y="100"/>
                  </a:cubicBezTo>
                  <a:cubicBezTo>
                    <a:pt x="929" y="101"/>
                    <a:pt x="929" y="102"/>
                    <a:pt x="928" y="103"/>
                  </a:cubicBezTo>
                  <a:lnTo>
                    <a:pt x="912" y="154"/>
                  </a:lnTo>
                  <a:cubicBezTo>
                    <a:pt x="911" y="155"/>
                    <a:pt x="910" y="156"/>
                    <a:pt x="909" y="157"/>
                  </a:cubicBezTo>
                  <a:lnTo>
                    <a:pt x="782" y="216"/>
                  </a:lnTo>
                  <a:lnTo>
                    <a:pt x="750" y="257"/>
                  </a:lnTo>
                  <a:cubicBezTo>
                    <a:pt x="749" y="258"/>
                    <a:pt x="748" y="258"/>
                    <a:pt x="747" y="259"/>
                  </a:cubicBezTo>
                  <a:lnTo>
                    <a:pt x="637" y="280"/>
                  </a:lnTo>
                  <a:lnTo>
                    <a:pt x="589" y="333"/>
                  </a:lnTo>
                  <a:cubicBezTo>
                    <a:pt x="588" y="334"/>
                    <a:pt x="586" y="335"/>
                    <a:pt x="585" y="335"/>
                  </a:cubicBezTo>
                  <a:lnTo>
                    <a:pt x="473" y="323"/>
                  </a:lnTo>
                  <a:lnTo>
                    <a:pt x="462" y="341"/>
                  </a:lnTo>
                  <a:lnTo>
                    <a:pt x="395" y="372"/>
                  </a:lnTo>
                  <a:lnTo>
                    <a:pt x="386" y="420"/>
                  </a:lnTo>
                  <a:cubicBezTo>
                    <a:pt x="386" y="422"/>
                    <a:pt x="385" y="423"/>
                    <a:pt x="383" y="424"/>
                  </a:cubicBezTo>
                  <a:lnTo>
                    <a:pt x="255" y="445"/>
                  </a:lnTo>
                  <a:lnTo>
                    <a:pt x="216" y="44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9" name="Freeform 744"/>
            <p:cNvSpPr>
              <a:spLocks noChangeArrowheads="1"/>
            </p:cNvSpPr>
            <p:nvPr/>
          </p:nvSpPr>
          <p:spPr bwMode="auto">
            <a:xfrm>
              <a:off x="6265863" y="2386013"/>
              <a:ext cx="230187" cy="176212"/>
            </a:xfrm>
            <a:custGeom>
              <a:avLst/>
              <a:gdLst/>
              <a:ahLst/>
              <a:cxnLst>
                <a:cxn ang="0">
                  <a:pos x="331" y="438"/>
                </a:cxn>
                <a:cxn ang="0">
                  <a:pos x="316" y="347"/>
                </a:cxn>
                <a:cxn ang="0">
                  <a:pos x="321" y="315"/>
                </a:cxn>
                <a:cxn ang="0">
                  <a:pos x="239" y="357"/>
                </a:cxn>
                <a:cxn ang="0">
                  <a:pos x="246" y="375"/>
                </a:cxn>
                <a:cxn ang="0">
                  <a:pos x="230" y="398"/>
                </a:cxn>
                <a:cxn ang="0">
                  <a:pos x="178" y="387"/>
                </a:cxn>
                <a:cxn ang="0">
                  <a:pos x="164" y="440"/>
                </a:cxn>
                <a:cxn ang="0">
                  <a:pos x="159" y="440"/>
                </a:cxn>
                <a:cxn ang="0">
                  <a:pos x="58" y="457"/>
                </a:cxn>
                <a:cxn ang="0">
                  <a:pos x="53" y="456"/>
                </a:cxn>
                <a:cxn ang="0">
                  <a:pos x="18" y="417"/>
                </a:cxn>
                <a:cxn ang="0">
                  <a:pos x="80" y="317"/>
                </a:cxn>
                <a:cxn ang="0">
                  <a:pos x="59" y="232"/>
                </a:cxn>
                <a:cxn ang="0">
                  <a:pos x="1" y="194"/>
                </a:cxn>
                <a:cxn ang="0">
                  <a:pos x="18" y="163"/>
                </a:cxn>
                <a:cxn ang="0">
                  <a:pos x="99" y="157"/>
                </a:cxn>
                <a:cxn ang="0">
                  <a:pos x="118" y="110"/>
                </a:cxn>
                <a:cxn ang="0">
                  <a:pos x="157" y="64"/>
                </a:cxn>
                <a:cxn ang="0">
                  <a:pos x="175" y="38"/>
                </a:cxn>
                <a:cxn ang="0">
                  <a:pos x="261" y="1"/>
                </a:cxn>
                <a:cxn ang="0">
                  <a:pos x="281" y="3"/>
                </a:cxn>
                <a:cxn ang="0">
                  <a:pos x="288" y="42"/>
                </a:cxn>
                <a:cxn ang="0">
                  <a:pos x="275" y="89"/>
                </a:cxn>
                <a:cxn ang="0">
                  <a:pos x="306" y="92"/>
                </a:cxn>
                <a:cxn ang="0">
                  <a:pos x="270" y="123"/>
                </a:cxn>
                <a:cxn ang="0">
                  <a:pos x="266" y="123"/>
                </a:cxn>
                <a:cxn ang="0">
                  <a:pos x="167" y="127"/>
                </a:cxn>
                <a:cxn ang="0">
                  <a:pos x="268" y="161"/>
                </a:cxn>
                <a:cxn ang="0">
                  <a:pos x="343" y="161"/>
                </a:cxn>
                <a:cxn ang="0">
                  <a:pos x="374" y="173"/>
                </a:cxn>
                <a:cxn ang="0">
                  <a:pos x="412" y="195"/>
                </a:cxn>
                <a:cxn ang="0">
                  <a:pos x="542" y="175"/>
                </a:cxn>
                <a:cxn ang="0">
                  <a:pos x="527" y="253"/>
                </a:cxn>
                <a:cxn ang="0">
                  <a:pos x="607" y="283"/>
                </a:cxn>
                <a:cxn ang="0">
                  <a:pos x="619" y="298"/>
                </a:cxn>
                <a:cxn ang="0">
                  <a:pos x="636" y="427"/>
                </a:cxn>
                <a:cxn ang="0">
                  <a:pos x="615" y="428"/>
                </a:cxn>
                <a:cxn ang="0">
                  <a:pos x="611" y="421"/>
                </a:cxn>
                <a:cxn ang="0">
                  <a:pos x="590" y="415"/>
                </a:cxn>
                <a:cxn ang="0">
                  <a:pos x="539" y="428"/>
                </a:cxn>
                <a:cxn ang="0">
                  <a:pos x="527" y="407"/>
                </a:cxn>
                <a:cxn ang="0">
                  <a:pos x="359" y="487"/>
                </a:cxn>
                <a:cxn ang="0">
                  <a:pos x="355" y="487"/>
                </a:cxn>
              </a:cxnLst>
              <a:rect l="0" t="0" r="r" b="b"/>
              <a:pathLst>
                <a:path w="638" h="488">
                  <a:moveTo>
                    <a:pt x="352" y="485"/>
                  </a:moveTo>
                  <a:lnTo>
                    <a:pt x="331" y="438"/>
                  </a:lnTo>
                  <a:lnTo>
                    <a:pt x="339" y="358"/>
                  </a:lnTo>
                  <a:lnTo>
                    <a:pt x="316" y="347"/>
                  </a:lnTo>
                  <a:cubicBezTo>
                    <a:pt x="314" y="346"/>
                    <a:pt x="313" y="344"/>
                    <a:pt x="314" y="342"/>
                  </a:cubicBezTo>
                  <a:lnTo>
                    <a:pt x="321" y="315"/>
                  </a:lnTo>
                  <a:lnTo>
                    <a:pt x="294" y="298"/>
                  </a:lnTo>
                  <a:lnTo>
                    <a:pt x="239" y="357"/>
                  </a:lnTo>
                  <a:lnTo>
                    <a:pt x="247" y="371"/>
                  </a:lnTo>
                  <a:cubicBezTo>
                    <a:pt x="247" y="372"/>
                    <a:pt x="247" y="374"/>
                    <a:pt x="246" y="375"/>
                  </a:cubicBezTo>
                  <a:lnTo>
                    <a:pt x="234" y="396"/>
                  </a:lnTo>
                  <a:cubicBezTo>
                    <a:pt x="233" y="398"/>
                    <a:pt x="231" y="398"/>
                    <a:pt x="230" y="398"/>
                  </a:cubicBezTo>
                  <a:cubicBezTo>
                    <a:pt x="229" y="398"/>
                    <a:pt x="229" y="398"/>
                    <a:pt x="229" y="398"/>
                  </a:cubicBezTo>
                  <a:lnTo>
                    <a:pt x="178" y="387"/>
                  </a:lnTo>
                  <a:lnTo>
                    <a:pt x="166" y="437"/>
                  </a:lnTo>
                  <a:cubicBezTo>
                    <a:pt x="166" y="439"/>
                    <a:pt x="165" y="440"/>
                    <a:pt x="164" y="440"/>
                  </a:cubicBezTo>
                  <a:cubicBezTo>
                    <a:pt x="163" y="441"/>
                    <a:pt x="162" y="441"/>
                    <a:pt x="162" y="441"/>
                  </a:cubicBezTo>
                  <a:cubicBezTo>
                    <a:pt x="161" y="441"/>
                    <a:pt x="160" y="441"/>
                    <a:pt x="159" y="440"/>
                  </a:cubicBezTo>
                  <a:lnTo>
                    <a:pt x="124" y="420"/>
                  </a:lnTo>
                  <a:lnTo>
                    <a:pt x="58" y="457"/>
                  </a:lnTo>
                  <a:cubicBezTo>
                    <a:pt x="58" y="458"/>
                    <a:pt x="57" y="458"/>
                    <a:pt x="56" y="458"/>
                  </a:cubicBezTo>
                  <a:cubicBezTo>
                    <a:pt x="55" y="458"/>
                    <a:pt x="54" y="457"/>
                    <a:pt x="53" y="456"/>
                  </a:cubicBezTo>
                  <a:lnTo>
                    <a:pt x="19" y="423"/>
                  </a:lnTo>
                  <a:cubicBezTo>
                    <a:pt x="17" y="421"/>
                    <a:pt x="17" y="419"/>
                    <a:pt x="18" y="417"/>
                  </a:cubicBezTo>
                  <a:lnTo>
                    <a:pt x="43" y="375"/>
                  </a:lnTo>
                  <a:lnTo>
                    <a:pt x="80" y="317"/>
                  </a:lnTo>
                  <a:lnTo>
                    <a:pt x="56" y="265"/>
                  </a:lnTo>
                  <a:lnTo>
                    <a:pt x="59" y="232"/>
                  </a:lnTo>
                  <a:lnTo>
                    <a:pt x="29" y="225"/>
                  </a:lnTo>
                  <a:lnTo>
                    <a:pt x="1" y="194"/>
                  </a:lnTo>
                  <a:cubicBezTo>
                    <a:pt x="0" y="192"/>
                    <a:pt x="0" y="190"/>
                    <a:pt x="1" y="188"/>
                  </a:cubicBezTo>
                  <a:lnTo>
                    <a:pt x="18" y="163"/>
                  </a:lnTo>
                  <a:cubicBezTo>
                    <a:pt x="19" y="161"/>
                    <a:pt x="20" y="161"/>
                    <a:pt x="22" y="161"/>
                  </a:cubicBezTo>
                  <a:lnTo>
                    <a:pt x="99" y="157"/>
                  </a:lnTo>
                  <a:lnTo>
                    <a:pt x="115" y="113"/>
                  </a:lnTo>
                  <a:cubicBezTo>
                    <a:pt x="115" y="112"/>
                    <a:pt x="116" y="111"/>
                    <a:pt x="118" y="110"/>
                  </a:cubicBezTo>
                  <a:lnTo>
                    <a:pt x="157" y="94"/>
                  </a:lnTo>
                  <a:lnTo>
                    <a:pt x="157" y="64"/>
                  </a:lnTo>
                  <a:lnTo>
                    <a:pt x="171" y="40"/>
                  </a:lnTo>
                  <a:cubicBezTo>
                    <a:pt x="171" y="39"/>
                    <a:pt x="173" y="38"/>
                    <a:pt x="175" y="38"/>
                  </a:cubicBezTo>
                  <a:lnTo>
                    <a:pt x="203" y="42"/>
                  </a:lnTo>
                  <a:lnTo>
                    <a:pt x="261" y="1"/>
                  </a:lnTo>
                  <a:lnTo>
                    <a:pt x="276" y="0"/>
                  </a:lnTo>
                  <a:cubicBezTo>
                    <a:pt x="278" y="0"/>
                    <a:pt x="280" y="1"/>
                    <a:pt x="281" y="3"/>
                  </a:cubicBezTo>
                  <a:lnTo>
                    <a:pt x="289" y="37"/>
                  </a:lnTo>
                  <a:cubicBezTo>
                    <a:pt x="290" y="39"/>
                    <a:pt x="289" y="41"/>
                    <a:pt x="288" y="42"/>
                  </a:cubicBezTo>
                  <a:lnTo>
                    <a:pt x="265" y="61"/>
                  </a:lnTo>
                  <a:lnTo>
                    <a:pt x="275" y="89"/>
                  </a:lnTo>
                  <a:lnTo>
                    <a:pt x="302" y="89"/>
                  </a:lnTo>
                  <a:cubicBezTo>
                    <a:pt x="304" y="89"/>
                    <a:pt x="305" y="90"/>
                    <a:pt x="306" y="92"/>
                  </a:cubicBezTo>
                  <a:cubicBezTo>
                    <a:pt x="307" y="94"/>
                    <a:pt x="306" y="96"/>
                    <a:pt x="304" y="97"/>
                  </a:cubicBezTo>
                  <a:lnTo>
                    <a:pt x="270" y="123"/>
                  </a:lnTo>
                  <a:cubicBezTo>
                    <a:pt x="270" y="123"/>
                    <a:pt x="269" y="124"/>
                    <a:pt x="268" y="124"/>
                  </a:cubicBezTo>
                  <a:cubicBezTo>
                    <a:pt x="267" y="124"/>
                    <a:pt x="267" y="123"/>
                    <a:pt x="266" y="123"/>
                  </a:cubicBezTo>
                  <a:lnTo>
                    <a:pt x="232" y="111"/>
                  </a:lnTo>
                  <a:lnTo>
                    <a:pt x="167" y="127"/>
                  </a:lnTo>
                  <a:lnTo>
                    <a:pt x="174" y="161"/>
                  </a:lnTo>
                  <a:lnTo>
                    <a:pt x="268" y="161"/>
                  </a:lnTo>
                  <a:lnTo>
                    <a:pt x="299" y="174"/>
                  </a:lnTo>
                  <a:lnTo>
                    <a:pt x="343" y="161"/>
                  </a:lnTo>
                  <a:lnTo>
                    <a:pt x="371" y="169"/>
                  </a:lnTo>
                  <a:cubicBezTo>
                    <a:pt x="372" y="170"/>
                    <a:pt x="374" y="171"/>
                    <a:pt x="374" y="173"/>
                  </a:cubicBezTo>
                  <a:lnTo>
                    <a:pt x="378" y="191"/>
                  </a:lnTo>
                  <a:lnTo>
                    <a:pt x="412" y="195"/>
                  </a:lnTo>
                  <a:lnTo>
                    <a:pt x="539" y="173"/>
                  </a:lnTo>
                  <a:cubicBezTo>
                    <a:pt x="540" y="173"/>
                    <a:pt x="541" y="174"/>
                    <a:pt x="542" y="175"/>
                  </a:cubicBezTo>
                  <a:cubicBezTo>
                    <a:pt x="543" y="176"/>
                    <a:pt x="544" y="178"/>
                    <a:pt x="543" y="179"/>
                  </a:cubicBezTo>
                  <a:lnTo>
                    <a:pt x="527" y="253"/>
                  </a:lnTo>
                  <a:lnTo>
                    <a:pt x="550" y="287"/>
                  </a:lnTo>
                  <a:lnTo>
                    <a:pt x="607" y="283"/>
                  </a:lnTo>
                  <a:cubicBezTo>
                    <a:pt x="608" y="283"/>
                    <a:pt x="610" y="284"/>
                    <a:pt x="610" y="286"/>
                  </a:cubicBezTo>
                  <a:lnTo>
                    <a:pt x="619" y="298"/>
                  </a:lnTo>
                  <a:lnTo>
                    <a:pt x="637" y="423"/>
                  </a:lnTo>
                  <a:cubicBezTo>
                    <a:pt x="637" y="424"/>
                    <a:pt x="636" y="426"/>
                    <a:pt x="636" y="427"/>
                  </a:cubicBezTo>
                  <a:cubicBezTo>
                    <a:pt x="635" y="428"/>
                    <a:pt x="633" y="428"/>
                    <a:pt x="632" y="428"/>
                  </a:cubicBezTo>
                  <a:lnTo>
                    <a:pt x="615" y="428"/>
                  </a:lnTo>
                  <a:cubicBezTo>
                    <a:pt x="613" y="428"/>
                    <a:pt x="612" y="427"/>
                    <a:pt x="611" y="426"/>
                  </a:cubicBezTo>
                  <a:cubicBezTo>
                    <a:pt x="610" y="424"/>
                    <a:pt x="610" y="422"/>
                    <a:pt x="611" y="421"/>
                  </a:cubicBezTo>
                  <a:lnTo>
                    <a:pt x="615" y="415"/>
                  </a:lnTo>
                  <a:lnTo>
                    <a:pt x="590" y="415"/>
                  </a:lnTo>
                  <a:lnTo>
                    <a:pt x="540" y="428"/>
                  </a:lnTo>
                  <a:lnTo>
                    <a:pt x="539" y="428"/>
                  </a:lnTo>
                  <a:cubicBezTo>
                    <a:pt x="537" y="428"/>
                    <a:pt x="535" y="427"/>
                    <a:pt x="534" y="425"/>
                  </a:cubicBezTo>
                  <a:lnTo>
                    <a:pt x="527" y="407"/>
                  </a:lnTo>
                  <a:lnTo>
                    <a:pt x="504" y="403"/>
                  </a:lnTo>
                  <a:lnTo>
                    <a:pt x="359" y="487"/>
                  </a:lnTo>
                  <a:cubicBezTo>
                    <a:pt x="358" y="487"/>
                    <a:pt x="358" y="487"/>
                    <a:pt x="357" y="487"/>
                  </a:cubicBezTo>
                  <a:cubicBezTo>
                    <a:pt x="357" y="487"/>
                    <a:pt x="356" y="487"/>
                    <a:pt x="355" y="487"/>
                  </a:cubicBezTo>
                  <a:cubicBezTo>
                    <a:pt x="354" y="487"/>
                    <a:pt x="353" y="486"/>
                    <a:pt x="352" y="485"/>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0" name="Freeform 745"/>
            <p:cNvSpPr>
              <a:spLocks noChangeArrowheads="1"/>
            </p:cNvSpPr>
            <p:nvPr/>
          </p:nvSpPr>
          <p:spPr bwMode="auto">
            <a:xfrm>
              <a:off x="6265863" y="2386013"/>
              <a:ext cx="230187" cy="176212"/>
            </a:xfrm>
            <a:custGeom>
              <a:avLst/>
              <a:gdLst/>
              <a:ahLst/>
              <a:cxnLst>
                <a:cxn ang="0">
                  <a:pos x="352" y="485"/>
                </a:cxn>
                <a:cxn ang="0">
                  <a:pos x="339" y="358"/>
                </a:cxn>
                <a:cxn ang="0">
                  <a:pos x="314" y="342"/>
                </a:cxn>
                <a:cxn ang="0">
                  <a:pos x="294" y="298"/>
                </a:cxn>
                <a:cxn ang="0">
                  <a:pos x="247" y="371"/>
                </a:cxn>
                <a:cxn ang="0">
                  <a:pos x="234" y="396"/>
                </a:cxn>
                <a:cxn ang="0">
                  <a:pos x="229" y="398"/>
                </a:cxn>
                <a:cxn ang="0">
                  <a:pos x="166" y="437"/>
                </a:cxn>
                <a:cxn ang="0">
                  <a:pos x="162" y="441"/>
                </a:cxn>
                <a:cxn ang="0">
                  <a:pos x="124" y="420"/>
                </a:cxn>
                <a:cxn ang="0">
                  <a:pos x="56" y="458"/>
                </a:cxn>
                <a:cxn ang="0">
                  <a:pos x="19" y="423"/>
                </a:cxn>
                <a:cxn ang="0">
                  <a:pos x="43" y="375"/>
                </a:cxn>
                <a:cxn ang="0">
                  <a:pos x="56" y="265"/>
                </a:cxn>
                <a:cxn ang="0">
                  <a:pos x="29" y="225"/>
                </a:cxn>
                <a:cxn ang="0">
                  <a:pos x="1" y="188"/>
                </a:cxn>
                <a:cxn ang="0">
                  <a:pos x="22" y="161"/>
                </a:cxn>
                <a:cxn ang="0">
                  <a:pos x="115" y="113"/>
                </a:cxn>
                <a:cxn ang="0">
                  <a:pos x="157" y="94"/>
                </a:cxn>
                <a:cxn ang="0">
                  <a:pos x="171" y="40"/>
                </a:cxn>
                <a:cxn ang="0">
                  <a:pos x="203" y="42"/>
                </a:cxn>
                <a:cxn ang="0">
                  <a:pos x="276" y="0"/>
                </a:cxn>
                <a:cxn ang="0">
                  <a:pos x="289" y="37"/>
                </a:cxn>
                <a:cxn ang="0">
                  <a:pos x="265" y="61"/>
                </a:cxn>
                <a:cxn ang="0">
                  <a:pos x="302" y="89"/>
                </a:cxn>
                <a:cxn ang="0">
                  <a:pos x="304" y="97"/>
                </a:cxn>
                <a:cxn ang="0">
                  <a:pos x="268" y="124"/>
                </a:cxn>
                <a:cxn ang="0">
                  <a:pos x="232" y="111"/>
                </a:cxn>
                <a:cxn ang="0">
                  <a:pos x="174" y="161"/>
                </a:cxn>
                <a:cxn ang="0">
                  <a:pos x="299" y="174"/>
                </a:cxn>
                <a:cxn ang="0">
                  <a:pos x="371" y="169"/>
                </a:cxn>
                <a:cxn ang="0">
                  <a:pos x="378" y="191"/>
                </a:cxn>
                <a:cxn ang="0">
                  <a:pos x="539" y="173"/>
                </a:cxn>
                <a:cxn ang="0">
                  <a:pos x="543" y="179"/>
                </a:cxn>
                <a:cxn ang="0">
                  <a:pos x="550" y="287"/>
                </a:cxn>
                <a:cxn ang="0">
                  <a:pos x="610" y="286"/>
                </a:cxn>
                <a:cxn ang="0">
                  <a:pos x="637" y="423"/>
                </a:cxn>
                <a:cxn ang="0">
                  <a:pos x="632" y="428"/>
                </a:cxn>
                <a:cxn ang="0">
                  <a:pos x="611" y="426"/>
                </a:cxn>
                <a:cxn ang="0">
                  <a:pos x="615" y="415"/>
                </a:cxn>
                <a:cxn ang="0">
                  <a:pos x="540" y="428"/>
                </a:cxn>
                <a:cxn ang="0">
                  <a:pos x="534" y="425"/>
                </a:cxn>
                <a:cxn ang="0">
                  <a:pos x="504" y="403"/>
                </a:cxn>
                <a:cxn ang="0">
                  <a:pos x="357" y="487"/>
                </a:cxn>
              </a:cxnLst>
              <a:rect l="0" t="0" r="r" b="b"/>
              <a:pathLst>
                <a:path w="638" h="488">
                  <a:moveTo>
                    <a:pt x="355" y="487"/>
                  </a:moveTo>
                  <a:cubicBezTo>
                    <a:pt x="354" y="487"/>
                    <a:pt x="353" y="486"/>
                    <a:pt x="352" y="485"/>
                  </a:cubicBezTo>
                  <a:lnTo>
                    <a:pt x="331" y="438"/>
                  </a:lnTo>
                  <a:lnTo>
                    <a:pt x="339" y="358"/>
                  </a:lnTo>
                  <a:lnTo>
                    <a:pt x="316" y="347"/>
                  </a:lnTo>
                  <a:cubicBezTo>
                    <a:pt x="314" y="346"/>
                    <a:pt x="313" y="344"/>
                    <a:pt x="314" y="342"/>
                  </a:cubicBezTo>
                  <a:lnTo>
                    <a:pt x="321" y="315"/>
                  </a:lnTo>
                  <a:lnTo>
                    <a:pt x="294" y="298"/>
                  </a:lnTo>
                  <a:lnTo>
                    <a:pt x="239" y="357"/>
                  </a:lnTo>
                  <a:lnTo>
                    <a:pt x="247" y="371"/>
                  </a:lnTo>
                  <a:cubicBezTo>
                    <a:pt x="247" y="372"/>
                    <a:pt x="247" y="374"/>
                    <a:pt x="246" y="375"/>
                  </a:cubicBezTo>
                  <a:lnTo>
                    <a:pt x="234" y="396"/>
                  </a:lnTo>
                  <a:cubicBezTo>
                    <a:pt x="233" y="398"/>
                    <a:pt x="231" y="398"/>
                    <a:pt x="230" y="398"/>
                  </a:cubicBezTo>
                  <a:cubicBezTo>
                    <a:pt x="229" y="398"/>
                    <a:pt x="229" y="398"/>
                    <a:pt x="229" y="398"/>
                  </a:cubicBezTo>
                  <a:lnTo>
                    <a:pt x="178" y="387"/>
                  </a:lnTo>
                  <a:lnTo>
                    <a:pt x="166" y="437"/>
                  </a:lnTo>
                  <a:cubicBezTo>
                    <a:pt x="166" y="439"/>
                    <a:pt x="165" y="440"/>
                    <a:pt x="164" y="440"/>
                  </a:cubicBezTo>
                  <a:cubicBezTo>
                    <a:pt x="163" y="441"/>
                    <a:pt x="162" y="441"/>
                    <a:pt x="162" y="441"/>
                  </a:cubicBezTo>
                  <a:cubicBezTo>
                    <a:pt x="161" y="441"/>
                    <a:pt x="160" y="441"/>
                    <a:pt x="159" y="440"/>
                  </a:cubicBezTo>
                  <a:lnTo>
                    <a:pt x="124" y="420"/>
                  </a:lnTo>
                  <a:lnTo>
                    <a:pt x="58" y="457"/>
                  </a:lnTo>
                  <a:cubicBezTo>
                    <a:pt x="58" y="458"/>
                    <a:pt x="57" y="458"/>
                    <a:pt x="56" y="458"/>
                  </a:cubicBezTo>
                  <a:cubicBezTo>
                    <a:pt x="55" y="458"/>
                    <a:pt x="54" y="457"/>
                    <a:pt x="53" y="456"/>
                  </a:cubicBezTo>
                  <a:lnTo>
                    <a:pt x="19" y="423"/>
                  </a:lnTo>
                  <a:cubicBezTo>
                    <a:pt x="17" y="421"/>
                    <a:pt x="17" y="419"/>
                    <a:pt x="18" y="417"/>
                  </a:cubicBezTo>
                  <a:lnTo>
                    <a:pt x="43" y="375"/>
                  </a:lnTo>
                  <a:lnTo>
                    <a:pt x="80" y="317"/>
                  </a:lnTo>
                  <a:lnTo>
                    <a:pt x="56" y="265"/>
                  </a:lnTo>
                  <a:lnTo>
                    <a:pt x="59" y="232"/>
                  </a:lnTo>
                  <a:lnTo>
                    <a:pt x="29" y="225"/>
                  </a:lnTo>
                  <a:lnTo>
                    <a:pt x="1" y="194"/>
                  </a:lnTo>
                  <a:cubicBezTo>
                    <a:pt x="0" y="192"/>
                    <a:pt x="0" y="190"/>
                    <a:pt x="1" y="188"/>
                  </a:cubicBezTo>
                  <a:lnTo>
                    <a:pt x="18" y="163"/>
                  </a:lnTo>
                  <a:cubicBezTo>
                    <a:pt x="19" y="161"/>
                    <a:pt x="20" y="161"/>
                    <a:pt x="22" y="161"/>
                  </a:cubicBezTo>
                  <a:lnTo>
                    <a:pt x="99" y="157"/>
                  </a:lnTo>
                  <a:lnTo>
                    <a:pt x="115" y="113"/>
                  </a:lnTo>
                  <a:cubicBezTo>
                    <a:pt x="115" y="112"/>
                    <a:pt x="116" y="111"/>
                    <a:pt x="118" y="110"/>
                  </a:cubicBezTo>
                  <a:lnTo>
                    <a:pt x="157" y="94"/>
                  </a:lnTo>
                  <a:lnTo>
                    <a:pt x="157" y="64"/>
                  </a:lnTo>
                  <a:lnTo>
                    <a:pt x="171" y="40"/>
                  </a:lnTo>
                  <a:cubicBezTo>
                    <a:pt x="171" y="39"/>
                    <a:pt x="173" y="38"/>
                    <a:pt x="175" y="38"/>
                  </a:cubicBezTo>
                  <a:lnTo>
                    <a:pt x="203" y="42"/>
                  </a:lnTo>
                  <a:lnTo>
                    <a:pt x="261" y="1"/>
                  </a:lnTo>
                  <a:lnTo>
                    <a:pt x="276" y="0"/>
                  </a:lnTo>
                  <a:cubicBezTo>
                    <a:pt x="278" y="0"/>
                    <a:pt x="280" y="1"/>
                    <a:pt x="281" y="3"/>
                  </a:cubicBezTo>
                  <a:lnTo>
                    <a:pt x="289" y="37"/>
                  </a:lnTo>
                  <a:cubicBezTo>
                    <a:pt x="290" y="39"/>
                    <a:pt x="289" y="41"/>
                    <a:pt x="288" y="42"/>
                  </a:cubicBezTo>
                  <a:lnTo>
                    <a:pt x="265" y="61"/>
                  </a:lnTo>
                  <a:lnTo>
                    <a:pt x="275" y="89"/>
                  </a:lnTo>
                  <a:lnTo>
                    <a:pt x="302" y="89"/>
                  </a:lnTo>
                  <a:cubicBezTo>
                    <a:pt x="304" y="89"/>
                    <a:pt x="305" y="90"/>
                    <a:pt x="306" y="92"/>
                  </a:cubicBezTo>
                  <a:cubicBezTo>
                    <a:pt x="307" y="94"/>
                    <a:pt x="306" y="96"/>
                    <a:pt x="304" y="97"/>
                  </a:cubicBezTo>
                  <a:lnTo>
                    <a:pt x="270" y="123"/>
                  </a:lnTo>
                  <a:cubicBezTo>
                    <a:pt x="270" y="123"/>
                    <a:pt x="269" y="124"/>
                    <a:pt x="268" y="124"/>
                  </a:cubicBezTo>
                  <a:cubicBezTo>
                    <a:pt x="267" y="124"/>
                    <a:pt x="267" y="123"/>
                    <a:pt x="266" y="123"/>
                  </a:cubicBezTo>
                  <a:lnTo>
                    <a:pt x="232" y="111"/>
                  </a:lnTo>
                  <a:lnTo>
                    <a:pt x="167" y="127"/>
                  </a:lnTo>
                  <a:lnTo>
                    <a:pt x="174" y="161"/>
                  </a:lnTo>
                  <a:lnTo>
                    <a:pt x="268" y="161"/>
                  </a:lnTo>
                  <a:lnTo>
                    <a:pt x="299" y="174"/>
                  </a:lnTo>
                  <a:lnTo>
                    <a:pt x="343" y="161"/>
                  </a:lnTo>
                  <a:lnTo>
                    <a:pt x="371" y="169"/>
                  </a:lnTo>
                  <a:cubicBezTo>
                    <a:pt x="372" y="170"/>
                    <a:pt x="374" y="171"/>
                    <a:pt x="374" y="173"/>
                  </a:cubicBezTo>
                  <a:lnTo>
                    <a:pt x="378" y="191"/>
                  </a:lnTo>
                  <a:lnTo>
                    <a:pt x="412" y="195"/>
                  </a:lnTo>
                  <a:lnTo>
                    <a:pt x="539" y="173"/>
                  </a:lnTo>
                  <a:cubicBezTo>
                    <a:pt x="540" y="173"/>
                    <a:pt x="541" y="174"/>
                    <a:pt x="542" y="175"/>
                  </a:cubicBezTo>
                  <a:cubicBezTo>
                    <a:pt x="543" y="176"/>
                    <a:pt x="544" y="178"/>
                    <a:pt x="543" y="179"/>
                  </a:cubicBezTo>
                  <a:lnTo>
                    <a:pt x="527" y="253"/>
                  </a:lnTo>
                  <a:lnTo>
                    <a:pt x="550" y="287"/>
                  </a:lnTo>
                  <a:lnTo>
                    <a:pt x="607" y="283"/>
                  </a:lnTo>
                  <a:cubicBezTo>
                    <a:pt x="608" y="283"/>
                    <a:pt x="610" y="284"/>
                    <a:pt x="610" y="286"/>
                  </a:cubicBezTo>
                  <a:lnTo>
                    <a:pt x="619" y="298"/>
                  </a:lnTo>
                  <a:lnTo>
                    <a:pt x="637" y="423"/>
                  </a:lnTo>
                  <a:cubicBezTo>
                    <a:pt x="637" y="424"/>
                    <a:pt x="636" y="426"/>
                    <a:pt x="636" y="427"/>
                  </a:cubicBezTo>
                  <a:cubicBezTo>
                    <a:pt x="635" y="428"/>
                    <a:pt x="633" y="428"/>
                    <a:pt x="632" y="428"/>
                  </a:cubicBezTo>
                  <a:lnTo>
                    <a:pt x="615" y="428"/>
                  </a:lnTo>
                  <a:cubicBezTo>
                    <a:pt x="613" y="428"/>
                    <a:pt x="612" y="427"/>
                    <a:pt x="611" y="426"/>
                  </a:cubicBezTo>
                  <a:cubicBezTo>
                    <a:pt x="610" y="424"/>
                    <a:pt x="610" y="422"/>
                    <a:pt x="611" y="421"/>
                  </a:cubicBezTo>
                  <a:lnTo>
                    <a:pt x="615" y="415"/>
                  </a:lnTo>
                  <a:lnTo>
                    <a:pt x="590" y="415"/>
                  </a:lnTo>
                  <a:lnTo>
                    <a:pt x="540" y="428"/>
                  </a:lnTo>
                  <a:lnTo>
                    <a:pt x="539" y="428"/>
                  </a:lnTo>
                  <a:cubicBezTo>
                    <a:pt x="537" y="428"/>
                    <a:pt x="535" y="427"/>
                    <a:pt x="534" y="425"/>
                  </a:cubicBezTo>
                  <a:lnTo>
                    <a:pt x="527" y="407"/>
                  </a:lnTo>
                  <a:lnTo>
                    <a:pt x="504" y="403"/>
                  </a:lnTo>
                  <a:lnTo>
                    <a:pt x="359" y="487"/>
                  </a:lnTo>
                  <a:cubicBezTo>
                    <a:pt x="358" y="487"/>
                    <a:pt x="358" y="487"/>
                    <a:pt x="357" y="487"/>
                  </a:cubicBezTo>
                  <a:cubicBezTo>
                    <a:pt x="357" y="487"/>
                    <a:pt x="356" y="487"/>
                    <a:pt x="355" y="487"/>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1" name="Freeform 746"/>
            <p:cNvSpPr>
              <a:spLocks noChangeArrowheads="1"/>
            </p:cNvSpPr>
            <p:nvPr/>
          </p:nvSpPr>
          <p:spPr bwMode="auto">
            <a:xfrm>
              <a:off x="4818063" y="2322513"/>
              <a:ext cx="58737" cy="122237"/>
            </a:xfrm>
            <a:custGeom>
              <a:avLst/>
              <a:gdLst/>
              <a:ahLst/>
              <a:cxnLst>
                <a:cxn ang="0">
                  <a:pos x="80" y="340"/>
                </a:cxn>
                <a:cxn ang="0">
                  <a:pos x="77" y="338"/>
                </a:cxn>
                <a:cxn ang="0">
                  <a:pos x="1" y="254"/>
                </a:cxn>
                <a:cxn ang="0">
                  <a:pos x="0" y="249"/>
                </a:cxn>
                <a:cxn ang="0">
                  <a:pos x="5" y="246"/>
                </a:cxn>
                <a:cxn ang="0">
                  <a:pos x="12" y="246"/>
                </a:cxn>
                <a:cxn ang="0">
                  <a:pos x="8" y="149"/>
                </a:cxn>
                <a:cxn ang="0">
                  <a:pos x="24" y="105"/>
                </a:cxn>
                <a:cxn ang="0">
                  <a:pos x="2" y="94"/>
                </a:cxn>
                <a:cxn ang="0">
                  <a:pos x="0" y="89"/>
                </a:cxn>
                <a:cxn ang="0">
                  <a:pos x="13" y="25"/>
                </a:cxn>
                <a:cxn ang="0">
                  <a:pos x="35" y="2"/>
                </a:cxn>
                <a:cxn ang="0">
                  <a:pos x="38" y="0"/>
                </a:cxn>
                <a:cxn ang="0">
                  <a:pos x="40" y="0"/>
                </a:cxn>
                <a:cxn ang="0">
                  <a:pos x="53" y="4"/>
                </a:cxn>
                <a:cxn ang="0">
                  <a:pos x="78" y="13"/>
                </a:cxn>
                <a:cxn ang="0">
                  <a:pos x="122" y="61"/>
                </a:cxn>
                <a:cxn ang="0">
                  <a:pos x="123" y="65"/>
                </a:cxn>
                <a:cxn ang="0">
                  <a:pos x="110" y="148"/>
                </a:cxn>
                <a:cxn ang="0">
                  <a:pos x="151" y="201"/>
                </a:cxn>
                <a:cxn ang="0">
                  <a:pos x="161" y="237"/>
                </a:cxn>
                <a:cxn ang="0">
                  <a:pos x="160" y="241"/>
                </a:cxn>
                <a:cxn ang="0">
                  <a:pos x="84" y="338"/>
                </a:cxn>
                <a:cxn ang="0">
                  <a:pos x="80" y="340"/>
                </a:cxn>
              </a:cxnLst>
              <a:rect l="0" t="0" r="r" b="b"/>
              <a:pathLst>
                <a:path w="162" h="341">
                  <a:moveTo>
                    <a:pt x="80" y="340"/>
                  </a:moveTo>
                  <a:cubicBezTo>
                    <a:pt x="78" y="340"/>
                    <a:pt x="78" y="339"/>
                    <a:pt x="77" y="338"/>
                  </a:cubicBezTo>
                  <a:lnTo>
                    <a:pt x="1" y="254"/>
                  </a:lnTo>
                  <a:cubicBezTo>
                    <a:pt x="0" y="252"/>
                    <a:pt x="0" y="250"/>
                    <a:pt x="0" y="249"/>
                  </a:cubicBezTo>
                  <a:cubicBezTo>
                    <a:pt x="1" y="247"/>
                    <a:pt x="3" y="246"/>
                    <a:pt x="5" y="246"/>
                  </a:cubicBezTo>
                  <a:lnTo>
                    <a:pt x="12" y="246"/>
                  </a:lnTo>
                  <a:lnTo>
                    <a:pt x="8" y="149"/>
                  </a:lnTo>
                  <a:lnTo>
                    <a:pt x="24" y="105"/>
                  </a:lnTo>
                  <a:lnTo>
                    <a:pt x="2" y="94"/>
                  </a:lnTo>
                  <a:cubicBezTo>
                    <a:pt x="1" y="93"/>
                    <a:pt x="0" y="91"/>
                    <a:pt x="0" y="89"/>
                  </a:cubicBezTo>
                  <a:lnTo>
                    <a:pt x="13" y="25"/>
                  </a:lnTo>
                  <a:lnTo>
                    <a:pt x="35" y="2"/>
                  </a:lnTo>
                  <a:cubicBezTo>
                    <a:pt x="36" y="1"/>
                    <a:pt x="37" y="0"/>
                    <a:pt x="38" y="0"/>
                  </a:cubicBezTo>
                  <a:cubicBezTo>
                    <a:pt x="38" y="0"/>
                    <a:pt x="39" y="0"/>
                    <a:pt x="40" y="0"/>
                  </a:cubicBezTo>
                  <a:lnTo>
                    <a:pt x="53" y="4"/>
                  </a:lnTo>
                  <a:lnTo>
                    <a:pt x="78" y="13"/>
                  </a:lnTo>
                  <a:lnTo>
                    <a:pt x="122" y="61"/>
                  </a:lnTo>
                  <a:cubicBezTo>
                    <a:pt x="122" y="62"/>
                    <a:pt x="123" y="64"/>
                    <a:pt x="123" y="65"/>
                  </a:cubicBezTo>
                  <a:lnTo>
                    <a:pt x="110" y="148"/>
                  </a:lnTo>
                  <a:lnTo>
                    <a:pt x="151" y="201"/>
                  </a:lnTo>
                  <a:lnTo>
                    <a:pt x="161" y="237"/>
                  </a:lnTo>
                  <a:cubicBezTo>
                    <a:pt x="161" y="238"/>
                    <a:pt x="161" y="240"/>
                    <a:pt x="160" y="241"/>
                  </a:cubicBezTo>
                  <a:lnTo>
                    <a:pt x="84" y="338"/>
                  </a:lnTo>
                  <a:cubicBezTo>
                    <a:pt x="83" y="339"/>
                    <a:pt x="81" y="340"/>
                    <a:pt x="80" y="340"/>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2" name="Freeform 747"/>
            <p:cNvSpPr>
              <a:spLocks noChangeArrowheads="1"/>
            </p:cNvSpPr>
            <p:nvPr/>
          </p:nvSpPr>
          <p:spPr bwMode="auto">
            <a:xfrm>
              <a:off x="4818063" y="2322513"/>
              <a:ext cx="58737" cy="122237"/>
            </a:xfrm>
            <a:custGeom>
              <a:avLst/>
              <a:gdLst/>
              <a:ahLst/>
              <a:cxnLst>
                <a:cxn ang="0">
                  <a:pos x="80" y="340"/>
                </a:cxn>
                <a:cxn ang="0">
                  <a:pos x="77" y="338"/>
                </a:cxn>
                <a:cxn ang="0">
                  <a:pos x="1" y="254"/>
                </a:cxn>
                <a:cxn ang="0">
                  <a:pos x="0" y="249"/>
                </a:cxn>
                <a:cxn ang="0">
                  <a:pos x="5" y="246"/>
                </a:cxn>
                <a:cxn ang="0">
                  <a:pos x="12" y="246"/>
                </a:cxn>
                <a:cxn ang="0">
                  <a:pos x="8" y="149"/>
                </a:cxn>
                <a:cxn ang="0">
                  <a:pos x="24" y="105"/>
                </a:cxn>
                <a:cxn ang="0">
                  <a:pos x="2" y="94"/>
                </a:cxn>
                <a:cxn ang="0">
                  <a:pos x="0" y="89"/>
                </a:cxn>
                <a:cxn ang="0">
                  <a:pos x="13" y="25"/>
                </a:cxn>
                <a:cxn ang="0">
                  <a:pos x="35" y="2"/>
                </a:cxn>
                <a:cxn ang="0">
                  <a:pos x="38" y="0"/>
                </a:cxn>
                <a:cxn ang="0">
                  <a:pos x="40" y="0"/>
                </a:cxn>
                <a:cxn ang="0">
                  <a:pos x="53" y="4"/>
                </a:cxn>
                <a:cxn ang="0">
                  <a:pos x="78" y="13"/>
                </a:cxn>
                <a:cxn ang="0">
                  <a:pos x="122" y="61"/>
                </a:cxn>
                <a:cxn ang="0">
                  <a:pos x="123" y="65"/>
                </a:cxn>
                <a:cxn ang="0">
                  <a:pos x="110" y="148"/>
                </a:cxn>
                <a:cxn ang="0">
                  <a:pos x="151" y="201"/>
                </a:cxn>
                <a:cxn ang="0">
                  <a:pos x="161" y="237"/>
                </a:cxn>
                <a:cxn ang="0">
                  <a:pos x="160" y="241"/>
                </a:cxn>
                <a:cxn ang="0">
                  <a:pos x="84" y="338"/>
                </a:cxn>
                <a:cxn ang="0">
                  <a:pos x="80" y="340"/>
                </a:cxn>
              </a:cxnLst>
              <a:rect l="0" t="0" r="r" b="b"/>
              <a:pathLst>
                <a:path w="162" h="341">
                  <a:moveTo>
                    <a:pt x="80" y="340"/>
                  </a:moveTo>
                  <a:cubicBezTo>
                    <a:pt x="78" y="340"/>
                    <a:pt x="78" y="339"/>
                    <a:pt x="77" y="338"/>
                  </a:cubicBezTo>
                  <a:lnTo>
                    <a:pt x="1" y="254"/>
                  </a:lnTo>
                  <a:cubicBezTo>
                    <a:pt x="0" y="252"/>
                    <a:pt x="0" y="250"/>
                    <a:pt x="0" y="249"/>
                  </a:cubicBezTo>
                  <a:cubicBezTo>
                    <a:pt x="1" y="247"/>
                    <a:pt x="3" y="246"/>
                    <a:pt x="5" y="246"/>
                  </a:cubicBezTo>
                  <a:lnTo>
                    <a:pt x="12" y="246"/>
                  </a:lnTo>
                  <a:lnTo>
                    <a:pt x="8" y="149"/>
                  </a:lnTo>
                  <a:lnTo>
                    <a:pt x="24" y="105"/>
                  </a:lnTo>
                  <a:lnTo>
                    <a:pt x="2" y="94"/>
                  </a:lnTo>
                  <a:cubicBezTo>
                    <a:pt x="1" y="93"/>
                    <a:pt x="0" y="91"/>
                    <a:pt x="0" y="89"/>
                  </a:cubicBezTo>
                  <a:lnTo>
                    <a:pt x="13" y="25"/>
                  </a:lnTo>
                  <a:lnTo>
                    <a:pt x="35" y="2"/>
                  </a:lnTo>
                  <a:cubicBezTo>
                    <a:pt x="36" y="1"/>
                    <a:pt x="37" y="0"/>
                    <a:pt x="38" y="0"/>
                  </a:cubicBezTo>
                  <a:cubicBezTo>
                    <a:pt x="38" y="0"/>
                    <a:pt x="39" y="0"/>
                    <a:pt x="40" y="0"/>
                  </a:cubicBezTo>
                  <a:lnTo>
                    <a:pt x="53" y="4"/>
                  </a:lnTo>
                  <a:lnTo>
                    <a:pt x="78" y="13"/>
                  </a:lnTo>
                  <a:lnTo>
                    <a:pt x="122" y="61"/>
                  </a:lnTo>
                  <a:cubicBezTo>
                    <a:pt x="122" y="62"/>
                    <a:pt x="123" y="64"/>
                    <a:pt x="123" y="65"/>
                  </a:cubicBezTo>
                  <a:lnTo>
                    <a:pt x="110" y="148"/>
                  </a:lnTo>
                  <a:lnTo>
                    <a:pt x="151" y="201"/>
                  </a:lnTo>
                  <a:lnTo>
                    <a:pt x="161" y="237"/>
                  </a:lnTo>
                  <a:cubicBezTo>
                    <a:pt x="161" y="238"/>
                    <a:pt x="161" y="240"/>
                    <a:pt x="160" y="241"/>
                  </a:cubicBezTo>
                  <a:lnTo>
                    <a:pt x="84" y="338"/>
                  </a:lnTo>
                  <a:cubicBezTo>
                    <a:pt x="83" y="339"/>
                    <a:pt x="81" y="340"/>
                    <a:pt x="80" y="340"/>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3" name="Freeform 748"/>
            <p:cNvSpPr>
              <a:spLocks noChangeArrowheads="1"/>
            </p:cNvSpPr>
            <p:nvPr/>
          </p:nvSpPr>
          <p:spPr bwMode="auto">
            <a:xfrm>
              <a:off x="4854575" y="2330450"/>
              <a:ext cx="79375" cy="68263"/>
            </a:xfrm>
            <a:custGeom>
              <a:avLst/>
              <a:gdLst/>
              <a:ahLst/>
              <a:cxnLst>
                <a:cxn ang="0">
                  <a:pos x="44" y="187"/>
                </a:cxn>
                <a:cxn ang="0">
                  <a:pos x="1" y="132"/>
                </a:cxn>
                <a:cxn ang="0">
                  <a:pos x="1" y="128"/>
                </a:cxn>
                <a:cxn ang="0">
                  <a:pos x="13" y="44"/>
                </a:cxn>
                <a:cxn ang="0">
                  <a:pos x="16" y="40"/>
                </a:cxn>
                <a:cxn ang="0">
                  <a:pos x="80" y="0"/>
                </a:cxn>
                <a:cxn ang="0">
                  <a:pos x="166" y="2"/>
                </a:cxn>
                <a:cxn ang="0">
                  <a:pos x="171" y="6"/>
                </a:cxn>
                <a:cxn ang="0">
                  <a:pos x="171" y="25"/>
                </a:cxn>
                <a:cxn ang="0">
                  <a:pos x="203" y="53"/>
                </a:cxn>
                <a:cxn ang="0">
                  <a:pos x="218" y="128"/>
                </a:cxn>
                <a:cxn ang="0">
                  <a:pos x="214" y="133"/>
                </a:cxn>
                <a:cxn ang="0">
                  <a:pos x="49" y="188"/>
                </a:cxn>
                <a:cxn ang="0">
                  <a:pos x="48" y="189"/>
                </a:cxn>
                <a:cxn ang="0">
                  <a:pos x="44" y="187"/>
                </a:cxn>
              </a:cxnLst>
              <a:rect l="0" t="0" r="r" b="b"/>
              <a:pathLst>
                <a:path w="219" h="190">
                  <a:moveTo>
                    <a:pt x="44" y="187"/>
                  </a:moveTo>
                  <a:lnTo>
                    <a:pt x="1" y="132"/>
                  </a:lnTo>
                  <a:cubicBezTo>
                    <a:pt x="1" y="131"/>
                    <a:pt x="0" y="130"/>
                    <a:pt x="1" y="128"/>
                  </a:cubicBezTo>
                  <a:lnTo>
                    <a:pt x="13" y="44"/>
                  </a:lnTo>
                  <a:cubicBezTo>
                    <a:pt x="14" y="42"/>
                    <a:pt x="14" y="41"/>
                    <a:pt x="16" y="40"/>
                  </a:cubicBezTo>
                  <a:lnTo>
                    <a:pt x="80" y="0"/>
                  </a:lnTo>
                  <a:lnTo>
                    <a:pt x="166" y="2"/>
                  </a:lnTo>
                  <a:cubicBezTo>
                    <a:pt x="169" y="2"/>
                    <a:pt x="171" y="4"/>
                    <a:pt x="171" y="6"/>
                  </a:cubicBezTo>
                  <a:lnTo>
                    <a:pt x="171" y="25"/>
                  </a:lnTo>
                  <a:lnTo>
                    <a:pt x="203" y="53"/>
                  </a:lnTo>
                  <a:lnTo>
                    <a:pt x="218" y="128"/>
                  </a:lnTo>
                  <a:cubicBezTo>
                    <a:pt x="218" y="130"/>
                    <a:pt x="217" y="133"/>
                    <a:pt x="214" y="133"/>
                  </a:cubicBezTo>
                  <a:lnTo>
                    <a:pt x="49" y="188"/>
                  </a:lnTo>
                  <a:cubicBezTo>
                    <a:pt x="49" y="189"/>
                    <a:pt x="48" y="189"/>
                    <a:pt x="48" y="189"/>
                  </a:cubicBezTo>
                  <a:cubicBezTo>
                    <a:pt x="46" y="189"/>
                    <a:pt x="45" y="188"/>
                    <a:pt x="44" y="187"/>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4" name="Freeform 749"/>
            <p:cNvSpPr>
              <a:spLocks noChangeArrowheads="1"/>
            </p:cNvSpPr>
            <p:nvPr/>
          </p:nvSpPr>
          <p:spPr bwMode="auto">
            <a:xfrm>
              <a:off x="4854575" y="2330450"/>
              <a:ext cx="79375" cy="68263"/>
            </a:xfrm>
            <a:custGeom>
              <a:avLst/>
              <a:gdLst/>
              <a:ahLst/>
              <a:cxnLst>
                <a:cxn ang="0">
                  <a:pos x="48" y="189"/>
                </a:cxn>
                <a:cxn ang="0">
                  <a:pos x="44" y="187"/>
                </a:cxn>
                <a:cxn ang="0">
                  <a:pos x="1" y="132"/>
                </a:cxn>
                <a:cxn ang="0">
                  <a:pos x="1" y="128"/>
                </a:cxn>
                <a:cxn ang="0">
                  <a:pos x="13" y="44"/>
                </a:cxn>
                <a:cxn ang="0">
                  <a:pos x="16" y="40"/>
                </a:cxn>
                <a:cxn ang="0">
                  <a:pos x="80" y="0"/>
                </a:cxn>
                <a:cxn ang="0">
                  <a:pos x="166" y="2"/>
                </a:cxn>
                <a:cxn ang="0">
                  <a:pos x="171" y="6"/>
                </a:cxn>
                <a:cxn ang="0">
                  <a:pos x="171" y="25"/>
                </a:cxn>
                <a:cxn ang="0">
                  <a:pos x="203" y="53"/>
                </a:cxn>
                <a:cxn ang="0">
                  <a:pos x="218" y="128"/>
                </a:cxn>
                <a:cxn ang="0">
                  <a:pos x="214" y="133"/>
                </a:cxn>
                <a:cxn ang="0">
                  <a:pos x="49" y="188"/>
                </a:cxn>
                <a:cxn ang="0">
                  <a:pos x="48" y="189"/>
                </a:cxn>
              </a:cxnLst>
              <a:rect l="0" t="0" r="r" b="b"/>
              <a:pathLst>
                <a:path w="219" h="190">
                  <a:moveTo>
                    <a:pt x="48" y="189"/>
                  </a:moveTo>
                  <a:cubicBezTo>
                    <a:pt x="46" y="189"/>
                    <a:pt x="45" y="188"/>
                    <a:pt x="44" y="187"/>
                  </a:cubicBezTo>
                  <a:lnTo>
                    <a:pt x="1" y="132"/>
                  </a:lnTo>
                  <a:cubicBezTo>
                    <a:pt x="1" y="131"/>
                    <a:pt x="0" y="130"/>
                    <a:pt x="1" y="128"/>
                  </a:cubicBezTo>
                  <a:lnTo>
                    <a:pt x="13" y="44"/>
                  </a:lnTo>
                  <a:cubicBezTo>
                    <a:pt x="14" y="42"/>
                    <a:pt x="14" y="41"/>
                    <a:pt x="16" y="40"/>
                  </a:cubicBezTo>
                  <a:lnTo>
                    <a:pt x="80" y="0"/>
                  </a:lnTo>
                  <a:lnTo>
                    <a:pt x="166" y="2"/>
                  </a:lnTo>
                  <a:cubicBezTo>
                    <a:pt x="169" y="2"/>
                    <a:pt x="171" y="4"/>
                    <a:pt x="171" y="6"/>
                  </a:cubicBezTo>
                  <a:lnTo>
                    <a:pt x="171" y="25"/>
                  </a:lnTo>
                  <a:lnTo>
                    <a:pt x="203" y="53"/>
                  </a:lnTo>
                  <a:lnTo>
                    <a:pt x="218" y="128"/>
                  </a:lnTo>
                  <a:cubicBezTo>
                    <a:pt x="218" y="130"/>
                    <a:pt x="217" y="133"/>
                    <a:pt x="214" y="133"/>
                  </a:cubicBezTo>
                  <a:lnTo>
                    <a:pt x="49" y="188"/>
                  </a:lnTo>
                  <a:cubicBezTo>
                    <a:pt x="49" y="189"/>
                    <a:pt x="48" y="189"/>
                    <a:pt x="48" y="18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5" name="Freeform 750"/>
            <p:cNvSpPr>
              <a:spLocks noChangeArrowheads="1"/>
            </p:cNvSpPr>
            <p:nvPr/>
          </p:nvSpPr>
          <p:spPr bwMode="auto">
            <a:xfrm>
              <a:off x="4908550" y="2260600"/>
              <a:ext cx="195263" cy="122238"/>
            </a:xfrm>
            <a:custGeom>
              <a:avLst/>
              <a:gdLst/>
              <a:ahLst/>
              <a:cxnLst>
                <a:cxn ang="0">
                  <a:pos x="270" y="339"/>
                </a:cxn>
                <a:cxn ang="0">
                  <a:pos x="181" y="301"/>
                </a:cxn>
                <a:cxn ang="0">
                  <a:pos x="61" y="326"/>
                </a:cxn>
                <a:cxn ang="0">
                  <a:pos x="60" y="327"/>
                </a:cxn>
                <a:cxn ang="0">
                  <a:pos x="57" y="326"/>
                </a:cxn>
                <a:cxn ang="0">
                  <a:pos x="55" y="323"/>
                </a:cxn>
                <a:cxn ang="0">
                  <a:pos x="42" y="251"/>
                </a:cxn>
                <a:cxn ang="0">
                  <a:pos x="10" y="224"/>
                </a:cxn>
                <a:cxn ang="0">
                  <a:pos x="8" y="220"/>
                </a:cxn>
                <a:cxn ang="0">
                  <a:pos x="8" y="182"/>
                </a:cxn>
                <a:cxn ang="0">
                  <a:pos x="42" y="128"/>
                </a:cxn>
                <a:cxn ang="0">
                  <a:pos x="9" y="84"/>
                </a:cxn>
                <a:cxn ang="0">
                  <a:pos x="0" y="48"/>
                </a:cxn>
                <a:cxn ang="0">
                  <a:pos x="9" y="12"/>
                </a:cxn>
                <a:cxn ang="0">
                  <a:pos x="12" y="9"/>
                </a:cxn>
                <a:cxn ang="0">
                  <a:pos x="37" y="0"/>
                </a:cxn>
                <a:cxn ang="0">
                  <a:pos x="61" y="4"/>
                </a:cxn>
                <a:cxn ang="0">
                  <a:pos x="64" y="7"/>
                </a:cxn>
                <a:cxn ang="0">
                  <a:pos x="64" y="11"/>
                </a:cxn>
                <a:cxn ang="0">
                  <a:pos x="53" y="29"/>
                </a:cxn>
                <a:cxn ang="0">
                  <a:pos x="66" y="42"/>
                </a:cxn>
                <a:cxn ang="0">
                  <a:pos x="268" y="59"/>
                </a:cxn>
                <a:cxn ang="0">
                  <a:pos x="393" y="5"/>
                </a:cxn>
                <a:cxn ang="0">
                  <a:pos x="540" y="42"/>
                </a:cxn>
                <a:cxn ang="0">
                  <a:pos x="543" y="45"/>
                </a:cxn>
                <a:cxn ang="0">
                  <a:pos x="543" y="49"/>
                </a:cxn>
                <a:cxn ang="0">
                  <a:pos x="526" y="91"/>
                </a:cxn>
                <a:cxn ang="0">
                  <a:pos x="482" y="127"/>
                </a:cxn>
                <a:cxn ang="0">
                  <a:pos x="475" y="166"/>
                </a:cxn>
                <a:cxn ang="0">
                  <a:pos x="447" y="195"/>
                </a:cxn>
                <a:cxn ang="0">
                  <a:pos x="487" y="256"/>
                </a:cxn>
                <a:cxn ang="0">
                  <a:pos x="488" y="261"/>
                </a:cxn>
                <a:cxn ang="0">
                  <a:pos x="484" y="263"/>
                </a:cxn>
                <a:cxn ang="0">
                  <a:pos x="411" y="255"/>
                </a:cxn>
                <a:cxn ang="0">
                  <a:pos x="341" y="280"/>
                </a:cxn>
                <a:cxn ang="0">
                  <a:pos x="332" y="280"/>
                </a:cxn>
                <a:cxn ang="0">
                  <a:pos x="332" y="305"/>
                </a:cxn>
                <a:cxn ang="0">
                  <a:pos x="329" y="309"/>
                </a:cxn>
                <a:cxn ang="0">
                  <a:pos x="300" y="326"/>
                </a:cxn>
                <a:cxn ang="0">
                  <a:pos x="274" y="339"/>
                </a:cxn>
                <a:cxn ang="0">
                  <a:pos x="272" y="339"/>
                </a:cxn>
                <a:cxn ang="0">
                  <a:pos x="270" y="339"/>
                </a:cxn>
              </a:cxnLst>
              <a:rect l="0" t="0" r="r" b="b"/>
              <a:pathLst>
                <a:path w="544" h="340">
                  <a:moveTo>
                    <a:pt x="270" y="339"/>
                  </a:moveTo>
                  <a:lnTo>
                    <a:pt x="181" y="301"/>
                  </a:lnTo>
                  <a:lnTo>
                    <a:pt x="61" y="326"/>
                  </a:lnTo>
                  <a:cubicBezTo>
                    <a:pt x="61" y="327"/>
                    <a:pt x="60" y="327"/>
                    <a:pt x="60" y="327"/>
                  </a:cubicBezTo>
                  <a:cubicBezTo>
                    <a:pt x="59" y="327"/>
                    <a:pt x="58" y="326"/>
                    <a:pt x="57" y="326"/>
                  </a:cubicBezTo>
                  <a:cubicBezTo>
                    <a:pt x="56" y="325"/>
                    <a:pt x="55" y="324"/>
                    <a:pt x="55" y="323"/>
                  </a:cubicBezTo>
                  <a:lnTo>
                    <a:pt x="42" y="251"/>
                  </a:lnTo>
                  <a:lnTo>
                    <a:pt x="10" y="224"/>
                  </a:lnTo>
                  <a:cubicBezTo>
                    <a:pt x="9" y="223"/>
                    <a:pt x="8" y="222"/>
                    <a:pt x="8" y="220"/>
                  </a:cubicBezTo>
                  <a:lnTo>
                    <a:pt x="8" y="182"/>
                  </a:lnTo>
                  <a:lnTo>
                    <a:pt x="42" y="128"/>
                  </a:lnTo>
                  <a:lnTo>
                    <a:pt x="9" y="84"/>
                  </a:lnTo>
                  <a:lnTo>
                    <a:pt x="0" y="48"/>
                  </a:lnTo>
                  <a:lnTo>
                    <a:pt x="9" y="12"/>
                  </a:lnTo>
                  <a:cubicBezTo>
                    <a:pt x="9" y="10"/>
                    <a:pt x="10" y="9"/>
                    <a:pt x="12" y="9"/>
                  </a:cubicBezTo>
                  <a:lnTo>
                    <a:pt x="37" y="0"/>
                  </a:lnTo>
                  <a:lnTo>
                    <a:pt x="61" y="4"/>
                  </a:lnTo>
                  <a:cubicBezTo>
                    <a:pt x="62" y="5"/>
                    <a:pt x="64" y="5"/>
                    <a:pt x="64" y="7"/>
                  </a:cubicBezTo>
                  <a:cubicBezTo>
                    <a:pt x="65" y="8"/>
                    <a:pt x="65" y="10"/>
                    <a:pt x="64" y="11"/>
                  </a:cubicBezTo>
                  <a:lnTo>
                    <a:pt x="53" y="29"/>
                  </a:lnTo>
                  <a:lnTo>
                    <a:pt x="66" y="42"/>
                  </a:lnTo>
                  <a:lnTo>
                    <a:pt x="268" y="59"/>
                  </a:lnTo>
                  <a:lnTo>
                    <a:pt x="393" y="5"/>
                  </a:lnTo>
                  <a:lnTo>
                    <a:pt x="540" y="42"/>
                  </a:lnTo>
                  <a:cubicBezTo>
                    <a:pt x="541" y="43"/>
                    <a:pt x="542" y="44"/>
                    <a:pt x="543" y="45"/>
                  </a:cubicBezTo>
                  <a:cubicBezTo>
                    <a:pt x="543" y="46"/>
                    <a:pt x="543" y="47"/>
                    <a:pt x="543" y="49"/>
                  </a:cubicBezTo>
                  <a:lnTo>
                    <a:pt x="526" y="91"/>
                  </a:lnTo>
                  <a:lnTo>
                    <a:pt x="482" y="127"/>
                  </a:lnTo>
                  <a:lnTo>
                    <a:pt x="475" y="166"/>
                  </a:lnTo>
                  <a:lnTo>
                    <a:pt x="447" y="195"/>
                  </a:lnTo>
                  <a:lnTo>
                    <a:pt x="487" y="256"/>
                  </a:lnTo>
                  <a:cubicBezTo>
                    <a:pt x="488" y="257"/>
                    <a:pt x="488" y="259"/>
                    <a:pt x="488" y="261"/>
                  </a:cubicBezTo>
                  <a:cubicBezTo>
                    <a:pt x="487" y="262"/>
                    <a:pt x="485" y="263"/>
                    <a:pt x="484" y="263"/>
                  </a:cubicBezTo>
                  <a:lnTo>
                    <a:pt x="411" y="255"/>
                  </a:lnTo>
                  <a:lnTo>
                    <a:pt x="341" y="280"/>
                  </a:lnTo>
                  <a:lnTo>
                    <a:pt x="332" y="280"/>
                  </a:lnTo>
                  <a:lnTo>
                    <a:pt x="332" y="305"/>
                  </a:lnTo>
                  <a:cubicBezTo>
                    <a:pt x="332" y="307"/>
                    <a:pt x="331" y="308"/>
                    <a:pt x="329" y="309"/>
                  </a:cubicBezTo>
                  <a:lnTo>
                    <a:pt x="300" y="326"/>
                  </a:lnTo>
                  <a:lnTo>
                    <a:pt x="274" y="339"/>
                  </a:lnTo>
                  <a:cubicBezTo>
                    <a:pt x="273" y="339"/>
                    <a:pt x="272" y="339"/>
                    <a:pt x="272" y="339"/>
                  </a:cubicBezTo>
                  <a:cubicBezTo>
                    <a:pt x="271" y="339"/>
                    <a:pt x="270" y="339"/>
                    <a:pt x="270" y="339"/>
                  </a:cubicBez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6" name="Freeform 751"/>
            <p:cNvSpPr>
              <a:spLocks noChangeArrowheads="1"/>
            </p:cNvSpPr>
            <p:nvPr/>
          </p:nvSpPr>
          <p:spPr bwMode="auto">
            <a:xfrm>
              <a:off x="4908550" y="2260600"/>
              <a:ext cx="195263" cy="122238"/>
            </a:xfrm>
            <a:custGeom>
              <a:avLst/>
              <a:gdLst/>
              <a:ahLst/>
              <a:cxnLst>
                <a:cxn ang="0">
                  <a:pos x="272" y="339"/>
                </a:cxn>
                <a:cxn ang="0">
                  <a:pos x="270" y="339"/>
                </a:cxn>
                <a:cxn ang="0">
                  <a:pos x="181" y="301"/>
                </a:cxn>
                <a:cxn ang="0">
                  <a:pos x="61" y="326"/>
                </a:cxn>
                <a:cxn ang="0">
                  <a:pos x="60" y="327"/>
                </a:cxn>
                <a:cxn ang="0">
                  <a:pos x="57" y="326"/>
                </a:cxn>
                <a:cxn ang="0">
                  <a:pos x="55" y="323"/>
                </a:cxn>
                <a:cxn ang="0">
                  <a:pos x="42" y="251"/>
                </a:cxn>
                <a:cxn ang="0">
                  <a:pos x="10" y="224"/>
                </a:cxn>
                <a:cxn ang="0">
                  <a:pos x="8" y="220"/>
                </a:cxn>
                <a:cxn ang="0">
                  <a:pos x="8" y="182"/>
                </a:cxn>
                <a:cxn ang="0">
                  <a:pos x="42" y="128"/>
                </a:cxn>
                <a:cxn ang="0">
                  <a:pos x="9" y="84"/>
                </a:cxn>
                <a:cxn ang="0">
                  <a:pos x="0" y="48"/>
                </a:cxn>
                <a:cxn ang="0">
                  <a:pos x="9" y="12"/>
                </a:cxn>
                <a:cxn ang="0">
                  <a:pos x="12" y="9"/>
                </a:cxn>
                <a:cxn ang="0">
                  <a:pos x="37" y="0"/>
                </a:cxn>
                <a:cxn ang="0">
                  <a:pos x="61" y="4"/>
                </a:cxn>
                <a:cxn ang="0">
                  <a:pos x="64" y="7"/>
                </a:cxn>
                <a:cxn ang="0">
                  <a:pos x="64" y="11"/>
                </a:cxn>
                <a:cxn ang="0">
                  <a:pos x="53" y="29"/>
                </a:cxn>
                <a:cxn ang="0">
                  <a:pos x="66" y="42"/>
                </a:cxn>
                <a:cxn ang="0">
                  <a:pos x="268" y="59"/>
                </a:cxn>
                <a:cxn ang="0">
                  <a:pos x="393" y="5"/>
                </a:cxn>
                <a:cxn ang="0">
                  <a:pos x="540" y="42"/>
                </a:cxn>
                <a:cxn ang="0">
                  <a:pos x="543" y="45"/>
                </a:cxn>
                <a:cxn ang="0">
                  <a:pos x="543" y="49"/>
                </a:cxn>
                <a:cxn ang="0">
                  <a:pos x="526" y="91"/>
                </a:cxn>
                <a:cxn ang="0">
                  <a:pos x="482" y="127"/>
                </a:cxn>
                <a:cxn ang="0">
                  <a:pos x="475" y="166"/>
                </a:cxn>
                <a:cxn ang="0">
                  <a:pos x="447" y="195"/>
                </a:cxn>
                <a:cxn ang="0">
                  <a:pos x="487" y="256"/>
                </a:cxn>
                <a:cxn ang="0">
                  <a:pos x="488" y="261"/>
                </a:cxn>
                <a:cxn ang="0">
                  <a:pos x="484" y="263"/>
                </a:cxn>
                <a:cxn ang="0">
                  <a:pos x="411" y="255"/>
                </a:cxn>
                <a:cxn ang="0">
                  <a:pos x="341" y="280"/>
                </a:cxn>
                <a:cxn ang="0">
                  <a:pos x="332" y="280"/>
                </a:cxn>
                <a:cxn ang="0">
                  <a:pos x="332" y="305"/>
                </a:cxn>
                <a:cxn ang="0">
                  <a:pos x="329" y="309"/>
                </a:cxn>
                <a:cxn ang="0">
                  <a:pos x="300" y="326"/>
                </a:cxn>
                <a:cxn ang="0">
                  <a:pos x="274" y="339"/>
                </a:cxn>
                <a:cxn ang="0">
                  <a:pos x="272" y="339"/>
                </a:cxn>
              </a:cxnLst>
              <a:rect l="0" t="0" r="r" b="b"/>
              <a:pathLst>
                <a:path w="544" h="340">
                  <a:moveTo>
                    <a:pt x="272" y="339"/>
                  </a:moveTo>
                  <a:cubicBezTo>
                    <a:pt x="271" y="339"/>
                    <a:pt x="270" y="339"/>
                    <a:pt x="270" y="339"/>
                  </a:cubicBezTo>
                  <a:lnTo>
                    <a:pt x="181" y="301"/>
                  </a:lnTo>
                  <a:lnTo>
                    <a:pt x="61" y="326"/>
                  </a:lnTo>
                  <a:cubicBezTo>
                    <a:pt x="61" y="327"/>
                    <a:pt x="60" y="327"/>
                    <a:pt x="60" y="327"/>
                  </a:cubicBezTo>
                  <a:cubicBezTo>
                    <a:pt x="59" y="327"/>
                    <a:pt x="58" y="326"/>
                    <a:pt x="57" y="326"/>
                  </a:cubicBezTo>
                  <a:cubicBezTo>
                    <a:pt x="56" y="325"/>
                    <a:pt x="55" y="324"/>
                    <a:pt x="55" y="323"/>
                  </a:cubicBezTo>
                  <a:lnTo>
                    <a:pt x="42" y="251"/>
                  </a:lnTo>
                  <a:lnTo>
                    <a:pt x="10" y="224"/>
                  </a:lnTo>
                  <a:cubicBezTo>
                    <a:pt x="9" y="223"/>
                    <a:pt x="8" y="222"/>
                    <a:pt x="8" y="220"/>
                  </a:cubicBezTo>
                  <a:lnTo>
                    <a:pt x="8" y="182"/>
                  </a:lnTo>
                  <a:lnTo>
                    <a:pt x="42" y="128"/>
                  </a:lnTo>
                  <a:lnTo>
                    <a:pt x="9" y="84"/>
                  </a:lnTo>
                  <a:lnTo>
                    <a:pt x="0" y="48"/>
                  </a:lnTo>
                  <a:lnTo>
                    <a:pt x="9" y="12"/>
                  </a:lnTo>
                  <a:cubicBezTo>
                    <a:pt x="9" y="10"/>
                    <a:pt x="10" y="9"/>
                    <a:pt x="12" y="9"/>
                  </a:cubicBezTo>
                  <a:lnTo>
                    <a:pt x="37" y="0"/>
                  </a:lnTo>
                  <a:lnTo>
                    <a:pt x="61" y="4"/>
                  </a:lnTo>
                  <a:cubicBezTo>
                    <a:pt x="62" y="5"/>
                    <a:pt x="64" y="5"/>
                    <a:pt x="64" y="7"/>
                  </a:cubicBezTo>
                  <a:cubicBezTo>
                    <a:pt x="65" y="8"/>
                    <a:pt x="65" y="10"/>
                    <a:pt x="64" y="11"/>
                  </a:cubicBezTo>
                  <a:lnTo>
                    <a:pt x="53" y="29"/>
                  </a:lnTo>
                  <a:lnTo>
                    <a:pt x="66" y="42"/>
                  </a:lnTo>
                  <a:lnTo>
                    <a:pt x="268" y="59"/>
                  </a:lnTo>
                  <a:lnTo>
                    <a:pt x="393" y="5"/>
                  </a:lnTo>
                  <a:lnTo>
                    <a:pt x="540" y="42"/>
                  </a:lnTo>
                  <a:cubicBezTo>
                    <a:pt x="541" y="43"/>
                    <a:pt x="542" y="44"/>
                    <a:pt x="543" y="45"/>
                  </a:cubicBezTo>
                  <a:cubicBezTo>
                    <a:pt x="543" y="46"/>
                    <a:pt x="543" y="47"/>
                    <a:pt x="543" y="49"/>
                  </a:cubicBezTo>
                  <a:lnTo>
                    <a:pt x="526" y="91"/>
                  </a:lnTo>
                  <a:lnTo>
                    <a:pt x="482" y="127"/>
                  </a:lnTo>
                  <a:lnTo>
                    <a:pt x="475" y="166"/>
                  </a:lnTo>
                  <a:lnTo>
                    <a:pt x="447" y="195"/>
                  </a:lnTo>
                  <a:lnTo>
                    <a:pt x="487" y="256"/>
                  </a:lnTo>
                  <a:cubicBezTo>
                    <a:pt x="488" y="257"/>
                    <a:pt x="488" y="259"/>
                    <a:pt x="488" y="261"/>
                  </a:cubicBezTo>
                  <a:cubicBezTo>
                    <a:pt x="487" y="262"/>
                    <a:pt x="485" y="263"/>
                    <a:pt x="484" y="263"/>
                  </a:cubicBezTo>
                  <a:lnTo>
                    <a:pt x="411" y="255"/>
                  </a:lnTo>
                  <a:lnTo>
                    <a:pt x="341" y="280"/>
                  </a:lnTo>
                  <a:lnTo>
                    <a:pt x="332" y="280"/>
                  </a:lnTo>
                  <a:lnTo>
                    <a:pt x="332" y="305"/>
                  </a:lnTo>
                  <a:cubicBezTo>
                    <a:pt x="332" y="307"/>
                    <a:pt x="331" y="308"/>
                    <a:pt x="329" y="309"/>
                  </a:cubicBezTo>
                  <a:lnTo>
                    <a:pt x="300" y="326"/>
                  </a:lnTo>
                  <a:lnTo>
                    <a:pt x="274" y="339"/>
                  </a:lnTo>
                  <a:cubicBezTo>
                    <a:pt x="273" y="339"/>
                    <a:pt x="272" y="339"/>
                    <a:pt x="272" y="339"/>
                  </a:cubicBez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7" name="Freeform 752"/>
            <p:cNvSpPr>
              <a:spLocks noChangeArrowheads="1"/>
            </p:cNvSpPr>
            <p:nvPr/>
          </p:nvSpPr>
          <p:spPr bwMode="auto">
            <a:xfrm>
              <a:off x="5053013" y="1433513"/>
              <a:ext cx="3862387" cy="947737"/>
            </a:xfrm>
            <a:custGeom>
              <a:avLst/>
              <a:gdLst/>
              <a:ahLst/>
              <a:cxnLst>
                <a:cxn ang="0">
                  <a:pos x="10700" y="241"/>
                </a:cxn>
                <a:cxn ang="0">
                  <a:pos x="10390" y="326"/>
                </a:cxn>
                <a:cxn ang="0">
                  <a:pos x="10212" y="187"/>
                </a:cxn>
                <a:cxn ang="0">
                  <a:pos x="10133" y="242"/>
                </a:cxn>
                <a:cxn ang="0">
                  <a:pos x="9629" y="292"/>
                </a:cxn>
                <a:cxn ang="0">
                  <a:pos x="9174" y="969"/>
                </a:cxn>
                <a:cxn ang="0">
                  <a:pos x="9245" y="1072"/>
                </a:cxn>
                <a:cxn ang="0">
                  <a:pos x="9326" y="1011"/>
                </a:cxn>
                <a:cxn ang="0">
                  <a:pos x="9539" y="1276"/>
                </a:cxn>
                <a:cxn ang="0">
                  <a:pos x="9029" y="2397"/>
                </a:cxn>
                <a:cxn ang="0">
                  <a:pos x="8758" y="2405"/>
                </a:cxn>
                <a:cxn ang="0">
                  <a:pos x="8648" y="2493"/>
                </a:cxn>
                <a:cxn ang="0">
                  <a:pos x="8842" y="2207"/>
                </a:cxn>
                <a:cxn ang="0">
                  <a:pos x="8665" y="1843"/>
                </a:cxn>
                <a:cxn ang="0">
                  <a:pos x="8135" y="1185"/>
                </a:cxn>
                <a:cxn ang="0">
                  <a:pos x="7712" y="1537"/>
                </a:cxn>
                <a:cxn ang="0">
                  <a:pos x="7006" y="1705"/>
                </a:cxn>
                <a:cxn ang="0">
                  <a:pos x="6273" y="1501"/>
                </a:cxn>
                <a:cxn ang="0">
                  <a:pos x="5913" y="1595"/>
                </a:cxn>
                <a:cxn ang="0">
                  <a:pos x="5042" y="1752"/>
                </a:cxn>
                <a:cxn ang="0">
                  <a:pos x="4868" y="1638"/>
                </a:cxn>
                <a:cxn ang="0">
                  <a:pos x="4669" y="1477"/>
                </a:cxn>
                <a:cxn ang="0">
                  <a:pos x="4467" y="1470"/>
                </a:cxn>
                <a:cxn ang="0">
                  <a:pos x="4159" y="996"/>
                </a:cxn>
                <a:cxn ang="0">
                  <a:pos x="3884" y="1125"/>
                </a:cxn>
                <a:cxn ang="0">
                  <a:pos x="3876" y="1062"/>
                </a:cxn>
                <a:cxn ang="0">
                  <a:pos x="3793" y="1053"/>
                </a:cxn>
                <a:cxn ang="0">
                  <a:pos x="3696" y="983"/>
                </a:cxn>
                <a:cxn ang="0">
                  <a:pos x="3515" y="851"/>
                </a:cxn>
                <a:cxn ang="0">
                  <a:pos x="3111" y="1015"/>
                </a:cxn>
                <a:cxn ang="0">
                  <a:pos x="2972" y="1064"/>
                </a:cxn>
                <a:cxn ang="0">
                  <a:pos x="2886" y="1097"/>
                </a:cxn>
                <a:cxn ang="0">
                  <a:pos x="2932" y="1193"/>
                </a:cxn>
                <a:cxn ang="0">
                  <a:pos x="2794" y="1344"/>
                </a:cxn>
                <a:cxn ang="0">
                  <a:pos x="2812" y="1506"/>
                </a:cxn>
                <a:cxn ang="0">
                  <a:pos x="2658" y="1504"/>
                </a:cxn>
                <a:cxn ang="0">
                  <a:pos x="2492" y="1467"/>
                </a:cxn>
                <a:cxn ang="0">
                  <a:pos x="2320" y="1515"/>
                </a:cxn>
                <a:cxn ang="0">
                  <a:pos x="2111" y="1358"/>
                </a:cxn>
                <a:cxn ang="0">
                  <a:pos x="1983" y="1375"/>
                </a:cxn>
                <a:cxn ang="0">
                  <a:pos x="1794" y="1621"/>
                </a:cxn>
                <a:cxn ang="0">
                  <a:pos x="1642" y="1782"/>
                </a:cxn>
                <a:cxn ang="0">
                  <a:pos x="1810" y="1905"/>
                </a:cxn>
                <a:cxn ang="0">
                  <a:pos x="1804" y="2060"/>
                </a:cxn>
                <a:cxn ang="0">
                  <a:pos x="1713" y="2128"/>
                </a:cxn>
                <a:cxn ang="0">
                  <a:pos x="1722" y="2335"/>
                </a:cxn>
                <a:cxn ang="0">
                  <a:pos x="1622" y="2555"/>
                </a:cxn>
                <a:cxn ang="0">
                  <a:pos x="1234" y="2408"/>
                </a:cxn>
                <a:cxn ang="0">
                  <a:pos x="820" y="2155"/>
                </a:cxn>
                <a:cxn ang="0">
                  <a:pos x="953" y="1997"/>
                </a:cxn>
                <a:cxn ang="0">
                  <a:pos x="951" y="1885"/>
                </a:cxn>
                <a:cxn ang="0">
                  <a:pos x="1065" y="1748"/>
                </a:cxn>
                <a:cxn ang="0">
                  <a:pos x="1095" y="1639"/>
                </a:cxn>
                <a:cxn ang="0">
                  <a:pos x="790" y="1549"/>
                </a:cxn>
                <a:cxn ang="0">
                  <a:pos x="611" y="1410"/>
                </a:cxn>
                <a:cxn ang="0">
                  <a:pos x="406" y="1307"/>
                </a:cxn>
                <a:cxn ang="0">
                  <a:pos x="484" y="1108"/>
                </a:cxn>
                <a:cxn ang="0">
                  <a:pos x="327" y="930"/>
                </a:cxn>
                <a:cxn ang="0">
                  <a:pos x="194" y="761"/>
                </a:cxn>
                <a:cxn ang="0">
                  <a:pos x="35" y="509"/>
                </a:cxn>
                <a:cxn ang="0">
                  <a:pos x="70" y="284"/>
                </a:cxn>
                <a:cxn ang="0">
                  <a:pos x="109" y="34"/>
                </a:cxn>
                <a:cxn ang="0">
                  <a:pos x="10727" y="0"/>
                </a:cxn>
              </a:cxnLst>
              <a:rect l="0" t="0" r="r" b="b"/>
              <a:pathLst>
                <a:path w="10728" h="2633">
                  <a:moveTo>
                    <a:pt x="10727" y="0"/>
                  </a:moveTo>
                  <a:lnTo>
                    <a:pt x="10727" y="50"/>
                  </a:lnTo>
                  <a:lnTo>
                    <a:pt x="10680" y="88"/>
                  </a:lnTo>
                  <a:lnTo>
                    <a:pt x="10644" y="167"/>
                  </a:lnTo>
                  <a:cubicBezTo>
                    <a:pt x="10643" y="169"/>
                    <a:pt x="10641" y="170"/>
                    <a:pt x="10639" y="170"/>
                  </a:cubicBezTo>
                  <a:lnTo>
                    <a:pt x="10629" y="170"/>
                  </a:lnTo>
                  <a:lnTo>
                    <a:pt x="10640" y="201"/>
                  </a:lnTo>
                  <a:cubicBezTo>
                    <a:pt x="10640" y="203"/>
                    <a:pt x="10640" y="204"/>
                    <a:pt x="10639" y="205"/>
                  </a:cubicBezTo>
                  <a:lnTo>
                    <a:pt x="10630" y="221"/>
                  </a:lnTo>
                  <a:lnTo>
                    <a:pt x="10700" y="241"/>
                  </a:lnTo>
                  <a:cubicBezTo>
                    <a:pt x="10702" y="241"/>
                    <a:pt x="10703" y="243"/>
                    <a:pt x="10703" y="245"/>
                  </a:cubicBezTo>
                  <a:lnTo>
                    <a:pt x="10708" y="270"/>
                  </a:lnTo>
                  <a:cubicBezTo>
                    <a:pt x="10708" y="272"/>
                    <a:pt x="10707" y="274"/>
                    <a:pt x="10705" y="275"/>
                  </a:cubicBezTo>
                  <a:lnTo>
                    <a:pt x="10684" y="283"/>
                  </a:lnTo>
                  <a:lnTo>
                    <a:pt x="10577" y="271"/>
                  </a:lnTo>
                  <a:lnTo>
                    <a:pt x="10515" y="317"/>
                  </a:lnTo>
                  <a:cubicBezTo>
                    <a:pt x="10514" y="317"/>
                    <a:pt x="10513" y="318"/>
                    <a:pt x="10512" y="318"/>
                  </a:cubicBezTo>
                  <a:cubicBezTo>
                    <a:pt x="10511" y="318"/>
                    <a:pt x="10510" y="317"/>
                    <a:pt x="10510" y="317"/>
                  </a:cubicBezTo>
                  <a:lnTo>
                    <a:pt x="10486" y="301"/>
                  </a:lnTo>
                  <a:lnTo>
                    <a:pt x="10390" y="326"/>
                  </a:lnTo>
                  <a:cubicBezTo>
                    <a:pt x="10388" y="326"/>
                    <a:pt x="10386" y="325"/>
                    <a:pt x="10385" y="324"/>
                  </a:cubicBezTo>
                  <a:lnTo>
                    <a:pt x="10364" y="290"/>
                  </a:lnTo>
                  <a:cubicBezTo>
                    <a:pt x="10363" y="289"/>
                    <a:pt x="10363" y="288"/>
                    <a:pt x="10364" y="286"/>
                  </a:cubicBezTo>
                  <a:cubicBezTo>
                    <a:pt x="10364" y="285"/>
                    <a:pt x="10365" y="284"/>
                    <a:pt x="10366" y="283"/>
                  </a:cubicBezTo>
                  <a:lnTo>
                    <a:pt x="10443" y="253"/>
                  </a:lnTo>
                  <a:lnTo>
                    <a:pt x="10389" y="213"/>
                  </a:lnTo>
                  <a:lnTo>
                    <a:pt x="10349" y="233"/>
                  </a:lnTo>
                  <a:lnTo>
                    <a:pt x="10347" y="233"/>
                  </a:lnTo>
                  <a:lnTo>
                    <a:pt x="10345" y="233"/>
                  </a:lnTo>
                  <a:lnTo>
                    <a:pt x="10212" y="187"/>
                  </a:lnTo>
                  <a:lnTo>
                    <a:pt x="10200" y="193"/>
                  </a:lnTo>
                  <a:lnTo>
                    <a:pt x="10203" y="224"/>
                  </a:lnTo>
                  <a:cubicBezTo>
                    <a:pt x="10204" y="226"/>
                    <a:pt x="10202" y="228"/>
                    <a:pt x="10200" y="229"/>
                  </a:cubicBezTo>
                  <a:lnTo>
                    <a:pt x="10175" y="236"/>
                  </a:lnTo>
                  <a:lnTo>
                    <a:pt x="10182" y="261"/>
                  </a:lnTo>
                  <a:cubicBezTo>
                    <a:pt x="10182" y="262"/>
                    <a:pt x="10182" y="263"/>
                    <a:pt x="10181" y="265"/>
                  </a:cubicBezTo>
                  <a:cubicBezTo>
                    <a:pt x="10181" y="266"/>
                    <a:pt x="10180" y="267"/>
                    <a:pt x="10178" y="267"/>
                  </a:cubicBezTo>
                  <a:lnTo>
                    <a:pt x="10156" y="271"/>
                  </a:lnTo>
                  <a:cubicBezTo>
                    <a:pt x="10155" y="271"/>
                    <a:pt x="10153" y="270"/>
                    <a:pt x="10152" y="269"/>
                  </a:cubicBezTo>
                  <a:lnTo>
                    <a:pt x="10133" y="242"/>
                  </a:lnTo>
                  <a:lnTo>
                    <a:pt x="10069" y="267"/>
                  </a:lnTo>
                  <a:lnTo>
                    <a:pt x="10067" y="267"/>
                  </a:lnTo>
                  <a:lnTo>
                    <a:pt x="10066" y="267"/>
                  </a:lnTo>
                  <a:lnTo>
                    <a:pt x="9980" y="234"/>
                  </a:lnTo>
                  <a:lnTo>
                    <a:pt x="9948" y="278"/>
                  </a:lnTo>
                  <a:cubicBezTo>
                    <a:pt x="9948" y="279"/>
                    <a:pt x="9946" y="279"/>
                    <a:pt x="9945" y="280"/>
                  </a:cubicBezTo>
                  <a:cubicBezTo>
                    <a:pt x="9943" y="280"/>
                    <a:pt x="9942" y="279"/>
                    <a:pt x="9941" y="278"/>
                  </a:cubicBezTo>
                  <a:lnTo>
                    <a:pt x="9896" y="237"/>
                  </a:lnTo>
                  <a:lnTo>
                    <a:pt x="9703" y="250"/>
                  </a:lnTo>
                  <a:lnTo>
                    <a:pt x="9629" y="292"/>
                  </a:lnTo>
                  <a:lnTo>
                    <a:pt x="9512" y="418"/>
                  </a:lnTo>
                  <a:lnTo>
                    <a:pt x="9474" y="493"/>
                  </a:lnTo>
                  <a:lnTo>
                    <a:pt x="9375" y="575"/>
                  </a:lnTo>
                  <a:lnTo>
                    <a:pt x="9249" y="743"/>
                  </a:lnTo>
                  <a:lnTo>
                    <a:pt x="9050" y="926"/>
                  </a:lnTo>
                  <a:lnTo>
                    <a:pt x="9047" y="945"/>
                  </a:lnTo>
                  <a:lnTo>
                    <a:pt x="9087" y="969"/>
                  </a:lnTo>
                  <a:lnTo>
                    <a:pt x="9169" y="964"/>
                  </a:lnTo>
                  <a:cubicBezTo>
                    <a:pt x="9170" y="964"/>
                    <a:pt x="9172" y="964"/>
                    <a:pt x="9173" y="965"/>
                  </a:cubicBezTo>
                  <a:cubicBezTo>
                    <a:pt x="9174" y="966"/>
                    <a:pt x="9174" y="967"/>
                    <a:pt x="9174" y="969"/>
                  </a:cubicBezTo>
                  <a:lnTo>
                    <a:pt x="9174" y="1082"/>
                  </a:lnTo>
                  <a:lnTo>
                    <a:pt x="9198" y="1064"/>
                  </a:lnTo>
                  <a:lnTo>
                    <a:pt x="9198" y="1028"/>
                  </a:lnTo>
                  <a:cubicBezTo>
                    <a:pt x="9198" y="1026"/>
                    <a:pt x="9199" y="1024"/>
                    <a:pt x="9201" y="1024"/>
                  </a:cubicBezTo>
                  <a:lnTo>
                    <a:pt x="9239" y="1007"/>
                  </a:lnTo>
                  <a:cubicBezTo>
                    <a:pt x="9240" y="1007"/>
                    <a:pt x="9241" y="1006"/>
                    <a:pt x="9241" y="1006"/>
                  </a:cubicBezTo>
                  <a:cubicBezTo>
                    <a:pt x="9243" y="1006"/>
                    <a:pt x="9244" y="1007"/>
                    <a:pt x="9245" y="1008"/>
                  </a:cubicBezTo>
                  <a:cubicBezTo>
                    <a:pt x="9246" y="1010"/>
                    <a:pt x="9246" y="1012"/>
                    <a:pt x="9245" y="1014"/>
                  </a:cubicBezTo>
                  <a:lnTo>
                    <a:pt x="9222" y="1041"/>
                  </a:lnTo>
                  <a:lnTo>
                    <a:pt x="9245" y="1072"/>
                  </a:lnTo>
                  <a:cubicBezTo>
                    <a:pt x="9246" y="1073"/>
                    <a:pt x="9246" y="1076"/>
                    <a:pt x="9245" y="1077"/>
                  </a:cubicBezTo>
                  <a:lnTo>
                    <a:pt x="9223" y="1109"/>
                  </a:lnTo>
                  <a:lnTo>
                    <a:pt x="9283" y="1095"/>
                  </a:lnTo>
                  <a:lnTo>
                    <a:pt x="9302" y="1079"/>
                  </a:lnTo>
                  <a:cubicBezTo>
                    <a:pt x="9303" y="1079"/>
                    <a:pt x="9304" y="1078"/>
                    <a:pt x="9305" y="1078"/>
                  </a:cubicBezTo>
                  <a:cubicBezTo>
                    <a:pt x="9306" y="1078"/>
                    <a:pt x="9306" y="1078"/>
                    <a:pt x="9307" y="1079"/>
                  </a:cubicBezTo>
                  <a:cubicBezTo>
                    <a:pt x="9309" y="1080"/>
                    <a:pt x="9310" y="1082"/>
                    <a:pt x="9309" y="1084"/>
                  </a:cubicBezTo>
                  <a:lnTo>
                    <a:pt x="9307" y="1105"/>
                  </a:lnTo>
                  <a:lnTo>
                    <a:pt x="9327" y="1080"/>
                  </a:lnTo>
                  <a:lnTo>
                    <a:pt x="9326" y="1011"/>
                  </a:lnTo>
                  <a:cubicBezTo>
                    <a:pt x="9326" y="1010"/>
                    <a:pt x="9326" y="1009"/>
                    <a:pt x="9327" y="1008"/>
                  </a:cubicBezTo>
                  <a:cubicBezTo>
                    <a:pt x="9328" y="1007"/>
                    <a:pt x="9329" y="1006"/>
                    <a:pt x="9330" y="1006"/>
                  </a:cubicBezTo>
                  <a:lnTo>
                    <a:pt x="9424" y="1011"/>
                  </a:lnTo>
                  <a:cubicBezTo>
                    <a:pt x="9425" y="1011"/>
                    <a:pt x="9427" y="1012"/>
                    <a:pt x="9427" y="1013"/>
                  </a:cubicBezTo>
                  <a:lnTo>
                    <a:pt x="9474" y="1089"/>
                  </a:lnTo>
                  <a:lnTo>
                    <a:pt x="9558" y="1151"/>
                  </a:lnTo>
                  <a:cubicBezTo>
                    <a:pt x="9559" y="1152"/>
                    <a:pt x="9560" y="1155"/>
                    <a:pt x="9559" y="1157"/>
                  </a:cubicBezTo>
                  <a:lnTo>
                    <a:pt x="9538" y="1208"/>
                  </a:lnTo>
                  <a:lnTo>
                    <a:pt x="9547" y="1247"/>
                  </a:lnTo>
                  <a:lnTo>
                    <a:pt x="9539" y="1276"/>
                  </a:lnTo>
                  <a:lnTo>
                    <a:pt x="9562" y="1304"/>
                  </a:lnTo>
                  <a:cubicBezTo>
                    <a:pt x="9564" y="1306"/>
                    <a:pt x="9564" y="1308"/>
                    <a:pt x="9563" y="1309"/>
                  </a:cubicBezTo>
                  <a:lnTo>
                    <a:pt x="9512" y="1411"/>
                  </a:lnTo>
                  <a:lnTo>
                    <a:pt x="9483" y="1503"/>
                  </a:lnTo>
                  <a:lnTo>
                    <a:pt x="9500" y="1590"/>
                  </a:lnTo>
                  <a:lnTo>
                    <a:pt x="9470" y="1790"/>
                  </a:lnTo>
                  <a:lnTo>
                    <a:pt x="9393" y="1877"/>
                  </a:lnTo>
                  <a:lnTo>
                    <a:pt x="9326" y="1982"/>
                  </a:lnTo>
                  <a:lnTo>
                    <a:pt x="9284" y="2075"/>
                  </a:lnTo>
                  <a:lnTo>
                    <a:pt x="9029" y="2397"/>
                  </a:lnTo>
                  <a:lnTo>
                    <a:pt x="8943" y="2466"/>
                  </a:lnTo>
                  <a:lnTo>
                    <a:pt x="8878" y="2484"/>
                  </a:lnTo>
                  <a:lnTo>
                    <a:pt x="8800" y="2467"/>
                  </a:lnTo>
                  <a:cubicBezTo>
                    <a:pt x="8797" y="2466"/>
                    <a:pt x="8796" y="2464"/>
                    <a:pt x="8796" y="2462"/>
                  </a:cubicBezTo>
                  <a:lnTo>
                    <a:pt x="8796" y="2421"/>
                  </a:lnTo>
                  <a:lnTo>
                    <a:pt x="8778" y="2436"/>
                  </a:lnTo>
                  <a:cubicBezTo>
                    <a:pt x="8777" y="2437"/>
                    <a:pt x="8776" y="2437"/>
                    <a:pt x="8775" y="2437"/>
                  </a:cubicBezTo>
                  <a:lnTo>
                    <a:pt x="8774" y="2437"/>
                  </a:lnTo>
                  <a:cubicBezTo>
                    <a:pt x="8773" y="2437"/>
                    <a:pt x="8771" y="2436"/>
                    <a:pt x="8771" y="2434"/>
                  </a:cubicBezTo>
                  <a:lnTo>
                    <a:pt x="8758" y="2405"/>
                  </a:lnTo>
                  <a:lnTo>
                    <a:pt x="8712" y="2490"/>
                  </a:lnTo>
                  <a:cubicBezTo>
                    <a:pt x="8711" y="2491"/>
                    <a:pt x="8709" y="2492"/>
                    <a:pt x="8707" y="2492"/>
                  </a:cubicBezTo>
                  <a:lnTo>
                    <a:pt x="8671" y="2492"/>
                  </a:lnTo>
                  <a:lnTo>
                    <a:pt x="8674" y="2508"/>
                  </a:lnTo>
                  <a:cubicBezTo>
                    <a:pt x="8674" y="2510"/>
                    <a:pt x="8673" y="2512"/>
                    <a:pt x="8671" y="2513"/>
                  </a:cubicBezTo>
                  <a:lnTo>
                    <a:pt x="8663" y="2517"/>
                  </a:lnTo>
                  <a:lnTo>
                    <a:pt x="8661" y="2517"/>
                  </a:lnTo>
                  <a:lnTo>
                    <a:pt x="8659" y="2517"/>
                  </a:lnTo>
                  <a:cubicBezTo>
                    <a:pt x="8658" y="2517"/>
                    <a:pt x="8657" y="2516"/>
                    <a:pt x="8656" y="2515"/>
                  </a:cubicBezTo>
                  <a:lnTo>
                    <a:pt x="8648" y="2493"/>
                  </a:lnTo>
                  <a:lnTo>
                    <a:pt x="8648" y="2466"/>
                  </a:lnTo>
                  <a:cubicBezTo>
                    <a:pt x="8648" y="2465"/>
                    <a:pt x="8648" y="2464"/>
                    <a:pt x="8649" y="2463"/>
                  </a:cubicBezTo>
                  <a:lnTo>
                    <a:pt x="8703" y="2401"/>
                  </a:lnTo>
                  <a:lnTo>
                    <a:pt x="8703" y="2310"/>
                  </a:lnTo>
                  <a:lnTo>
                    <a:pt x="8682" y="2252"/>
                  </a:lnTo>
                  <a:cubicBezTo>
                    <a:pt x="8681" y="2250"/>
                    <a:pt x="8682" y="2248"/>
                    <a:pt x="8683" y="2247"/>
                  </a:cubicBezTo>
                  <a:lnTo>
                    <a:pt x="8755" y="2179"/>
                  </a:lnTo>
                  <a:cubicBezTo>
                    <a:pt x="8756" y="2179"/>
                    <a:pt x="8757" y="2178"/>
                    <a:pt x="8758" y="2178"/>
                  </a:cubicBezTo>
                  <a:lnTo>
                    <a:pt x="8760" y="2178"/>
                  </a:lnTo>
                  <a:lnTo>
                    <a:pt x="8842" y="2207"/>
                  </a:lnTo>
                  <a:lnTo>
                    <a:pt x="8861" y="2192"/>
                  </a:lnTo>
                  <a:lnTo>
                    <a:pt x="8915" y="2079"/>
                  </a:lnTo>
                  <a:lnTo>
                    <a:pt x="8957" y="1936"/>
                  </a:lnTo>
                  <a:lnTo>
                    <a:pt x="8995" y="1898"/>
                  </a:lnTo>
                  <a:lnTo>
                    <a:pt x="8987" y="1815"/>
                  </a:lnTo>
                  <a:lnTo>
                    <a:pt x="8994" y="1799"/>
                  </a:lnTo>
                  <a:lnTo>
                    <a:pt x="8777" y="1891"/>
                  </a:lnTo>
                  <a:lnTo>
                    <a:pt x="8694" y="1887"/>
                  </a:lnTo>
                  <a:cubicBezTo>
                    <a:pt x="8693" y="1887"/>
                    <a:pt x="8691" y="1886"/>
                    <a:pt x="8691" y="1885"/>
                  </a:cubicBezTo>
                  <a:lnTo>
                    <a:pt x="8665" y="1843"/>
                  </a:lnTo>
                  <a:lnTo>
                    <a:pt x="8665" y="1789"/>
                  </a:lnTo>
                  <a:lnTo>
                    <a:pt x="8644" y="1733"/>
                  </a:lnTo>
                  <a:lnTo>
                    <a:pt x="8531" y="1671"/>
                  </a:lnTo>
                  <a:lnTo>
                    <a:pt x="8393" y="1646"/>
                  </a:lnTo>
                  <a:cubicBezTo>
                    <a:pt x="8391" y="1646"/>
                    <a:pt x="8390" y="1644"/>
                    <a:pt x="8389" y="1642"/>
                  </a:cubicBezTo>
                  <a:lnTo>
                    <a:pt x="8360" y="1481"/>
                  </a:lnTo>
                  <a:lnTo>
                    <a:pt x="8309" y="1368"/>
                  </a:lnTo>
                  <a:lnTo>
                    <a:pt x="8296" y="1291"/>
                  </a:lnTo>
                  <a:lnTo>
                    <a:pt x="8234" y="1206"/>
                  </a:lnTo>
                  <a:lnTo>
                    <a:pt x="8135" y="1185"/>
                  </a:lnTo>
                  <a:lnTo>
                    <a:pt x="8067" y="1139"/>
                  </a:lnTo>
                  <a:lnTo>
                    <a:pt x="7840" y="1172"/>
                  </a:lnTo>
                  <a:lnTo>
                    <a:pt x="7775" y="1247"/>
                  </a:lnTo>
                  <a:lnTo>
                    <a:pt x="7769" y="1264"/>
                  </a:lnTo>
                  <a:lnTo>
                    <a:pt x="7822" y="1264"/>
                  </a:lnTo>
                  <a:cubicBezTo>
                    <a:pt x="7824" y="1264"/>
                    <a:pt x="7826" y="1266"/>
                    <a:pt x="7827" y="1269"/>
                  </a:cubicBezTo>
                  <a:lnTo>
                    <a:pt x="7831" y="1332"/>
                  </a:lnTo>
                  <a:cubicBezTo>
                    <a:pt x="7831" y="1334"/>
                    <a:pt x="7830" y="1335"/>
                    <a:pt x="7829" y="1336"/>
                  </a:cubicBezTo>
                  <a:lnTo>
                    <a:pt x="7762" y="1395"/>
                  </a:lnTo>
                  <a:lnTo>
                    <a:pt x="7712" y="1537"/>
                  </a:lnTo>
                  <a:lnTo>
                    <a:pt x="7704" y="1583"/>
                  </a:lnTo>
                  <a:cubicBezTo>
                    <a:pt x="7704" y="1584"/>
                    <a:pt x="7703" y="1585"/>
                    <a:pt x="7702" y="1586"/>
                  </a:cubicBezTo>
                  <a:lnTo>
                    <a:pt x="7587" y="1654"/>
                  </a:lnTo>
                  <a:lnTo>
                    <a:pt x="7585" y="1654"/>
                  </a:lnTo>
                  <a:lnTo>
                    <a:pt x="7583" y="1654"/>
                  </a:lnTo>
                  <a:lnTo>
                    <a:pt x="7460" y="1603"/>
                  </a:lnTo>
                  <a:lnTo>
                    <a:pt x="7403" y="1612"/>
                  </a:lnTo>
                  <a:lnTo>
                    <a:pt x="7310" y="1571"/>
                  </a:lnTo>
                  <a:lnTo>
                    <a:pt x="7181" y="1654"/>
                  </a:lnTo>
                  <a:lnTo>
                    <a:pt x="7006" y="1705"/>
                  </a:lnTo>
                  <a:lnTo>
                    <a:pt x="6932" y="1693"/>
                  </a:lnTo>
                  <a:lnTo>
                    <a:pt x="6821" y="1671"/>
                  </a:lnTo>
                  <a:lnTo>
                    <a:pt x="6756" y="1620"/>
                  </a:lnTo>
                  <a:lnTo>
                    <a:pt x="6562" y="1523"/>
                  </a:lnTo>
                  <a:lnTo>
                    <a:pt x="6512" y="1510"/>
                  </a:lnTo>
                  <a:lnTo>
                    <a:pt x="6396" y="1565"/>
                  </a:lnTo>
                  <a:cubicBezTo>
                    <a:pt x="6396" y="1565"/>
                    <a:pt x="6395" y="1566"/>
                    <a:pt x="6394" y="1566"/>
                  </a:cubicBezTo>
                  <a:lnTo>
                    <a:pt x="6393" y="1565"/>
                  </a:lnTo>
                  <a:lnTo>
                    <a:pt x="6338" y="1549"/>
                  </a:lnTo>
                  <a:lnTo>
                    <a:pt x="6273" y="1501"/>
                  </a:lnTo>
                  <a:cubicBezTo>
                    <a:pt x="6272" y="1501"/>
                    <a:pt x="6271" y="1500"/>
                    <a:pt x="6271" y="1498"/>
                  </a:cubicBezTo>
                  <a:lnTo>
                    <a:pt x="6250" y="1399"/>
                  </a:lnTo>
                  <a:lnTo>
                    <a:pt x="6031" y="1312"/>
                  </a:lnTo>
                  <a:lnTo>
                    <a:pt x="5921" y="1406"/>
                  </a:lnTo>
                  <a:lnTo>
                    <a:pt x="5941" y="1501"/>
                  </a:lnTo>
                  <a:cubicBezTo>
                    <a:pt x="5942" y="1502"/>
                    <a:pt x="5941" y="1503"/>
                    <a:pt x="5941" y="1504"/>
                  </a:cubicBezTo>
                  <a:lnTo>
                    <a:pt x="5924" y="1534"/>
                  </a:lnTo>
                  <a:lnTo>
                    <a:pt x="5933" y="1582"/>
                  </a:lnTo>
                  <a:cubicBezTo>
                    <a:pt x="5933" y="1584"/>
                    <a:pt x="5932" y="1586"/>
                    <a:pt x="5930" y="1587"/>
                  </a:cubicBezTo>
                  <a:lnTo>
                    <a:pt x="5913" y="1595"/>
                  </a:lnTo>
                  <a:lnTo>
                    <a:pt x="5666" y="1596"/>
                  </a:lnTo>
                  <a:cubicBezTo>
                    <a:pt x="5664" y="1596"/>
                    <a:pt x="5663" y="1595"/>
                    <a:pt x="5662" y="1594"/>
                  </a:cubicBezTo>
                  <a:lnTo>
                    <a:pt x="5613" y="1540"/>
                  </a:lnTo>
                  <a:lnTo>
                    <a:pt x="5411" y="1519"/>
                  </a:lnTo>
                  <a:lnTo>
                    <a:pt x="5316" y="1553"/>
                  </a:lnTo>
                  <a:lnTo>
                    <a:pt x="5117" y="1671"/>
                  </a:lnTo>
                  <a:lnTo>
                    <a:pt x="5076" y="1729"/>
                  </a:lnTo>
                  <a:lnTo>
                    <a:pt x="5046" y="1751"/>
                  </a:lnTo>
                  <a:cubicBezTo>
                    <a:pt x="5045" y="1752"/>
                    <a:pt x="5044" y="1752"/>
                    <a:pt x="5043" y="1752"/>
                  </a:cubicBezTo>
                  <a:lnTo>
                    <a:pt x="5042" y="1752"/>
                  </a:lnTo>
                  <a:lnTo>
                    <a:pt x="5003" y="1739"/>
                  </a:lnTo>
                  <a:cubicBezTo>
                    <a:pt x="5002" y="1739"/>
                    <a:pt x="5001" y="1738"/>
                    <a:pt x="5000" y="1736"/>
                  </a:cubicBezTo>
                  <a:cubicBezTo>
                    <a:pt x="5000" y="1735"/>
                    <a:pt x="5000" y="1733"/>
                    <a:pt x="5001" y="1732"/>
                  </a:cubicBezTo>
                  <a:lnTo>
                    <a:pt x="5029" y="1696"/>
                  </a:lnTo>
                  <a:lnTo>
                    <a:pt x="4986" y="1631"/>
                  </a:lnTo>
                  <a:lnTo>
                    <a:pt x="4968" y="1638"/>
                  </a:lnTo>
                  <a:lnTo>
                    <a:pt x="4958" y="1657"/>
                  </a:lnTo>
                  <a:cubicBezTo>
                    <a:pt x="4957" y="1658"/>
                    <a:pt x="4956" y="1659"/>
                    <a:pt x="4954" y="1659"/>
                  </a:cubicBezTo>
                  <a:lnTo>
                    <a:pt x="4953" y="1659"/>
                  </a:lnTo>
                  <a:lnTo>
                    <a:pt x="4868" y="1638"/>
                  </a:lnTo>
                  <a:lnTo>
                    <a:pt x="4836" y="1598"/>
                  </a:lnTo>
                  <a:lnTo>
                    <a:pt x="4831" y="1577"/>
                  </a:lnTo>
                  <a:lnTo>
                    <a:pt x="4791" y="1561"/>
                  </a:lnTo>
                  <a:cubicBezTo>
                    <a:pt x="4790" y="1561"/>
                    <a:pt x="4789" y="1559"/>
                    <a:pt x="4788" y="1558"/>
                  </a:cubicBezTo>
                  <a:lnTo>
                    <a:pt x="4780" y="1509"/>
                  </a:lnTo>
                  <a:lnTo>
                    <a:pt x="4722" y="1468"/>
                  </a:lnTo>
                  <a:lnTo>
                    <a:pt x="4705" y="1461"/>
                  </a:lnTo>
                  <a:lnTo>
                    <a:pt x="4690" y="1476"/>
                  </a:lnTo>
                  <a:cubicBezTo>
                    <a:pt x="4689" y="1477"/>
                    <a:pt x="4688" y="1477"/>
                    <a:pt x="4687" y="1477"/>
                  </a:cubicBezTo>
                  <a:lnTo>
                    <a:pt x="4669" y="1477"/>
                  </a:lnTo>
                  <a:lnTo>
                    <a:pt x="4657" y="1496"/>
                  </a:lnTo>
                  <a:cubicBezTo>
                    <a:pt x="4657" y="1497"/>
                    <a:pt x="4655" y="1498"/>
                    <a:pt x="4653" y="1498"/>
                  </a:cubicBezTo>
                  <a:lnTo>
                    <a:pt x="4552" y="1498"/>
                  </a:lnTo>
                  <a:cubicBezTo>
                    <a:pt x="4550" y="1498"/>
                    <a:pt x="4548" y="1497"/>
                    <a:pt x="4548" y="1496"/>
                  </a:cubicBezTo>
                  <a:lnTo>
                    <a:pt x="4526" y="1462"/>
                  </a:lnTo>
                  <a:cubicBezTo>
                    <a:pt x="4526" y="1461"/>
                    <a:pt x="4525" y="1459"/>
                    <a:pt x="4526" y="1458"/>
                  </a:cubicBezTo>
                  <a:lnTo>
                    <a:pt x="4529" y="1449"/>
                  </a:lnTo>
                  <a:lnTo>
                    <a:pt x="4496" y="1427"/>
                  </a:lnTo>
                  <a:lnTo>
                    <a:pt x="4487" y="1430"/>
                  </a:lnTo>
                  <a:lnTo>
                    <a:pt x="4467" y="1470"/>
                  </a:lnTo>
                  <a:lnTo>
                    <a:pt x="4444" y="1489"/>
                  </a:lnTo>
                  <a:cubicBezTo>
                    <a:pt x="4444" y="1489"/>
                    <a:pt x="4442" y="1490"/>
                    <a:pt x="4441" y="1490"/>
                  </a:cubicBezTo>
                  <a:cubicBezTo>
                    <a:pt x="4439" y="1489"/>
                    <a:pt x="4438" y="1489"/>
                    <a:pt x="4437" y="1487"/>
                  </a:cubicBezTo>
                  <a:lnTo>
                    <a:pt x="4255" y="1153"/>
                  </a:lnTo>
                  <a:lnTo>
                    <a:pt x="4138" y="1053"/>
                  </a:lnTo>
                  <a:cubicBezTo>
                    <a:pt x="4137" y="1052"/>
                    <a:pt x="4136" y="1051"/>
                    <a:pt x="4136" y="1049"/>
                  </a:cubicBezTo>
                  <a:lnTo>
                    <a:pt x="4136" y="1028"/>
                  </a:lnTo>
                  <a:cubicBezTo>
                    <a:pt x="4136" y="1026"/>
                    <a:pt x="4137" y="1025"/>
                    <a:pt x="4138" y="1024"/>
                  </a:cubicBezTo>
                  <a:lnTo>
                    <a:pt x="4164" y="1009"/>
                  </a:lnTo>
                  <a:lnTo>
                    <a:pt x="4159" y="996"/>
                  </a:lnTo>
                  <a:lnTo>
                    <a:pt x="4100" y="1024"/>
                  </a:lnTo>
                  <a:lnTo>
                    <a:pt x="4067" y="1028"/>
                  </a:lnTo>
                  <a:lnTo>
                    <a:pt x="4030" y="1073"/>
                  </a:lnTo>
                  <a:lnTo>
                    <a:pt x="3976" y="1095"/>
                  </a:lnTo>
                  <a:lnTo>
                    <a:pt x="3976" y="1113"/>
                  </a:lnTo>
                  <a:cubicBezTo>
                    <a:pt x="3976" y="1114"/>
                    <a:pt x="3975" y="1116"/>
                    <a:pt x="3974" y="1117"/>
                  </a:cubicBezTo>
                  <a:lnTo>
                    <a:pt x="3971" y="1117"/>
                  </a:lnTo>
                  <a:lnTo>
                    <a:pt x="3970" y="1117"/>
                  </a:lnTo>
                  <a:lnTo>
                    <a:pt x="3925" y="1105"/>
                  </a:lnTo>
                  <a:lnTo>
                    <a:pt x="3884" y="1125"/>
                  </a:lnTo>
                  <a:cubicBezTo>
                    <a:pt x="3884" y="1126"/>
                    <a:pt x="3883" y="1126"/>
                    <a:pt x="3882" y="1126"/>
                  </a:cubicBezTo>
                  <a:lnTo>
                    <a:pt x="3881" y="1126"/>
                  </a:lnTo>
                  <a:cubicBezTo>
                    <a:pt x="3879" y="1125"/>
                    <a:pt x="3878" y="1124"/>
                    <a:pt x="3878" y="1123"/>
                  </a:cubicBezTo>
                  <a:lnTo>
                    <a:pt x="3869" y="1102"/>
                  </a:lnTo>
                  <a:lnTo>
                    <a:pt x="3869" y="1098"/>
                  </a:lnTo>
                  <a:lnTo>
                    <a:pt x="3882" y="1073"/>
                  </a:lnTo>
                  <a:lnTo>
                    <a:pt x="3885" y="1070"/>
                  </a:lnTo>
                  <a:lnTo>
                    <a:pt x="3902" y="1063"/>
                  </a:lnTo>
                  <a:lnTo>
                    <a:pt x="3900" y="1048"/>
                  </a:lnTo>
                  <a:lnTo>
                    <a:pt x="3876" y="1062"/>
                  </a:lnTo>
                  <a:lnTo>
                    <a:pt x="3874" y="1062"/>
                  </a:lnTo>
                  <a:lnTo>
                    <a:pt x="3872" y="1062"/>
                  </a:lnTo>
                  <a:lnTo>
                    <a:pt x="3819" y="1038"/>
                  </a:lnTo>
                  <a:lnTo>
                    <a:pt x="3816" y="1039"/>
                  </a:lnTo>
                  <a:lnTo>
                    <a:pt x="3823" y="1051"/>
                  </a:lnTo>
                  <a:cubicBezTo>
                    <a:pt x="3824" y="1053"/>
                    <a:pt x="3824" y="1055"/>
                    <a:pt x="3823" y="1056"/>
                  </a:cubicBezTo>
                  <a:cubicBezTo>
                    <a:pt x="3822" y="1057"/>
                    <a:pt x="3820" y="1058"/>
                    <a:pt x="3819" y="1058"/>
                  </a:cubicBezTo>
                  <a:lnTo>
                    <a:pt x="3797" y="1058"/>
                  </a:lnTo>
                  <a:cubicBezTo>
                    <a:pt x="3796" y="1058"/>
                    <a:pt x="3795" y="1057"/>
                    <a:pt x="3794" y="1056"/>
                  </a:cubicBezTo>
                  <a:cubicBezTo>
                    <a:pt x="3793" y="1055"/>
                    <a:pt x="3793" y="1054"/>
                    <a:pt x="3793" y="1053"/>
                  </a:cubicBezTo>
                  <a:lnTo>
                    <a:pt x="3797" y="1027"/>
                  </a:lnTo>
                  <a:lnTo>
                    <a:pt x="3782" y="1002"/>
                  </a:lnTo>
                  <a:lnTo>
                    <a:pt x="3776" y="1000"/>
                  </a:lnTo>
                  <a:lnTo>
                    <a:pt x="3772" y="1020"/>
                  </a:lnTo>
                  <a:cubicBezTo>
                    <a:pt x="3772" y="1022"/>
                    <a:pt x="3770" y="1024"/>
                    <a:pt x="3768" y="1024"/>
                  </a:cubicBezTo>
                  <a:lnTo>
                    <a:pt x="3696" y="1033"/>
                  </a:lnTo>
                  <a:cubicBezTo>
                    <a:pt x="3694" y="1033"/>
                    <a:pt x="3693" y="1032"/>
                    <a:pt x="3692" y="1030"/>
                  </a:cubicBezTo>
                  <a:lnTo>
                    <a:pt x="3679" y="1009"/>
                  </a:lnTo>
                  <a:cubicBezTo>
                    <a:pt x="3678" y="1008"/>
                    <a:pt x="3678" y="1006"/>
                    <a:pt x="3679" y="1004"/>
                  </a:cubicBezTo>
                  <a:lnTo>
                    <a:pt x="3696" y="983"/>
                  </a:lnTo>
                  <a:lnTo>
                    <a:pt x="3699" y="954"/>
                  </a:lnTo>
                  <a:lnTo>
                    <a:pt x="3680" y="939"/>
                  </a:lnTo>
                  <a:cubicBezTo>
                    <a:pt x="3679" y="938"/>
                    <a:pt x="3679" y="937"/>
                    <a:pt x="3678" y="936"/>
                  </a:cubicBezTo>
                  <a:lnTo>
                    <a:pt x="3670" y="879"/>
                  </a:lnTo>
                  <a:lnTo>
                    <a:pt x="3653" y="868"/>
                  </a:lnTo>
                  <a:lnTo>
                    <a:pt x="3613" y="884"/>
                  </a:lnTo>
                  <a:cubicBezTo>
                    <a:pt x="3612" y="885"/>
                    <a:pt x="3612" y="885"/>
                    <a:pt x="3611" y="885"/>
                  </a:cubicBezTo>
                  <a:cubicBezTo>
                    <a:pt x="3610" y="885"/>
                    <a:pt x="3609" y="884"/>
                    <a:pt x="3609" y="884"/>
                  </a:cubicBezTo>
                  <a:lnTo>
                    <a:pt x="3566" y="859"/>
                  </a:lnTo>
                  <a:lnTo>
                    <a:pt x="3515" y="851"/>
                  </a:lnTo>
                  <a:lnTo>
                    <a:pt x="3478" y="875"/>
                  </a:lnTo>
                  <a:lnTo>
                    <a:pt x="3458" y="880"/>
                  </a:lnTo>
                  <a:lnTo>
                    <a:pt x="3450" y="911"/>
                  </a:lnTo>
                  <a:cubicBezTo>
                    <a:pt x="3450" y="912"/>
                    <a:pt x="3449" y="914"/>
                    <a:pt x="3447" y="914"/>
                  </a:cubicBezTo>
                  <a:lnTo>
                    <a:pt x="3265" y="956"/>
                  </a:lnTo>
                  <a:lnTo>
                    <a:pt x="3204" y="969"/>
                  </a:lnTo>
                  <a:lnTo>
                    <a:pt x="3192" y="1000"/>
                  </a:lnTo>
                  <a:cubicBezTo>
                    <a:pt x="3191" y="1002"/>
                    <a:pt x="3189" y="1003"/>
                    <a:pt x="3187" y="1003"/>
                  </a:cubicBezTo>
                  <a:lnTo>
                    <a:pt x="3141" y="1003"/>
                  </a:lnTo>
                  <a:lnTo>
                    <a:pt x="3111" y="1015"/>
                  </a:lnTo>
                  <a:lnTo>
                    <a:pt x="3107" y="1025"/>
                  </a:lnTo>
                  <a:cubicBezTo>
                    <a:pt x="3107" y="1026"/>
                    <a:pt x="3106" y="1027"/>
                    <a:pt x="3105" y="1028"/>
                  </a:cubicBezTo>
                  <a:cubicBezTo>
                    <a:pt x="3104" y="1028"/>
                    <a:pt x="3103" y="1029"/>
                    <a:pt x="3103" y="1029"/>
                  </a:cubicBezTo>
                  <a:cubicBezTo>
                    <a:pt x="3102" y="1029"/>
                    <a:pt x="3102" y="1028"/>
                    <a:pt x="3101" y="1028"/>
                  </a:cubicBezTo>
                  <a:lnTo>
                    <a:pt x="3069" y="1016"/>
                  </a:lnTo>
                  <a:lnTo>
                    <a:pt x="3029" y="1045"/>
                  </a:lnTo>
                  <a:lnTo>
                    <a:pt x="2991" y="1045"/>
                  </a:lnTo>
                  <a:lnTo>
                    <a:pt x="2980" y="1064"/>
                  </a:lnTo>
                  <a:cubicBezTo>
                    <a:pt x="2979" y="1066"/>
                    <a:pt x="2977" y="1067"/>
                    <a:pt x="2976" y="1067"/>
                  </a:cubicBezTo>
                  <a:cubicBezTo>
                    <a:pt x="2974" y="1067"/>
                    <a:pt x="2972" y="1066"/>
                    <a:pt x="2972" y="1064"/>
                  </a:cubicBezTo>
                  <a:lnTo>
                    <a:pt x="2965" y="1054"/>
                  </a:lnTo>
                  <a:lnTo>
                    <a:pt x="2895" y="1058"/>
                  </a:lnTo>
                  <a:cubicBezTo>
                    <a:pt x="2894" y="1058"/>
                    <a:pt x="2892" y="1057"/>
                    <a:pt x="2891" y="1056"/>
                  </a:cubicBezTo>
                  <a:lnTo>
                    <a:pt x="2885" y="1046"/>
                  </a:lnTo>
                  <a:lnTo>
                    <a:pt x="2853" y="1056"/>
                  </a:lnTo>
                  <a:lnTo>
                    <a:pt x="2865" y="1067"/>
                  </a:lnTo>
                  <a:cubicBezTo>
                    <a:pt x="2866" y="1068"/>
                    <a:pt x="2866" y="1070"/>
                    <a:pt x="2866" y="1072"/>
                  </a:cubicBezTo>
                  <a:lnTo>
                    <a:pt x="2856" y="1099"/>
                  </a:lnTo>
                  <a:lnTo>
                    <a:pt x="2882" y="1095"/>
                  </a:lnTo>
                  <a:cubicBezTo>
                    <a:pt x="2884" y="1095"/>
                    <a:pt x="2885" y="1096"/>
                    <a:pt x="2886" y="1097"/>
                  </a:cubicBezTo>
                  <a:lnTo>
                    <a:pt x="2894" y="1105"/>
                  </a:lnTo>
                  <a:cubicBezTo>
                    <a:pt x="2895" y="1106"/>
                    <a:pt x="2896" y="1108"/>
                    <a:pt x="2895" y="1109"/>
                  </a:cubicBezTo>
                  <a:cubicBezTo>
                    <a:pt x="2895" y="1111"/>
                    <a:pt x="2894" y="1112"/>
                    <a:pt x="2893" y="1113"/>
                  </a:cubicBezTo>
                  <a:lnTo>
                    <a:pt x="2866" y="1124"/>
                  </a:lnTo>
                  <a:lnTo>
                    <a:pt x="2870" y="1142"/>
                  </a:lnTo>
                  <a:lnTo>
                    <a:pt x="2917" y="1146"/>
                  </a:lnTo>
                  <a:lnTo>
                    <a:pt x="2949" y="1172"/>
                  </a:lnTo>
                  <a:cubicBezTo>
                    <a:pt x="2950" y="1173"/>
                    <a:pt x="2951" y="1175"/>
                    <a:pt x="2951" y="1176"/>
                  </a:cubicBezTo>
                  <a:cubicBezTo>
                    <a:pt x="2951" y="1178"/>
                    <a:pt x="2950" y="1179"/>
                    <a:pt x="2949" y="1180"/>
                  </a:cubicBezTo>
                  <a:lnTo>
                    <a:pt x="2932" y="1193"/>
                  </a:lnTo>
                  <a:lnTo>
                    <a:pt x="2855" y="1193"/>
                  </a:lnTo>
                  <a:lnTo>
                    <a:pt x="2825" y="1223"/>
                  </a:lnTo>
                  <a:lnTo>
                    <a:pt x="2852" y="1258"/>
                  </a:lnTo>
                  <a:cubicBezTo>
                    <a:pt x="2853" y="1259"/>
                    <a:pt x="2853" y="1261"/>
                    <a:pt x="2853" y="1262"/>
                  </a:cubicBezTo>
                  <a:lnTo>
                    <a:pt x="2844" y="1288"/>
                  </a:lnTo>
                  <a:cubicBezTo>
                    <a:pt x="2844" y="1289"/>
                    <a:pt x="2843" y="1290"/>
                    <a:pt x="2842" y="1290"/>
                  </a:cubicBezTo>
                  <a:lnTo>
                    <a:pt x="2768" y="1331"/>
                  </a:lnTo>
                  <a:lnTo>
                    <a:pt x="2768" y="1333"/>
                  </a:lnTo>
                  <a:lnTo>
                    <a:pt x="2791" y="1341"/>
                  </a:lnTo>
                  <a:cubicBezTo>
                    <a:pt x="2792" y="1341"/>
                    <a:pt x="2793" y="1343"/>
                    <a:pt x="2794" y="1344"/>
                  </a:cubicBezTo>
                  <a:lnTo>
                    <a:pt x="2797" y="1362"/>
                  </a:lnTo>
                  <a:lnTo>
                    <a:pt x="2833" y="1370"/>
                  </a:lnTo>
                  <a:cubicBezTo>
                    <a:pt x="2834" y="1371"/>
                    <a:pt x="2835" y="1371"/>
                    <a:pt x="2836" y="1372"/>
                  </a:cubicBezTo>
                  <a:lnTo>
                    <a:pt x="2847" y="1392"/>
                  </a:lnTo>
                  <a:lnTo>
                    <a:pt x="2905" y="1408"/>
                  </a:lnTo>
                  <a:lnTo>
                    <a:pt x="2908" y="1411"/>
                  </a:lnTo>
                  <a:lnTo>
                    <a:pt x="2908" y="1415"/>
                  </a:lnTo>
                  <a:lnTo>
                    <a:pt x="2883" y="1486"/>
                  </a:lnTo>
                  <a:cubicBezTo>
                    <a:pt x="2882" y="1488"/>
                    <a:pt x="2881" y="1489"/>
                    <a:pt x="2879" y="1489"/>
                  </a:cubicBezTo>
                  <a:lnTo>
                    <a:pt x="2812" y="1506"/>
                  </a:lnTo>
                  <a:cubicBezTo>
                    <a:pt x="2811" y="1506"/>
                    <a:pt x="2811" y="1507"/>
                    <a:pt x="2810" y="1507"/>
                  </a:cubicBezTo>
                  <a:cubicBezTo>
                    <a:pt x="2810" y="1507"/>
                    <a:pt x="2809" y="1506"/>
                    <a:pt x="2808" y="1506"/>
                  </a:cubicBezTo>
                  <a:lnTo>
                    <a:pt x="2770" y="1483"/>
                  </a:lnTo>
                  <a:lnTo>
                    <a:pt x="2747" y="1521"/>
                  </a:lnTo>
                  <a:cubicBezTo>
                    <a:pt x="2746" y="1523"/>
                    <a:pt x="2744" y="1523"/>
                    <a:pt x="2743" y="1523"/>
                  </a:cubicBezTo>
                  <a:lnTo>
                    <a:pt x="2717" y="1523"/>
                  </a:lnTo>
                  <a:cubicBezTo>
                    <a:pt x="2715" y="1523"/>
                    <a:pt x="2714" y="1522"/>
                    <a:pt x="2713" y="1521"/>
                  </a:cubicBezTo>
                  <a:lnTo>
                    <a:pt x="2706" y="1507"/>
                  </a:lnTo>
                  <a:lnTo>
                    <a:pt x="2662" y="1507"/>
                  </a:lnTo>
                  <a:cubicBezTo>
                    <a:pt x="2660" y="1507"/>
                    <a:pt x="2659" y="1505"/>
                    <a:pt x="2658" y="1504"/>
                  </a:cubicBezTo>
                  <a:lnTo>
                    <a:pt x="2633" y="1451"/>
                  </a:lnTo>
                  <a:lnTo>
                    <a:pt x="2615" y="1447"/>
                  </a:lnTo>
                  <a:lnTo>
                    <a:pt x="2582" y="1451"/>
                  </a:lnTo>
                  <a:lnTo>
                    <a:pt x="2555" y="1476"/>
                  </a:lnTo>
                  <a:cubicBezTo>
                    <a:pt x="2554" y="1476"/>
                    <a:pt x="2553" y="1477"/>
                    <a:pt x="2552" y="1477"/>
                  </a:cubicBezTo>
                  <a:cubicBezTo>
                    <a:pt x="2551" y="1477"/>
                    <a:pt x="2550" y="1476"/>
                    <a:pt x="2549" y="1476"/>
                  </a:cubicBezTo>
                  <a:lnTo>
                    <a:pt x="2521" y="1452"/>
                  </a:lnTo>
                  <a:lnTo>
                    <a:pt x="2493" y="1455"/>
                  </a:lnTo>
                  <a:lnTo>
                    <a:pt x="2493" y="1464"/>
                  </a:lnTo>
                  <a:cubicBezTo>
                    <a:pt x="2493" y="1465"/>
                    <a:pt x="2493" y="1466"/>
                    <a:pt x="2492" y="1467"/>
                  </a:cubicBezTo>
                  <a:cubicBezTo>
                    <a:pt x="2491" y="1468"/>
                    <a:pt x="2490" y="1468"/>
                    <a:pt x="2488" y="1468"/>
                  </a:cubicBezTo>
                  <a:lnTo>
                    <a:pt x="2464" y="1464"/>
                  </a:lnTo>
                  <a:lnTo>
                    <a:pt x="2407" y="1514"/>
                  </a:lnTo>
                  <a:cubicBezTo>
                    <a:pt x="2406" y="1515"/>
                    <a:pt x="2405" y="1515"/>
                    <a:pt x="2404" y="1515"/>
                  </a:cubicBezTo>
                  <a:cubicBezTo>
                    <a:pt x="2403" y="1515"/>
                    <a:pt x="2402" y="1515"/>
                    <a:pt x="2402" y="1514"/>
                  </a:cubicBezTo>
                  <a:lnTo>
                    <a:pt x="2355" y="1493"/>
                  </a:lnTo>
                  <a:lnTo>
                    <a:pt x="2330" y="1456"/>
                  </a:lnTo>
                  <a:lnTo>
                    <a:pt x="2324" y="1459"/>
                  </a:lnTo>
                  <a:lnTo>
                    <a:pt x="2324" y="1510"/>
                  </a:lnTo>
                  <a:cubicBezTo>
                    <a:pt x="2324" y="1512"/>
                    <a:pt x="2323" y="1514"/>
                    <a:pt x="2320" y="1515"/>
                  </a:cubicBezTo>
                  <a:lnTo>
                    <a:pt x="2308" y="1519"/>
                  </a:lnTo>
                  <a:lnTo>
                    <a:pt x="2306" y="1519"/>
                  </a:lnTo>
                  <a:cubicBezTo>
                    <a:pt x="2306" y="1519"/>
                    <a:pt x="2305" y="1519"/>
                    <a:pt x="2304" y="1518"/>
                  </a:cubicBezTo>
                  <a:cubicBezTo>
                    <a:pt x="2303" y="1518"/>
                    <a:pt x="2302" y="1517"/>
                    <a:pt x="2302" y="1515"/>
                  </a:cubicBezTo>
                  <a:lnTo>
                    <a:pt x="2293" y="1477"/>
                  </a:lnTo>
                  <a:lnTo>
                    <a:pt x="2219" y="1392"/>
                  </a:lnTo>
                  <a:lnTo>
                    <a:pt x="2141" y="1392"/>
                  </a:lnTo>
                  <a:cubicBezTo>
                    <a:pt x="2139" y="1392"/>
                    <a:pt x="2138" y="1391"/>
                    <a:pt x="2137" y="1390"/>
                  </a:cubicBezTo>
                  <a:lnTo>
                    <a:pt x="2121" y="1358"/>
                  </a:lnTo>
                  <a:lnTo>
                    <a:pt x="2111" y="1358"/>
                  </a:lnTo>
                  <a:lnTo>
                    <a:pt x="2089" y="1362"/>
                  </a:lnTo>
                  <a:lnTo>
                    <a:pt x="2073" y="1394"/>
                  </a:lnTo>
                  <a:cubicBezTo>
                    <a:pt x="2073" y="1395"/>
                    <a:pt x="2071" y="1396"/>
                    <a:pt x="2070" y="1396"/>
                  </a:cubicBezTo>
                  <a:lnTo>
                    <a:pt x="2069" y="1396"/>
                  </a:lnTo>
                  <a:cubicBezTo>
                    <a:pt x="2068" y="1396"/>
                    <a:pt x="2067" y="1396"/>
                    <a:pt x="2066" y="1395"/>
                  </a:cubicBezTo>
                  <a:lnTo>
                    <a:pt x="2059" y="1388"/>
                  </a:lnTo>
                  <a:lnTo>
                    <a:pt x="2039" y="1392"/>
                  </a:lnTo>
                  <a:cubicBezTo>
                    <a:pt x="2037" y="1392"/>
                    <a:pt x="2036" y="1391"/>
                    <a:pt x="2035" y="1389"/>
                  </a:cubicBezTo>
                  <a:lnTo>
                    <a:pt x="2028" y="1367"/>
                  </a:lnTo>
                  <a:lnTo>
                    <a:pt x="1983" y="1375"/>
                  </a:lnTo>
                  <a:lnTo>
                    <a:pt x="1950" y="1420"/>
                  </a:lnTo>
                  <a:lnTo>
                    <a:pt x="1882" y="1446"/>
                  </a:lnTo>
                  <a:lnTo>
                    <a:pt x="1875" y="1477"/>
                  </a:lnTo>
                  <a:cubicBezTo>
                    <a:pt x="1874" y="1479"/>
                    <a:pt x="1873" y="1480"/>
                    <a:pt x="1872" y="1480"/>
                  </a:cubicBezTo>
                  <a:lnTo>
                    <a:pt x="1830" y="1506"/>
                  </a:lnTo>
                  <a:lnTo>
                    <a:pt x="1812" y="1509"/>
                  </a:lnTo>
                  <a:lnTo>
                    <a:pt x="1836" y="1585"/>
                  </a:lnTo>
                  <a:cubicBezTo>
                    <a:pt x="1837" y="1587"/>
                    <a:pt x="1836" y="1589"/>
                    <a:pt x="1835" y="1590"/>
                  </a:cubicBezTo>
                  <a:lnTo>
                    <a:pt x="1797" y="1620"/>
                  </a:lnTo>
                  <a:cubicBezTo>
                    <a:pt x="1796" y="1620"/>
                    <a:pt x="1795" y="1621"/>
                    <a:pt x="1794" y="1621"/>
                  </a:cubicBezTo>
                  <a:cubicBezTo>
                    <a:pt x="1792" y="1621"/>
                    <a:pt x="1791" y="1620"/>
                    <a:pt x="1790" y="1619"/>
                  </a:cubicBezTo>
                  <a:lnTo>
                    <a:pt x="1720" y="1529"/>
                  </a:lnTo>
                  <a:lnTo>
                    <a:pt x="1709" y="1579"/>
                  </a:lnTo>
                  <a:cubicBezTo>
                    <a:pt x="1709" y="1580"/>
                    <a:pt x="1708" y="1581"/>
                    <a:pt x="1707" y="1582"/>
                  </a:cubicBezTo>
                  <a:lnTo>
                    <a:pt x="1679" y="1602"/>
                  </a:lnTo>
                  <a:lnTo>
                    <a:pt x="1667" y="1670"/>
                  </a:lnTo>
                  <a:lnTo>
                    <a:pt x="1687" y="1693"/>
                  </a:lnTo>
                  <a:cubicBezTo>
                    <a:pt x="1689" y="1695"/>
                    <a:pt x="1689" y="1698"/>
                    <a:pt x="1687" y="1700"/>
                  </a:cubicBezTo>
                  <a:lnTo>
                    <a:pt x="1657" y="1725"/>
                  </a:lnTo>
                  <a:lnTo>
                    <a:pt x="1642" y="1782"/>
                  </a:lnTo>
                  <a:lnTo>
                    <a:pt x="1681" y="1798"/>
                  </a:lnTo>
                  <a:cubicBezTo>
                    <a:pt x="1682" y="1798"/>
                    <a:pt x="1684" y="1800"/>
                    <a:pt x="1684" y="1801"/>
                  </a:cubicBezTo>
                  <a:lnTo>
                    <a:pt x="1697" y="1856"/>
                  </a:lnTo>
                  <a:lnTo>
                    <a:pt x="1704" y="1863"/>
                  </a:lnTo>
                  <a:lnTo>
                    <a:pt x="1704" y="1861"/>
                  </a:lnTo>
                  <a:cubicBezTo>
                    <a:pt x="1704" y="1860"/>
                    <a:pt x="1705" y="1859"/>
                    <a:pt x="1706" y="1858"/>
                  </a:cubicBezTo>
                  <a:cubicBezTo>
                    <a:pt x="1707" y="1857"/>
                    <a:pt x="1708" y="1857"/>
                    <a:pt x="1709" y="1857"/>
                  </a:cubicBezTo>
                  <a:lnTo>
                    <a:pt x="1777" y="1865"/>
                  </a:lnTo>
                  <a:cubicBezTo>
                    <a:pt x="1779" y="1865"/>
                    <a:pt x="1780" y="1866"/>
                    <a:pt x="1780" y="1867"/>
                  </a:cubicBezTo>
                  <a:lnTo>
                    <a:pt x="1810" y="1905"/>
                  </a:lnTo>
                  <a:lnTo>
                    <a:pt x="1845" y="1991"/>
                  </a:lnTo>
                  <a:cubicBezTo>
                    <a:pt x="1845" y="1992"/>
                    <a:pt x="1845" y="1994"/>
                    <a:pt x="1844" y="1995"/>
                  </a:cubicBezTo>
                  <a:cubicBezTo>
                    <a:pt x="1843" y="1996"/>
                    <a:pt x="1842" y="1997"/>
                    <a:pt x="1840" y="1997"/>
                  </a:cubicBezTo>
                  <a:lnTo>
                    <a:pt x="1798" y="1997"/>
                  </a:lnTo>
                  <a:lnTo>
                    <a:pt x="1795" y="2011"/>
                  </a:lnTo>
                  <a:lnTo>
                    <a:pt x="1804" y="2013"/>
                  </a:lnTo>
                  <a:lnTo>
                    <a:pt x="1843" y="2039"/>
                  </a:lnTo>
                  <a:cubicBezTo>
                    <a:pt x="1844" y="2040"/>
                    <a:pt x="1845" y="2042"/>
                    <a:pt x="1845" y="2044"/>
                  </a:cubicBezTo>
                  <a:cubicBezTo>
                    <a:pt x="1845" y="2046"/>
                    <a:pt x="1843" y="2047"/>
                    <a:pt x="1842" y="2048"/>
                  </a:cubicBezTo>
                  <a:lnTo>
                    <a:pt x="1804" y="2060"/>
                  </a:lnTo>
                  <a:lnTo>
                    <a:pt x="1768" y="2110"/>
                  </a:lnTo>
                  <a:cubicBezTo>
                    <a:pt x="1767" y="2111"/>
                    <a:pt x="1766" y="2111"/>
                    <a:pt x="1764" y="2111"/>
                  </a:cubicBezTo>
                  <a:lnTo>
                    <a:pt x="1763" y="2111"/>
                  </a:lnTo>
                  <a:cubicBezTo>
                    <a:pt x="1762" y="2111"/>
                    <a:pt x="1760" y="2110"/>
                    <a:pt x="1760" y="2109"/>
                  </a:cubicBezTo>
                  <a:lnTo>
                    <a:pt x="1736" y="2056"/>
                  </a:lnTo>
                  <a:lnTo>
                    <a:pt x="1718" y="2054"/>
                  </a:lnTo>
                  <a:lnTo>
                    <a:pt x="1726" y="2066"/>
                  </a:lnTo>
                  <a:lnTo>
                    <a:pt x="1718" y="2124"/>
                  </a:lnTo>
                  <a:cubicBezTo>
                    <a:pt x="1718" y="2126"/>
                    <a:pt x="1716" y="2127"/>
                    <a:pt x="1715" y="2128"/>
                  </a:cubicBezTo>
                  <a:lnTo>
                    <a:pt x="1713" y="2128"/>
                  </a:lnTo>
                  <a:lnTo>
                    <a:pt x="1711" y="2128"/>
                  </a:lnTo>
                  <a:lnTo>
                    <a:pt x="1704" y="2123"/>
                  </a:lnTo>
                  <a:lnTo>
                    <a:pt x="1697" y="2171"/>
                  </a:lnTo>
                  <a:lnTo>
                    <a:pt x="1643" y="2254"/>
                  </a:lnTo>
                  <a:lnTo>
                    <a:pt x="1683" y="2298"/>
                  </a:lnTo>
                  <a:lnTo>
                    <a:pt x="1708" y="2352"/>
                  </a:lnTo>
                  <a:lnTo>
                    <a:pt x="1713" y="2334"/>
                  </a:lnTo>
                  <a:cubicBezTo>
                    <a:pt x="1714" y="2332"/>
                    <a:pt x="1715" y="2330"/>
                    <a:pt x="1717" y="2330"/>
                  </a:cubicBezTo>
                  <a:lnTo>
                    <a:pt x="1718" y="2330"/>
                  </a:lnTo>
                  <a:cubicBezTo>
                    <a:pt x="1721" y="2331"/>
                    <a:pt x="1722" y="2333"/>
                    <a:pt x="1722" y="2335"/>
                  </a:cubicBezTo>
                  <a:lnTo>
                    <a:pt x="1718" y="2429"/>
                  </a:lnTo>
                  <a:lnTo>
                    <a:pt x="1781" y="2553"/>
                  </a:lnTo>
                  <a:lnTo>
                    <a:pt x="1793" y="2565"/>
                  </a:lnTo>
                  <a:cubicBezTo>
                    <a:pt x="1795" y="2566"/>
                    <a:pt x="1795" y="2569"/>
                    <a:pt x="1793" y="2571"/>
                  </a:cubicBezTo>
                  <a:lnTo>
                    <a:pt x="1751" y="2630"/>
                  </a:lnTo>
                  <a:cubicBezTo>
                    <a:pt x="1750" y="2631"/>
                    <a:pt x="1749" y="2632"/>
                    <a:pt x="1747" y="2632"/>
                  </a:cubicBezTo>
                  <a:lnTo>
                    <a:pt x="1696" y="2628"/>
                  </a:lnTo>
                  <a:cubicBezTo>
                    <a:pt x="1694" y="2628"/>
                    <a:pt x="1692" y="2626"/>
                    <a:pt x="1692" y="2625"/>
                  </a:cubicBezTo>
                  <a:lnTo>
                    <a:pt x="1679" y="2591"/>
                  </a:lnTo>
                  <a:lnTo>
                    <a:pt x="1622" y="2555"/>
                  </a:lnTo>
                  <a:lnTo>
                    <a:pt x="1563" y="2521"/>
                  </a:lnTo>
                  <a:cubicBezTo>
                    <a:pt x="1561" y="2521"/>
                    <a:pt x="1560" y="2519"/>
                    <a:pt x="1560" y="2517"/>
                  </a:cubicBezTo>
                  <a:lnTo>
                    <a:pt x="1560" y="2486"/>
                  </a:lnTo>
                  <a:lnTo>
                    <a:pt x="1520" y="2467"/>
                  </a:lnTo>
                  <a:lnTo>
                    <a:pt x="1479" y="2458"/>
                  </a:lnTo>
                  <a:lnTo>
                    <a:pt x="1423" y="2479"/>
                  </a:lnTo>
                  <a:cubicBezTo>
                    <a:pt x="1422" y="2480"/>
                    <a:pt x="1421" y="2480"/>
                    <a:pt x="1421" y="2480"/>
                  </a:cubicBezTo>
                  <a:cubicBezTo>
                    <a:pt x="1420" y="2480"/>
                    <a:pt x="1419" y="2479"/>
                    <a:pt x="1418" y="2479"/>
                  </a:cubicBezTo>
                  <a:lnTo>
                    <a:pt x="1329" y="2411"/>
                  </a:lnTo>
                  <a:lnTo>
                    <a:pt x="1234" y="2408"/>
                  </a:lnTo>
                  <a:lnTo>
                    <a:pt x="1140" y="2374"/>
                  </a:lnTo>
                  <a:lnTo>
                    <a:pt x="1069" y="2382"/>
                  </a:lnTo>
                  <a:cubicBezTo>
                    <a:pt x="1068" y="2382"/>
                    <a:pt x="1067" y="2382"/>
                    <a:pt x="1066" y="2381"/>
                  </a:cubicBezTo>
                  <a:lnTo>
                    <a:pt x="977" y="2301"/>
                  </a:lnTo>
                  <a:lnTo>
                    <a:pt x="886" y="2243"/>
                  </a:lnTo>
                  <a:lnTo>
                    <a:pt x="866" y="2247"/>
                  </a:lnTo>
                  <a:cubicBezTo>
                    <a:pt x="865" y="2247"/>
                    <a:pt x="863" y="2246"/>
                    <a:pt x="862" y="2246"/>
                  </a:cubicBezTo>
                  <a:lnTo>
                    <a:pt x="803" y="2182"/>
                  </a:lnTo>
                  <a:cubicBezTo>
                    <a:pt x="802" y="2180"/>
                    <a:pt x="801" y="2178"/>
                    <a:pt x="803" y="2176"/>
                  </a:cubicBezTo>
                  <a:lnTo>
                    <a:pt x="820" y="2155"/>
                  </a:lnTo>
                  <a:cubicBezTo>
                    <a:pt x="821" y="2154"/>
                    <a:pt x="822" y="2153"/>
                    <a:pt x="824" y="2153"/>
                  </a:cubicBezTo>
                  <a:lnTo>
                    <a:pt x="867" y="2153"/>
                  </a:lnTo>
                  <a:lnTo>
                    <a:pt x="908" y="2083"/>
                  </a:lnTo>
                  <a:cubicBezTo>
                    <a:pt x="909" y="2082"/>
                    <a:pt x="910" y="2082"/>
                    <a:pt x="911" y="2081"/>
                  </a:cubicBezTo>
                  <a:lnTo>
                    <a:pt x="949" y="2071"/>
                  </a:lnTo>
                  <a:lnTo>
                    <a:pt x="893" y="2026"/>
                  </a:lnTo>
                  <a:cubicBezTo>
                    <a:pt x="891" y="2025"/>
                    <a:pt x="890" y="2022"/>
                    <a:pt x="891" y="2020"/>
                  </a:cubicBezTo>
                  <a:lnTo>
                    <a:pt x="900" y="2003"/>
                  </a:lnTo>
                  <a:cubicBezTo>
                    <a:pt x="901" y="2002"/>
                    <a:pt x="902" y="2001"/>
                    <a:pt x="904" y="2001"/>
                  </a:cubicBezTo>
                  <a:lnTo>
                    <a:pt x="953" y="1997"/>
                  </a:lnTo>
                  <a:lnTo>
                    <a:pt x="950" y="1985"/>
                  </a:lnTo>
                  <a:cubicBezTo>
                    <a:pt x="950" y="1983"/>
                    <a:pt x="951" y="1980"/>
                    <a:pt x="953" y="1980"/>
                  </a:cubicBezTo>
                  <a:lnTo>
                    <a:pt x="1023" y="1957"/>
                  </a:lnTo>
                  <a:lnTo>
                    <a:pt x="1012" y="1943"/>
                  </a:lnTo>
                  <a:lnTo>
                    <a:pt x="948" y="1959"/>
                  </a:lnTo>
                  <a:lnTo>
                    <a:pt x="947" y="1959"/>
                  </a:lnTo>
                  <a:cubicBezTo>
                    <a:pt x="946" y="1959"/>
                    <a:pt x="945" y="1959"/>
                    <a:pt x="944" y="1958"/>
                  </a:cubicBezTo>
                  <a:cubicBezTo>
                    <a:pt x="942" y="1958"/>
                    <a:pt x="942" y="1956"/>
                    <a:pt x="942" y="1955"/>
                  </a:cubicBezTo>
                  <a:lnTo>
                    <a:pt x="937" y="1909"/>
                  </a:lnTo>
                  <a:lnTo>
                    <a:pt x="951" y="1885"/>
                  </a:lnTo>
                  <a:lnTo>
                    <a:pt x="974" y="1874"/>
                  </a:lnTo>
                  <a:lnTo>
                    <a:pt x="998" y="1846"/>
                  </a:lnTo>
                  <a:cubicBezTo>
                    <a:pt x="999" y="1845"/>
                    <a:pt x="1000" y="1844"/>
                    <a:pt x="1002" y="1844"/>
                  </a:cubicBezTo>
                  <a:cubicBezTo>
                    <a:pt x="1002" y="1844"/>
                    <a:pt x="1003" y="1844"/>
                    <a:pt x="1004" y="1845"/>
                  </a:cubicBezTo>
                  <a:lnTo>
                    <a:pt x="1025" y="1858"/>
                  </a:lnTo>
                  <a:lnTo>
                    <a:pt x="1066" y="1857"/>
                  </a:lnTo>
                  <a:lnTo>
                    <a:pt x="1080" y="1801"/>
                  </a:lnTo>
                  <a:lnTo>
                    <a:pt x="1072" y="1798"/>
                  </a:lnTo>
                  <a:cubicBezTo>
                    <a:pt x="1070" y="1798"/>
                    <a:pt x="1069" y="1796"/>
                    <a:pt x="1069" y="1794"/>
                  </a:cubicBezTo>
                  <a:lnTo>
                    <a:pt x="1065" y="1748"/>
                  </a:lnTo>
                  <a:cubicBezTo>
                    <a:pt x="1064" y="1746"/>
                    <a:pt x="1065" y="1744"/>
                    <a:pt x="1067" y="1743"/>
                  </a:cubicBezTo>
                  <a:lnTo>
                    <a:pt x="1090" y="1730"/>
                  </a:lnTo>
                  <a:lnTo>
                    <a:pt x="1066" y="1713"/>
                  </a:lnTo>
                  <a:cubicBezTo>
                    <a:pt x="1065" y="1712"/>
                    <a:pt x="1064" y="1710"/>
                    <a:pt x="1065" y="1709"/>
                  </a:cubicBezTo>
                  <a:cubicBezTo>
                    <a:pt x="1065" y="1707"/>
                    <a:pt x="1066" y="1705"/>
                    <a:pt x="1068" y="1705"/>
                  </a:cubicBezTo>
                  <a:lnTo>
                    <a:pt x="1092" y="1697"/>
                  </a:lnTo>
                  <a:lnTo>
                    <a:pt x="1102" y="1679"/>
                  </a:lnTo>
                  <a:lnTo>
                    <a:pt x="1090" y="1648"/>
                  </a:lnTo>
                  <a:cubicBezTo>
                    <a:pt x="1090" y="1646"/>
                    <a:pt x="1090" y="1644"/>
                    <a:pt x="1091" y="1642"/>
                  </a:cubicBezTo>
                  <a:lnTo>
                    <a:pt x="1095" y="1639"/>
                  </a:lnTo>
                  <a:lnTo>
                    <a:pt x="1016" y="1604"/>
                  </a:lnTo>
                  <a:lnTo>
                    <a:pt x="993" y="1608"/>
                  </a:lnTo>
                  <a:cubicBezTo>
                    <a:pt x="992" y="1608"/>
                    <a:pt x="991" y="1608"/>
                    <a:pt x="990" y="1607"/>
                  </a:cubicBezTo>
                  <a:lnTo>
                    <a:pt x="954" y="1583"/>
                  </a:lnTo>
                  <a:lnTo>
                    <a:pt x="926" y="1591"/>
                  </a:lnTo>
                  <a:lnTo>
                    <a:pt x="925" y="1591"/>
                  </a:lnTo>
                  <a:cubicBezTo>
                    <a:pt x="924" y="1591"/>
                    <a:pt x="922" y="1591"/>
                    <a:pt x="922" y="1590"/>
                  </a:cubicBezTo>
                  <a:lnTo>
                    <a:pt x="869" y="1529"/>
                  </a:lnTo>
                  <a:lnTo>
                    <a:pt x="812" y="1549"/>
                  </a:lnTo>
                  <a:lnTo>
                    <a:pt x="790" y="1549"/>
                  </a:lnTo>
                  <a:cubicBezTo>
                    <a:pt x="788" y="1549"/>
                    <a:pt x="787" y="1548"/>
                    <a:pt x="786" y="1548"/>
                  </a:cubicBezTo>
                  <a:lnTo>
                    <a:pt x="771" y="1532"/>
                  </a:lnTo>
                  <a:lnTo>
                    <a:pt x="726" y="1532"/>
                  </a:lnTo>
                  <a:cubicBezTo>
                    <a:pt x="725" y="1532"/>
                    <a:pt x="723" y="1531"/>
                    <a:pt x="722" y="1530"/>
                  </a:cubicBezTo>
                  <a:lnTo>
                    <a:pt x="705" y="1509"/>
                  </a:lnTo>
                  <a:lnTo>
                    <a:pt x="700" y="1452"/>
                  </a:lnTo>
                  <a:lnTo>
                    <a:pt x="682" y="1427"/>
                  </a:lnTo>
                  <a:lnTo>
                    <a:pt x="659" y="1430"/>
                  </a:lnTo>
                  <a:lnTo>
                    <a:pt x="614" y="1413"/>
                  </a:lnTo>
                  <a:cubicBezTo>
                    <a:pt x="613" y="1413"/>
                    <a:pt x="612" y="1412"/>
                    <a:pt x="611" y="1410"/>
                  </a:cubicBezTo>
                  <a:lnTo>
                    <a:pt x="599" y="1364"/>
                  </a:lnTo>
                  <a:cubicBezTo>
                    <a:pt x="598" y="1361"/>
                    <a:pt x="599" y="1359"/>
                    <a:pt x="602" y="1358"/>
                  </a:cubicBezTo>
                  <a:lnTo>
                    <a:pt x="620" y="1351"/>
                  </a:lnTo>
                  <a:lnTo>
                    <a:pt x="620" y="1341"/>
                  </a:lnTo>
                  <a:lnTo>
                    <a:pt x="571" y="1278"/>
                  </a:lnTo>
                  <a:lnTo>
                    <a:pt x="466" y="1282"/>
                  </a:lnTo>
                  <a:lnTo>
                    <a:pt x="433" y="1319"/>
                  </a:lnTo>
                  <a:cubicBezTo>
                    <a:pt x="432" y="1320"/>
                    <a:pt x="431" y="1321"/>
                    <a:pt x="429" y="1321"/>
                  </a:cubicBezTo>
                  <a:cubicBezTo>
                    <a:pt x="429" y="1321"/>
                    <a:pt x="428" y="1320"/>
                    <a:pt x="427" y="1320"/>
                  </a:cubicBezTo>
                  <a:lnTo>
                    <a:pt x="406" y="1307"/>
                  </a:lnTo>
                  <a:cubicBezTo>
                    <a:pt x="405" y="1306"/>
                    <a:pt x="404" y="1305"/>
                    <a:pt x="404" y="1304"/>
                  </a:cubicBezTo>
                  <a:lnTo>
                    <a:pt x="378" y="1194"/>
                  </a:lnTo>
                  <a:lnTo>
                    <a:pt x="362" y="1170"/>
                  </a:lnTo>
                  <a:cubicBezTo>
                    <a:pt x="361" y="1168"/>
                    <a:pt x="361" y="1166"/>
                    <a:pt x="363" y="1164"/>
                  </a:cubicBezTo>
                  <a:lnTo>
                    <a:pt x="384" y="1143"/>
                  </a:lnTo>
                  <a:cubicBezTo>
                    <a:pt x="385" y="1142"/>
                    <a:pt x="386" y="1142"/>
                    <a:pt x="387" y="1142"/>
                  </a:cubicBezTo>
                  <a:lnTo>
                    <a:pt x="388" y="1142"/>
                  </a:lnTo>
                  <a:lnTo>
                    <a:pt x="441" y="1158"/>
                  </a:lnTo>
                  <a:lnTo>
                    <a:pt x="484" y="1123"/>
                  </a:lnTo>
                  <a:lnTo>
                    <a:pt x="484" y="1108"/>
                  </a:lnTo>
                  <a:lnTo>
                    <a:pt x="475" y="1105"/>
                  </a:lnTo>
                  <a:cubicBezTo>
                    <a:pt x="473" y="1104"/>
                    <a:pt x="472" y="1103"/>
                    <a:pt x="471" y="1101"/>
                  </a:cubicBezTo>
                  <a:lnTo>
                    <a:pt x="468" y="1082"/>
                  </a:lnTo>
                  <a:lnTo>
                    <a:pt x="449" y="1075"/>
                  </a:lnTo>
                  <a:lnTo>
                    <a:pt x="413" y="1079"/>
                  </a:lnTo>
                  <a:cubicBezTo>
                    <a:pt x="410" y="1079"/>
                    <a:pt x="408" y="1078"/>
                    <a:pt x="408" y="1075"/>
                  </a:cubicBezTo>
                  <a:lnTo>
                    <a:pt x="404" y="1043"/>
                  </a:lnTo>
                  <a:lnTo>
                    <a:pt x="376" y="1019"/>
                  </a:lnTo>
                  <a:lnTo>
                    <a:pt x="328" y="933"/>
                  </a:lnTo>
                  <a:cubicBezTo>
                    <a:pt x="327" y="932"/>
                    <a:pt x="327" y="931"/>
                    <a:pt x="327" y="930"/>
                  </a:cubicBezTo>
                  <a:lnTo>
                    <a:pt x="340" y="881"/>
                  </a:lnTo>
                  <a:lnTo>
                    <a:pt x="328" y="857"/>
                  </a:lnTo>
                  <a:lnTo>
                    <a:pt x="331" y="819"/>
                  </a:lnTo>
                  <a:lnTo>
                    <a:pt x="276" y="784"/>
                  </a:lnTo>
                  <a:lnTo>
                    <a:pt x="211" y="804"/>
                  </a:lnTo>
                  <a:lnTo>
                    <a:pt x="209" y="804"/>
                  </a:lnTo>
                  <a:cubicBezTo>
                    <a:pt x="208" y="804"/>
                    <a:pt x="207" y="804"/>
                    <a:pt x="206" y="803"/>
                  </a:cubicBezTo>
                  <a:cubicBezTo>
                    <a:pt x="205" y="802"/>
                    <a:pt x="204" y="801"/>
                    <a:pt x="205" y="799"/>
                  </a:cubicBezTo>
                  <a:lnTo>
                    <a:pt x="208" y="772"/>
                  </a:lnTo>
                  <a:lnTo>
                    <a:pt x="194" y="761"/>
                  </a:lnTo>
                  <a:lnTo>
                    <a:pt x="115" y="749"/>
                  </a:lnTo>
                  <a:cubicBezTo>
                    <a:pt x="114" y="749"/>
                    <a:pt x="112" y="748"/>
                    <a:pt x="112" y="747"/>
                  </a:cubicBezTo>
                  <a:lnTo>
                    <a:pt x="108" y="738"/>
                  </a:lnTo>
                  <a:lnTo>
                    <a:pt x="103" y="673"/>
                  </a:lnTo>
                  <a:lnTo>
                    <a:pt x="82" y="633"/>
                  </a:lnTo>
                  <a:lnTo>
                    <a:pt x="63" y="622"/>
                  </a:lnTo>
                  <a:cubicBezTo>
                    <a:pt x="61" y="621"/>
                    <a:pt x="60" y="619"/>
                    <a:pt x="60" y="617"/>
                  </a:cubicBezTo>
                  <a:lnTo>
                    <a:pt x="69" y="560"/>
                  </a:lnTo>
                  <a:lnTo>
                    <a:pt x="40" y="523"/>
                  </a:lnTo>
                  <a:lnTo>
                    <a:pt x="35" y="509"/>
                  </a:lnTo>
                  <a:cubicBezTo>
                    <a:pt x="34" y="508"/>
                    <a:pt x="35" y="506"/>
                    <a:pt x="36" y="505"/>
                  </a:cubicBezTo>
                  <a:lnTo>
                    <a:pt x="64" y="473"/>
                  </a:lnTo>
                  <a:lnTo>
                    <a:pt x="60" y="449"/>
                  </a:lnTo>
                  <a:lnTo>
                    <a:pt x="45" y="435"/>
                  </a:lnTo>
                  <a:lnTo>
                    <a:pt x="36" y="402"/>
                  </a:lnTo>
                  <a:lnTo>
                    <a:pt x="25" y="398"/>
                  </a:lnTo>
                  <a:cubicBezTo>
                    <a:pt x="24" y="398"/>
                    <a:pt x="23" y="396"/>
                    <a:pt x="22" y="395"/>
                  </a:cubicBezTo>
                  <a:lnTo>
                    <a:pt x="1" y="310"/>
                  </a:lnTo>
                  <a:cubicBezTo>
                    <a:pt x="0" y="308"/>
                    <a:pt x="2" y="305"/>
                    <a:pt x="4" y="305"/>
                  </a:cubicBezTo>
                  <a:lnTo>
                    <a:pt x="70" y="284"/>
                  </a:lnTo>
                  <a:lnTo>
                    <a:pt x="103" y="230"/>
                  </a:lnTo>
                  <a:lnTo>
                    <a:pt x="98" y="187"/>
                  </a:lnTo>
                  <a:cubicBezTo>
                    <a:pt x="98" y="185"/>
                    <a:pt x="99" y="184"/>
                    <a:pt x="100" y="183"/>
                  </a:cubicBezTo>
                  <a:lnTo>
                    <a:pt x="168" y="132"/>
                  </a:lnTo>
                  <a:lnTo>
                    <a:pt x="257" y="135"/>
                  </a:lnTo>
                  <a:lnTo>
                    <a:pt x="227" y="105"/>
                  </a:lnTo>
                  <a:lnTo>
                    <a:pt x="123" y="81"/>
                  </a:lnTo>
                  <a:cubicBezTo>
                    <a:pt x="122" y="80"/>
                    <a:pt x="120" y="79"/>
                    <a:pt x="120" y="78"/>
                  </a:cubicBezTo>
                  <a:lnTo>
                    <a:pt x="107" y="40"/>
                  </a:lnTo>
                  <a:cubicBezTo>
                    <a:pt x="106" y="38"/>
                    <a:pt x="107" y="35"/>
                    <a:pt x="109" y="34"/>
                  </a:cubicBezTo>
                  <a:cubicBezTo>
                    <a:pt x="110" y="34"/>
                    <a:pt x="111" y="33"/>
                    <a:pt x="112" y="33"/>
                  </a:cubicBezTo>
                  <a:cubicBezTo>
                    <a:pt x="113" y="33"/>
                    <a:pt x="114" y="34"/>
                    <a:pt x="115" y="35"/>
                  </a:cubicBezTo>
                  <a:lnTo>
                    <a:pt x="124" y="44"/>
                  </a:lnTo>
                  <a:lnTo>
                    <a:pt x="124" y="14"/>
                  </a:lnTo>
                  <a:lnTo>
                    <a:pt x="49" y="30"/>
                  </a:lnTo>
                  <a:lnTo>
                    <a:pt x="48" y="30"/>
                  </a:lnTo>
                  <a:cubicBezTo>
                    <a:pt x="46" y="30"/>
                    <a:pt x="45" y="29"/>
                    <a:pt x="44" y="28"/>
                  </a:cubicBezTo>
                  <a:cubicBezTo>
                    <a:pt x="43" y="26"/>
                    <a:pt x="43" y="24"/>
                    <a:pt x="45" y="22"/>
                  </a:cubicBezTo>
                  <a:lnTo>
                    <a:pt x="69" y="0"/>
                  </a:lnTo>
                  <a:lnTo>
                    <a:pt x="10727"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8" name="Freeform 753"/>
            <p:cNvSpPr>
              <a:spLocks noChangeArrowheads="1"/>
            </p:cNvSpPr>
            <p:nvPr/>
          </p:nvSpPr>
          <p:spPr bwMode="auto">
            <a:xfrm>
              <a:off x="5053013" y="1433513"/>
              <a:ext cx="3862387" cy="947737"/>
            </a:xfrm>
            <a:custGeom>
              <a:avLst/>
              <a:gdLst/>
              <a:ahLst/>
              <a:cxnLst>
                <a:cxn ang="0">
                  <a:pos x="10700" y="241"/>
                </a:cxn>
                <a:cxn ang="0">
                  <a:pos x="10390" y="326"/>
                </a:cxn>
                <a:cxn ang="0">
                  <a:pos x="10212" y="187"/>
                </a:cxn>
                <a:cxn ang="0">
                  <a:pos x="10133" y="242"/>
                </a:cxn>
                <a:cxn ang="0">
                  <a:pos x="9629" y="292"/>
                </a:cxn>
                <a:cxn ang="0">
                  <a:pos x="9174" y="969"/>
                </a:cxn>
                <a:cxn ang="0">
                  <a:pos x="9245" y="1072"/>
                </a:cxn>
                <a:cxn ang="0">
                  <a:pos x="9326" y="1011"/>
                </a:cxn>
                <a:cxn ang="0">
                  <a:pos x="9539" y="1276"/>
                </a:cxn>
                <a:cxn ang="0">
                  <a:pos x="9029" y="2397"/>
                </a:cxn>
                <a:cxn ang="0">
                  <a:pos x="8758" y="2405"/>
                </a:cxn>
                <a:cxn ang="0">
                  <a:pos x="8648" y="2493"/>
                </a:cxn>
                <a:cxn ang="0">
                  <a:pos x="8842" y="2207"/>
                </a:cxn>
                <a:cxn ang="0">
                  <a:pos x="8665" y="1843"/>
                </a:cxn>
                <a:cxn ang="0">
                  <a:pos x="8135" y="1185"/>
                </a:cxn>
                <a:cxn ang="0">
                  <a:pos x="7712" y="1537"/>
                </a:cxn>
                <a:cxn ang="0">
                  <a:pos x="7006" y="1705"/>
                </a:cxn>
                <a:cxn ang="0">
                  <a:pos x="6273" y="1501"/>
                </a:cxn>
                <a:cxn ang="0">
                  <a:pos x="5913" y="1595"/>
                </a:cxn>
                <a:cxn ang="0">
                  <a:pos x="5042" y="1752"/>
                </a:cxn>
                <a:cxn ang="0">
                  <a:pos x="4868" y="1638"/>
                </a:cxn>
                <a:cxn ang="0">
                  <a:pos x="4669" y="1477"/>
                </a:cxn>
                <a:cxn ang="0">
                  <a:pos x="4467" y="1470"/>
                </a:cxn>
                <a:cxn ang="0">
                  <a:pos x="4159" y="996"/>
                </a:cxn>
                <a:cxn ang="0">
                  <a:pos x="3884" y="1125"/>
                </a:cxn>
                <a:cxn ang="0">
                  <a:pos x="3876" y="1062"/>
                </a:cxn>
                <a:cxn ang="0">
                  <a:pos x="3793" y="1053"/>
                </a:cxn>
                <a:cxn ang="0">
                  <a:pos x="3696" y="983"/>
                </a:cxn>
                <a:cxn ang="0">
                  <a:pos x="3515" y="851"/>
                </a:cxn>
                <a:cxn ang="0">
                  <a:pos x="3111" y="1015"/>
                </a:cxn>
                <a:cxn ang="0">
                  <a:pos x="2972" y="1064"/>
                </a:cxn>
                <a:cxn ang="0">
                  <a:pos x="2886" y="1097"/>
                </a:cxn>
                <a:cxn ang="0">
                  <a:pos x="2932" y="1193"/>
                </a:cxn>
                <a:cxn ang="0">
                  <a:pos x="2794" y="1344"/>
                </a:cxn>
                <a:cxn ang="0">
                  <a:pos x="2812" y="1506"/>
                </a:cxn>
                <a:cxn ang="0">
                  <a:pos x="2658" y="1504"/>
                </a:cxn>
                <a:cxn ang="0">
                  <a:pos x="2492" y="1467"/>
                </a:cxn>
                <a:cxn ang="0">
                  <a:pos x="2320" y="1515"/>
                </a:cxn>
                <a:cxn ang="0">
                  <a:pos x="2111" y="1358"/>
                </a:cxn>
                <a:cxn ang="0">
                  <a:pos x="1983" y="1375"/>
                </a:cxn>
                <a:cxn ang="0">
                  <a:pos x="1794" y="1621"/>
                </a:cxn>
                <a:cxn ang="0">
                  <a:pos x="1642" y="1782"/>
                </a:cxn>
                <a:cxn ang="0">
                  <a:pos x="1810" y="1905"/>
                </a:cxn>
                <a:cxn ang="0">
                  <a:pos x="1804" y="2060"/>
                </a:cxn>
                <a:cxn ang="0">
                  <a:pos x="1713" y="2128"/>
                </a:cxn>
                <a:cxn ang="0">
                  <a:pos x="1722" y="2335"/>
                </a:cxn>
                <a:cxn ang="0">
                  <a:pos x="1622" y="2555"/>
                </a:cxn>
                <a:cxn ang="0">
                  <a:pos x="1234" y="2408"/>
                </a:cxn>
                <a:cxn ang="0">
                  <a:pos x="820" y="2155"/>
                </a:cxn>
                <a:cxn ang="0">
                  <a:pos x="953" y="1997"/>
                </a:cxn>
                <a:cxn ang="0">
                  <a:pos x="951" y="1885"/>
                </a:cxn>
                <a:cxn ang="0">
                  <a:pos x="1065" y="1748"/>
                </a:cxn>
                <a:cxn ang="0">
                  <a:pos x="1095" y="1639"/>
                </a:cxn>
                <a:cxn ang="0">
                  <a:pos x="790" y="1549"/>
                </a:cxn>
                <a:cxn ang="0">
                  <a:pos x="611" y="1410"/>
                </a:cxn>
                <a:cxn ang="0">
                  <a:pos x="406" y="1307"/>
                </a:cxn>
                <a:cxn ang="0">
                  <a:pos x="484" y="1108"/>
                </a:cxn>
                <a:cxn ang="0">
                  <a:pos x="327" y="930"/>
                </a:cxn>
                <a:cxn ang="0">
                  <a:pos x="194" y="761"/>
                </a:cxn>
                <a:cxn ang="0">
                  <a:pos x="35" y="509"/>
                </a:cxn>
                <a:cxn ang="0">
                  <a:pos x="70" y="284"/>
                </a:cxn>
                <a:cxn ang="0">
                  <a:pos x="109" y="34"/>
                </a:cxn>
                <a:cxn ang="0">
                  <a:pos x="10727" y="0"/>
                </a:cxn>
              </a:cxnLst>
              <a:rect l="0" t="0" r="r" b="b"/>
              <a:pathLst>
                <a:path w="10728" h="2633">
                  <a:moveTo>
                    <a:pt x="10727" y="0"/>
                  </a:moveTo>
                  <a:lnTo>
                    <a:pt x="10727" y="50"/>
                  </a:lnTo>
                  <a:lnTo>
                    <a:pt x="10680" y="88"/>
                  </a:lnTo>
                  <a:lnTo>
                    <a:pt x="10644" y="167"/>
                  </a:lnTo>
                  <a:cubicBezTo>
                    <a:pt x="10643" y="169"/>
                    <a:pt x="10641" y="170"/>
                    <a:pt x="10639" y="170"/>
                  </a:cubicBezTo>
                  <a:lnTo>
                    <a:pt x="10629" y="170"/>
                  </a:lnTo>
                  <a:lnTo>
                    <a:pt x="10640" y="201"/>
                  </a:lnTo>
                  <a:cubicBezTo>
                    <a:pt x="10640" y="203"/>
                    <a:pt x="10640" y="204"/>
                    <a:pt x="10639" y="205"/>
                  </a:cubicBezTo>
                  <a:lnTo>
                    <a:pt x="10630" y="221"/>
                  </a:lnTo>
                  <a:lnTo>
                    <a:pt x="10700" y="241"/>
                  </a:lnTo>
                  <a:cubicBezTo>
                    <a:pt x="10702" y="241"/>
                    <a:pt x="10703" y="243"/>
                    <a:pt x="10703" y="245"/>
                  </a:cubicBezTo>
                  <a:lnTo>
                    <a:pt x="10708" y="270"/>
                  </a:lnTo>
                  <a:cubicBezTo>
                    <a:pt x="10708" y="272"/>
                    <a:pt x="10707" y="274"/>
                    <a:pt x="10705" y="275"/>
                  </a:cubicBezTo>
                  <a:lnTo>
                    <a:pt x="10684" y="283"/>
                  </a:lnTo>
                  <a:lnTo>
                    <a:pt x="10577" y="271"/>
                  </a:lnTo>
                  <a:lnTo>
                    <a:pt x="10515" y="317"/>
                  </a:lnTo>
                  <a:cubicBezTo>
                    <a:pt x="10514" y="317"/>
                    <a:pt x="10513" y="318"/>
                    <a:pt x="10512" y="318"/>
                  </a:cubicBezTo>
                  <a:cubicBezTo>
                    <a:pt x="10511" y="318"/>
                    <a:pt x="10510" y="317"/>
                    <a:pt x="10510" y="317"/>
                  </a:cubicBezTo>
                  <a:lnTo>
                    <a:pt x="10486" y="301"/>
                  </a:lnTo>
                  <a:lnTo>
                    <a:pt x="10390" y="326"/>
                  </a:lnTo>
                  <a:cubicBezTo>
                    <a:pt x="10388" y="326"/>
                    <a:pt x="10386" y="325"/>
                    <a:pt x="10385" y="324"/>
                  </a:cubicBezTo>
                  <a:lnTo>
                    <a:pt x="10364" y="290"/>
                  </a:lnTo>
                  <a:cubicBezTo>
                    <a:pt x="10363" y="289"/>
                    <a:pt x="10363" y="288"/>
                    <a:pt x="10364" y="286"/>
                  </a:cubicBezTo>
                  <a:cubicBezTo>
                    <a:pt x="10364" y="285"/>
                    <a:pt x="10365" y="284"/>
                    <a:pt x="10366" y="283"/>
                  </a:cubicBezTo>
                  <a:lnTo>
                    <a:pt x="10443" y="253"/>
                  </a:lnTo>
                  <a:lnTo>
                    <a:pt x="10389" y="213"/>
                  </a:lnTo>
                  <a:lnTo>
                    <a:pt x="10349" y="233"/>
                  </a:lnTo>
                  <a:lnTo>
                    <a:pt x="10347" y="233"/>
                  </a:lnTo>
                  <a:lnTo>
                    <a:pt x="10345" y="233"/>
                  </a:lnTo>
                  <a:lnTo>
                    <a:pt x="10212" y="187"/>
                  </a:lnTo>
                  <a:lnTo>
                    <a:pt x="10200" y="193"/>
                  </a:lnTo>
                  <a:lnTo>
                    <a:pt x="10203" y="224"/>
                  </a:lnTo>
                  <a:cubicBezTo>
                    <a:pt x="10204" y="226"/>
                    <a:pt x="10202" y="228"/>
                    <a:pt x="10200" y="229"/>
                  </a:cubicBezTo>
                  <a:lnTo>
                    <a:pt x="10175" y="236"/>
                  </a:lnTo>
                  <a:lnTo>
                    <a:pt x="10182" y="261"/>
                  </a:lnTo>
                  <a:cubicBezTo>
                    <a:pt x="10182" y="262"/>
                    <a:pt x="10182" y="263"/>
                    <a:pt x="10181" y="265"/>
                  </a:cubicBezTo>
                  <a:cubicBezTo>
                    <a:pt x="10181" y="266"/>
                    <a:pt x="10180" y="267"/>
                    <a:pt x="10178" y="267"/>
                  </a:cubicBezTo>
                  <a:lnTo>
                    <a:pt x="10156" y="271"/>
                  </a:lnTo>
                  <a:cubicBezTo>
                    <a:pt x="10155" y="271"/>
                    <a:pt x="10153" y="270"/>
                    <a:pt x="10152" y="269"/>
                  </a:cubicBezTo>
                  <a:lnTo>
                    <a:pt x="10133" y="242"/>
                  </a:lnTo>
                  <a:lnTo>
                    <a:pt x="10069" y="267"/>
                  </a:lnTo>
                  <a:lnTo>
                    <a:pt x="10067" y="267"/>
                  </a:lnTo>
                  <a:lnTo>
                    <a:pt x="10066" y="267"/>
                  </a:lnTo>
                  <a:lnTo>
                    <a:pt x="9980" y="234"/>
                  </a:lnTo>
                  <a:lnTo>
                    <a:pt x="9948" y="278"/>
                  </a:lnTo>
                  <a:cubicBezTo>
                    <a:pt x="9948" y="279"/>
                    <a:pt x="9946" y="279"/>
                    <a:pt x="9945" y="280"/>
                  </a:cubicBezTo>
                  <a:cubicBezTo>
                    <a:pt x="9943" y="280"/>
                    <a:pt x="9942" y="279"/>
                    <a:pt x="9941" y="278"/>
                  </a:cubicBezTo>
                  <a:lnTo>
                    <a:pt x="9896" y="237"/>
                  </a:lnTo>
                  <a:lnTo>
                    <a:pt x="9703" y="250"/>
                  </a:lnTo>
                  <a:lnTo>
                    <a:pt x="9629" y="292"/>
                  </a:lnTo>
                  <a:lnTo>
                    <a:pt x="9512" y="418"/>
                  </a:lnTo>
                  <a:lnTo>
                    <a:pt x="9474" y="493"/>
                  </a:lnTo>
                  <a:lnTo>
                    <a:pt x="9375" y="575"/>
                  </a:lnTo>
                  <a:lnTo>
                    <a:pt x="9249" y="743"/>
                  </a:lnTo>
                  <a:lnTo>
                    <a:pt x="9050" y="926"/>
                  </a:lnTo>
                  <a:lnTo>
                    <a:pt x="9047" y="945"/>
                  </a:lnTo>
                  <a:lnTo>
                    <a:pt x="9087" y="969"/>
                  </a:lnTo>
                  <a:lnTo>
                    <a:pt x="9169" y="964"/>
                  </a:lnTo>
                  <a:cubicBezTo>
                    <a:pt x="9170" y="964"/>
                    <a:pt x="9172" y="964"/>
                    <a:pt x="9173" y="965"/>
                  </a:cubicBezTo>
                  <a:cubicBezTo>
                    <a:pt x="9174" y="966"/>
                    <a:pt x="9174" y="967"/>
                    <a:pt x="9174" y="969"/>
                  </a:cubicBezTo>
                  <a:lnTo>
                    <a:pt x="9174" y="1082"/>
                  </a:lnTo>
                  <a:lnTo>
                    <a:pt x="9198" y="1064"/>
                  </a:lnTo>
                  <a:lnTo>
                    <a:pt x="9198" y="1028"/>
                  </a:lnTo>
                  <a:cubicBezTo>
                    <a:pt x="9198" y="1026"/>
                    <a:pt x="9199" y="1024"/>
                    <a:pt x="9201" y="1024"/>
                  </a:cubicBezTo>
                  <a:lnTo>
                    <a:pt x="9239" y="1007"/>
                  </a:lnTo>
                  <a:cubicBezTo>
                    <a:pt x="9240" y="1007"/>
                    <a:pt x="9241" y="1006"/>
                    <a:pt x="9241" y="1006"/>
                  </a:cubicBezTo>
                  <a:cubicBezTo>
                    <a:pt x="9243" y="1006"/>
                    <a:pt x="9244" y="1007"/>
                    <a:pt x="9245" y="1008"/>
                  </a:cubicBezTo>
                  <a:cubicBezTo>
                    <a:pt x="9246" y="1010"/>
                    <a:pt x="9246" y="1012"/>
                    <a:pt x="9245" y="1014"/>
                  </a:cubicBezTo>
                  <a:lnTo>
                    <a:pt x="9222" y="1041"/>
                  </a:lnTo>
                  <a:lnTo>
                    <a:pt x="9245" y="1072"/>
                  </a:lnTo>
                  <a:cubicBezTo>
                    <a:pt x="9246" y="1073"/>
                    <a:pt x="9246" y="1076"/>
                    <a:pt x="9245" y="1077"/>
                  </a:cubicBezTo>
                  <a:lnTo>
                    <a:pt x="9223" y="1109"/>
                  </a:lnTo>
                  <a:lnTo>
                    <a:pt x="9283" y="1095"/>
                  </a:lnTo>
                  <a:lnTo>
                    <a:pt x="9302" y="1079"/>
                  </a:lnTo>
                  <a:cubicBezTo>
                    <a:pt x="9303" y="1079"/>
                    <a:pt x="9304" y="1078"/>
                    <a:pt x="9305" y="1078"/>
                  </a:cubicBezTo>
                  <a:cubicBezTo>
                    <a:pt x="9306" y="1078"/>
                    <a:pt x="9306" y="1078"/>
                    <a:pt x="9307" y="1079"/>
                  </a:cubicBezTo>
                  <a:cubicBezTo>
                    <a:pt x="9309" y="1080"/>
                    <a:pt x="9310" y="1082"/>
                    <a:pt x="9309" y="1084"/>
                  </a:cubicBezTo>
                  <a:lnTo>
                    <a:pt x="9307" y="1105"/>
                  </a:lnTo>
                  <a:lnTo>
                    <a:pt x="9327" y="1080"/>
                  </a:lnTo>
                  <a:lnTo>
                    <a:pt x="9326" y="1011"/>
                  </a:lnTo>
                  <a:cubicBezTo>
                    <a:pt x="9326" y="1010"/>
                    <a:pt x="9326" y="1009"/>
                    <a:pt x="9327" y="1008"/>
                  </a:cubicBezTo>
                  <a:cubicBezTo>
                    <a:pt x="9328" y="1007"/>
                    <a:pt x="9329" y="1006"/>
                    <a:pt x="9330" y="1006"/>
                  </a:cubicBezTo>
                  <a:lnTo>
                    <a:pt x="9424" y="1011"/>
                  </a:lnTo>
                  <a:cubicBezTo>
                    <a:pt x="9425" y="1011"/>
                    <a:pt x="9427" y="1012"/>
                    <a:pt x="9427" y="1013"/>
                  </a:cubicBezTo>
                  <a:lnTo>
                    <a:pt x="9474" y="1089"/>
                  </a:lnTo>
                  <a:lnTo>
                    <a:pt x="9558" y="1151"/>
                  </a:lnTo>
                  <a:cubicBezTo>
                    <a:pt x="9559" y="1152"/>
                    <a:pt x="9560" y="1155"/>
                    <a:pt x="9559" y="1157"/>
                  </a:cubicBezTo>
                  <a:lnTo>
                    <a:pt x="9538" y="1208"/>
                  </a:lnTo>
                  <a:lnTo>
                    <a:pt x="9547" y="1247"/>
                  </a:lnTo>
                  <a:lnTo>
                    <a:pt x="9539" y="1276"/>
                  </a:lnTo>
                  <a:lnTo>
                    <a:pt x="9562" y="1304"/>
                  </a:lnTo>
                  <a:cubicBezTo>
                    <a:pt x="9564" y="1306"/>
                    <a:pt x="9564" y="1308"/>
                    <a:pt x="9563" y="1309"/>
                  </a:cubicBezTo>
                  <a:lnTo>
                    <a:pt x="9512" y="1411"/>
                  </a:lnTo>
                  <a:lnTo>
                    <a:pt x="9483" y="1503"/>
                  </a:lnTo>
                  <a:lnTo>
                    <a:pt x="9500" y="1590"/>
                  </a:lnTo>
                  <a:lnTo>
                    <a:pt x="9470" y="1790"/>
                  </a:lnTo>
                  <a:lnTo>
                    <a:pt x="9393" y="1877"/>
                  </a:lnTo>
                  <a:lnTo>
                    <a:pt x="9326" y="1982"/>
                  </a:lnTo>
                  <a:lnTo>
                    <a:pt x="9284" y="2075"/>
                  </a:lnTo>
                  <a:lnTo>
                    <a:pt x="9029" y="2397"/>
                  </a:lnTo>
                  <a:lnTo>
                    <a:pt x="8943" y="2466"/>
                  </a:lnTo>
                  <a:lnTo>
                    <a:pt x="8878" y="2484"/>
                  </a:lnTo>
                  <a:lnTo>
                    <a:pt x="8800" y="2467"/>
                  </a:lnTo>
                  <a:cubicBezTo>
                    <a:pt x="8797" y="2466"/>
                    <a:pt x="8796" y="2464"/>
                    <a:pt x="8796" y="2462"/>
                  </a:cubicBezTo>
                  <a:lnTo>
                    <a:pt x="8796" y="2421"/>
                  </a:lnTo>
                  <a:lnTo>
                    <a:pt x="8778" y="2436"/>
                  </a:lnTo>
                  <a:cubicBezTo>
                    <a:pt x="8777" y="2437"/>
                    <a:pt x="8776" y="2437"/>
                    <a:pt x="8775" y="2437"/>
                  </a:cubicBezTo>
                  <a:lnTo>
                    <a:pt x="8774" y="2437"/>
                  </a:lnTo>
                  <a:cubicBezTo>
                    <a:pt x="8773" y="2437"/>
                    <a:pt x="8771" y="2436"/>
                    <a:pt x="8771" y="2434"/>
                  </a:cubicBezTo>
                  <a:lnTo>
                    <a:pt x="8758" y="2405"/>
                  </a:lnTo>
                  <a:lnTo>
                    <a:pt x="8712" y="2490"/>
                  </a:lnTo>
                  <a:cubicBezTo>
                    <a:pt x="8711" y="2491"/>
                    <a:pt x="8709" y="2492"/>
                    <a:pt x="8707" y="2492"/>
                  </a:cubicBezTo>
                  <a:lnTo>
                    <a:pt x="8671" y="2492"/>
                  </a:lnTo>
                  <a:lnTo>
                    <a:pt x="8674" y="2508"/>
                  </a:lnTo>
                  <a:cubicBezTo>
                    <a:pt x="8674" y="2510"/>
                    <a:pt x="8673" y="2512"/>
                    <a:pt x="8671" y="2513"/>
                  </a:cubicBezTo>
                  <a:lnTo>
                    <a:pt x="8663" y="2517"/>
                  </a:lnTo>
                  <a:lnTo>
                    <a:pt x="8661" y="2517"/>
                  </a:lnTo>
                  <a:lnTo>
                    <a:pt x="8659" y="2517"/>
                  </a:lnTo>
                  <a:cubicBezTo>
                    <a:pt x="8658" y="2517"/>
                    <a:pt x="8657" y="2516"/>
                    <a:pt x="8656" y="2515"/>
                  </a:cubicBezTo>
                  <a:lnTo>
                    <a:pt x="8648" y="2493"/>
                  </a:lnTo>
                  <a:lnTo>
                    <a:pt x="8648" y="2466"/>
                  </a:lnTo>
                  <a:cubicBezTo>
                    <a:pt x="8648" y="2465"/>
                    <a:pt x="8648" y="2464"/>
                    <a:pt x="8649" y="2463"/>
                  </a:cubicBezTo>
                  <a:lnTo>
                    <a:pt x="8703" y="2401"/>
                  </a:lnTo>
                  <a:lnTo>
                    <a:pt x="8703" y="2310"/>
                  </a:lnTo>
                  <a:lnTo>
                    <a:pt x="8682" y="2252"/>
                  </a:lnTo>
                  <a:cubicBezTo>
                    <a:pt x="8681" y="2250"/>
                    <a:pt x="8682" y="2248"/>
                    <a:pt x="8683" y="2247"/>
                  </a:cubicBezTo>
                  <a:lnTo>
                    <a:pt x="8755" y="2179"/>
                  </a:lnTo>
                  <a:cubicBezTo>
                    <a:pt x="8756" y="2179"/>
                    <a:pt x="8757" y="2178"/>
                    <a:pt x="8758" y="2178"/>
                  </a:cubicBezTo>
                  <a:lnTo>
                    <a:pt x="8760" y="2178"/>
                  </a:lnTo>
                  <a:lnTo>
                    <a:pt x="8842" y="2207"/>
                  </a:lnTo>
                  <a:lnTo>
                    <a:pt x="8861" y="2192"/>
                  </a:lnTo>
                  <a:lnTo>
                    <a:pt x="8915" y="2079"/>
                  </a:lnTo>
                  <a:lnTo>
                    <a:pt x="8957" y="1936"/>
                  </a:lnTo>
                  <a:lnTo>
                    <a:pt x="8995" y="1898"/>
                  </a:lnTo>
                  <a:lnTo>
                    <a:pt x="8987" y="1815"/>
                  </a:lnTo>
                  <a:lnTo>
                    <a:pt x="8994" y="1799"/>
                  </a:lnTo>
                  <a:lnTo>
                    <a:pt x="8777" y="1891"/>
                  </a:lnTo>
                  <a:lnTo>
                    <a:pt x="8694" y="1887"/>
                  </a:lnTo>
                  <a:cubicBezTo>
                    <a:pt x="8693" y="1887"/>
                    <a:pt x="8691" y="1886"/>
                    <a:pt x="8691" y="1885"/>
                  </a:cubicBezTo>
                  <a:lnTo>
                    <a:pt x="8665" y="1843"/>
                  </a:lnTo>
                  <a:lnTo>
                    <a:pt x="8665" y="1789"/>
                  </a:lnTo>
                  <a:lnTo>
                    <a:pt x="8644" y="1733"/>
                  </a:lnTo>
                  <a:lnTo>
                    <a:pt x="8531" y="1671"/>
                  </a:lnTo>
                  <a:lnTo>
                    <a:pt x="8393" y="1646"/>
                  </a:lnTo>
                  <a:cubicBezTo>
                    <a:pt x="8391" y="1646"/>
                    <a:pt x="8390" y="1644"/>
                    <a:pt x="8389" y="1642"/>
                  </a:cubicBezTo>
                  <a:lnTo>
                    <a:pt x="8360" y="1481"/>
                  </a:lnTo>
                  <a:lnTo>
                    <a:pt x="8309" y="1368"/>
                  </a:lnTo>
                  <a:lnTo>
                    <a:pt x="8296" y="1291"/>
                  </a:lnTo>
                  <a:lnTo>
                    <a:pt x="8234" y="1206"/>
                  </a:lnTo>
                  <a:lnTo>
                    <a:pt x="8135" y="1185"/>
                  </a:lnTo>
                  <a:lnTo>
                    <a:pt x="8067" y="1139"/>
                  </a:lnTo>
                  <a:lnTo>
                    <a:pt x="7840" y="1172"/>
                  </a:lnTo>
                  <a:lnTo>
                    <a:pt x="7775" y="1247"/>
                  </a:lnTo>
                  <a:lnTo>
                    <a:pt x="7769" y="1264"/>
                  </a:lnTo>
                  <a:lnTo>
                    <a:pt x="7822" y="1264"/>
                  </a:lnTo>
                  <a:cubicBezTo>
                    <a:pt x="7824" y="1264"/>
                    <a:pt x="7826" y="1266"/>
                    <a:pt x="7827" y="1269"/>
                  </a:cubicBezTo>
                  <a:lnTo>
                    <a:pt x="7831" y="1332"/>
                  </a:lnTo>
                  <a:cubicBezTo>
                    <a:pt x="7831" y="1334"/>
                    <a:pt x="7830" y="1335"/>
                    <a:pt x="7829" y="1336"/>
                  </a:cubicBezTo>
                  <a:lnTo>
                    <a:pt x="7762" y="1395"/>
                  </a:lnTo>
                  <a:lnTo>
                    <a:pt x="7712" y="1537"/>
                  </a:lnTo>
                  <a:lnTo>
                    <a:pt x="7704" y="1583"/>
                  </a:lnTo>
                  <a:cubicBezTo>
                    <a:pt x="7704" y="1584"/>
                    <a:pt x="7703" y="1585"/>
                    <a:pt x="7702" y="1586"/>
                  </a:cubicBezTo>
                  <a:lnTo>
                    <a:pt x="7587" y="1654"/>
                  </a:lnTo>
                  <a:lnTo>
                    <a:pt x="7585" y="1654"/>
                  </a:lnTo>
                  <a:lnTo>
                    <a:pt x="7583" y="1654"/>
                  </a:lnTo>
                  <a:lnTo>
                    <a:pt x="7460" y="1603"/>
                  </a:lnTo>
                  <a:lnTo>
                    <a:pt x="7403" y="1612"/>
                  </a:lnTo>
                  <a:lnTo>
                    <a:pt x="7310" y="1571"/>
                  </a:lnTo>
                  <a:lnTo>
                    <a:pt x="7181" y="1654"/>
                  </a:lnTo>
                  <a:lnTo>
                    <a:pt x="7006" y="1705"/>
                  </a:lnTo>
                  <a:lnTo>
                    <a:pt x="6932" y="1693"/>
                  </a:lnTo>
                  <a:lnTo>
                    <a:pt x="6821" y="1671"/>
                  </a:lnTo>
                  <a:lnTo>
                    <a:pt x="6756" y="1620"/>
                  </a:lnTo>
                  <a:lnTo>
                    <a:pt x="6562" y="1523"/>
                  </a:lnTo>
                  <a:lnTo>
                    <a:pt x="6512" y="1510"/>
                  </a:lnTo>
                  <a:lnTo>
                    <a:pt x="6396" y="1565"/>
                  </a:lnTo>
                  <a:cubicBezTo>
                    <a:pt x="6396" y="1565"/>
                    <a:pt x="6395" y="1566"/>
                    <a:pt x="6394" y="1566"/>
                  </a:cubicBezTo>
                  <a:lnTo>
                    <a:pt x="6393" y="1565"/>
                  </a:lnTo>
                  <a:lnTo>
                    <a:pt x="6338" y="1549"/>
                  </a:lnTo>
                  <a:lnTo>
                    <a:pt x="6273" y="1501"/>
                  </a:lnTo>
                  <a:cubicBezTo>
                    <a:pt x="6272" y="1501"/>
                    <a:pt x="6271" y="1500"/>
                    <a:pt x="6271" y="1498"/>
                  </a:cubicBezTo>
                  <a:lnTo>
                    <a:pt x="6250" y="1399"/>
                  </a:lnTo>
                  <a:lnTo>
                    <a:pt x="6031" y="1312"/>
                  </a:lnTo>
                  <a:lnTo>
                    <a:pt x="5921" y="1406"/>
                  </a:lnTo>
                  <a:lnTo>
                    <a:pt x="5941" y="1501"/>
                  </a:lnTo>
                  <a:cubicBezTo>
                    <a:pt x="5942" y="1502"/>
                    <a:pt x="5941" y="1503"/>
                    <a:pt x="5941" y="1504"/>
                  </a:cubicBezTo>
                  <a:lnTo>
                    <a:pt x="5924" y="1534"/>
                  </a:lnTo>
                  <a:lnTo>
                    <a:pt x="5933" y="1582"/>
                  </a:lnTo>
                  <a:cubicBezTo>
                    <a:pt x="5933" y="1584"/>
                    <a:pt x="5932" y="1586"/>
                    <a:pt x="5930" y="1587"/>
                  </a:cubicBezTo>
                  <a:lnTo>
                    <a:pt x="5913" y="1595"/>
                  </a:lnTo>
                  <a:lnTo>
                    <a:pt x="5666" y="1596"/>
                  </a:lnTo>
                  <a:cubicBezTo>
                    <a:pt x="5664" y="1596"/>
                    <a:pt x="5663" y="1595"/>
                    <a:pt x="5662" y="1594"/>
                  </a:cubicBezTo>
                  <a:lnTo>
                    <a:pt x="5613" y="1540"/>
                  </a:lnTo>
                  <a:lnTo>
                    <a:pt x="5411" y="1519"/>
                  </a:lnTo>
                  <a:lnTo>
                    <a:pt x="5316" y="1553"/>
                  </a:lnTo>
                  <a:lnTo>
                    <a:pt x="5117" y="1671"/>
                  </a:lnTo>
                  <a:lnTo>
                    <a:pt x="5076" y="1729"/>
                  </a:lnTo>
                  <a:lnTo>
                    <a:pt x="5046" y="1751"/>
                  </a:lnTo>
                  <a:cubicBezTo>
                    <a:pt x="5045" y="1752"/>
                    <a:pt x="5044" y="1752"/>
                    <a:pt x="5043" y="1752"/>
                  </a:cubicBezTo>
                  <a:lnTo>
                    <a:pt x="5042" y="1752"/>
                  </a:lnTo>
                  <a:lnTo>
                    <a:pt x="5003" y="1739"/>
                  </a:lnTo>
                  <a:cubicBezTo>
                    <a:pt x="5002" y="1739"/>
                    <a:pt x="5001" y="1738"/>
                    <a:pt x="5000" y="1736"/>
                  </a:cubicBezTo>
                  <a:cubicBezTo>
                    <a:pt x="5000" y="1735"/>
                    <a:pt x="5000" y="1733"/>
                    <a:pt x="5001" y="1732"/>
                  </a:cubicBezTo>
                  <a:lnTo>
                    <a:pt x="5029" y="1696"/>
                  </a:lnTo>
                  <a:lnTo>
                    <a:pt x="4986" y="1631"/>
                  </a:lnTo>
                  <a:lnTo>
                    <a:pt x="4968" y="1638"/>
                  </a:lnTo>
                  <a:lnTo>
                    <a:pt x="4958" y="1657"/>
                  </a:lnTo>
                  <a:cubicBezTo>
                    <a:pt x="4957" y="1658"/>
                    <a:pt x="4956" y="1659"/>
                    <a:pt x="4954" y="1659"/>
                  </a:cubicBezTo>
                  <a:lnTo>
                    <a:pt x="4953" y="1659"/>
                  </a:lnTo>
                  <a:lnTo>
                    <a:pt x="4868" y="1638"/>
                  </a:lnTo>
                  <a:lnTo>
                    <a:pt x="4836" y="1598"/>
                  </a:lnTo>
                  <a:lnTo>
                    <a:pt x="4831" y="1577"/>
                  </a:lnTo>
                  <a:lnTo>
                    <a:pt x="4791" y="1561"/>
                  </a:lnTo>
                  <a:cubicBezTo>
                    <a:pt x="4790" y="1561"/>
                    <a:pt x="4789" y="1559"/>
                    <a:pt x="4788" y="1558"/>
                  </a:cubicBezTo>
                  <a:lnTo>
                    <a:pt x="4780" y="1509"/>
                  </a:lnTo>
                  <a:lnTo>
                    <a:pt x="4722" y="1468"/>
                  </a:lnTo>
                  <a:lnTo>
                    <a:pt x="4705" y="1461"/>
                  </a:lnTo>
                  <a:lnTo>
                    <a:pt x="4690" y="1476"/>
                  </a:lnTo>
                  <a:cubicBezTo>
                    <a:pt x="4689" y="1477"/>
                    <a:pt x="4688" y="1477"/>
                    <a:pt x="4687" y="1477"/>
                  </a:cubicBezTo>
                  <a:lnTo>
                    <a:pt x="4669" y="1477"/>
                  </a:lnTo>
                  <a:lnTo>
                    <a:pt x="4657" y="1496"/>
                  </a:lnTo>
                  <a:cubicBezTo>
                    <a:pt x="4657" y="1497"/>
                    <a:pt x="4655" y="1498"/>
                    <a:pt x="4653" y="1498"/>
                  </a:cubicBezTo>
                  <a:lnTo>
                    <a:pt x="4552" y="1498"/>
                  </a:lnTo>
                  <a:cubicBezTo>
                    <a:pt x="4550" y="1498"/>
                    <a:pt x="4548" y="1497"/>
                    <a:pt x="4548" y="1496"/>
                  </a:cubicBezTo>
                  <a:lnTo>
                    <a:pt x="4526" y="1462"/>
                  </a:lnTo>
                  <a:cubicBezTo>
                    <a:pt x="4526" y="1461"/>
                    <a:pt x="4525" y="1459"/>
                    <a:pt x="4526" y="1458"/>
                  </a:cubicBezTo>
                  <a:lnTo>
                    <a:pt x="4529" y="1449"/>
                  </a:lnTo>
                  <a:lnTo>
                    <a:pt x="4496" y="1427"/>
                  </a:lnTo>
                  <a:lnTo>
                    <a:pt x="4487" y="1430"/>
                  </a:lnTo>
                  <a:lnTo>
                    <a:pt x="4467" y="1470"/>
                  </a:lnTo>
                  <a:lnTo>
                    <a:pt x="4444" y="1489"/>
                  </a:lnTo>
                  <a:cubicBezTo>
                    <a:pt x="4444" y="1489"/>
                    <a:pt x="4442" y="1490"/>
                    <a:pt x="4441" y="1490"/>
                  </a:cubicBezTo>
                  <a:cubicBezTo>
                    <a:pt x="4439" y="1489"/>
                    <a:pt x="4438" y="1489"/>
                    <a:pt x="4437" y="1487"/>
                  </a:cubicBezTo>
                  <a:lnTo>
                    <a:pt x="4255" y="1153"/>
                  </a:lnTo>
                  <a:lnTo>
                    <a:pt x="4138" y="1053"/>
                  </a:lnTo>
                  <a:cubicBezTo>
                    <a:pt x="4137" y="1052"/>
                    <a:pt x="4136" y="1051"/>
                    <a:pt x="4136" y="1049"/>
                  </a:cubicBezTo>
                  <a:lnTo>
                    <a:pt x="4136" y="1028"/>
                  </a:lnTo>
                  <a:cubicBezTo>
                    <a:pt x="4136" y="1026"/>
                    <a:pt x="4137" y="1025"/>
                    <a:pt x="4138" y="1024"/>
                  </a:cubicBezTo>
                  <a:lnTo>
                    <a:pt x="4164" y="1009"/>
                  </a:lnTo>
                  <a:lnTo>
                    <a:pt x="4159" y="996"/>
                  </a:lnTo>
                  <a:lnTo>
                    <a:pt x="4100" y="1024"/>
                  </a:lnTo>
                  <a:lnTo>
                    <a:pt x="4067" y="1028"/>
                  </a:lnTo>
                  <a:lnTo>
                    <a:pt x="4030" y="1073"/>
                  </a:lnTo>
                  <a:lnTo>
                    <a:pt x="3976" y="1095"/>
                  </a:lnTo>
                  <a:lnTo>
                    <a:pt x="3976" y="1113"/>
                  </a:lnTo>
                  <a:cubicBezTo>
                    <a:pt x="3976" y="1114"/>
                    <a:pt x="3975" y="1116"/>
                    <a:pt x="3974" y="1117"/>
                  </a:cubicBezTo>
                  <a:lnTo>
                    <a:pt x="3971" y="1117"/>
                  </a:lnTo>
                  <a:lnTo>
                    <a:pt x="3970" y="1117"/>
                  </a:lnTo>
                  <a:lnTo>
                    <a:pt x="3925" y="1105"/>
                  </a:lnTo>
                  <a:lnTo>
                    <a:pt x="3884" y="1125"/>
                  </a:lnTo>
                  <a:cubicBezTo>
                    <a:pt x="3884" y="1126"/>
                    <a:pt x="3883" y="1126"/>
                    <a:pt x="3882" y="1126"/>
                  </a:cubicBezTo>
                  <a:lnTo>
                    <a:pt x="3881" y="1126"/>
                  </a:lnTo>
                  <a:cubicBezTo>
                    <a:pt x="3879" y="1125"/>
                    <a:pt x="3878" y="1124"/>
                    <a:pt x="3878" y="1123"/>
                  </a:cubicBezTo>
                  <a:lnTo>
                    <a:pt x="3869" y="1102"/>
                  </a:lnTo>
                  <a:lnTo>
                    <a:pt x="3869" y="1098"/>
                  </a:lnTo>
                  <a:lnTo>
                    <a:pt x="3882" y="1073"/>
                  </a:lnTo>
                  <a:lnTo>
                    <a:pt x="3885" y="1070"/>
                  </a:lnTo>
                  <a:lnTo>
                    <a:pt x="3902" y="1063"/>
                  </a:lnTo>
                  <a:lnTo>
                    <a:pt x="3900" y="1048"/>
                  </a:lnTo>
                  <a:lnTo>
                    <a:pt x="3876" y="1062"/>
                  </a:lnTo>
                  <a:lnTo>
                    <a:pt x="3874" y="1062"/>
                  </a:lnTo>
                  <a:lnTo>
                    <a:pt x="3872" y="1062"/>
                  </a:lnTo>
                  <a:lnTo>
                    <a:pt x="3819" y="1038"/>
                  </a:lnTo>
                  <a:lnTo>
                    <a:pt x="3816" y="1039"/>
                  </a:lnTo>
                  <a:lnTo>
                    <a:pt x="3823" y="1051"/>
                  </a:lnTo>
                  <a:cubicBezTo>
                    <a:pt x="3824" y="1053"/>
                    <a:pt x="3824" y="1055"/>
                    <a:pt x="3823" y="1056"/>
                  </a:cubicBezTo>
                  <a:cubicBezTo>
                    <a:pt x="3822" y="1057"/>
                    <a:pt x="3820" y="1058"/>
                    <a:pt x="3819" y="1058"/>
                  </a:cubicBezTo>
                  <a:lnTo>
                    <a:pt x="3797" y="1058"/>
                  </a:lnTo>
                  <a:cubicBezTo>
                    <a:pt x="3796" y="1058"/>
                    <a:pt x="3795" y="1057"/>
                    <a:pt x="3794" y="1056"/>
                  </a:cubicBezTo>
                  <a:cubicBezTo>
                    <a:pt x="3793" y="1055"/>
                    <a:pt x="3793" y="1054"/>
                    <a:pt x="3793" y="1053"/>
                  </a:cubicBezTo>
                  <a:lnTo>
                    <a:pt x="3797" y="1027"/>
                  </a:lnTo>
                  <a:lnTo>
                    <a:pt x="3782" y="1002"/>
                  </a:lnTo>
                  <a:lnTo>
                    <a:pt x="3776" y="1000"/>
                  </a:lnTo>
                  <a:lnTo>
                    <a:pt x="3772" y="1020"/>
                  </a:lnTo>
                  <a:cubicBezTo>
                    <a:pt x="3772" y="1022"/>
                    <a:pt x="3770" y="1024"/>
                    <a:pt x="3768" y="1024"/>
                  </a:cubicBezTo>
                  <a:lnTo>
                    <a:pt x="3696" y="1033"/>
                  </a:lnTo>
                  <a:cubicBezTo>
                    <a:pt x="3694" y="1033"/>
                    <a:pt x="3693" y="1032"/>
                    <a:pt x="3692" y="1030"/>
                  </a:cubicBezTo>
                  <a:lnTo>
                    <a:pt x="3679" y="1009"/>
                  </a:lnTo>
                  <a:cubicBezTo>
                    <a:pt x="3678" y="1008"/>
                    <a:pt x="3678" y="1006"/>
                    <a:pt x="3679" y="1004"/>
                  </a:cubicBezTo>
                  <a:lnTo>
                    <a:pt x="3696" y="983"/>
                  </a:lnTo>
                  <a:lnTo>
                    <a:pt x="3699" y="954"/>
                  </a:lnTo>
                  <a:lnTo>
                    <a:pt x="3680" y="939"/>
                  </a:lnTo>
                  <a:cubicBezTo>
                    <a:pt x="3679" y="938"/>
                    <a:pt x="3679" y="937"/>
                    <a:pt x="3678" y="936"/>
                  </a:cubicBezTo>
                  <a:lnTo>
                    <a:pt x="3670" y="879"/>
                  </a:lnTo>
                  <a:lnTo>
                    <a:pt x="3653" y="868"/>
                  </a:lnTo>
                  <a:lnTo>
                    <a:pt x="3613" y="884"/>
                  </a:lnTo>
                  <a:cubicBezTo>
                    <a:pt x="3612" y="885"/>
                    <a:pt x="3612" y="885"/>
                    <a:pt x="3611" y="885"/>
                  </a:cubicBezTo>
                  <a:cubicBezTo>
                    <a:pt x="3610" y="885"/>
                    <a:pt x="3609" y="884"/>
                    <a:pt x="3609" y="884"/>
                  </a:cubicBezTo>
                  <a:lnTo>
                    <a:pt x="3566" y="859"/>
                  </a:lnTo>
                  <a:lnTo>
                    <a:pt x="3515" y="851"/>
                  </a:lnTo>
                  <a:lnTo>
                    <a:pt x="3478" y="875"/>
                  </a:lnTo>
                  <a:lnTo>
                    <a:pt x="3458" y="880"/>
                  </a:lnTo>
                  <a:lnTo>
                    <a:pt x="3450" y="911"/>
                  </a:lnTo>
                  <a:cubicBezTo>
                    <a:pt x="3450" y="912"/>
                    <a:pt x="3449" y="914"/>
                    <a:pt x="3447" y="914"/>
                  </a:cubicBezTo>
                  <a:lnTo>
                    <a:pt x="3265" y="956"/>
                  </a:lnTo>
                  <a:lnTo>
                    <a:pt x="3204" y="969"/>
                  </a:lnTo>
                  <a:lnTo>
                    <a:pt x="3192" y="1000"/>
                  </a:lnTo>
                  <a:cubicBezTo>
                    <a:pt x="3191" y="1002"/>
                    <a:pt x="3189" y="1003"/>
                    <a:pt x="3187" y="1003"/>
                  </a:cubicBezTo>
                  <a:lnTo>
                    <a:pt x="3141" y="1003"/>
                  </a:lnTo>
                  <a:lnTo>
                    <a:pt x="3111" y="1015"/>
                  </a:lnTo>
                  <a:lnTo>
                    <a:pt x="3107" y="1025"/>
                  </a:lnTo>
                  <a:cubicBezTo>
                    <a:pt x="3107" y="1026"/>
                    <a:pt x="3106" y="1027"/>
                    <a:pt x="3105" y="1028"/>
                  </a:cubicBezTo>
                  <a:cubicBezTo>
                    <a:pt x="3104" y="1028"/>
                    <a:pt x="3103" y="1029"/>
                    <a:pt x="3103" y="1029"/>
                  </a:cubicBezTo>
                  <a:cubicBezTo>
                    <a:pt x="3102" y="1029"/>
                    <a:pt x="3102" y="1028"/>
                    <a:pt x="3101" y="1028"/>
                  </a:cubicBezTo>
                  <a:lnTo>
                    <a:pt x="3069" y="1016"/>
                  </a:lnTo>
                  <a:lnTo>
                    <a:pt x="3029" y="1045"/>
                  </a:lnTo>
                  <a:lnTo>
                    <a:pt x="2991" y="1045"/>
                  </a:lnTo>
                  <a:lnTo>
                    <a:pt x="2980" y="1064"/>
                  </a:lnTo>
                  <a:cubicBezTo>
                    <a:pt x="2979" y="1066"/>
                    <a:pt x="2977" y="1067"/>
                    <a:pt x="2976" y="1067"/>
                  </a:cubicBezTo>
                  <a:cubicBezTo>
                    <a:pt x="2974" y="1067"/>
                    <a:pt x="2972" y="1066"/>
                    <a:pt x="2972" y="1064"/>
                  </a:cubicBezTo>
                  <a:lnTo>
                    <a:pt x="2965" y="1054"/>
                  </a:lnTo>
                  <a:lnTo>
                    <a:pt x="2895" y="1058"/>
                  </a:lnTo>
                  <a:cubicBezTo>
                    <a:pt x="2894" y="1058"/>
                    <a:pt x="2892" y="1057"/>
                    <a:pt x="2891" y="1056"/>
                  </a:cubicBezTo>
                  <a:lnTo>
                    <a:pt x="2885" y="1046"/>
                  </a:lnTo>
                  <a:lnTo>
                    <a:pt x="2853" y="1056"/>
                  </a:lnTo>
                  <a:lnTo>
                    <a:pt x="2865" y="1067"/>
                  </a:lnTo>
                  <a:cubicBezTo>
                    <a:pt x="2866" y="1068"/>
                    <a:pt x="2866" y="1070"/>
                    <a:pt x="2866" y="1072"/>
                  </a:cubicBezTo>
                  <a:lnTo>
                    <a:pt x="2856" y="1099"/>
                  </a:lnTo>
                  <a:lnTo>
                    <a:pt x="2882" y="1095"/>
                  </a:lnTo>
                  <a:cubicBezTo>
                    <a:pt x="2884" y="1095"/>
                    <a:pt x="2885" y="1096"/>
                    <a:pt x="2886" y="1097"/>
                  </a:cubicBezTo>
                  <a:lnTo>
                    <a:pt x="2894" y="1105"/>
                  </a:lnTo>
                  <a:cubicBezTo>
                    <a:pt x="2895" y="1106"/>
                    <a:pt x="2896" y="1108"/>
                    <a:pt x="2895" y="1109"/>
                  </a:cubicBezTo>
                  <a:cubicBezTo>
                    <a:pt x="2895" y="1111"/>
                    <a:pt x="2894" y="1112"/>
                    <a:pt x="2893" y="1113"/>
                  </a:cubicBezTo>
                  <a:lnTo>
                    <a:pt x="2866" y="1124"/>
                  </a:lnTo>
                  <a:lnTo>
                    <a:pt x="2870" y="1142"/>
                  </a:lnTo>
                  <a:lnTo>
                    <a:pt x="2917" y="1146"/>
                  </a:lnTo>
                  <a:lnTo>
                    <a:pt x="2949" y="1172"/>
                  </a:lnTo>
                  <a:cubicBezTo>
                    <a:pt x="2950" y="1173"/>
                    <a:pt x="2951" y="1175"/>
                    <a:pt x="2951" y="1176"/>
                  </a:cubicBezTo>
                  <a:cubicBezTo>
                    <a:pt x="2951" y="1178"/>
                    <a:pt x="2950" y="1179"/>
                    <a:pt x="2949" y="1180"/>
                  </a:cubicBezTo>
                  <a:lnTo>
                    <a:pt x="2932" y="1193"/>
                  </a:lnTo>
                  <a:lnTo>
                    <a:pt x="2855" y="1193"/>
                  </a:lnTo>
                  <a:lnTo>
                    <a:pt x="2825" y="1223"/>
                  </a:lnTo>
                  <a:lnTo>
                    <a:pt x="2852" y="1258"/>
                  </a:lnTo>
                  <a:cubicBezTo>
                    <a:pt x="2853" y="1259"/>
                    <a:pt x="2853" y="1261"/>
                    <a:pt x="2853" y="1262"/>
                  </a:cubicBezTo>
                  <a:lnTo>
                    <a:pt x="2844" y="1288"/>
                  </a:lnTo>
                  <a:cubicBezTo>
                    <a:pt x="2844" y="1289"/>
                    <a:pt x="2843" y="1290"/>
                    <a:pt x="2842" y="1290"/>
                  </a:cubicBezTo>
                  <a:lnTo>
                    <a:pt x="2768" y="1331"/>
                  </a:lnTo>
                  <a:lnTo>
                    <a:pt x="2768" y="1333"/>
                  </a:lnTo>
                  <a:lnTo>
                    <a:pt x="2791" y="1341"/>
                  </a:lnTo>
                  <a:cubicBezTo>
                    <a:pt x="2792" y="1341"/>
                    <a:pt x="2793" y="1343"/>
                    <a:pt x="2794" y="1344"/>
                  </a:cubicBezTo>
                  <a:lnTo>
                    <a:pt x="2797" y="1362"/>
                  </a:lnTo>
                  <a:lnTo>
                    <a:pt x="2833" y="1370"/>
                  </a:lnTo>
                  <a:cubicBezTo>
                    <a:pt x="2834" y="1371"/>
                    <a:pt x="2835" y="1371"/>
                    <a:pt x="2836" y="1372"/>
                  </a:cubicBezTo>
                  <a:lnTo>
                    <a:pt x="2847" y="1392"/>
                  </a:lnTo>
                  <a:lnTo>
                    <a:pt x="2905" y="1408"/>
                  </a:lnTo>
                  <a:lnTo>
                    <a:pt x="2908" y="1411"/>
                  </a:lnTo>
                  <a:lnTo>
                    <a:pt x="2908" y="1415"/>
                  </a:lnTo>
                  <a:lnTo>
                    <a:pt x="2883" y="1486"/>
                  </a:lnTo>
                  <a:cubicBezTo>
                    <a:pt x="2882" y="1488"/>
                    <a:pt x="2881" y="1489"/>
                    <a:pt x="2879" y="1489"/>
                  </a:cubicBezTo>
                  <a:lnTo>
                    <a:pt x="2812" y="1506"/>
                  </a:lnTo>
                  <a:cubicBezTo>
                    <a:pt x="2811" y="1506"/>
                    <a:pt x="2811" y="1507"/>
                    <a:pt x="2810" y="1507"/>
                  </a:cubicBezTo>
                  <a:cubicBezTo>
                    <a:pt x="2810" y="1507"/>
                    <a:pt x="2809" y="1506"/>
                    <a:pt x="2808" y="1506"/>
                  </a:cubicBezTo>
                  <a:lnTo>
                    <a:pt x="2770" y="1483"/>
                  </a:lnTo>
                  <a:lnTo>
                    <a:pt x="2747" y="1521"/>
                  </a:lnTo>
                  <a:cubicBezTo>
                    <a:pt x="2746" y="1523"/>
                    <a:pt x="2744" y="1523"/>
                    <a:pt x="2743" y="1523"/>
                  </a:cubicBezTo>
                  <a:lnTo>
                    <a:pt x="2717" y="1523"/>
                  </a:lnTo>
                  <a:cubicBezTo>
                    <a:pt x="2715" y="1523"/>
                    <a:pt x="2714" y="1522"/>
                    <a:pt x="2713" y="1521"/>
                  </a:cubicBezTo>
                  <a:lnTo>
                    <a:pt x="2706" y="1507"/>
                  </a:lnTo>
                  <a:lnTo>
                    <a:pt x="2662" y="1507"/>
                  </a:lnTo>
                  <a:cubicBezTo>
                    <a:pt x="2660" y="1507"/>
                    <a:pt x="2659" y="1505"/>
                    <a:pt x="2658" y="1504"/>
                  </a:cubicBezTo>
                  <a:lnTo>
                    <a:pt x="2633" y="1451"/>
                  </a:lnTo>
                  <a:lnTo>
                    <a:pt x="2615" y="1447"/>
                  </a:lnTo>
                  <a:lnTo>
                    <a:pt x="2582" y="1451"/>
                  </a:lnTo>
                  <a:lnTo>
                    <a:pt x="2555" y="1476"/>
                  </a:lnTo>
                  <a:cubicBezTo>
                    <a:pt x="2554" y="1476"/>
                    <a:pt x="2553" y="1477"/>
                    <a:pt x="2552" y="1477"/>
                  </a:cubicBezTo>
                  <a:cubicBezTo>
                    <a:pt x="2551" y="1477"/>
                    <a:pt x="2550" y="1476"/>
                    <a:pt x="2549" y="1476"/>
                  </a:cubicBezTo>
                  <a:lnTo>
                    <a:pt x="2521" y="1452"/>
                  </a:lnTo>
                  <a:lnTo>
                    <a:pt x="2493" y="1455"/>
                  </a:lnTo>
                  <a:lnTo>
                    <a:pt x="2493" y="1464"/>
                  </a:lnTo>
                  <a:cubicBezTo>
                    <a:pt x="2493" y="1465"/>
                    <a:pt x="2493" y="1466"/>
                    <a:pt x="2492" y="1467"/>
                  </a:cubicBezTo>
                  <a:cubicBezTo>
                    <a:pt x="2491" y="1468"/>
                    <a:pt x="2490" y="1468"/>
                    <a:pt x="2488" y="1468"/>
                  </a:cubicBezTo>
                  <a:lnTo>
                    <a:pt x="2464" y="1464"/>
                  </a:lnTo>
                  <a:lnTo>
                    <a:pt x="2407" y="1514"/>
                  </a:lnTo>
                  <a:cubicBezTo>
                    <a:pt x="2406" y="1515"/>
                    <a:pt x="2405" y="1515"/>
                    <a:pt x="2404" y="1515"/>
                  </a:cubicBezTo>
                  <a:cubicBezTo>
                    <a:pt x="2403" y="1515"/>
                    <a:pt x="2402" y="1515"/>
                    <a:pt x="2402" y="1514"/>
                  </a:cubicBezTo>
                  <a:lnTo>
                    <a:pt x="2355" y="1493"/>
                  </a:lnTo>
                  <a:lnTo>
                    <a:pt x="2330" y="1456"/>
                  </a:lnTo>
                  <a:lnTo>
                    <a:pt x="2324" y="1459"/>
                  </a:lnTo>
                  <a:lnTo>
                    <a:pt x="2324" y="1510"/>
                  </a:lnTo>
                  <a:cubicBezTo>
                    <a:pt x="2324" y="1512"/>
                    <a:pt x="2323" y="1514"/>
                    <a:pt x="2320" y="1515"/>
                  </a:cubicBezTo>
                  <a:lnTo>
                    <a:pt x="2308" y="1519"/>
                  </a:lnTo>
                  <a:lnTo>
                    <a:pt x="2306" y="1519"/>
                  </a:lnTo>
                  <a:cubicBezTo>
                    <a:pt x="2306" y="1519"/>
                    <a:pt x="2305" y="1519"/>
                    <a:pt x="2304" y="1518"/>
                  </a:cubicBezTo>
                  <a:cubicBezTo>
                    <a:pt x="2303" y="1518"/>
                    <a:pt x="2302" y="1517"/>
                    <a:pt x="2302" y="1515"/>
                  </a:cubicBezTo>
                  <a:lnTo>
                    <a:pt x="2293" y="1477"/>
                  </a:lnTo>
                  <a:lnTo>
                    <a:pt x="2219" y="1392"/>
                  </a:lnTo>
                  <a:lnTo>
                    <a:pt x="2141" y="1392"/>
                  </a:lnTo>
                  <a:cubicBezTo>
                    <a:pt x="2139" y="1392"/>
                    <a:pt x="2138" y="1391"/>
                    <a:pt x="2137" y="1390"/>
                  </a:cubicBezTo>
                  <a:lnTo>
                    <a:pt x="2121" y="1358"/>
                  </a:lnTo>
                  <a:lnTo>
                    <a:pt x="2111" y="1358"/>
                  </a:lnTo>
                  <a:lnTo>
                    <a:pt x="2089" y="1362"/>
                  </a:lnTo>
                  <a:lnTo>
                    <a:pt x="2073" y="1394"/>
                  </a:lnTo>
                  <a:cubicBezTo>
                    <a:pt x="2073" y="1395"/>
                    <a:pt x="2071" y="1396"/>
                    <a:pt x="2070" y="1396"/>
                  </a:cubicBezTo>
                  <a:lnTo>
                    <a:pt x="2069" y="1396"/>
                  </a:lnTo>
                  <a:cubicBezTo>
                    <a:pt x="2068" y="1396"/>
                    <a:pt x="2067" y="1396"/>
                    <a:pt x="2066" y="1395"/>
                  </a:cubicBezTo>
                  <a:lnTo>
                    <a:pt x="2059" y="1388"/>
                  </a:lnTo>
                  <a:lnTo>
                    <a:pt x="2039" y="1392"/>
                  </a:lnTo>
                  <a:cubicBezTo>
                    <a:pt x="2037" y="1392"/>
                    <a:pt x="2036" y="1391"/>
                    <a:pt x="2035" y="1389"/>
                  </a:cubicBezTo>
                  <a:lnTo>
                    <a:pt x="2028" y="1367"/>
                  </a:lnTo>
                  <a:lnTo>
                    <a:pt x="1983" y="1375"/>
                  </a:lnTo>
                  <a:lnTo>
                    <a:pt x="1950" y="1420"/>
                  </a:lnTo>
                  <a:lnTo>
                    <a:pt x="1882" y="1446"/>
                  </a:lnTo>
                  <a:lnTo>
                    <a:pt x="1875" y="1477"/>
                  </a:lnTo>
                  <a:cubicBezTo>
                    <a:pt x="1874" y="1479"/>
                    <a:pt x="1873" y="1480"/>
                    <a:pt x="1872" y="1480"/>
                  </a:cubicBezTo>
                  <a:lnTo>
                    <a:pt x="1830" y="1506"/>
                  </a:lnTo>
                  <a:lnTo>
                    <a:pt x="1812" y="1509"/>
                  </a:lnTo>
                  <a:lnTo>
                    <a:pt x="1836" y="1585"/>
                  </a:lnTo>
                  <a:cubicBezTo>
                    <a:pt x="1837" y="1587"/>
                    <a:pt x="1836" y="1589"/>
                    <a:pt x="1835" y="1590"/>
                  </a:cubicBezTo>
                  <a:lnTo>
                    <a:pt x="1797" y="1620"/>
                  </a:lnTo>
                  <a:cubicBezTo>
                    <a:pt x="1796" y="1620"/>
                    <a:pt x="1795" y="1621"/>
                    <a:pt x="1794" y="1621"/>
                  </a:cubicBezTo>
                  <a:cubicBezTo>
                    <a:pt x="1792" y="1621"/>
                    <a:pt x="1791" y="1620"/>
                    <a:pt x="1790" y="1619"/>
                  </a:cubicBezTo>
                  <a:lnTo>
                    <a:pt x="1720" y="1529"/>
                  </a:lnTo>
                  <a:lnTo>
                    <a:pt x="1709" y="1579"/>
                  </a:lnTo>
                  <a:cubicBezTo>
                    <a:pt x="1709" y="1580"/>
                    <a:pt x="1708" y="1581"/>
                    <a:pt x="1707" y="1582"/>
                  </a:cubicBezTo>
                  <a:lnTo>
                    <a:pt x="1679" y="1602"/>
                  </a:lnTo>
                  <a:lnTo>
                    <a:pt x="1667" y="1670"/>
                  </a:lnTo>
                  <a:lnTo>
                    <a:pt x="1687" y="1693"/>
                  </a:lnTo>
                  <a:cubicBezTo>
                    <a:pt x="1689" y="1695"/>
                    <a:pt x="1689" y="1698"/>
                    <a:pt x="1687" y="1700"/>
                  </a:cubicBezTo>
                  <a:lnTo>
                    <a:pt x="1657" y="1725"/>
                  </a:lnTo>
                  <a:lnTo>
                    <a:pt x="1642" y="1782"/>
                  </a:lnTo>
                  <a:lnTo>
                    <a:pt x="1681" y="1798"/>
                  </a:lnTo>
                  <a:cubicBezTo>
                    <a:pt x="1682" y="1798"/>
                    <a:pt x="1684" y="1800"/>
                    <a:pt x="1684" y="1801"/>
                  </a:cubicBezTo>
                  <a:lnTo>
                    <a:pt x="1697" y="1856"/>
                  </a:lnTo>
                  <a:lnTo>
                    <a:pt x="1704" y="1863"/>
                  </a:lnTo>
                  <a:lnTo>
                    <a:pt x="1704" y="1861"/>
                  </a:lnTo>
                  <a:cubicBezTo>
                    <a:pt x="1704" y="1860"/>
                    <a:pt x="1705" y="1859"/>
                    <a:pt x="1706" y="1858"/>
                  </a:cubicBezTo>
                  <a:cubicBezTo>
                    <a:pt x="1707" y="1857"/>
                    <a:pt x="1708" y="1857"/>
                    <a:pt x="1709" y="1857"/>
                  </a:cubicBezTo>
                  <a:lnTo>
                    <a:pt x="1777" y="1865"/>
                  </a:lnTo>
                  <a:cubicBezTo>
                    <a:pt x="1779" y="1865"/>
                    <a:pt x="1780" y="1866"/>
                    <a:pt x="1780" y="1867"/>
                  </a:cubicBezTo>
                  <a:lnTo>
                    <a:pt x="1810" y="1905"/>
                  </a:lnTo>
                  <a:lnTo>
                    <a:pt x="1845" y="1991"/>
                  </a:lnTo>
                  <a:cubicBezTo>
                    <a:pt x="1845" y="1992"/>
                    <a:pt x="1845" y="1994"/>
                    <a:pt x="1844" y="1995"/>
                  </a:cubicBezTo>
                  <a:cubicBezTo>
                    <a:pt x="1843" y="1996"/>
                    <a:pt x="1842" y="1997"/>
                    <a:pt x="1840" y="1997"/>
                  </a:cubicBezTo>
                  <a:lnTo>
                    <a:pt x="1798" y="1997"/>
                  </a:lnTo>
                  <a:lnTo>
                    <a:pt x="1795" y="2011"/>
                  </a:lnTo>
                  <a:lnTo>
                    <a:pt x="1804" y="2013"/>
                  </a:lnTo>
                  <a:lnTo>
                    <a:pt x="1843" y="2039"/>
                  </a:lnTo>
                  <a:cubicBezTo>
                    <a:pt x="1844" y="2040"/>
                    <a:pt x="1845" y="2042"/>
                    <a:pt x="1845" y="2044"/>
                  </a:cubicBezTo>
                  <a:cubicBezTo>
                    <a:pt x="1845" y="2046"/>
                    <a:pt x="1843" y="2047"/>
                    <a:pt x="1842" y="2048"/>
                  </a:cubicBezTo>
                  <a:lnTo>
                    <a:pt x="1804" y="2060"/>
                  </a:lnTo>
                  <a:lnTo>
                    <a:pt x="1768" y="2110"/>
                  </a:lnTo>
                  <a:cubicBezTo>
                    <a:pt x="1767" y="2111"/>
                    <a:pt x="1766" y="2111"/>
                    <a:pt x="1764" y="2111"/>
                  </a:cubicBezTo>
                  <a:lnTo>
                    <a:pt x="1763" y="2111"/>
                  </a:lnTo>
                  <a:cubicBezTo>
                    <a:pt x="1762" y="2111"/>
                    <a:pt x="1760" y="2110"/>
                    <a:pt x="1760" y="2109"/>
                  </a:cubicBezTo>
                  <a:lnTo>
                    <a:pt x="1736" y="2056"/>
                  </a:lnTo>
                  <a:lnTo>
                    <a:pt x="1718" y="2054"/>
                  </a:lnTo>
                  <a:lnTo>
                    <a:pt x="1726" y="2066"/>
                  </a:lnTo>
                  <a:lnTo>
                    <a:pt x="1718" y="2124"/>
                  </a:lnTo>
                  <a:cubicBezTo>
                    <a:pt x="1718" y="2126"/>
                    <a:pt x="1716" y="2127"/>
                    <a:pt x="1715" y="2128"/>
                  </a:cubicBezTo>
                  <a:lnTo>
                    <a:pt x="1713" y="2128"/>
                  </a:lnTo>
                  <a:lnTo>
                    <a:pt x="1711" y="2128"/>
                  </a:lnTo>
                  <a:lnTo>
                    <a:pt x="1704" y="2123"/>
                  </a:lnTo>
                  <a:lnTo>
                    <a:pt x="1697" y="2171"/>
                  </a:lnTo>
                  <a:lnTo>
                    <a:pt x="1643" y="2254"/>
                  </a:lnTo>
                  <a:lnTo>
                    <a:pt x="1683" y="2298"/>
                  </a:lnTo>
                  <a:lnTo>
                    <a:pt x="1708" y="2352"/>
                  </a:lnTo>
                  <a:lnTo>
                    <a:pt x="1713" y="2334"/>
                  </a:lnTo>
                  <a:cubicBezTo>
                    <a:pt x="1714" y="2332"/>
                    <a:pt x="1715" y="2330"/>
                    <a:pt x="1717" y="2330"/>
                  </a:cubicBezTo>
                  <a:lnTo>
                    <a:pt x="1718" y="2330"/>
                  </a:lnTo>
                  <a:cubicBezTo>
                    <a:pt x="1721" y="2331"/>
                    <a:pt x="1722" y="2333"/>
                    <a:pt x="1722" y="2335"/>
                  </a:cubicBezTo>
                  <a:lnTo>
                    <a:pt x="1718" y="2429"/>
                  </a:lnTo>
                  <a:lnTo>
                    <a:pt x="1781" y="2553"/>
                  </a:lnTo>
                  <a:lnTo>
                    <a:pt x="1793" y="2565"/>
                  </a:lnTo>
                  <a:cubicBezTo>
                    <a:pt x="1795" y="2566"/>
                    <a:pt x="1795" y="2569"/>
                    <a:pt x="1793" y="2571"/>
                  </a:cubicBezTo>
                  <a:lnTo>
                    <a:pt x="1751" y="2630"/>
                  </a:lnTo>
                  <a:cubicBezTo>
                    <a:pt x="1750" y="2631"/>
                    <a:pt x="1749" y="2632"/>
                    <a:pt x="1747" y="2632"/>
                  </a:cubicBezTo>
                  <a:lnTo>
                    <a:pt x="1696" y="2628"/>
                  </a:lnTo>
                  <a:cubicBezTo>
                    <a:pt x="1694" y="2628"/>
                    <a:pt x="1692" y="2626"/>
                    <a:pt x="1692" y="2625"/>
                  </a:cubicBezTo>
                  <a:lnTo>
                    <a:pt x="1679" y="2591"/>
                  </a:lnTo>
                  <a:lnTo>
                    <a:pt x="1622" y="2555"/>
                  </a:lnTo>
                  <a:lnTo>
                    <a:pt x="1563" y="2521"/>
                  </a:lnTo>
                  <a:cubicBezTo>
                    <a:pt x="1561" y="2521"/>
                    <a:pt x="1560" y="2519"/>
                    <a:pt x="1560" y="2517"/>
                  </a:cubicBezTo>
                  <a:lnTo>
                    <a:pt x="1560" y="2486"/>
                  </a:lnTo>
                  <a:lnTo>
                    <a:pt x="1520" y="2467"/>
                  </a:lnTo>
                  <a:lnTo>
                    <a:pt x="1479" y="2458"/>
                  </a:lnTo>
                  <a:lnTo>
                    <a:pt x="1423" y="2479"/>
                  </a:lnTo>
                  <a:cubicBezTo>
                    <a:pt x="1422" y="2480"/>
                    <a:pt x="1421" y="2480"/>
                    <a:pt x="1421" y="2480"/>
                  </a:cubicBezTo>
                  <a:cubicBezTo>
                    <a:pt x="1420" y="2480"/>
                    <a:pt x="1419" y="2479"/>
                    <a:pt x="1418" y="2479"/>
                  </a:cubicBezTo>
                  <a:lnTo>
                    <a:pt x="1329" y="2411"/>
                  </a:lnTo>
                  <a:lnTo>
                    <a:pt x="1234" y="2408"/>
                  </a:lnTo>
                  <a:lnTo>
                    <a:pt x="1140" y="2374"/>
                  </a:lnTo>
                  <a:lnTo>
                    <a:pt x="1069" y="2382"/>
                  </a:lnTo>
                  <a:cubicBezTo>
                    <a:pt x="1068" y="2382"/>
                    <a:pt x="1067" y="2382"/>
                    <a:pt x="1066" y="2381"/>
                  </a:cubicBezTo>
                  <a:lnTo>
                    <a:pt x="977" y="2301"/>
                  </a:lnTo>
                  <a:lnTo>
                    <a:pt x="886" y="2243"/>
                  </a:lnTo>
                  <a:lnTo>
                    <a:pt x="866" y="2247"/>
                  </a:lnTo>
                  <a:cubicBezTo>
                    <a:pt x="865" y="2247"/>
                    <a:pt x="863" y="2246"/>
                    <a:pt x="862" y="2246"/>
                  </a:cubicBezTo>
                  <a:lnTo>
                    <a:pt x="803" y="2182"/>
                  </a:lnTo>
                  <a:cubicBezTo>
                    <a:pt x="802" y="2180"/>
                    <a:pt x="801" y="2178"/>
                    <a:pt x="803" y="2176"/>
                  </a:cubicBezTo>
                  <a:lnTo>
                    <a:pt x="820" y="2155"/>
                  </a:lnTo>
                  <a:cubicBezTo>
                    <a:pt x="821" y="2154"/>
                    <a:pt x="822" y="2153"/>
                    <a:pt x="824" y="2153"/>
                  </a:cubicBezTo>
                  <a:lnTo>
                    <a:pt x="867" y="2153"/>
                  </a:lnTo>
                  <a:lnTo>
                    <a:pt x="908" y="2083"/>
                  </a:lnTo>
                  <a:cubicBezTo>
                    <a:pt x="909" y="2082"/>
                    <a:pt x="910" y="2082"/>
                    <a:pt x="911" y="2081"/>
                  </a:cubicBezTo>
                  <a:lnTo>
                    <a:pt x="949" y="2071"/>
                  </a:lnTo>
                  <a:lnTo>
                    <a:pt x="893" y="2026"/>
                  </a:lnTo>
                  <a:cubicBezTo>
                    <a:pt x="891" y="2025"/>
                    <a:pt x="890" y="2022"/>
                    <a:pt x="891" y="2020"/>
                  </a:cubicBezTo>
                  <a:lnTo>
                    <a:pt x="900" y="2003"/>
                  </a:lnTo>
                  <a:cubicBezTo>
                    <a:pt x="901" y="2002"/>
                    <a:pt x="902" y="2001"/>
                    <a:pt x="904" y="2001"/>
                  </a:cubicBezTo>
                  <a:lnTo>
                    <a:pt x="953" y="1997"/>
                  </a:lnTo>
                  <a:lnTo>
                    <a:pt x="950" y="1985"/>
                  </a:lnTo>
                  <a:cubicBezTo>
                    <a:pt x="950" y="1983"/>
                    <a:pt x="951" y="1980"/>
                    <a:pt x="953" y="1980"/>
                  </a:cubicBezTo>
                  <a:lnTo>
                    <a:pt x="1023" y="1957"/>
                  </a:lnTo>
                  <a:lnTo>
                    <a:pt x="1012" y="1943"/>
                  </a:lnTo>
                  <a:lnTo>
                    <a:pt x="948" y="1959"/>
                  </a:lnTo>
                  <a:lnTo>
                    <a:pt x="947" y="1959"/>
                  </a:lnTo>
                  <a:cubicBezTo>
                    <a:pt x="946" y="1959"/>
                    <a:pt x="945" y="1959"/>
                    <a:pt x="944" y="1958"/>
                  </a:cubicBezTo>
                  <a:cubicBezTo>
                    <a:pt x="942" y="1958"/>
                    <a:pt x="942" y="1956"/>
                    <a:pt x="942" y="1955"/>
                  </a:cubicBezTo>
                  <a:lnTo>
                    <a:pt x="937" y="1909"/>
                  </a:lnTo>
                  <a:lnTo>
                    <a:pt x="951" y="1885"/>
                  </a:lnTo>
                  <a:lnTo>
                    <a:pt x="974" y="1874"/>
                  </a:lnTo>
                  <a:lnTo>
                    <a:pt x="998" y="1846"/>
                  </a:lnTo>
                  <a:cubicBezTo>
                    <a:pt x="999" y="1845"/>
                    <a:pt x="1000" y="1844"/>
                    <a:pt x="1002" y="1844"/>
                  </a:cubicBezTo>
                  <a:cubicBezTo>
                    <a:pt x="1002" y="1844"/>
                    <a:pt x="1003" y="1844"/>
                    <a:pt x="1004" y="1845"/>
                  </a:cubicBezTo>
                  <a:lnTo>
                    <a:pt x="1025" y="1858"/>
                  </a:lnTo>
                  <a:lnTo>
                    <a:pt x="1066" y="1857"/>
                  </a:lnTo>
                  <a:lnTo>
                    <a:pt x="1080" y="1801"/>
                  </a:lnTo>
                  <a:lnTo>
                    <a:pt x="1072" y="1798"/>
                  </a:lnTo>
                  <a:cubicBezTo>
                    <a:pt x="1070" y="1798"/>
                    <a:pt x="1069" y="1796"/>
                    <a:pt x="1069" y="1794"/>
                  </a:cubicBezTo>
                  <a:lnTo>
                    <a:pt x="1065" y="1748"/>
                  </a:lnTo>
                  <a:cubicBezTo>
                    <a:pt x="1064" y="1746"/>
                    <a:pt x="1065" y="1744"/>
                    <a:pt x="1067" y="1743"/>
                  </a:cubicBezTo>
                  <a:lnTo>
                    <a:pt x="1090" y="1730"/>
                  </a:lnTo>
                  <a:lnTo>
                    <a:pt x="1066" y="1713"/>
                  </a:lnTo>
                  <a:cubicBezTo>
                    <a:pt x="1065" y="1712"/>
                    <a:pt x="1064" y="1710"/>
                    <a:pt x="1065" y="1709"/>
                  </a:cubicBezTo>
                  <a:cubicBezTo>
                    <a:pt x="1065" y="1707"/>
                    <a:pt x="1066" y="1705"/>
                    <a:pt x="1068" y="1705"/>
                  </a:cubicBezTo>
                  <a:lnTo>
                    <a:pt x="1092" y="1697"/>
                  </a:lnTo>
                  <a:lnTo>
                    <a:pt x="1102" y="1679"/>
                  </a:lnTo>
                  <a:lnTo>
                    <a:pt x="1090" y="1648"/>
                  </a:lnTo>
                  <a:cubicBezTo>
                    <a:pt x="1090" y="1646"/>
                    <a:pt x="1090" y="1644"/>
                    <a:pt x="1091" y="1642"/>
                  </a:cubicBezTo>
                  <a:lnTo>
                    <a:pt x="1095" y="1639"/>
                  </a:lnTo>
                  <a:lnTo>
                    <a:pt x="1016" y="1604"/>
                  </a:lnTo>
                  <a:lnTo>
                    <a:pt x="993" y="1608"/>
                  </a:lnTo>
                  <a:cubicBezTo>
                    <a:pt x="992" y="1608"/>
                    <a:pt x="991" y="1608"/>
                    <a:pt x="990" y="1607"/>
                  </a:cubicBezTo>
                  <a:lnTo>
                    <a:pt x="954" y="1583"/>
                  </a:lnTo>
                  <a:lnTo>
                    <a:pt x="926" y="1591"/>
                  </a:lnTo>
                  <a:lnTo>
                    <a:pt x="925" y="1591"/>
                  </a:lnTo>
                  <a:cubicBezTo>
                    <a:pt x="924" y="1591"/>
                    <a:pt x="922" y="1591"/>
                    <a:pt x="922" y="1590"/>
                  </a:cubicBezTo>
                  <a:lnTo>
                    <a:pt x="869" y="1529"/>
                  </a:lnTo>
                  <a:lnTo>
                    <a:pt x="812" y="1549"/>
                  </a:lnTo>
                  <a:lnTo>
                    <a:pt x="790" y="1549"/>
                  </a:lnTo>
                  <a:cubicBezTo>
                    <a:pt x="788" y="1549"/>
                    <a:pt x="787" y="1548"/>
                    <a:pt x="786" y="1548"/>
                  </a:cubicBezTo>
                  <a:lnTo>
                    <a:pt x="771" y="1532"/>
                  </a:lnTo>
                  <a:lnTo>
                    <a:pt x="726" y="1532"/>
                  </a:lnTo>
                  <a:cubicBezTo>
                    <a:pt x="725" y="1532"/>
                    <a:pt x="723" y="1531"/>
                    <a:pt x="722" y="1530"/>
                  </a:cubicBezTo>
                  <a:lnTo>
                    <a:pt x="705" y="1509"/>
                  </a:lnTo>
                  <a:lnTo>
                    <a:pt x="700" y="1452"/>
                  </a:lnTo>
                  <a:lnTo>
                    <a:pt x="682" y="1427"/>
                  </a:lnTo>
                  <a:lnTo>
                    <a:pt x="659" y="1430"/>
                  </a:lnTo>
                  <a:lnTo>
                    <a:pt x="614" y="1413"/>
                  </a:lnTo>
                  <a:cubicBezTo>
                    <a:pt x="613" y="1413"/>
                    <a:pt x="612" y="1412"/>
                    <a:pt x="611" y="1410"/>
                  </a:cubicBezTo>
                  <a:lnTo>
                    <a:pt x="599" y="1364"/>
                  </a:lnTo>
                  <a:cubicBezTo>
                    <a:pt x="598" y="1361"/>
                    <a:pt x="599" y="1359"/>
                    <a:pt x="602" y="1358"/>
                  </a:cubicBezTo>
                  <a:lnTo>
                    <a:pt x="620" y="1351"/>
                  </a:lnTo>
                  <a:lnTo>
                    <a:pt x="620" y="1341"/>
                  </a:lnTo>
                  <a:lnTo>
                    <a:pt x="571" y="1278"/>
                  </a:lnTo>
                  <a:lnTo>
                    <a:pt x="466" y="1282"/>
                  </a:lnTo>
                  <a:lnTo>
                    <a:pt x="433" y="1319"/>
                  </a:lnTo>
                  <a:cubicBezTo>
                    <a:pt x="432" y="1320"/>
                    <a:pt x="431" y="1321"/>
                    <a:pt x="429" y="1321"/>
                  </a:cubicBezTo>
                  <a:cubicBezTo>
                    <a:pt x="429" y="1321"/>
                    <a:pt x="428" y="1320"/>
                    <a:pt x="427" y="1320"/>
                  </a:cubicBezTo>
                  <a:lnTo>
                    <a:pt x="406" y="1307"/>
                  </a:lnTo>
                  <a:cubicBezTo>
                    <a:pt x="405" y="1306"/>
                    <a:pt x="404" y="1305"/>
                    <a:pt x="404" y="1304"/>
                  </a:cubicBezTo>
                  <a:lnTo>
                    <a:pt x="378" y="1194"/>
                  </a:lnTo>
                  <a:lnTo>
                    <a:pt x="362" y="1170"/>
                  </a:lnTo>
                  <a:cubicBezTo>
                    <a:pt x="361" y="1168"/>
                    <a:pt x="361" y="1166"/>
                    <a:pt x="363" y="1164"/>
                  </a:cubicBezTo>
                  <a:lnTo>
                    <a:pt x="384" y="1143"/>
                  </a:lnTo>
                  <a:cubicBezTo>
                    <a:pt x="385" y="1142"/>
                    <a:pt x="386" y="1142"/>
                    <a:pt x="387" y="1142"/>
                  </a:cubicBezTo>
                  <a:lnTo>
                    <a:pt x="388" y="1142"/>
                  </a:lnTo>
                  <a:lnTo>
                    <a:pt x="441" y="1158"/>
                  </a:lnTo>
                  <a:lnTo>
                    <a:pt x="484" y="1123"/>
                  </a:lnTo>
                  <a:lnTo>
                    <a:pt x="484" y="1108"/>
                  </a:lnTo>
                  <a:lnTo>
                    <a:pt x="475" y="1105"/>
                  </a:lnTo>
                  <a:cubicBezTo>
                    <a:pt x="473" y="1104"/>
                    <a:pt x="472" y="1103"/>
                    <a:pt x="471" y="1101"/>
                  </a:cubicBezTo>
                  <a:lnTo>
                    <a:pt x="468" y="1082"/>
                  </a:lnTo>
                  <a:lnTo>
                    <a:pt x="449" y="1075"/>
                  </a:lnTo>
                  <a:lnTo>
                    <a:pt x="413" y="1079"/>
                  </a:lnTo>
                  <a:cubicBezTo>
                    <a:pt x="410" y="1079"/>
                    <a:pt x="408" y="1078"/>
                    <a:pt x="408" y="1075"/>
                  </a:cubicBezTo>
                  <a:lnTo>
                    <a:pt x="404" y="1043"/>
                  </a:lnTo>
                  <a:lnTo>
                    <a:pt x="376" y="1019"/>
                  </a:lnTo>
                  <a:lnTo>
                    <a:pt x="328" y="933"/>
                  </a:lnTo>
                  <a:cubicBezTo>
                    <a:pt x="327" y="932"/>
                    <a:pt x="327" y="931"/>
                    <a:pt x="327" y="930"/>
                  </a:cubicBezTo>
                  <a:lnTo>
                    <a:pt x="340" y="881"/>
                  </a:lnTo>
                  <a:lnTo>
                    <a:pt x="328" y="857"/>
                  </a:lnTo>
                  <a:lnTo>
                    <a:pt x="331" y="819"/>
                  </a:lnTo>
                  <a:lnTo>
                    <a:pt x="276" y="784"/>
                  </a:lnTo>
                  <a:lnTo>
                    <a:pt x="211" y="804"/>
                  </a:lnTo>
                  <a:lnTo>
                    <a:pt x="209" y="804"/>
                  </a:lnTo>
                  <a:cubicBezTo>
                    <a:pt x="208" y="804"/>
                    <a:pt x="207" y="804"/>
                    <a:pt x="206" y="803"/>
                  </a:cubicBezTo>
                  <a:cubicBezTo>
                    <a:pt x="205" y="802"/>
                    <a:pt x="204" y="801"/>
                    <a:pt x="205" y="799"/>
                  </a:cubicBezTo>
                  <a:lnTo>
                    <a:pt x="208" y="772"/>
                  </a:lnTo>
                  <a:lnTo>
                    <a:pt x="194" y="761"/>
                  </a:lnTo>
                  <a:lnTo>
                    <a:pt x="115" y="749"/>
                  </a:lnTo>
                  <a:cubicBezTo>
                    <a:pt x="114" y="749"/>
                    <a:pt x="112" y="748"/>
                    <a:pt x="112" y="747"/>
                  </a:cubicBezTo>
                  <a:lnTo>
                    <a:pt x="108" y="738"/>
                  </a:lnTo>
                  <a:lnTo>
                    <a:pt x="103" y="673"/>
                  </a:lnTo>
                  <a:lnTo>
                    <a:pt x="82" y="633"/>
                  </a:lnTo>
                  <a:lnTo>
                    <a:pt x="63" y="622"/>
                  </a:lnTo>
                  <a:cubicBezTo>
                    <a:pt x="61" y="621"/>
                    <a:pt x="60" y="619"/>
                    <a:pt x="60" y="617"/>
                  </a:cubicBezTo>
                  <a:lnTo>
                    <a:pt x="69" y="560"/>
                  </a:lnTo>
                  <a:lnTo>
                    <a:pt x="40" y="523"/>
                  </a:lnTo>
                  <a:lnTo>
                    <a:pt x="35" y="509"/>
                  </a:lnTo>
                  <a:cubicBezTo>
                    <a:pt x="34" y="508"/>
                    <a:pt x="35" y="506"/>
                    <a:pt x="36" y="505"/>
                  </a:cubicBezTo>
                  <a:lnTo>
                    <a:pt x="64" y="473"/>
                  </a:lnTo>
                  <a:lnTo>
                    <a:pt x="60" y="449"/>
                  </a:lnTo>
                  <a:lnTo>
                    <a:pt x="45" y="435"/>
                  </a:lnTo>
                  <a:lnTo>
                    <a:pt x="36" y="402"/>
                  </a:lnTo>
                  <a:lnTo>
                    <a:pt x="25" y="398"/>
                  </a:lnTo>
                  <a:cubicBezTo>
                    <a:pt x="24" y="398"/>
                    <a:pt x="23" y="396"/>
                    <a:pt x="22" y="395"/>
                  </a:cubicBezTo>
                  <a:lnTo>
                    <a:pt x="1" y="310"/>
                  </a:lnTo>
                  <a:cubicBezTo>
                    <a:pt x="0" y="308"/>
                    <a:pt x="2" y="305"/>
                    <a:pt x="4" y="305"/>
                  </a:cubicBezTo>
                  <a:lnTo>
                    <a:pt x="70" y="284"/>
                  </a:lnTo>
                  <a:lnTo>
                    <a:pt x="103" y="230"/>
                  </a:lnTo>
                  <a:lnTo>
                    <a:pt x="98" y="187"/>
                  </a:lnTo>
                  <a:cubicBezTo>
                    <a:pt x="98" y="185"/>
                    <a:pt x="99" y="184"/>
                    <a:pt x="100" y="183"/>
                  </a:cubicBezTo>
                  <a:lnTo>
                    <a:pt x="168" y="132"/>
                  </a:lnTo>
                  <a:lnTo>
                    <a:pt x="257" y="135"/>
                  </a:lnTo>
                  <a:lnTo>
                    <a:pt x="227" y="105"/>
                  </a:lnTo>
                  <a:lnTo>
                    <a:pt x="123" y="81"/>
                  </a:lnTo>
                  <a:cubicBezTo>
                    <a:pt x="122" y="80"/>
                    <a:pt x="120" y="79"/>
                    <a:pt x="120" y="78"/>
                  </a:cubicBezTo>
                  <a:lnTo>
                    <a:pt x="107" y="40"/>
                  </a:lnTo>
                  <a:cubicBezTo>
                    <a:pt x="106" y="38"/>
                    <a:pt x="107" y="35"/>
                    <a:pt x="109" y="34"/>
                  </a:cubicBezTo>
                  <a:cubicBezTo>
                    <a:pt x="110" y="34"/>
                    <a:pt x="111" y="33"/>
                    <a:pt x="112" y="33"/>
                  </a:cubicBezTo>
                  <a:cubicBezTo>
                    <a:pt x="113" y="33"/>
                    <a:pt x="114" y="34"/>
                    <a:pt x="115" y="35"/>
                  </a:cubicBezTo>
                  <a:lnTo>
                    <a:pt x="124" y="44"/>
                  </a:lnTo>
                  <a:lnTo>
                    <a:pt x="124" y="14"/>
                  </a:lnTo>
                  <a:lnTo>
                    <a:pt x="49" y="30"/>
                  </a:lnTo>
                  <a:lnTo>
                    <a:pt x="48" y="30"/>
                  </a:lnTo>
                  <a:cubicBezTo>
                    <a:pt x="46" y="30"/>
                    <a:pt x="45" y="29"/>
                    <a:pt x="44" y="28"/>
                  </a:cubicBezTo>
                  <a:cubicBezTo>
                    <a:pt x="43" y="26"/>
                    <a:pt x="43" y="24"/>
                    <a:pt x="45" y="22"/>
                  </a:cubicBezTo>
                  <a:lnTo>
                    <a:pt x="69" y="0"/>
                  </a:lnTo>
                  <a:lnTo>
                    <a:pt x="10727"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9" name="Freeform 754"/>
            <p:cNvSpPr>
              <a:spLocks noChangeArrowheads="1"/>
            </p:cNvSpPr>
            <p:nvPr/>
          </p:nvSpPr>
          <p:spPr bwMode="auto">
            <a:xfrm>
              <a:off x="2190750" y="3375025"/>
              <a:ext cx="30163" cy="30163"/>
            </a:xfrm>
            <a:custGeom>
              <a:avLst/>
              <a:gdLst/>
              <a:ahLst/>
              <a:cxnLst>
                <a:cxn ang="0">
                  <a:pos x="17" y="0"/>
                </a:cxn>
                <a:cxn ang="0">
                  <a:pos x="67" y="38"/>
                </a:cxn>
                <a:cxn ang="0">
                  <a:pos x="84" y="81"/>
                </a:cxn>
                <a:cxn ang="0">
                  <a:pos x="17" y="64"/>
                </a:cxn>
                <a:cxn ang="0">
                  <a:pos x="0" y="0"/>
                </a:cxn>
                <a:cxn ang="0">
                  <a:pos x="17" y="0"/>
                </a:cxn>
              </a:cxnLst>
              <a:rect l="0" t="0" r="r" b="b"/>
              <a:pathLst>
                <a:path w="85" h="82">
                  <a:moveTo>
                    <a:pt x="17" y="0"/>
                  </a:moveTo>
                  <a:lnTo>
                    <a:pt x="67" y="38"/>
                  </a:lnTo>
                  <a:lnTo>
                    <a:pt x="84" y="81"/>
                  </a:lnTo>
                  <a:lnTo>
                    <a:pt x="17" y="64"/>
                  </a:lnTo>
                  <a:lnTo>
                    <a:pt x="0" y="0"/>
                  </a:lnTo>
                  <a:lnTo>
                    <a:pt x="17" y="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0" name="Freeform 755"/>
            <p:cNvSpPr>
              <a:spLocks noChangeArrowheads="1"/>
            </p:cNvSpPr>
            <p:nvPr/>
          </p:nvSpPr>
          <p:spPr bwMode="auto">
            <a:xfrm>
              <a:off x="2190750" y="3375025"/>
              <a:ext cx="30163" cy="30163"/>
            </a:xfrm>
            <a:custGeom>
              <a:avLst/>
              <a:gdLst/>
              <a:ahLst/>
              <a:cxnLst>
                <a:cxn ang="0">
                  <a:pos x="17" y="0"/>
                </a:cxn>
                <a:cxn ang="0">
                  <a:pos x="67" y="38"/>
                </a:cxn>
                <a:cxn ang="0">
                  <a:pos x="84" y="81"/>
                </a:cxn>
                <a:cxn ang="0">
                  <a:pos x="17" y="64"/>
                </a:cxn>
                <a:cxn ang="0">
                  <a:pos x="0" y="0"/>
                </a:cxn>
                <a:cxn ang="0">
                  <a:pos x="17" y="0"/>
                </a:cxn>
              </a:cxnLst>
              <a:rect l="0" t="0" r="r" b="b"/>
              <a:pathLst>
                <a:path w="85" h="82">
                  <a:moveTo>
                    <a:pt x="17" y="0"/>
                  </a:moveTo>
                  <a:lnTo>
                    <a:pt x="67" y="38"/>
                  </a:lnTo>
                  <a:lnTo>
                    <a:pt x="84" y="81"/>
                  </a:lnTo>
                  <a:lnTo>
                    <a:pt x="17" y="64"/>
                  </a:lnTo>
                  <a:lnTo>
                    <a:pt x="0" y="0"/>
                  </a:lnTo>
                  <a:lnTo>
                    <a:pt x="17"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1" name="Freeform 756"/>
            <p:cNvSpPr>
              <a:spLocks noChangeArrowheads="1"/>
            </p:cNvSpPr>
            <p:nvPr/>
          </p:nvSpPr>
          <p:spPr bwMode="auto">
            <a:xfrm>
              <a:off x="2190750" y="3375025"/>
              <a:ext cx="30163" cy="30163"/>
            </a:xfrm>
            <a:custGeom>
              <a:avLst/>
              <a:gdLst/>
              <a:ahLst/>
              <a:cxnLst>
                <a:cxn ang="0">
                  <a:pos x="67" y="38"/>
                </a:cxn>
                <a:cxn ang="0">
                  <a:pos x="84" y="81"/>
                </a:cxn>
                <a:cxn ang="0">
                  <a:pos x="17" y="64"/>
                </a:cxn>
                <a:cxn ang="0">
                  <a:pos x="0" y="0"/>
                </a:cxn>
                <a:cxn ang="0">
                  <a:pos x="17" y="0"/>
                </a:cxn>
                <a:cxn ang="0">
                  <a:pos x="67" y="38"/>
                </a:cxn>
              </a:cxnLst>
              <a:rect l="0" t="0" r="r" b="b"/>
              <a:pathLst>
                <a:path w="85" h="82">
                  <a:moveTo>
                    <a:pt x="67" y="38"/>
                  </a:moveTo>
                  <a:lnTo>
                    <a:pt x="84" y="81"/>
                  </a:lnTo>
                  <a:lnTo>
                    <a:pt x="17" y="64"/>
                  </a:lnTo>
                  <a:lnTo>
                    <a:pt x="0" y="0"/>
                  </a:lnTo>
                  <a:lnTo>
                    <a:pt x="17" y="0"/>
                  </a:lnTo>
                  <a:lnTo>
                    <a:pt x="67" y="38"/>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2" name="Freeform 757"/>
            <p:cNvSpPr>
              <a:spLocks noChangeArrowheads="1"/>
            </p:cNvSpPr>
            <p:nvPr/>
          </p:nvSpPr>
          <p:spPr bwMode="auto">
            <a:xfrm>
              <a:off x="2190750" y="3375025"/>
              <a:ext cx="30163" cy="30163"/>
            </a:xfrm>
            <a:custGeom>
              <a:avLst/>
              <a:gdLst/>
              <a:ahLst/>
              <a:cxnLst>
                <a:cxn ang="0">
                  <a:pos x="17" y="0"/>
                </a:cxn>
                <a:cxn ang="0">
                  <a:pos x="67" y="38"/>
                </a:cxn>
                <a:cxn ang="0">
                  <a:pos x="84" y="81"/>
                </a:cxn>
                <a:cxn ang="0">
                  <a:pos x="17" y="64"/>
                </a:cxn>
                <a:cxn ang="0">
                  <a:pos x="0" y="0"/>
                </a:cxn>
                <a:cxn ang="0">
                  <a:pos x="17" y="0"/>
                </a:cxn>
              </a:cxnLst>
              <a:rect l="0" t="0" r="r" b="b"/>
              <a:pathLst>
                <a:path w="85" h="82">
                  <a:moveTo>
                    <a:pt x="17" y="0"/>
                  </a:moveTo>
                  <a:lnTo>
                    <a:pt x="67" y="38"/>
                  </a:lnTo>
                  <a:lnTo>
                    <a:pt x="84" y="81"/>
                  </a:lnTo>
                  <a:lnTo>
                    <a:pt x="17" y="64"/>
                  </a:lnTo>
                  <a:lnTo>
                    <a:pt x="0" y="0"/>
                  </a:lnTo>
                  <a:lnTo>
                    <a:pt x="17" y="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3" name="Freeform 758"/>
            <p:cNvSpPr>
              <a:spLocks noChangeArrowheads="1"/>
            </p:cNvSpPr>
            <p:nvPr/>
          </p:nvSpPr>
          <p:spPr bwMode="auto">
            <a:xfrm>
              <a:off x="4600575" y="1951038"/>
              <a:ext cx="211138" cy="115887"/>
            </a:xfrm>
            <a:custGeom>
              <a:avLst/>
              <a:gdLst/>
              <a:ahLst/>
              <a:cxnLst>
                <a:cxn ang="0">
                  <a:pos x="394" y="304"/>
                </a:cxn>
                <a:cxn ang="0">
                  <a:pos x="259" y="274"/>
                </a:cxn>
                <a:cxn ang="0">
                  <a:pos x="216" y="321"/>
                </a:cxn>
                <a:cxn ang="0">
                  <a:pos x="153" y="308"/>
                </a:cxn>
                <a:cxn ang="0">
                  <a:pos x="47" y="211"/>
                </a:cxn>
                <a:cxn ang="0">
                  <a:pos x="0" y="105"/>
                </a:cxn>
                <a:cxn ang="0">
                  <a:pos x="26" y="126"/>
                </a:cxn>
                <a:cxn ang="0">
                  <a:pos x="178" y="33"/>
                </a:cxn>
                <a:cxn ang="0">
                  <a:pos x="183" y="0"/>
                </a:cxn>
                <a:cxn ang="0">
                  <a:pos x="225" y="38"/>
                </a:cxn>
                <a:cxn ang="0">
                  <a:pos x="263" y="16"/>
                </a:cxn>
                <a:cxn ang="0">
                  <a:pos x="327" y="50"/>
                </a:cxn>
                <a:cxn ang="0">
                  <a:pos x="394" y="122"/>
                </a:cxn>
                <a:cxn ang="0">
                  <a:pos x="411" y="97"/>
                </a:cxn>
                <a:cxn ang="0">
                  <a:pos x="475" y="110"/>
                </a:cxn>
                <a:cxn ang="0">
                  <a:pos x="479" y="139"/>
                </a:cxn>
                <a:cxn ang="0">
                  <a:pos x="543" y="194"/>
                </a:cxn>
                <a:cxn ang="0">
                  <a:pos x="585" y="219"/>
                </a:cxn>
                <a:cxn ang="0">
                  <a:pos x="543" y="245"/>
                </a:cxn>
                <a:cxn ang="0">
                  <a:pos x="524" y="292"/>
                </a:cxn>
                <a:cxn ang="0">
                  <a:pos x="394" y="304"/>
                </a:cxn>
              </a:cxnLst>
              <a:rect l="0" t="0" r="r" b="b"/>
              <a:pathLst>
                <a:path w="586" h="322">
                  <a:moveTo>
                    <a:pt x="394" y="304"/>
                  </a:moveTo>
                  <a:lnTo>
                    <a:pt x="259" y="274"/>
                  </a:lnTo>
                  <a:lnTo>
                    <a:pt x="216" y="321"/>
                  </a:lnTo>
                  <a:lnTo>
                    <a:pt x="153" y="308"/>
                  </a:lnTo>
                  <a:lnTo>
                    <a:pt x="47" y="211"/>
                  </a:lnTo>
                  <a:lnTo>
                    <a:pt x="0" y="105"/>
                  </a:lnTo>
                  <a:lnTo>
                    <a:pt x="26" y="126"/>
                  </a:lnTo>
                  <a:lnTo>
                    <a:pt x="178" y="33"/>
                  </a:lnTo>
                  <a:lnTo>
                    <a:pt x="183" y="0"/>
                  </a:lnTo>
                  <a:lnTo>
                    <a:pt x="225" y="38"/>
                  </a:lnTo>
                  <a:lnTo>
                    <a:pt x="263" y="16"/>
                  </a:lnTo>
                  <a:lnTo>
                    <a:pt x="327" y="50"/>
                  </a:lnTo>
                  <a:lnTo>
                    <a:pt x="394" y="122"/>
                  </a:lnTo>
                  <a:lnTo>
                    <a:pt x="411" y="97"/>
                  </a:lnTo>
                  <a:lnTo>
                    <a:pt x="475" y="110"/>
                  </a:lnTo>
                  <a:lnTo>
                    <a:pt x="479" y="139"/>
                  </a:lnTo>
                  <a:lnTo>
                    <a:pt x="543" y="194"/>
                  </a:lnTo>
                  <a:lnTo>
                    <a:pt x="585" y="219"/>
                  </a:lnTo>
                  <a:lnTo>
                    <a:pt x="543" y="245"/>
                  </a:lnTo>
                  <a:lnTo>
                    <a:pt x="524" y="292"/>
                  </a:lnTo>
                  <a:lnTo>
                    <a:pt x="394" y="30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4" name="Freeform 759"/>
            <p:cNvSpPr>
              <a:spLocks noChangeArrowheads="1"/>
            </p:cNvSpPr>
            <p:nvPr/>
          </p:nvSpPr>
          <p:spPr bwMode="auto">
            <a:xfrm>
              <a:off x="4600575" y="1951038"/>
              <a:ext cx="211138" cy="115887"/>
            </a:xfrm>
            <a:custGeom>
              <a:avLst/>
              <a:gdLst/>
              <a:ahLst/>
              <a:cxnLst>
                <a:cxn ang="0">
                  <a:pos x="394" y="304"/>
                </a:cxn>
                <a:cxn ang="0">
                  <a:pos x="259" y="274"/>
                </a:cxn>
                <a:cxn ang="0">
                  <a:pos x="216" y="321"/>
                </a:cxn>
                <a:cxn ang="0">
                  <a:pos x="153" y="308"/>
                </a:cxn>
                <a:cxn ang="0">
                  <a:pos x="47" y="211"/>
                </a:cxn>
                <a:cxn ang="0">
                  <a:pos x="0" y="105"/>
                </a:cxn>
                <a:cxn ang="0">
                  <a:pos x="26" y="126"/>
                </a:cxn>
                <a:cxn ang="0">
                  <a:pos x="178" y="33"/>
                </a:cxn>
                <a:cxn ang="0">
                  <a:pos x="183" y="0"/>
                </a:cxn>
                <a:cxn ang="0">
                  <a:pos x="225" y="38"/>
                </a:cxn>
                <a:cxn ang="0">
                  <a:pos x="263" y="16"/>
                </a:cxn>
                <a:cxn ang="0">
                  <a:pos x="327" y="50"/>
                </a:cxn>
                <a:cxn ang="0">
                  <a:pos x="394" y="122"/>
                </a:cxn>
                <a:cxn ang="0">
                  <a:pos x="411" y="97"/>
                </a:cxn>
                <a:cxn ang="0">
                  <a:pos x="475" y="110"/>
                </a:cxn>
                <a:cxn ang="0">
                  <a:pos x="479" y="139"/>
                </a:cxn>
                <a:cxn ang="0">
                  <a:pos x="543" y="194"/>
                </a:cxn>
                <a:cxn ang="0">
                  <a:pos x="585" y="219"/>
                </a:cxn>
                <a:cxn ang="0">
                  <a:pos x="543" y="245"/>
                </a:cxn>
                <a:cxn ang="0">
                  <a:pos x="524" y="292"/>
                </a:cxn>
                <a:cxn ang="0">
                  <a:pos x="394" y="304"/>
                </a:cxn>
              </a:cxnLst>
              <a:rect l="0" t="0" r="r" b="b"/>
              <a:pathLst>
                <a:path w="586" h="322">
                  <a:moveTo>
                    <a:pt x="394" y="304"/>
                  </a:moveTo>
                  <a:lnTo>
                    <a:pt x="259" y="274"/>
                  </a:lnTo>
                  <a:lnTo>
                    <a:pt x="216" y="321"/>
                  </a:lnTo>
                  <a:lnTo>
                    <a:pt x="153" y="308"/>
                  </a:lnTo>
                  <a:lnTo>
                    <a:pt x="47" y="211"/>
                  </a:lnTo>
                  <a:lnTo>
                    <a:pt x="0" y="105"/>
                  </a:lnTo>
                  <a:lnTo>
                    <a:pt x="26" y="126"/>
                  </a:lnTo>
                  <a:lnTo>
                    <a:pt x="178" y="33"/>
                  </a:lnTo>
                  <a:lnTo>
                    <a:pt x="183" y="0"/>
                  </a:lnTo>
                  <a:lnTo>
                    <a:pt x="225" y="38"/>
                  </a:lnTo>
                  <a:lnTo>
                    <a:pt x="263" y="16"/>
                  </a:lnTo>
                  <a:lnTo>
                    <a:pt x="327" y="50"/>
                  </a:lnTo>
                  <a:lnTo>
                    <a:pt x="394" y="122"/>
                  </a:lnTo>
                  <a:lnTo>
                    <a:pt x="411" y="97"/>
                  </a:lnTo>
                  <a:lnTo>
                    <a:pt x="475" y="110"/>
                  </a:lnTo>
                  <a:lnTo>
                    <a:pt x="479" y="139"/>
                  </a:lnTo>
                  <a:lnTo>
                    <a:pt x="543" y="194"/>
                  </a:lnTo>
                  <a:lnTo>
                    <a:pt x="585" y="219"/>
                  </a:lnTo>
                  <a:lnTo>
                    <a:pt x="543" y="245"/>
                  </a:lnTo>
                  <a:lnTo>
                    <a:pt x="524" y="292"/>
                  </a:lnTo>
                  <a:lnTo>
                    <a:pt x="394" y="30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5" name="Freeform 760"/>
            <p:cNvSpPr>
              <a:spLocks noChangeArrowheads="1"/>
            </p:cNvSpPr>
            <p:nvPr/>
          </p:nvSpPr>
          <p:spPr bwMode="auto">
            <a:xfrm>
              <a:off x="4600575" y="1951038"/>
              <a:ext cx="211138" cy="115887"/>
            </a:xfrm>
            <a:custGeom>
              <a:avLst/>
              <a:gdLst/>
              <a:ahLst/>
              <a:cxnLst>
                <a:cxn ang="0">
                  <a:pos x="394" y="304"/>
                </a:cxn>
                <a:cxn ang="0">
                  <a:pos x="259" y="274"/>
                </a:cxn>
                <a:cxn ang="0">
                  <a:pos x="216" y="321"/>
                </a:cxn>
                <a:cxn ang="0">
                  <a:pos x="153" y="308"/>
                </a:cxn>
                <a:cxn ang="0">
                  <a:pos x="47" y="211"/>
                </a:cxn>
                <a:cxn ang="0">
                  <a:pos x="0" y="105"/>
                </a:cxn>
                <a:cxn ang="0">
                  <a:pos x="26" y="126"/>
                </a:cxn>
                <a:cxn ang="0">
                  <a:pos x="178" y="33"/>
                </a:cxn>
                <a:cxn ang="0">
                  <a:pos x="183" y="0"/>
                </a:cxn>
                <a:cxn ang="0">
                  <a:pos x="225" y="38"/>
                </a:cxn>
                <a:cxn ang="0">
                  <a:pos x="263" y="16"/>
                </a:cxn>
                <a:cxn ang="0">
                  <a:pos x="327" y="50"/>
                </a:cxn>
                <a:cxn ang="0">
                  <a:pos x="394" y="122"/>
                </a:cxn>
                <a:cxn ang="0">
                  <a:pos x="411" y="97"/>
                </a:cxn>
                <a:cxn ang="0">
                  <a:pos x="475" y="110"/>
                </a:cxn>
                <a:cxn ang="0">
                  <a:pos x="479" y="139"/>
                </a:cxn>
                <a:cxn ang="0">
                  <a:pos x="543" y="194"/>
                </a:cxn>
                <a:cxn ang="0">
                  <a:pos x="585" y="219"/>
                </a:cxn>
                <a:cxn ang="0">
                  <a:pos x="543" y="245"/>
                </a:cxn>
                <a:cxn ang="0">
                  <a:pos x="524" y="292"/>
                </a:cxn>
                <a:cxn ang="0">
                  <a:pos x="394" y="304"/>
                </a:cxn>
              </a:cxnLst>
              <a:rect l="0" t="0" r="r" b="b"/>
              <a:pathLst>
                <a:path w="586" h="322">
                  <a:moveTo>
                    <a:pt x="394" y="304"/>
                  </a:moveTo>
                  <a:lnTo>
                    <a:pt x="259" y="274"/>
                  </a:lnTo>
                  <a:lnTo>
                    <a:pt x="216" y="321"/>
                  </a:lnTo>
                  <a:lnTo>
                    <a:pt x="153" y="308"/>
                  </a:lnTo>
                  <a:lnTo>
                    <a:pt x="47" y="211"/>
                  </a:lnTo>
                  <a:lnTo>
                    <a:pt x="0" y="105"/>
                  </a:lnTo>
                  <a:lnTo>
                    <a:pt x="26" y="126"/>
                  </a:lnTo>
                  <a:lnTo>
                    <a:pt x="178" y="33"/>
                  </a:lnTo>
                  <a:lnTo>
                    <a:pt x="183" y="0"/>
                  </a:lnTo>
                  <a:lnTo>
                    <a:pt x="225" y="38"/>
                  </a:lnTo>
                  <a:lnTo>
                    <a:pt x="263" y="16"/>
                  </a:lnTo>
                  <a:lnTo>
                    <a:pt x="327" y="50"/>
                  </a:lnTo>
                  <a:lnTo>
                    <a:pt x="394" y="122"/>
                  </a:lnTo>
                  <a:lnTo>
                    <a:pt x="411" y="97"/>
                  </a:lnTo>
                  <a:lnTo>
                    <a:pt x="475" y="110"/>
                  </a:lnTo>
                  <a:lnTo>
                    <a:pt x="479" y="139"/>
                  </a:lnTo>
                  <a:lnTo>
                    <a:pt x="543" y="194"/>
                  </a:lnTo>
                  <a:lnTo>
                    <a:pt x="585" y="219"/>
                  </a:lnTo>
                  <a:lnTo>
                    <a:pt x="543" y="245"/>
                  </a:lnTo>
                  <a:lnTo>
                    <a:pt x="524" y="292"/>
                  </a:lnTo>
                  <a:lnTo>
                    <a:pt x="394" y="304"/>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6" name="Freeform 761"/>
            <p:cNvSpPr>
              <a:spLocks noChangeArrowheads="1"/>
            </p:cNvSpPr>
            <p:nvPr/>
          </p:nvSpPr>
          <p:spPr bwMode="auto">
            <a:xfrm>
              <a:off x="4600575" y="1951038"/>
              <a:ext cx="211138" cy="115887"/>
            </a:xfrm>
            <a:custGeom>
              <a:avLst/>
              <a:gdLst/>
              <a:ahLst/>
              <a:cxnLst>
                <a:cxn ang="0">
                  <a:pos x="394" y="304"/>
                </a:cxn>
                <a:cxn ang="0">
                  <a:pos x="259" y="274"/>
                </a:cxn>
                <a:cxn ang="0">
                  <a:pos x="216" y="321"/>
                </a:cxn>
                <a:cxn ang="0">
                  <a:pos x="153" y="308"/>
                </a:cxn>
                <a:cxn ang="0">
                  <a:pos x="47" y="211"/>
                </a:cxn>
                <a:cxn ang="0">
                  <a:pos x="0" y="105"/>
                </a:cxn>
                <a:cxn ang="0">
                  <a:pos x="26" y="126"/>
                </a:cxn>
                <a:cxn ang="0">
                  <a:pos x="178" y="33"/>
                </a:cxn>
                <a:cxn ang="0">
                  <a:pos x="183" y="0"/>
                </a:cxn>
                <a:cxn ang="0">
                  <a:pos x="225" y="38"/>
                </a:cxn>
                <a:cxn ang="0">
                  <a:pos x="263" y="16"/>
                </a:cxn>
                <a:cxn ang="0">
                  <a:pos x="327" y="50"/>
                </a:cxn>
                <a:cxn ang="0">
                  <a:pos x="394" y="122"/>
                </a:cxn>
                <a:cxn ang="0">
                  <a:pos x="411" y="97"/>
                </a:cxn>
                <a:cxn ang="0">
                  <a:pos x="475" y="110"/>
                </a:cxn>
                <a:cxn ang="0">
                  <a:pos x="479" y="139"/>
                </a:cxn>
                <a:cxn ang="0">
                  <a:pos x="543" y="194"/>
                </a:cxn>
                <a:cxn ang="0">
                  <a:pos x="585" y="219"/>
                </a:cxn>
                <a:cxn ang="0">
                  <a:pos x="543" y="245"/>
                </a:cxn>
                <a:cxn ang="0">
                  <a:pos x="524" y="292"/>
                </a:cxn>
                <a:cxn ang="0">
                  <a:pos x="394" y="304"/>
                </a:cxn>
              </a:cxnLst>
              <a:rect l="0" t="0" r="r" b="b"/>
              <a:pathLst>
                <a:path w="586" h="322">
                  <a:moveTo>
                    <a:pt x="394" y="304"/>
                  </a:moveTo>
                  <a:lnTo>
                    <a:pt x="259" y="274"/>
                  </a:lnTo>
                  <a:lnTo>
                    <a:pt x="216" y="321"/>
                  </a:lnTo>
                  <a:lnTo>
                    <a:pt x="153" y="308"/>
                  </a:lnTo>
                  <a:lnTo>
                    <a:pt x="47" y="211"/>
                  </a:lnTo>
                  <a:lnTo>
                    <a:pt x="0" y="105"/>
                  </a:lnTo>
                  <a:lnTo>
                    <a:pt x="26" y="126"/>
                  </a:lnTo>
                  <a:lnTo>
                    <a:pt x="178" y="33"/>
                  </a:lnTo>
                  <a:lnTo>
                    <a:pt x="183" y="0"/>
                  </a:lnTo>
                  <a:lnTo>
                    <a:pt x="225" y="38"/>
                  </a:lnTo>
                  <a:lnTo>
                    <a:pt x="263" y="16"/>
                  </a:lnTo>
                  <a:lnTo>
                    <a:pt x="327" y="50"/>
                  </a:lnTo>
                  <a:lnTo>
                    <a:pt x="394" y="122"/>
                  </a:lnTo>
                  <a:lnTo>
                    <a:pt x="411" y="97"/>
                  </a:lnTo>
                  <a:lnTo>
                    <a:pt x="475" y="110"/>
                  </a:lnTo>
                  <a:lnTo>
                    <a:pt x="479" y="139"/>
                  </a:lnTo>
                  <a:lnTo>
                    <a:pt x="543" y="194"/>
                  </a:lnTo>
                  <a:lnTo>
                    <a:pt x="585" y="219"/>
                  </a:lnTo>
                  <a:lnTo>
                    <a:pt x="543" y="245"/>
                  </a:lnTo>
                  <a:lnTo>
                    <a:pt x="524" y="292"/>
                  </a:lnTo>
                  <a:lnTo>
                    <a:pt x="394" y="304"/>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7" name="Freeform 762"/>
            <p:cNvSpPr>
              <a:spLocks noChangeArrowheads="1"/>
            </p:cNvSpPr>
            <p:nvPr/>
          </p:nvSpPr>
          <p:spPr bwMode="auto">
            <a:xfrm>
              <a:off x="4741863" y="2025650"/>
              <a:ext cx="173037" cy="80963"/>
            </a:xfrm>
            <a:custGeom>
              <a:avLst/>
              <a:gdLst/>
              <a:ahLst/>
              <a:cxnLst>
                <a:cxn ang="0">
                  <a:pos x="130" y="85"/>
                </a:cxn>
                <a:cxn ang="0">
                  <a:pos x="149" y="38"/>
                </a:cxn>
                <a:cxn ang="0">
                  <a:pos x="191" y="12"/>
                </a:cxn>
                <a:cxn ang="0">
                  <a:pos x="229" y="0"/>
                </a:cxn>
                <a:cxn ang="0">
                  <a:pos x="267" y="38"/>
                </a:cxn>
                <a:cxn ang="0">
                  <a:pos x="393" y="12"/>
                </a:cxn>
                <a:cxn ang="0">
                  <a:pos x="478" y="55"/>
                </a:cxn>
                <a:cxn ang="0">
                  <a:pos x="453" y="144"/>
                </a:cxn>
                <a:cxn ang="0">
                  <a:pos x="334" y="127"/>
                </a:cxn>
                <a:cxn ang="0">
                  <a:pos x="267" y="173"/>
                </a:cxn>
                <a:cxn ang="0">
                  <a:pos x="170" y="190"/>
                </a:cxn>
                <a:cxn ang="0">
                  <a:pos x="145" y="224"/>
                </a:cxn>
                <a:cxn ang="0">
                  <a:pos x="89" y="224"/>
                </a:cxn>
                <a:cxn ang="0">
                  <a:pos x="34" y="186"/>
                </a:cxn>
                <a:cxn ang="0">
                  <a:pos x="0" y="97"/>
                </a:cxn>
                <a:cxn ang="0">
                  <a:pos x="130" y="85"/>
                </a:cxn>
              </a:cxnLst>
              <a:rect l="0" t="0" r="r" b="b"/>
              <a:pathLst>
                <a:path w="479" h="225">
                  <a:moveTo>
                    <a:pt x="130" y="85"/>
                  </a:moveTo>
                  <a:lnTo>
                    <a:pt x="149" y="38"/>
                  </a:lnTo>
                  <a:lnTo>
                    <a:pt x="191" y="12"/>
                  </a:lnTo>
                  <a:lnTo>
                    <a:pt x="229" y="0"/>
                  </a:lnTo>
                  <a:lnTo>
                    <a:pt x="267" y="38"/>
                  </a:lnTo>
                  <a:lnTo>
                    <a:pt x="393" y="12"/>
                  </a:lnTo>
                  <a:lnTo>
                    <a:pt x="478" y="55"/>
                  </a:lnTo>
                  <a:lnTo>
                    <a:pt x="453" y="144"/>
                  </a:lnTo>
                  <a:lnTo>
                    <a:pt x="334" y="127"/>
                  </a:lnTo>
                  <a:lnTo>
                    <a:pt x="267" y="173"/>
                  </a:lnTo>
                  <a:lnTo>
                    <a:pt x="170" y="190"/>
                  </a:lnTo>
                  <a:lnTo>
                    <a:pt x="145" y="224"/>
                  </a:lnTo>
                  <a:lnTo>
                    <a:pt x="89" y="224"/>
                  </a:lnTo>
                  <a:lnTo>
                    <a:pt x="34" y="186"/>
                  </a:lnTo>
                  <a:lnTo>
                    <a:pt x="0" y="97"/>
                  </a:lnTo>
                  <a:lnTo>
                    <a:pt x="130" y="8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8" name="Freeform 763"/>
            <p:cNvSpPr>
              <a:spLocks noChangeArrowheads="1"/>
            </p:cNvSpPr>
            <p:nvPr/>
          </p:nvSpPr>
          <p:spPr bwMode="auto">
            <a:xfrm>
              <a:off x="4741863" y="2025650"/>
              <a:ext cx="173037" cy="80963"/>
            </a:xfrm>
            <a:custGeom>
              <a:avLst/>
              <a:gdLst/>
              <a:ahLst/>
              <a:cxnLst>
                <a:cxn ang="0">
                  <a:pos x="130" y="85"/>
                </a:cxn>
                <a:cxn ang="0">
                  <a:pos x="149" y="38"/>
                </a:cxn>
                <a:cxn ang="0">
                  <a:pos x="191" y="12"/>
                </a:cxn>
                <a:cxn ang="0">
                  <a:pos x="229" y="0"/>
                </a:cxn>
                <a:cxn ang="0">
                  <a:pos x="267" y="38"/>
                </a:cxn>
                <a:cxn ang="0">
                  <a:pos x="393" y="12"/>
                </a:cxn>
                <a:cxn ang="0">
                  <a:pos x="478" y="55"/>
                </a:cxn>
                <a:cxn ang="0">
                  <a:pos x="453" y="144"/>
                </a:cxn>
                <a:cxn ang="0">
                  <a:pos x="334" y="127"/>
                </a:cxn>
                <a:cxn ang="0">
                  <a:pos x="267" y="173"/>
                </a:cxn>
                <a:cxn ang="0">
                  <a:pos x="170" y="190"/>
                </a:cxn>
                <a:cxn ang="0">
                  <a:pos x="145" y="224"/>
                </a:cxn>
                <a:cxn ang="0">
                  <a:pos x="89" y="224"/>
                </a:cxn>
                <a:cxn ang="0">
                  <a:pos x="34" y="186"/>
                </a:cxn>
                <a:cxn ang="0">
                  <a:pos x="0" y="97"/>
                </a:cxn>
                <a:cxn ang="0">
                  <a:pos x="130" y="85"/>
                </a:cxn>
              </a:cxnLst>
              <a:rect l="0" t="0" r="r" b="b"/>
              <a:pathLst>
                <a:path w="479" h="225">
                  <a:moveTo>
                    <a:pt x="130" y="85"/>
                  </a:moveTo>
                  <a:lnTo>
                    <a:pt x="149" y="38"/>
                  </a:lnTo>
                  <a:lnTo>
                    <a:pt x="191" y="12"/>
                  </a:lnTo>
                  <a:lnTo>
                    <a:pt x="229" y="0"/>
                  </a:lnTo>
                  <a:lnTo>
                    <a:pt x="267" y="38"/>
                  </a:lnTo>
                  <a:lnTo>
                    <a:pt x="393" y="12"/>
                  </a:lnTo>
                  <a:lnTo>
                    <a:pt x="478" y="55"/>
                  </a:lnTo>
                  <a:lnTo>
                    <a:pt x="453" y="144"/>
                  </a:lnTo>
                  <a:lnTo>
                    <a:pt x="334" y="127"/>
                  </a:lnTo>
                  <a:lnTo>
                    <a:pt x="267" y="173"/>
                  </a:lnTo>
                  <a:lnTo>
                    <a:pt x="170" y="190"/>
                  </a:lnTo>
                  <a:lnTo>
                    <a:pt x="145" y="224"/>
                  </a:lnTo>
                  <a:lnTo>
                    <a:pt x="89" y="224"/>
                  </a:lnTo>
                  <a:lnTo>
                    <a:pt x="34" y="186"/>
                  </a:lnTo>
                  <a:lnTo>
                    <a:pt x="0" y="97"/>
                  </a:lnTo>
                  <a:lnTo>
                    <a:pt x="130" y="8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69" name="Freeform 764"/>
            <p:cNvSpPr>
              <a:spLocks noChangeArrowheads="1"/>
            </p:cNvSpPr>
            <p:nvPr/>
          </p:nvSpPr>
          <p:spPr bwMode="auto">
            <a:xfrm>
              <a:off x="4741863" y="2025650"/>
              <a:ext cx="173037" cy="80963"/>
            </a:xfrm>
            <a:custGeom>
              <a:avLst/>
              <a:gdLst/>
              <a:ahLst/>
              <a:cxnLst>
                <a:cxn ang="0">
                  <a:pos x="130" y="85"/>
                </a:cxn>
                <a:cxn ang="0">
                  <a:pos x="149" y="38"/>
                </a:cxn>
                <a:cxn ang="0">
                  <a:pos x="191" y="12"/>
                </a:cxn>
                <a:cxn ang="0">
                  <a:pos x="229" y="0"/>
                </a:cxn>
                <a:cxn ang="0">
                  <a:pos x="267" y="38"/>
                </a:cxn>
                <a:cxn ang="0">
                  <a:pos x="393" y="12"/>
                </a:cxn>
                <a:cxn ang="0">
                  <a:pos x="478" y="55"/>
                </a:cxn>
                <a:cxn ang="0">
                  <a:pos x="453" y="144"/>
                </a:cxn>
                <a:cxn ang="0">
                  <a:pos x="334" y="127"/>
                </a:cxn>
                <a:cxn ang="0">
                  <a:pos x="267" y="173"/>
                </a:cxn>
                <a:cxn ang="0">
                  <a:pos x="170" y="190"/>
                </a:cxn>
                <a:cxn ang="0">
                  <a:pos x="145" y="224"/>
                </a:cxn>
                <a:cxn ang="0">
                  <a:pos x="89" y="224"/>
                </a:cxn>
                <a:cxn ang="0">
                  <a:pos x="34" y="186"/>
                </a:cxn>
                <a:cxn ang="0">
                  <a:pos x="0" y="97"/>
                </a:cxn>
                <a:cxn ang="0">
                  <a:pos x="130" y="85"/>
                </a:cxn>
              </a:cxnLst>
              <a:rect l="0" t="0" r="r" b="b"/>
              <a:pathLst>
                <a:path w="479" h="225">
                  <a:moveTo>
                    <a:pt x="130" y="85"/>
                  </a:moveTo>
                  <a:lnTo>
                    <a:pt x="149" y="38"/>
                  </a:lnTo>
                  <a:lnTo>
                    <a:pt x="191" y="12"/>
                  </a:lnTo>
                  <a:lnTo>
                    <a:pt x="229" y="0"/>
                  </a:lnTo>
                  <a:lnTo>
                    <a:pt x="267" y="38"/>
                  </a:lnTo>
                  <a:lnTo>
                    <a:pt x="393" y="12"/>
                  </a:lnTo>
                  <a:lnTo>
                    <a:pt x="478" y="55"/>
                  </a:lnTo>
                  <a:lnTo>
                    <a:pt x="453" y="144"/>
                  </a:lnTo>
                  <a:lnTo>
                    <a:pt x="334" y="127"/>
                  </a:lnTo>
                  <a:lnTo>
                    <a:pt x="267" y="173"/>
                  </a:lnTo>
                  <a:lnTo>
                    <a:pt x="170" y="190"/>
                  </a:lnTo>
                  <a:lnTo>
                    <a:pt x="145" y="224"/>
                  </a:lnTo>
                  <a:lnTo>
                    <a:pt x="89" y="224"/>
                  </a:lnTo>
                  <a:lnTo>
                    <a:pt x="34" y="186"/>
                  </a:lnTo>
                  <a:lnTo>
                    <a:pt x="0" y="97"/>
                  </a:lnTo>
                  <a:lnTo>
                    <a:pt x="130" y="85"/>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0" name="Freeform 765"/>
            <p:cNvSpPr>
              <a:spLocks noChangeArrowheads="1"/>
            </p:cNvSpPr>
            <p:nvPr/>
          </p:nvSpPr>
          <p:spPr bwMode="auto">
            <a:xfrm>
              <a:off x="4741863" y="2025650"/>
              <a:ext cx="173037" cy="80963"/>
            </a:xfrm>
            <a:custGeom>
              <a:avLst/>
              <a:gdLst/>
              <a:ahLst/>
              <a:cxnLst>
                <a:cxn ang="0">
                  <a:pos x="130" y="85"/>
                </a:cxn>
                <a:cxn ang="0">
                  <a:pos x="149" y="38"/>
                </a:cxn>
                <a:cxn ang="0">
                  <a:pos x="191" y="12"/>
                </a:cxn>
                <a:cxn ang="0">
                  <a:pos x="229" y="0"/>
                </a:cxn>
                <a:cxn ang="0">
                  <a:pos x="267" y="38"/>
                </a:cxn>
                <a:cxn ang="0">
                  <a:pos x="393" y="12"/>
                </a:cxn>
                <a:cxn ang="0">
                  <a:pos x="478" y="55"/>
                </a:cxn>
                <a:cxn ang="0">
                  <a:pos x="453" y="144"/>
                </a:cxn>
                <a:cxn ang="0">
                  <a:pos x="334" y="127"/>
                </a:cxn>
                <a:cxn ang="0">
                  <a:pos x="267" y="173"/>
                </a:cxn>
                <a:cxn ang="0">
                  <a:pos x="170" y="190"/>
                </a:cxn>
                <a:cxn ang="0">
                  <a:pos x="145" y="224"/>
                </a:cxn>
                <a:cxn ang="0">
                  <a:pos x="89" y="224"/>
                </a:cxn>
                <a:cxn ang="0">
                  <a:pos x="34" y="186"/>
                </a:cxn>
                <a:cxn ang="0">
                  <a:pos x="0" y="97"/>
                </a:cxn>
                <a:cxn ang="0">
                  <a:pos x="130" y="85"/>
                </a:cxn>
              </a:cxnLst>
              <a:rect l="0" t="0" r="r" b="b"/>
              <a:pathLst>
                <a:path w="479" h="225">
                  <a:moveTo>
                    <a:pt x="130" y="85"/>
                  </a:moveTo>
                  <a:lnTo>
                    <a:pt x="149" y="38"/>
                  </a:lnTo>
                  <a:lnTo>
                    <a:pt x="191" y="12"/>
                  </a:lnTo>
                  <a:lnTo>
                    <a:pt x="229" y="0"/>
                  </a:lnTo>
                  <a:lnTo>
                    <a:pt x="267" y="38"/>
                  </a:lnTo>
                  <a:lnTo>
                    <a:pt x="393" y="12"/>
                  </a:lnTo>
                  <a:lnTo>
                    <a:pt x="478" y="55"/>
                  </a:lnTo>
                  <a:lnTo>
                    <a:pt x="453" y="144"/>
                  </a:lnTo>
                  <a:lnTo>
                    <a:pt x="334" y="127"/>
                  </a:lnTo>
                  <a:lnTo>
                    <a:pt x="267" y="173"/>
                  </a:lnTo>
                  <a:lnTo>
                    <a:pt x="170" y="190"/>
                  </a:lnTo>
                  <a:lnTo>
                    <a:pt x="145" y="224"/>
                  </a:lnTo>
                  <a:lnTo>
                    <a:pt x="89" y="224"/>
                  </a:lnTo>
                  <a:lnTo>
                    <a:pt x="34" y="186"/>
                  </a:lnTo>
                  <a:lnTo>
                    <a:pt x="0" y="97"/>
                  </a:lnTo>
                  <a:lnTo>
                    <a:pt x="130" y="85"/>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1" name="Freeform 766"/>
            <p:cNvSpPr>
              <a:spLocks noChangeArrowheads="1"/>
            </p:cNvSpPr>
            <p:nvPr/>
          </p:nvSpPr>
          <p:spPr bwMode="auto">
            <a:xfrm>
              <a:off x="5337175" y="3190875"/>
              <a:ext cx="198438" cy="180975"/>
            </a:xfrm>
            <a:custGeom>
              <a:avLst/>
              <a:gdLst/>
              <a:ahLst/>
              <a:cxnLst>
                <a:cxn ang="0">
                  <a:pos x="483" y="500"/>
                </a:cxn>
                <a:cxn ang="0">
                  <a:pos x="381" y="364"/>
                </a:cxn>
                <a:cxn ang="0">
                  <a:pos x="307" y="324"/>
                </a:cxn>
                <a:cxn ang="0">
                  <a:pos x="216" y="324"/>
                </a:cxn>
                <a:cxn ang="0">
                  <a:pos x="146" y="310"/>
                </a:cxn>
                <a:cxn ang="0">
                  <a:pos x="116" y="368"/>
                </a:cxn>
                <a:cxn ang="0">
                  <a:pos x="92" y="340"/>
                </a:cxn>
                <a:cxn ang="0">
                  <a:pos x="4" y="351"/>
                </a:cxn>
                <a:cxn ang="0">
                  <a:pos x="0" y="275"/>
                </a:cxn>
                <a:cxn ang="0">
                  <a:pos x="46" y="85"/>
                </a:cxn>
                <a:cxn ang="0">
                  <a:pos x="156" y="38"/>
                </a:cxn>
                <a:cxn ang="0">
                  <a:pos x="165" y="0"/>
                </a:cxn>
                <a:cxn ang="0">
                  <a:pos x="199" y="47"/>
                </a:cxn>
                <a:cxn ang="0">
                  <a:pos x="228" y="178"/>
                </a:cxn>
                <a:cxn ang="0">
                  <a:pos x="271" y="250"/>
                </a:cxn>
                <a:cxn ang="0">
                  <a:pos x="284" y="254"/>
                </a:cxn>
                <a:cxn ang="0">
                  <a:pos x="288" y="229"/>
                </a:cxn>
                <a:cxn ang="0">
                  <a:pos x="313" y="271"/>
                </a:cxn>
                <a:cxn ang="0">
                  <a:pos x="339" y="271"/>
                </a:cxn>
                <a:cxn ang="0">
                  <a:pos x="402" y="301"/>
                </a:cxn>
                <a:cxn ang="0">
                  <a:pos x="500" y="419"/>
                </a:cxn>
                <a:cxn ang="0">
                  <a:pos x="550" y="457"/>
                </a:cxn>
                <a:cxn ang="0">
                  <a:pos x="483" y="500"/>
                </a:cxn>
              </a:cxnLst>
              <a:rect l="0" t="0" r="r" b="b"/>
              <a:pathLst>
                <a:path w="551" h="501">
                  <a:moveTo>
                    <a:pt x="483" y="500"/>
                  </a:moveTo>
                  <a:lnTo>
                    <a:pt x="381" y="364"/>
                  </a:lnTo>
                  <a:lnTo>
                    <a:pt x="307" y="324"/>
                  </a:lnTo>
                  <a:lnTo>
                    <a:pt x="216" y="324"/>
                  </a:lnTo>
                  <a:lnTo>
                    <a:pt x="146" y="310"/>
                  </a:lnTo>
                  <a:lnTo>
                    <a:pt x="116" y="368"/>
                  </a:lnTo>
                  <a:lnTo>
                    <a:pt x="92" y="340"/>
                  </a:lnTo>
                  <a:lnTo>
                    <a:pt x="4" y="351"/>
                  </a:lnTo>
                  <a:lnTo>
                    <a:pt x="0" y="275"/>
                  </a:lnTo>
                  <a:lnTo>
                    <a:pt x="46" y="85"/>
                  </a:lnTo>
                  <a:lnTo>
                    <a:pt x="156" y="38"/>
                  </a:lnTo>
                  <a:lnTo>
                    <a:pt x="165" y="0"/>
                  </a:lnTo>
                  <a:lnTo>
                    <a:pt x="199" y="47"/>
                  </a:lnTo>
                  <a:lnTo>
                    <a:pt x="228" y="178"/>
                  </a:lnTo>
                  <a:lnTo>
                    <a:pt x="271" y="250"/>
                  </a:lnTo>
                  <a:lnTo>
                    <a:pt x="284" y="254"/>
                  </a:lnTo>
                  <a:lnTo>
                    <a:pt x="288" y="229"/>
                  </a:lnTo>
                  <a:lnTo>
                    <a:pt x="313" y="271"/>
                  </a:lnTo>
                  <a:lnTo>
                    <a:pt x="339" y="271"/>
                  </a:lnTo>
                  <a:lnTo>
                    <a:pt x="402" y="301"/>
                  </a:lnTo>
                  <a:lnTo>
                    <a:pt x="500" y="419"/>
                  </a:lnTo>
                  <a:lnTo>
                    <a:pt x="550" y="457"/>
                  </a:lnTo>
                  <a:lnTo>
                    <a:pt x="483" y="50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2" name="Freeform 767"/>
            <p:cNvSpPr>
              <a:spLocks noChangeArrowheads="1"/>
            </p:cNvSpPr>
            <p:nvPr/>
          </p:nvSpPr>
          <p:spPr bwMode="auto">
            <a:xfrm>
              <a:off x="5337175" y="3190875"/>
              <a:ext cx="198438" cy="180975"/>
            </a:xfrm>
            <a:custGeom>
              <a:avLst/>
              <a:gdLst/>
              <a:ahLst/>
              <a:cxnLst>
                <a:cxn ang="0">
                  <a:pos x="483" y="500"/>
                </a:cxn>
                <a:cxn ang="0">
                  <a:pos x="381" y="364"/>
                </a:cxn>
                <a:cxn ang="0">
                  <a:pos x="307" y="324"/>
                </a:cxn>
                <a:cxn ang="0">
                  <a:pos x="216" y="324"/>
                </a:cxn>
                <a:cxn ang="0">
                  <a:pos x="146" y="310"/>
                </a:cxn>
                <a:cxn ang="0">
                  <a:pos x="116" y="368"/>
                </a:cxn>
                <a:cxn ang="0">
                  <a:pos x="92" y="340"/>
                </a:cxn>
                <a:cxn ang="0">
                  <a:pos x="4" y="351"/>
                </a:cxn>
                <a:cxn ang="0">
                  <a:pos x="0" y="275"/>
                </a:cxn>
                <a:cxn ang="0">
                  <a:pos x="46" y="85"/>
                </a:cxn>
                <a:cxn ang="0">
                  <a:pos x="156" y="38"/>
                </a:cxn>
                <a:cxn ang="0">
                  <a:pos x="165" y="0"/>
                </a:cxn>
                <a:cxn ang="0">
                  <a:pos x="199" y="47"/>
                </a:cxn>
                <a:cxn ang="0">
                  <a:pos x="228" y="178"/>
                </a:cxn>
                <a:cxn ang="0">
                  <a:pos x="271" y="250"/>
                </a:cxn>
                <a:cxn ang="0">
                  <a:pos x="284" y="254"/>
                </a:cxn>
                <a:cxn ang="0">
                  <a:pos x="288" y="229"/>
                </a:cxn>
                <a:cxn ang="0">
                  <a:pos x="313" y="271"/>
                </a:cxn>
                <a:cxn ang="0">
                  <a:pos x="339" y="271"/>
                </a:cxn>
                <a:cxn ang="0">
                  <a:pos x="402" y="301"/>
                </a:cxn>
                <a:cxn ang="0">
                  <a:pos x="500" y="419"/>
                </a:cxn>
                <a:cxn ang="0">
                  <a:pos x="550" y="457"/>
                </a:cxn>
                <a:cxn ang="0">
                  <a:pos x="483" y="500"/>
                </a:cxn>
              </a:cxnLst>
              <a:rect l="0" t="0" r="r" b="b"/>
              <a:pathLst>
                <a:path w="551" h="501">
                  <a:moveTo>
                    <a:pt x="483" y="500"/>
                  </a:moveTo>
                  <a:lnTo>
                    <a:pt x="381" y="364"/>
                  </a:lnTo>
                  <a:lnTo>
                    <a:pt x="307" y="324"/>
                  </a:lnTo>
                  <a:lnTo>
                    <a:pt x="216" y="324"/>
                  </a:lnTo>
                  <a:lnTo>
                    <a:pt x="146" y="310"/>
                  </a:lnTo>
                  <a:lnTo>
                    <a:pt x="116" y="368"/>
                  </a:lnTo>
                  <a:lnTo>
                    <a:pt x="92" y="340"/>
                  </a:lnTo>
                  <a:lnTo>
                    <a:pt x="4" y="351"/>
                  </a:lnTo>
                  <a:lnTo>
                    <a:pt x="0" y="275"/>
                  </a:lnTo>
                  <a:lnTo>
                    <a:pt x="46" y="85"/>
                  </a:lnTo>
                  <a:lnTo>
                    <a:pt x="156" y="38"/>
                  </a:lnTo>
                  <a:lnTo>
                    <a:pt x="165" y="0"/>
                  </a:lnTo>
                  <a:lnTo>
                    <a:pt x="199" y="47"/>
                  </a:lnTo>
                  <a:lnTo>
                    <a:pt x="228" y="178"/>
                  </a:lnTo>
                  <a:lnTo>
                    <a:pt x="271" y="250"/>
                  </a:lnTo>
                  <a:lnTo>
                    <a:pt x="284" y="254"/>
                  </a:lnTo>
                  <a:lnTo>
                    <a:pt x="288" y="229"/>
                  </a:lnTo>
                  <a:lnTo>
                    <a:pt x="313" y="271"/>
                  </a:lnTo>
                  <a:lnTo>
                    <a:pt x="339" y="271"/>
                  </a:lnTo>
                  <a:lnTo>
                    <a:pt x="402" y="301"/>
                  </a:lnTo>
                  <a:lnTo>
                    <a:pt x="500" y="419"/>
                  </a:lnTo>
                  <a:lnTo>
                    <a:pt x="550" y="457"/>
                  </a:lnTo>
                  <a:lnTo>
                    <a:pt x="483" y="50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3" name="Freeform 768"/>
            <p:cNvSpPr>
              <a:spLocks noChangeArrowheads="1"/>
            </p:cNvSpPr>
            <p:nvPr/>
          </p:nvSpPr>
          <p:spPr bwMode="auto">
            <a:xfrm>
              <a:off x="5337175" y="3190875"/>
              <a:ext cx="198438" cy="180975"/>
            </a:xfrm>
            <a:custGeom>
              <a:avLst/>
              <a:gdLst/>
              <a:ahLst/>
              <a:cxnLst>
                <a:cxn ang="0">
                  <a:pos x="483" y="500"/>
                </a:cxn>
                <a:cxn ang="0">
                  <a:pos x="381" y="364"/>
                </a:cxn>
                <a:cxn ang="0">
                  <a:pos x="307" y="324"/>
                </a:cxn>
                <a:cxn ang="0">
                  <a:pos x="216" y="324"/>
                </a:cxn>
                <a:cxn ang="0">
                  <a:pos x="146" y="310"/>
                </a:cxn>
                <a:cxn ang="0">
                  <a:pos x="116" y="368"/>
                </a:cxn>
                <a:cxn ang="0">
                  <a:pos x="92" y="340"/>
                </a:cxn>
                <a:cxn ang="0">
                  <a:pos x="4" y="351"/>
                </a:cxn>
                <a:cxn ang="0">
                  <a:pos x="0" y="275"/>
                </a:cxn>
                <a:cxn ang="0">
                  <a:pos x="46" y="85"/>
                </a:cxn>
                <a:cxn ang="0">
                  <a:pos x="156" y="38"/>
                </a:cxn>
                <a:cxn ang="0">
                  <a:pos x="165" y="0"/>
                </a:cxn>
                <a:cxn ang="0">
                  <a:pos x="199" y="47"/>
                </a:cxn>
                <a:cxn ang="0">
                  <a:pos x="228" y="178"/>
                </a:cxn>
                <a:cxn ang="0">
                  <a:pos x="271" y="250"/>
                </a:cxn>
                <a:cxn ang="0">
                  <a:pos x="284" y="254"/>
                </a:cxn>
                <a:cxn ang="0">
                  <a:pos x="288" y="229"/>
                </a:cxn>
                <a:cxn ang="0">
                  <a:pos x="313" y="271"/>
                </a:cxn>
                <a:cxn ang="0">
                  <a:pos x="339" y="271"/>
                </a:cxn>
                <a:cxn ang="0">
                  <a:pos x="402" y="301"/>
                </a:cxn>
                <a:cxn ang="0">
                  <a:pos x="500" y="419"/>
                </a:cxn>
                <a:cxn ang="0">
                  <a:pos x="550" y="457"/>
                </a:cxn>
                <a:cxn ang="0">
                  <a:pos x="483" y="500"/>
                </a:cxn>
              </a:cxnLst>
              <a:rect l="0" t="0" r="r" b="b"/>
              <a:pathLst>
                <a:path w="551" h="501">
                  <a:moveTo>
                    <a:pt x="483" y="500"/>
                  </a:moveTo>
                  <a:lnTo>
                    <a:pt x="381" y="364"/>
                  </a:lnTo>
                  <a:lnTo>
                    <a:pt x="307" y="324"/>
                  </a:lnTo>
                  <a:lnTo>
                    <a:pt x="216" y="324"/>
                  </a:lnTo>
                  <a:lnTo>
                    <a:pt x="146" y="310"/>
                  </a:lnTo>
                  <a:lnTo>
                    <a:pt x="116" y="368"/>
                  </a:lnTo>
                  <a:lnTo>
                    <a:pt x="92" y="340"/>
                  </a:lnTo>
                  <a:lnTo>
                    <a:pt x="4" y="351"/>
                  </a:lnTo>
                  <a:lnTo>
                    <a:pt x="0" y="275"/>
                  </a:lnTo>
                  <a:lnTo>
                    <a:pt x="46" y="85"/>
                  </a:lnTo>
                  <a:lnTo>
                    <a:pt x="156" y="38"/>
                  </a:lnTo>
                  <a:lnTo>
                    <a:pt x="165" y="0"/>
                  </a:lnTo>
                  <a:lnTo>
                    <a:pt x="199" y="47"/>
                  </a:lnTo>
                  <a:lnTo>
                    <a:pt x="228" y="178"/>
                  </a:lnTo>
                  <a:lnTo>
                    <a:pt x="271" y="250"/>
                  </a:lnTo>
                  <a:lnTo>
                    <a:pt x="284" y="254"/>
                  </a:lnTo>
                  <a:lnTo>
                    <a:pt x="288" y="229"/>
                  </a:lnTo>
                  <a:lnTo>
                    <a:pt x="313" y="271"/>
                  </a:lnTo>
                  <a:lnTo>
                    <a:pt x="339" y="271"/>
                  </a:lnTo>
                  <a:lnTo>
                    <a:pt x="402" y="301"/>
                  </a:lnTo>
                  <a:lnTo>
                    <a:pt x="500" y="419"/>
                  </a:lnTo>
                  <a:lnTo>
                    <a:pt x="550" y="457"/>
                  </a:lnTo>
                  <a:lnTo>
                    <a:pt x="483" y="500"/>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4" name="Freeform 769"/>
            <p:cNvSpPr>
              <a:spLocks noChangeArrowheads="1"/>
            </p:cNvSpPr>
            <p:nvPr/>
          </p:nvSpPr>
          <p:spPr bwMode="auto">
            <a:xfrm>
              <a:off x="5337175" y="3190875"/>
              <a:ext cx="198438" cy="180975"/>
            </a:xfrm>
            <a:custGeom>
              <a:avLst/>
              <a:gdLst/>
              <a:ahLst/>
              <a:cxnLst>
                <a:cxn ang="0">
                  <a:pos x="483" y="500"/>
                </a:cxn>
                <a:cxn ang="0">
                  <a:pos x="381" y="364"/>
                </a:cxn>
                <a:cxn ang="0">
                  <a:pos x="307" y="324"/>
                </a:cxn>
                <a:cxn ang="0">
                  <a:pos x="216" y="324"/>
                </a:cxn>
                <a:cxn ang="0">
                  <a:pos x="146" y="310"/>
                </a:cxn>
                <a:cxn ang="0">
                  <a:pos x="116" y="368"/>
                </a:cxn>
                <a:cxn ang="0">
                  <a:pos x="92" y="340"/>
                </a:cxn>
                <a:cxn ang="0">
                  <a:pos x="4" y="351"/>
                </a:cxn>
                <a:cxn ang="0">
                  <a:pos x="0" y="275"/>
                </a:cxn>
                <a:cxn ang="0">
                  <a:pos x="46" y="85"/>
                </a:cxn>
                <a:cxn ang="0">
                  <a:pos x="156" y="38"/>
                </a:cxn>
                <a:cxn ang="0">
                  <a:pos x="165" y="0"/>
                </a:cxn>
                <a:cxn ang="0">
                  <a:pos x="199" y="47"/>
                </a:cxn>
                <a:cxn ang="0">
                  <a:pos x="228" y="178"/>
                </a:cxn>
                <a:cxn ang="0">
                  <a:pos x="271" y="250"/>
                </a:cxn>
                <a:cxn ang="0">
                  <a:pos x="284" y="254"/>
                </a:cxn>
                <a:cxn ang="0">
                  <a:pos x="288" y="229"/>
                </a:cxn>
                <a:cxn ang="0">
                  <a:pos x="313" y="271"/>
                </a:cxn>
                <a:cxn ang="0">
                  <a:pos x="339" y="271"/>
                </a:cxn>
                <a:cxn ang="0">
                  <a:pos x="402" y="301"/>
                </a:cxn>
                <a:cxn ang="0">
                  <a:pos x="500" y="419"/>
                </a:cxn>
                <a:cxn ang="0">
                  <a:pos x="550" y="457"/>
                </a:cxn>
                <a:cxn ang="0">
                  <a:pos x="483" y="500"/>
                </a:cxn>
              </a:cxnLst>
              <a:rect l="0" t="0" r="r" b="b"/>
              <a:pathLst>
                <a:path w="551" h="501">
                  <a:moveTo>
                    <a:pt x="483" y="500"/>
                  </a:moveTo>
                  <a:lnTo>
                    <a:pt x="381" y="364"/>
                  </a:lnTo>
                  <a:lnTo>
                    <a:pt x="307" y="324"/>
                  </a:lnTo>
                  <a:lnTo>
                    <a:pt x="216" y="324"/>
                  </a:lnTo>
                  <a:lnTo>
                    <a:pt x="146" y="310"/>
                  </a:lnTo>
                  <a:lnTo>
                    <a:pt x="116" y="368"/>
                  </a:lnTo>
                  <a:lnTo>
                    <a:pt x="92" y="340"/>
                  </a:lnTo>
                  <a:lnTo>
                    <a:pt x="4" y="351"/>
                  </a:lnTo>
                  <a:lnTo>
                    <a:pt x="0" y="275"/>
                  </a:lnTo>
                  <a:lnTo>
                    <a:pt x="46" y="85"/>
                  </a:lnTo>
                  <a:lnTo>
                    <a:pt x="156" y="38"/>
                  </a:lnTo>
                  <a:lnTo>
                    <a:pt x="165" y="0"/>
                  </a:lnTo>
                  <a:lnTo>
                    <a:pt x="199" y="47"/>
                  </a:lnTo>
                  <a:lnTo>
                    <a:pt x="228" y="178"/>
                  </a:lnTo>
                  <a:lnTo>
                    <a:pt x="271" y="250"/>
                  </a:lnTo>
                  <a:lnTo>
                    <a:pt x="284" y="254"/>
                  </a:lnTo>
                  <a:lnTo>
                    <a:pt x="288" y="229"/>
                  </a:lnTo>
                  <a:lnTo>
                    <a:pt x="313" y="271"/>
                  </a:lnTo>
                  <a:lnTo>
                    <a:pt x="339" y="271"/>
                  </a:lnTo>
                  <a:lnTo>
                    <a:pt x="402" y="301"/>
                  </a:lnTo>
                  <a:lnTo>
                    <a:pt x="500" y="419"/>
                  </a:lnTo>
                  <a:lnTo>
                    <a:pt x="550" y="457"/>
                  </a:lnTo>
                  <a:lnTo>
                    <a:pt x="483" y="500"/>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5" name="Freeform 770"/>
            <p:cNvSpPr>
              <a:spLocks noChangeArrowheads="1"/>
            </p:cNvSpPr>
            <p:nvPr/>
          </p:nvSpPr>
          <p:spPr bwMode="auto">
            <a:xfrm>
              <a:off x="5233988" y="3302000"/>
              <a:ext cx="452437" cy="331788"/>
            </a:xfrm>
            <a:custGeom>
              <a:avLst/>
              <a:gdLst/>
              <a:ahLst/>
              <a:cxnLst>
                <a:cxn ang="0">
                  <a:pos x="288" y="41"/>
                </a:cxn>
                <a:cxn ang="0">
                  <a:pos x="376" y="30"/>
                </a:cxn>
                <a:cxn ang="0">
                  <a:pos x="400" y="58"/>
                </a:cxn>
                <a:cxn ang="0">
                  <a:pos x="430" y="0"/>
                </a:cxn>
                <a:cxn ang="0">
                  <a:pos x="500" y="14"/>
                </a:cxn>
                <a:cxn ang="0">
                  <a:pos x="591" y="14"/>
                </a:cxn>
                <a:cxn ang="0">
                  <a:pos x="665" y="54"/>
                </a:cxn>
                <a:cxn ang="0">
                  <a:pos x="767" y="190"/>
                </a:cxn>
                <a:cxn ang="0">
                  <a:pos x="737" y="278"/>
                </a:cxn>
                <a:cxn ang="0">
                  <a:pos x="745" y="304"/>
                </a:cxn>
                <a:cxn ang="0">
                  <a:pos x="805" y="287"/>
                </a:cxn>
                <a:cxn ang="0">
                  <a:pos x="826" y="304"/>
                </a:cxn>
                <a:cxn ang="0">
                  <a:pos x="826" y="359"/>
                </a:cxn>
                <a:cxn ang="0">
                  <a:pos x="919" y="456"/>
                </a:cxn>
                <a:cxn ang="0">
                  <a:pos x="1173" y="549"/>
                </a:cxn>
                <a:cxn ang="0">
                  <a:pos x="1254" y="541"/>
                </a:cxn>
                <a:cxn ang="0">
                  <a:pos x="1237" y="570"/>
                </a:cxn>
                <a:cxn ang="0">
                  <a:pos x="1004" y="795"/>
                </a:cxn>
                <a:cxn ang="0">
                  <a:pos x="906" y="803"/>
                </a:cxn>
                <a:cxn ang="0">
                  <a:pos x="741" y="888"/>
                </a:cxn>
                <a:cxn ang="0">
                  <a:pos x="699" y="892"/>
                </a:cxn>
                <a:cxn ang="0">
                  <a:pos x="652" y="866"/>
                </a:cxn>
                <a:cxn ang="0">
                  <a:pos x="593" y="879"/>
                </a:cxn>
                <a:cxn ang="0">
                  <a:pos x="529" y="922"/>
                </a:cxn>
                <a:cxn ang="0">
                  <a:pos x="491" y="922"/>
                </a:cxn>
                <a:cxn ang="0">
                  <a:pos x="402" y="900"/>
                </a:cxn>
                <a:cxn ang="0">
                  <a:pos x="301" y="837"/>
                </a:cxn>
                <a:cxn ang="0">
                  <a:pos x="237" y="833"/>
                </a:cxn>
                <a:cxn ang="0">
                  <a:pos x="237" y="769"/>
                </a:cxn>
                <a:cxn ang="0">
                  <a:pos x="178" y="748"/>
                </a:cxn>
                <a:cxn ang="0">
                  <a:pos x="144" y="659"/>
                </a:cxn>
                <a:cxn ang="0">
                  <a:pos x="93" y="625"/>
                </a:cxn>
                <a:cxn ang="0">
                  <a:pos x="68" y="583"/>
                </a:cxn>
                <a:cxn ang="0">
                  <a:pos x="0" y="558"/>
                </a:cxn>
                <a:cxn ang="0">
                  <a:pos x="17" y="515"/>
                </a:cxn>
                <a:cxn ang="0">
                  <a:pos x="63" y="515"/>
                </a:cxn>
                <a:cxn ang="0">
                  <a:pos x="89" y="494"/>
                </a:cxn>
                <a:cxn ang="0">
                  <a:pos x="102" y="338"/>
                </a:cxn>
                <a:cxn ang="0">
                  <a:pos x="157" y="300"/>
                </a:cxn>
                <a:cxn ang="0">
                  <a:pos x="169" y="236"/>
                </a:cxn>
                <a:cxn ang="0">
                  <a:pos x="262" y="130"/>
                </a:cxn>
                <a:cxn ang="0">
                  <a:pos x="288" y="41"/>
                </a:cxn>
              </a:cxnLst>
              <a:rect l="0" t="0" r="r" b="b"/>
              <a:pathLst>
                <a:path w="1255" h="923">
                  <a:moveTo>
                    <a:pt x="288" y="41"/>
                  </a:moveTo>
                  <a:lnTo>
                    <a:pt x="376" y="30"/>
                  </a:lnTo>
                  <a:lnTo>
                    <a:pt x="400" y="58"/>
                  </a:lnTo>
                  <a:lnTo>
                    <a:pt x="430" y="0"/>
                  </a:lnTo>
                  <a:lnTo>
                    <a:pt x="500" y="14"/>
                  </a:lnTo>
                  <a:lnTo>
                    <a:pt x="591" y="14"/>
                  </a:lnTo>
                  <a:lnTo>
                    <a:pt x="665" y="54"/>
                  </a:lnTo>
                  <a:lnTo>
                    <a:pt x="767" y="190"/>
                  </a:lnTo>
                  <a:lnTo>
                    <a:pt x="737" y="278"/>
                  </a:lnTo>
                  <a:lnTo>
                    <a:pt x="745" y="304"/>
                  </a:lnTo>
                  <a:lnTo>
                    <a:pt x="805" y="287"/>
                  </a:lnTo>
                  <a:lnTo>
                    <a:pt x="826" y="304"/>
                  </a:lnTo>
                  <a:lnTo>
                    <a:pt x="826" y="359"/>
                  </a:lnTo>
                  <a:lnTo>
                    <a:pt x="919" y="456"/>
                  </a:lnTo>
                  <a:lnTo>
                    <a:pt x="1173" y="549"/>
                  </a:lnTo>
                  <a:lnTo>
                    <a:pt x="1254" y="541"/>
                  </a:lnTo>
                  <a:lnTo>
                    <a:pt x="1237" y="570"/>
                  </a:lnTo>
                  <a:lnTo>
                    <a:pt x="1004" y="795"/>
                  </a:lnTo>
                  <a:lnTo>
                    <a:pt x="906" y="803"/>
                  </a:lnTo>
                  <a:lnTo>
                    <a:pt x="741" y="888"/>
                  </a:lnTo>
                  <a:lnTo>
                    <a:pt x="699" y="892"/>
                  </a:lnTo>
                  <a:lnTo>
                    <a:pt x="652" y="866"/>
                  </a:lnTo>
                  <a:lnTo>
                    <a:pt x="593" y="879"/>
                  </a:lnTo>
                  <a:lnTo>
                    <a:pt x="529" y="922"/>
                  </a:lnTo>
                  <a:lnTo>
                    <a:pt x="491" y="922"/>
                  </a:lnTo>
                  <a:lnTo>
                    <a:pt x="402" y="900"/>
                  </a:lnTo>
                  <a:lnTo>
                    <a:pt x="301" y="837"/>
                  </a:lnTo>
                  <a:lnTo>
                    <a:pt x="237" y="833"/>
                  </a:lnTo>
                  <a:lnTo>
                    <a:pt x="237" y="769"/>
                  </a:lnTo>
                  <a:lnTo>
                    <a:pt x="178" y="748"/>
                  </a:lnTo>
                  <a:lnTo>
                    <a:pt x="144" y="659"/>
                  </a:lnTo>
                  <a:lnTo>
                    <a:pt x="93" y="625"/>
                  </a:lnTo>
                  <a:lnTo>
                    <a:pt x="68" y="583"/>
                  </a:lnTo>
                  <a:lnTo>
                    <a:pt x="0" y="558"/>
                  </a:lnTo>
                  <a:lnTo>
                    <a:pt x="17" y="515"/>
                  </a:lnTo>
                  <a:lnTo>
                    <a:pt x="63" y="515"/>
                  </a:lnTo>
                  <a:lnTo>
                    <a:pt x="89" y="494"/>
                  </a:lnTo>
                  <a:lnTo>
                    <a:pt x="102" y="338"/>
                  </a:lnTo>
                  <a:lnTo>
                    <a:pt x="157" y="300"/>
                  </a:lnTo>
                  <a:lnTo>
                    <a:pt x="169" y="236"/>
                  </a:lnTo>
                  <a:lnTo>
                    <a:pt x="262" y="130"/>
                  </a:lnTo>
                  <a:lnTo>
                    <a:pt x="288" y="4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6" name="Freeform 771"/>
            <p:cNvSpPr>
              <a:spLocks noChangeArrowheads="1"/>
            </p:cNvSpPr>
            <p:nvPr/>
          </p:nvSpPr>
          <p:spPr bwMode="auto">
            <a:xfrm>
              <a:off x="5233988" y="3302000"/>
              <a:ext cx="452437" cy="331788"/>
            </a:xfrm>
            <a:custGeom>
              <a:avLst/>
              <a:gdLst/>
              <a:ahLst/>
              <a:cxnLst>
                <a:cxn ang="0">
                  <a:pos x="288" y="41"/>
                </a:cxn>
                <a:cxn ang="0">
                  <a:pos x="376" y="30"/>
                </a:cxn>
                <a:cxn ang="0">
                  <a:pos x="400" y="58"/>
                </a:cxn>
                <a:cxn ang="0">
                  <a:pos x="430" y="0"/>
                </a:cxn>
                <a:cxn ang="0">
                  <a:pos x="500" y="14"/>
                </a:cxn>
                <a:cxn ang="0">
                  <a:pos x="591" y="14"/>
                </a:cxn>
                <a:cxn ang="0">
                  <a:pos x="665" y="54"/>
                </a:cxn>
                <a:cxn ang="0">
                  <a:pos x="767" y="190"/>
                </a:cxn>
                <a:cxn ang="0">
                  <a:pos x="737" y="278"/>
                </a:cxn>
                <a:cxn ang="0">
                  <a:pos x="745" y="304"/>
                </a:cxn>
                <a:cxn ang="0">
                  <a:pos x="805" y="287"/>
                </a:cxn>
                <a:cxn ang="0">
                  <a:pos x="826" y="304"/>
                </a:cxn>
                <a:cxn ang="0">
                  <a:pos x="826" y="359"/>
                </a:cxn>
                <a:cxn ang="0">
                  <a:pos x="919" y="456"/>
                </a:cxn>
                <a:cxn ang="0">
                  <a:pos x="1173" y="549"/>
                </a:cxn>
                <a:cxn ang="0">
                  <a:pos x="1254" y="541"/>
                </a:cxn>
                <a:cxn ang="0">
                  <a:pos x="1237" y="570"/>
                </a:cxn>
                <a:cxn ang="0">
                  <a:pos x="1004" y="795"/>
                </a:cxn>
                <a:cxn ang="0">
                  <a:pos x="906" y="803"/>
                </a:cxn>
                <a:cxn ang="0">
                  <a:pos x="741" y="888"/>
                </a:cxn>
                <a:cxn ang="0">
                  <a:pos x="699" y="892"/>
                </a:cxn>
                <a:cxn ang="0">
                  <a:pos x="652" y="866"/>
                </a:cxn>
                <a:cxn ang="0">
                  <a:pos x="593" y="879"/>
                </a:cxn>
                <a:cxn ang="0">
                  <a:pos x="529" y="922"/>
                </a:cxn>
                <a:cxn ang="0">
                  <a:pos x="491" y="922"/>
                </a:cxn>
                <a:cxn ang="0">
                  <a:pos x="402" y="900"/>
                </a:cxn>
                <a:cxn ang="0">
                  <a:pos x="301" y="837"/>
                </a:cxn>
                <a:cxn ang="0">
                  <a:pos x="237" y="833"/>
                </a:cxn>
                <a:cxn ang="0">
                  <a:pos x="237" y="769"/>
                </a:cxn>
                <a:cxn ang="0">
                  <a:pos x="178" y="748"/>
                </a:cxn>
                <a:cxn ang="0">
                  <a:pos x="144" y="659"/>
                </a:cxn>
                <a:cxn ang="0">
                  <a:pos x="93" y="625"/>
                </a:cxn>
                <a:cxn ang="0">
                  <a:pos x="68" y="583"/>
                </a:cxn>
                <a:cxn ang="0">
                  <a:pos x="0" y="558"/>
                </a:cxn>
                <a:cxn ang="0">
                  <a:pos x="17" y="515"/>
                </a:cxn>
                <a:cxn ang="0">
                  <a:pos x="63" y="515"/>
                </a:cxn>
                <a:cxn ang="0">
                  <a:pos x="89" y="494"/>
                </a:cxn>
                <a:cxn ang="0">
                  <a:pos x="102" y="338"/>
                </a:cxn>
                <a:cxn ang="0">
                  <a:pos x="157" y="300"/>
                </a:cxn>
                <a:cxn ang="0">
                  <a:pos x="169" y="236"/>
                </a:cxn>
                <a:cxn ang="0">
                  <a:pos x="262" y="130"/>
                </a:cxn>
                <a:cxn ang="0">
                  <a:pos x="288" y="41"/>
                </a:cxn>
              </a:cxnLst>
              <a:rect l="0" t="0" r="r" b="b"/>
              <a:pathLst>
                <a:path w="1255" h="923">
                  <a:moveTo>
                    <a:pt x="288" y="41"/>
                  </a:moveTo>
                  <a:lnTo>
                    <a:pt x="376" y="30"/>
                  </a:lnTo>
                  <a:lnTo>
                    <a:pt x="400" y="58"/>
                  </a:lnTo>
                  <a:lnTo>
                    <a:pt x="430" y="0"/>
                  </a:lnTo>
                  <a:lnTo>
                    <a:pt x="500" y="14"/>
                  </a:lnTo>
                  <a:lnTo>
                    <a:pt x="591" y="14"/>
                  </a:lnTo>
                  <a:lnTo>
                    <a:pt x="665" y="54"/>
                  </a:lnTo>
                  <a:lnTo>
                    <a:pt x="767" y="190"/>
                  </a:lnTo>
                  <a:lnTo>
                    <a:pt x="737" y="278"/>
                  </a:lnTo>
                  <a:lnTo>
                    <a:pt x="745" y="304"/>
                  </a:lnTo>
                  <a:lnTo>
                    <a:pt x="805" y="287"/>
                  </a:lnTo>
                  <a:lnTo>
                    <a:pt x="826" y="304"/>
                  </a:lnTo>
                  <a:lnTo>
                    <a:pt x="826" y="359"/>
                  </a:lnTo>
                  <a:lnTo>
                    <a:pt x="919" y="456"/>
                  </a:lnTo>
                  <a:lnTo>
                    <a:pt x="1173" y="549"/>
                  </a:lnTo>
                  <a:lnTo>
                    <a:pt x="1254" y="541"/>
                  </a:lnTo>
                  <a:lnTo>
                    <a:pt x="1237" y="570"/>
                  </a:lnTo>
                  <a:lnTo>
                    <a:pt x="1004" y="795"/>
                  </a:lnTo>
                  <a:lnTo>
                    <a:pt x="906" y="803"/>
                  </a:lnTo>
                  <a:lnTo>
                    <a:pt x="741" y="888"/>
                  </a:lnTo>
                  <a:lnTo>
                    <a:pt x="699" y="892"/>
                  </a:lnTo>
                  <a:lnTo>
                    <a:pt x="652" y="866"/>
                  </a:lnTo>
                  <a:lnTo>
                    <a:pt x="593" y="879"/>
                  </a:lnTo>
                  <a:lnTo>
                    <a:pt x="529" y="922"/>
                  </a:lnTo>
                  <a:lnTo>
                    <a:pt x="491" y="922"/>
                  </a:lnTo>
                  <a:lnTo>
                    <a:pt x="402" y="900"/>
                  </a:lnTo>
                  <a:lnTo>
                    <a:pt x="301" y="837"/>
                  </a:lnTo>
                  <a:lnTo>
                    <a:pt x="237" y="833"/>
                  </a:lnTo>
                  <a:lnTo>
                    <a:pt x="237" y="769"/>
                  </a:lnTo>
                  <a:lnTo>
                    <a:pt x="178" y="748"/>
                  </a:lnTo>
                  <a:lnTo>
                    <a:pt x="144" y="659"/>
                  </a:lnTo>
                  <a:lnTo>
                    <a:pt x="93" y="625"/>
                  </a:lnTo>
                  <a:lnTo>
                    <a:pt x="68" y="583"/>
                  </a:lnTo>
                  <a:lnTo>
                    <a:pt x="0" y="558"/>
                  </a:lnTo>
                  <a:lnTo>
                    <a:pt x="17" y="515"/>
                  </a:lnTo>
                  <a:lnTo>
                    <a:pt x="63" y="515"/>
                  </a:lnTo>
                  <a:lnTo>
                    <a:pt x="89" y="494"/>
                  </a:lnTo>
                  <a:lnTo>
                    <a:pt x="102" y="338"/>
                  </a:lnTo>
                  <a:lnTo>
                    <a:pt x="157" y="300"/>
                  </a:lnTo>
                  <a:lnTo>
                    <a:pt x="169" y="236"/>
                  </a:lnTo>
                  <a:lnTo>
                    <a:pt x="262" y="130"/>
                  </a:lnTo>
                  <a:lnTo>
                    <a:pt x="288" y="4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7" name="Freeform 772"/>
            <p:cNvSpPr>
              <a:spLocks noChangeArrowheads="1"/>
            </p:cNvSpPr>
            <p:nvPr/>
          </p:nvSpPr>
          <p:spPr bwMode="auto">
            <a:xfrm>
              <a:off x="5233988" y="3302000"/>
              <a:ext cx="452437" cy="331788"/>
            </a:xfrm>
            <a:custGeom>
              <a:avLst/>
              <a:gdLst/>
              <a:ahLst/>
              <a:cxnLst>
                <a:cxn ang="0">
                  <a:pos x="288" y="41"/>
                </a:cxn>
                <a:cxn ang="0">
                  <a:pos x="376" y="30"/>
                </a:cxn>
                <a:cxn ang="0">
                  <a:pos x="400" y="58"/>
                </a:cxn>
                <a:cxn ang="0">
                  <a:pos x="430" y="0"/>
                </a:cxn>
                <a:cxn ang="0">
                  <a:pos x="500" y="14"/>
                </a:cxn>
                <a:cxn ang="0">
                  <a:pos x="591" y="14"/>
                </a:cxn>
                <a:cxn ang="0">
                  <a:pos x="665" y="54"/>
                </a:cxn>
                <a:cxn ang="0">
                  <a:pos x="767" y="190"/>
                </a:cxn>
                <a:cxn ang="0">
                  <a:pos x="737" y="278"/>
                </a:cxn>
                <a:cxn ang="0">
                  <a:pos x="745" y="304"/>
                </a:cxn>
                <a:cxn ang="0">
                  <a:pos x="805" y="287"/>
                </a:cxn>
                <a:cxn ang="0">
                  <a:pos x="826" y="304"/>
                </a:cxn>
                <a:cxn ang="0">
                  <a:pos x="826" y="359"/>
                </a:cxn>
                <a:cxn ang="0">
                  <a:pos x="919" y="456"/>
                </a:cxn>
                <a:cxn ang="0">
                  <a:pos x="1173" y="549"/>
                </a:cxn>
                <a:cxn ang="0">
                  <a:pos x="1254" y="541"/>
                </a:cxn>
                <a:cxn ang="0">
                  <a:pos x="1237" y="570"/>
                </a:cxn>
                <a:cxn ang="0">
                  <a:pos x="1004" y="795"/>
                </a:cxn>
                <a:cxn ang="0">
                  <a:pos x="906" y="803"/>
                </a:cxn>
                <a:cxn ang="0">
                  <a:pos x="741" y="888"/>
                </a:cxn>
                <a:cxn ang="0">
                  <a:pos x="699" y="892"/>
                </a:cxn>
                <a:cxn ang="0">
                  <a:pos x="652" y="866"/>
                </a:cxn>
                <a:cxn ang="0">
                  <a:pos x="593" y="879"/>
                </a:cxn>
                <a:cxn ang="0">
                  <a:pos x="529" y="922"/>
                </a:cxn>
                <a:cxn ang="0">
                  <a:pos x="491" y="922"/>
                </a:cxn>
                <a:cxn ang="0">
                  <a:pos x="402" y="900"/>
                </a:cxn>
                <a:cxn ang="0">
                  <a:pos x="301" y="837"/>
                </a:cxn>
                <a:cxn ang="0">
                  <a:pos x="237" y="833"/>
                </a:cxn>
                <a:cxn ang="0">
                  <a:pos x="237" y="769"/>
                </a:cxn>
                <a:cxn ang="0">
                  <a:pos x="178" y="748"/>
                </a:cxn>
                <a:cxn ang="0">
                  <a:pos x="144" y="659"/>
                </a:cxn>
                <a:cxn ang="0">
                  <a:pos x="93" y="625"/>
                </a:cxn>
                <a:cxn ang="0">
                  <a:pos x="68" y="583"/>
                </a:cxn>
                <a:cxn ang="0">
                  <a:pos x="0" y="558"/>
                </a:cxn>
                <a:cxn ang="0">
                  <a:pos x="17" y="515"/>
                </a:cxn>
                <a:cxn ang="0">
                  <a:pos x="63" y="515"/>
                </a:cxn>
                <a:cxn ang="0">
                  <a:pos x="89" y="494"/>
                </a:cxn>
                <a:cxn ang="0">
                  <a:pos x="102" y="338"/>
                </a:cxn>
                <a:cxn ang="0">
                  <a:pos x="157" y="300"/>
                </a:cxn>
                <a:cxn ang="0">
                  <a:pos x="169" y="236"/>
                </a:cxn>
                <a:cxn ang="0">
                  <a:pos x="262" y="130"/>
                </a:cxn>
                <a:cxn ang="0">
                  <a:pos x="288" y="41"/>
                </a:cxn>
              </a:cxnLst>
              <a:rect l="0" t="0" r="r" b="b"/>
              <a:pathLst>
                <a:path w="1255" h="923">
                  <a:moveTo>
                    <a:pt x="288" y="41"/>
                  </a:moveTo>
                  <a:lnTo>
                    <a:pt x="376" y="30"/>
                  </a:lnTo>
                  <a:lnTo>
                    <a:pt x="400" y="58"/>
                  </a:lnTo>
                  <a:lnTo>
                    <a:pt x="430" y="0"/>
                  </a:lnTo>
                  <a:lnTo>
                    <a:pt x="500" y="14"/>
                  </a:lnTo>
                  <a:lnTo>
                    <a:pt x="591" y="14"/>
                  </a:lnTo>
                  <a:lnTo>
                    <a:pt x="665" y="54"/>
                  </a:lnTo>
                  <a:lnTo>
                    <a:pt x="767" y="190"/>
                  </a:lnTo>
                  <a:lnTo>
                    <a:pt x="737" y="278"/>
                  </a:lnTo>
                  <a:lnTo>
                    <a:pt x="745" y="304"/>
                  </a:lnTo>
                  <a:lnTo>
                    <a:pt x="805" y="287"/>
                  </a:lnTo>
                  <a:lnTo>
                    <a:pt x="826" y="304"/>
                  </a:lnTo>
                  <a:lnTo>
                    <a:pt x="826" y="359"/>
                  </a:lnTo>
                  <a:lnTo>
                    <a:pt x="919" y="456"/>
                  </a:lnTo>
                  <a:lnTo>
                    <a:pt x="1173" y="549"/>
                  </a:lnTo>
                  <a:lnTo>
                    <a:pt x="1254" y="541"/>
                  </a:lnTo>
                  <a:lnTo>
                    <a:pt x="1237" y="570"/>
                  </a:lnTo>
                  <a:lnTo>
                    <a:pt x="1004" y="795"/>
                  </a:lnTo>
                  <a:lnTo>
                    <a:pt x="906" y="803"/>
                  </a:lnTo>
                  <a:lnTo>
                    <a:pt x="741" y="888"/>
                  </a:lnTo>
                  <a:lnTo>
                    <a:pt x="699" y="892"/>
                  </a:lnTo>
                  <a:lnTo>
                    <a:pt x="652" y="866"/>
                  </a:lnTo>
                  <a:lnTo>
                    <a:pt x="593" y="879"/>
                  </a:lnTo>
                  <a:lnTo>
                    <a:pt x="529" y="922"/>
                  </a:lnTo>
                  <a:lnTo>
                    <a:pt x="491" y="922"/>
                  </a:lnTo>
                  <a:lnTo>
                    <a:pt x="402" y="900"/>
                  </a:lnTo>
                  <a:lnTo>
                    <a:pt x="301" y="837"/>
                  </a:lnTo>
                  <a:lnTo>
                    <a:pt x="237" y="833"/>
                  </a:lnTo>
                  <a:lnTo>
                    <a:pt x="237" y="769"/>
                  </a:lnTo>
                  <a:lnTo>
                    <a:pt x="178" y="748"/>
                  </a:lnTo>
                  <a:lnTo>
                    <a:pt x="144" y="659"/>
                  </a:lnTo>
                  <a:lnTo>
                    <a:pt x="93" y="625"/>
                  </a:lnTo>
                  <a:lnTo>
                    <a:pt x="68" y="583"/>
                  </a:lnTo>
                  <a:lnTo>
                    <a:pt x="0" y="558"/>
                  </a:lnTo>
                  <a:lnTo>
                    <a:pt x="17" y="515"/>
                  </a:lnTo>
                  <a:lnTo>
                    <a:pt x="63" y="515"/>
                  </a:lnTo>
                  <a:lnTo>
                    <a:pt x="89" y="494"/>
                  </a:lnTo>
                  <a:lnTo>
                    <a:pt x="102" y="338"/>
                  </a:lnTo>
                  <a:lnTo>
                    <a:pt x="157" y="300"/>
                  </a:lnTo>
                  <a:lnTo>
                    <a:pt x="169" y="236"/>
                  </a:lnTo>
                  <a:lnTo>
                    <a:pt x="262" y="130"/>
                  </a:lnTo>
                  <a:lnTo>
                    <a:pt x="288" y="41"/>
                  </a:lnTo>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8" name="Freeform 773"/>
            <p:cNvSpPr>
              <a:spLocks noChangeArrowheads="1"/>
            </p:cNvSpPr>
            <p:nvPr/>
          </p:nvSpPr>
          <p:spPr bwMode="auto">
            <a:xfrm>
              <a:off x="5233988" y="3302000"/>
              <a:ext cx="452437" cy="331788"/>
            </a:xfrm>
            <a:custGeom>
              <a:avLst/>
              <a:gdLst/>
              <a:ahLst/>
              <a:cxnLst>
                <a:cxn ang="0">
                  <a:pos x="288" y="41"/>
                </a:cxn>
                <a:cxn ang="0">
                  <a:pos x="376" y="30"/>
                </a:cxn>
                <a:cxn ang="0">
                  <a:pos x="400" y="58"/>
                </a:cxn>
                <a:cxn ang="0">
                  <a:pos x="430" y="0"/>
                </a:cxn>
                <a:cxn ang="0">
                  <a:pos x="500" y="14"/>
                </a:cxn>
                <a:cxn ang="0">
                  <a:pos x="591" y="14"/>
                </a:cxn>
                <a:cxn ang="0">
                  <a:pos x="665" y="54"/>
                </a:cxn>
                <a:cxn ang="0">
                  <a:pos x="767" y="190"/>
                </a:cxn>
                <a:cxn ang="0">
                  <a:pos x="737" y="278"/>
                </a:cxn>
                <a:cxn ang="0">
                  <a:pos x="745" y="304"/>
                </a:cxn>
                <a:cxn ang="0">
                  <a:pos x="805" y="287"/>
                </a:cxn>
                <a:cxn ang="0">
                  <a:pos x="826" y="304"/>
                </a:cxn>
                <a:cxn ang="0">
                  <a:pos x="826" y="359"/>
                </a:cxn>
                <a:cxn ang="0">
                  <a:pos x="919" y="456"/>
                </a:cxn>
                <a:cxn ang="0">
                  <a:pos x="1173" y="549"/>
                </a:cxn>
                <a:cxn ang="0">
                  <a:pos x="1254" y="541"/>
                </a:cxn>
                <a:cxn ang="0">
                  <a:pos x="1237" y="570"/>
                </a:cxn>
                <a:cxn ang="0">
                  <a:pos x="1004" y="795"/>
                </a:cxn>
                <a:cxn ang="0">
                  <a:pos x="906" y="803"/>
                </a:cxn>
                <a:cxn ang="0">
                  <a:pos x="741" y="888"/>
                </a:cxn>
                <a:cxn ang="0">
                  <a:pos x="699" y="892"/>
                </a:cxn>
                <a:cxn ang="0">
                  <a:pos x="652" y="866"/>
                </a:cxn>
                <a:cxn ang="0">
                  <a:pos x="593" y="879"/>
                </a:cxn>
                <a:cxn ang="0">
                  <a:pos x="529" y="922"/>
                </a:cxn>
                <a:cxn ang="0">
                  <a:pos x="491" y="922"/>
                </a:cxn>
                <a:cxn ang="0">
                  <a:pos x="402" y="900"/>
                </a:cxn>
                <a:cxn ang="0">
                  <a:pos x="301" y="837"/>
                </a:cxn>
                <a:cxn ang="0">
                  <a:pos x="237" y="833"/>
                </a:cxn>
                <a:cxn ang="0">
                  <a:pos x="237" y="769"/>
                </a:cxn>
                <a:cxn ang="0">
                  <a:pos x="178" y="748"/>
                </a:cxn>
                <a:cxn ang="0">
                  <a:pos x="144" y="659"/>
                </a:cxn>
                <a:cxn ang="0">
                  <a:pos x="93" y="625"/>
                </a:cxn>
                <a:cxn ang="0">
                  <a:pos x="68" y="583"/>
                </a:cxn>
                <a:cxn ang="0">
                  <a:pos x="0" y="558"/>
                </a:cxn>
                <a:cxn ang="0">
                  <a:pos x="17" y="515"/>
                </a:cxn>
                <a:cxn ang="0">
                  <a:pos x="63" y="515"/>
                </a:cxn>
                <a:cxn ang="0">
                  <a:pos x="89" y="494"/>
                </a:cxn>
                <a:cxn ang="0">
                  <a:pos x="102" y="338"/>
                </a:cxn>
                <a:cxn ang="0">
                  <a:pos x="157" y="300"/>
                </a:cxn>
                <a:cxn ang="0">
                  <a:pos x="169" y="236"/>
                </a:cxn>
                <a:cxn ang="0">
                  <a:pos x="262" y="130"/>
                </a:cxn>
                <a:cxn ang="0">
                  <a:pos x="288" y="41"/>
                </a:cxn>
              </a:cxnLst>
              <a:rect l="0" t="0" r="r" b="b"/>
              <a:pathLst>
                <a:path w="1255" h="923">
                  <a:moveTo>
                    <a:pt x="288" y="41"/>
                  </a:moveTo>
                  <a:lnTo>
                    <a:pt x="376" y="30"/>
                  </a:lnTo>
                  <a:lnTo>
                    <a:pt x="400" y="58"/>
                  </a:lnTo>
                  <a:lnTo>
                    <a:pt x="430" y="0"/>
                  </a:lnTo>
                  <a:lnTo>
                    <a:pt x="500" y="14"/>
                  </a:lnTo>
                  <a:lnTo>
                    <a:pt x="591" y="14"/>
                  </a:lnTo>
                  <a:lnTo>
                    <a:pt x="665" y="54"/>
                  </a:lnTo>
                  <a:lnTo>
                    <a:pt x="767" y="190"/>
                  </a:lnTo>
                  <a:lnTo>
                    <a:pt x="737" y="278"/>
                  </a:lnTo>
                  <a:lnTo>
                    <a:pt x="745" y="304"/>
                  </a:lnTo>
                  <a:lnTo>
                    <a:pt x="805" y="287"/>
                  </a:lnTo>
                  <a:lnTo>
                    <a:pt x="826" y="304"/>
                  </a:lnTo>
                  <a:lnTo>
                    <a:pt x="826" y="359"/>
                  </a:lnTo>
                  <a:lnTo>
                    <a:pt x="919" y="456"/>
                  </a:lnTo>
                  <a:lnTo>
                    <a:pt x="1173" y="549"/>
                  </a:lnTo>
                  <a:lnTo>
                    <a:pt x="1254" y="541"/>
                  </a:lnTo>
                  <a:lnTo>
                    <a:pt x="1237" y="570"/>
                  </a:lnTo>
                  <a:lnTo>
                    <a:pt x="1004" y="795"/>
                  </a:lnTo>
                  <a:lnTo>
                    <a:pt x="906" y="803"/>
                  </a:lnTo>
                  <a:lnTo>
                    <a:pt x="741" y="888"/>
                  </a:lnTo>
                  <a:lnTo>
                    <a:pt x="699" y="892"/>
                  </a:lnTo>
                  <a:lnTo>
                    <a:pt x="652" y="866"/>
                  </a:lnTo>
                  <a:lnTo>
                    <a:pt x="593" y="879"/>
                  </a:lnTo>
                  <a:lnTo>
                    <a:pt x="529" y="922"/>
                  </a:lnTo>
                  <a:lnTo>
                    <a:pt x="491" y="922"/>
                  </a:lnTo>
                  <a:lnTo>
                    <a:pt x="402" y="900"/>
                  </a:lnTo>
                  <a:lnTo>
                    <a:pt x="301" y="837"/>
                  </a:lnTo>
                  <a:lnTo>
                    <a:pt x="237" y="833"/>
                  </a:lnTo>
                  <a:lnTo>
                    <a:pt x="237" y="769"/>
                  </a:lnTo>
                  <a:lnTo>
                    <a:pt x="178" y="748"/>
                  </a:lnTo>
                  <a:lnTo>
                    <a:pt x="144" y="659"/>
                  </a:lnTo>
                  <a:lnTo>
                    <a:pt x="93" y="625"/>
                  </a:lnTo>
                  <a:lnTo>
                    <a:pt x="68" y="583"/>
                  </a:lnTo>
                  <a:lnTo>
                    <a:pt x="0" y="558"/>
                  </a:lnTo>
                  <a:lnTo>
                    <a:pt x="17" y="515"/>
                  </a:lnTo>
                  <a:lnTo>
                    <a:pt x="63" y="515"/>
                  </a:lnTo>
                  <a:lnTo>
                    <a:pt x="89" y="494"/>
                  </a:lnTo>
                  <a:lnTo>
                    <a:pt x="102" y="338"/>
                  </a:lnTo>
                  <a:lnTo>
                    <a:pt x="157" y="300"/>
                  </a:lnTo>
                  <a:lnTo>
                    <a:pt x="169" y="236"/>
                  </a:lnTo>
                  <a:lnTo>
                    <a:pt x="262" y="130"/>
                  </a:lnTo>
                  <a:lnTo>
                    <a:pt x="288" y="41"/>
                  </a:lnTo>
                </a:path>
              </a:pathLst>
            </a:custGeom>
            <a:noFill/>
            <a:ln w="360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9" name="Freeform 774"/>
            <p:cNvSpPr>
              <a:spLocks noChangeArrowheads="1"/>
            </p:cNvSpPr>
            <p:nvPr/>
          </p:nvSpPr>
          <p:spPr bwMode="auto">
            <a:xfrm>
              <a:off x="3325813" y="206375"/>
              <a:ext cx="800100" cy="1274763"/>
            </a:xfrm>
            <a:custGeom>
              <a:avLst/>
              <a:gdLst/>
              <a:ahLst/>
              <a:cxnLst>
                <a:cxn ang="0">
                  <a:pos x="4" y="3409"/>
                </a:cxn>
                <a:cxn ang="0">
                  <a:pos x="3" y="3409"/>
                </a:cxn>
                <a:cxn ang="0">
                  <a:pos x="2" y="3409"/>
                </a:cxn>
                <a:cxn ang="0">
                  <a:pos x="0" y="3409"/>
                </a:cxn>
                <a:cxn ang="0">
                  <a:pos x="4" y="3409"/>
                </a:cxn>
                <a:cxn ang="0">
                  <a:pos x="195" y="3409"/>
                </a:cxn>
                <a:cxn ang="0">
                  <a:pos x="195" y="3409"/>
                </a:cxn>
                <a:cxn ang="0">
                  <a:pos x="193" y="3409"/>
                </a:cxn>
                <a:cxn ang="0">
                  <a:pos x="190" y="3409"/>
                </a:cxn>
                <a:cxn ang="0">
                  <a:pos x="195" y="3409"/>
                </a:cxn>
                <a:cxn ang="0">
                  <a:pos x="449" y="3409"/>
                </a:cxn>
                <a:cxn ang="0">
                  <a:pos x="444" y="3448"/>
                </a:cxn>
                <a:cxn ang="0">
                  <a:pos x="439" y="3452"/>
                </a:cxn>
                <a:cxn ang="0">
                  <a:pos x="392" y="3455"/>
                </a:cxn>
                <a:cxn ang="0">
                  <a:pos x="416" y="3468"/>
                </a:cxn>
                <a:cxn ang="0">
                  <a:pos x="418" y="3471"/>
                </a:cxn>
                <a:cxn ang="0">
                  <a:pos x="431" y="3518"/>
                </a:cxn>
                <a:cxn ang="0">
                  <a:pos x="430" y="3522"/>
                </a:cxn>
                <a:cxn ang="0">
                  <a:pos x="426" y="3524"/>
                </a:cxn>
                <a:cxn ang="0">
                  <a:pos x="345" y="3520"/>
                </a:cxn>
                <a:cxn ang="0">
                  <a:pos x="341" y="3516"/>
                </a:cxn>
                <a:cxn ang="0">
                  <a:pos x="339" y="3502"/>
                </a:cxn>
                <a:cxn ang="0">
                  <a:pos x="294" y="3540"/>
                </a:cxn>
                <a:cxn ang="0">
                  <a:pos x="291" y="3541"/>
                </a:cxn>
                <a:cxn ang="0">
                  <a:pos x="288" y="3540"/>
                </a:cxn>
                <a:cxn ang="0">
                  <a:pos x="246" y="3515"/>
                </a:cxn>
                <a:cxn ang="0">
                  <a:pos x="244" y="3509"/>
                </a:cxn>
                <a:cxn ang="0">
                  <a:pos x="260" y="3461"/>
                </a:cxn>
                <a:cxn ang="0">
                  <a:pos x="247" y="3472"/>
                </a:cxn>
                <a:cxn ang="0">
                  <a:pos x="244" y="3473"/>
                </a:cxn>
                <a:cxn ang="0">
                  <a:pos x="242" y="3473"/>
                </a:cxn>
                <a:cxn ang="0">
                  <a:pos x="239" y="3469"/>
                </a:cxn>
                <a:cxn ang="0">
                  <a:pos x="237" y="3444"/>
                </a:cxn>
                <a:cxn ang="0">
                  <a:pos x="222" y="3466"/>
                </a:cxn>
                <a:cxn ang="0">
                  <a:pos x="218" y="3468"/>
                </a:cxn>
                <a:cxn ang="0">
                  <a:pos x="214" y="3466"/>
                </a:cxn>
                <a:cxn ang="0">
                  <a:pos x="197" y="3428"/>
                </a:cxn>
                <a:cxn ang="0">
                  <a:pos x="197" y="3423"/>
                </a:cxn>
                <a:cxn ang="0">
                  <a:pos x="206" y="3409"/>
                </a:cxn>
                <a:cxn ang="0">
                  <a:pos x="449" y="3409"/>
                </a:cxn>
                <a:cxn ang="0">
                  <a:pos x="2221" y="0"/>
                </a:cxn>
                <a:cxn ang="0">
                  <a:pos x="2222" y="0"/>
                </a:cxn>
                <a:cxn ang="0">
                  <a:pos x="2222" y="1"/>
                </a:cxn>
                <a:cxn ang="0">
                  <a:pos x="2221" y="0"/>
                </a:cxn>
              </a:cxnLst>
              <a:rect l="0" t="0" r="r" b="b"/>
              <a:pathLst>
                <a:path w="2223" h="3542">
                  <a:moveTo>
                    <a:pt x="4" y="3409"/>
                  </a:moveTo>
                  <a:lnTo>
                    <a:pt x="3" y="3409"/>
                  </a:lnTo>
                  <a:lnTo>
                    <a:pt x="2" y="3409"/>
                  </a:lnTo>
                  <a:cubicBezTo>
                    <a:pt x="1" y="3409"/>
                    <a:pt x="1" y="3409"/>
                    <a:pt x="0" y="3409"/>
                  </a:cubicBezTo>
                  <a:lnTo>
                    <a:pt x="4" y="3409"/>
                  </a:lnTo>
                  <a:close/>
                  <a:moveTo>
                    <a:pt x="195" y="3409"/>
                  </a:moveTo>
                  <a:lnTo>
                    <a:pt x="195" y="3409"/>
                  </a:lnTo>
                  <a:lnTo>
                    <a:pt x="193" y="3409"/>
                  </a:lnTo>
                  <a:cubicBezTo>
                    <a:pt x="192" y="3409"/>
                    <a:pt x="191" y="3409"/>
                    <a:pt x="190" y="3409"/>
                  </a:cubicBezTo>
                  <a:lnTo>
                    <a:pt x="195" y="3409"/>
                  </a:lnTo>
                  <a:close/>
                  <a:moveTo>
                    <a:pt x="449" y="3409"/>
                  </a:moveTo>
                  <a:lnTo>
                    <a:pt x="444" y="3448"/>
                  </a:lnTo>
                  <a:cubicBezTo>
                    <a:pt x="443" y="3450"/>
                    <a:pt x="442" y="3452"/>
                    <a:pt x="439" y="3452"/>
                  </a:cubicBezTo>
                  <a:lnTo>
                    <a:pt x="392" y="3455"/>
                  </a:lnTo>
                  <a:lnTo>
                    <a:pt x="416" y="3468"/>
                  </a:lnTo>
                  <a:cubicBezTo>
                    <a:pt x="417" y="3469"/>
                    <a:pt x="418" y="3470"/>
                    <a:pt x="418" y="3471"/>
                  </a:cubicBezTo>
                  <a:lnTo>
                    <a:pt x="431" y="3518"/>
                  </a:lnTo>
                  <a:cubicBezTo>
                    <a:pt x="431" y="3519"/>
                    <a:pt x="431" y="3521"/>
                    <a:pt x="430" y="3522"/>
                  </a:cubicBezTo>
                  <a:cubicBezTo>
                    <a:pt x="429" y="3523"/>
                    <a:pt x="428" y="3524"/>
                    <a:pt x="426" y="3524"/>
                  </a:cubicBezTo>
                  <a:lnTo>
                    <a:pt x="345" y="3520"/>
                  </a:lnTo>
                  <a:cubicBezTo>
                    <a:pt x="343" y="3519"/>
                    <a:pt x="341" y="3518"/>
                    <a:pt x="341" y="3516"/>
                  </a:cubicBezTo>
                  <a:lnTo>
                    <a:pt x="339" y="3502"/>
                  </a:lnTo>
                  <a:lnTo>
                    <a:pt x="294" y="3540"/>
                  </a:lnTo>
                  <a:lnTo>
                    <a:pt x="291" y="3541"/>
                  </a:lnTo>
                  <a:cubicBezTo>
                    <a:pt x="290" y="3541"/>
                    <a:pt x="289" y="3541"/>
                    <a:pt x="288" y="3540"/>
                  </a:cubicBezTo>
                  <a:lnTo>
                    <a:pt x="246" y="3515"/>
                  </a:lnTo>
                  <a:cubicBezTo>
                    <a:pt x="244" y="3513"/>
                    <a:pt x="243" y="3511"/>
                    <a:pt x="244" y="3509"/>
                  </a:cubicBezTo>
                  <a:lnTo>
                    <a:pt x="260" y="3461"/>
                  </a:lnTo>
                  <a:lnTo>
                    <a:pt x="247" y="3472"/>
                  </a:lnTo>
                  <a:cubicBezTo>
                    <a:pt x="246" y="3473"/>
                    <a:pt x="245" y="3473"/>
                    <a:pt x="244" y="3473"/>
                  </a:cubicBezTo>
                  <a:lnTo>
                    <a:pt x="242" y="3473"/>
                  </a:lnTo>
                  <a:cubicBezTo>
                    <a:pt x="241" y="3472"/>
                    <a:pt x="240" y="3471"/>
                    <a:pt x="239" y="3469"/>
                  </a:cubicBezTo>
                  <a:lnTo>
                    <a:pt x="237" y="3444"/>
                  </a:lnTo>
                  <a:lnTo>
                    <a:pt x="222" y="3466"/>
                  </a:lnTo>
                  <a:cubicBezTo>
                    <a:pt x="221" y="3468"/>
                    <a:pt x="220" y="3468"/>
                    <a:pt x="218" y="3468"/>
                  </a:cubicBezTo>
                  <a:cubicBezTo>
                    <a:pt x="216" y="3468"/>
                    <a:pt x="215" y="3467"/>
                    <a:pt x="214" y="3466"/>
                  </a:cubicBezTo>
                  <a:lnTo>
                    <a:pt x="197" y="3428"/>
                  </a:lnTo>
                  <a:lnTo>
                    <a:pt x="197" y="3423"/>
                  </a:lnTo>
                  <a:lnTo>
                    <a:pt x="206" y="3409"/>
                  </a:lnTo>
                  <a:lnTo>
                    <a:pt x="449" y="3409"/>
                  </a:lnTo>
                  <a:close/>
                  <a:moveTo>
                    <a:pt x="2221" y="0"/>
                  </a:moveTo>
                  <a:lnTo>
                    <a:pt x="2222" y="0"/>
                  </a:lnTo>
                  <a:cubicBezTo>
                    <a:pt x="2222" y="0"/>
                    <a:pt x="2222" y="1"/>
                    <a:pt x="2222" y="1"/>
                  </a:cubicBezTo>
                  <a:lnTo>
                    <a:pt x="2221" y="0"/>
                  </a:lnTo>
                  <a:close/>
                </a:path>
              </a:pathLst>
            </a:custGeom>
            <a:solidFill>
              <a:srgbClr val="E0DCD7"/>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0" name="Freeform 775"/>
            <p:cNvSpPr>
              <a:spLocks noChangeArrowheads="1"/>
            </p:cNvSpPr>
            <p:nvPr/>
          </p:nvSpPr>
          <p:spPr bwMode="auto">
            <a:xfrm>
              <a:off x="3325813" y="1433513"/>
              <a:ext cx="161925" cy="47625"/>
            </a:xfrm>
            <a:custGeom>
              <a:avLst/>
              <a:gdLst/>
              <a:ahLst/>
              <a:cxnLst>
                <a:cxn ang="0">
                  <a:pos x="294" y="131"/>
                </a:cxn>
                <a:cxn ang="0">
                  <a:pos x="339" y="93"/>
                </a:cxn>
                <a:cxn ang="0">
                  <a:pos x="341" y="107"/>
                </a:cxn>
                <a:cxn ang="0">
                  <a:pos x="345" y="111"/>
                </a:cxn>
                <a:cxn ang="0">
                  <a:pos x="426" y="115"/>
                </a:cxn>
                <a:cxn ang="0">
                  <a:pos x="430" y="113"/>
                </a:cxn>
                <a:cxn ang="0">
                  <a:pos x="431" y="109"/>
                </a:cxn>
                <a:cxn ang="0">
                  <a:pos x="418" y="62"/>
                </a:cxn>
                <a:cxn ang="0">
                  <a:pos x="416" y="59"/>
                </a:cxn>
                <a:cxn ang="0">
                  <a:pos x="392" y="46"/>
                </a:cxn>
                <a:cxn ang="0">
                  <a:pos x="439" y="43"/>
                </a:cxn>
                <a:cxn ang="0">
                  <a:pos x="444" y="39"/>
                </a:cxn>
                <a:cxn ang="0">
                  <a:pos x="449" y="0"/>
                </a:cxn>
                <a:cxn ang="0">
                  <a:pos x="0" y="0"/>
                </a:cxn>
                <a:cxn ang="0">
                  <a:pos x="2" y="0"/>
                </a:cxn>
                <a:cxn ang="0">
                  <a:pos x="3" y="0"/>
                </a:cxn>
                <a:cxn ang="0">
                  <a:pos x="4" y="0"/>
                </a:cxn>
                <a:cxn ang="0">
                  <a:pos x="190" y="0"/>
                </a:cxn>
                <a:cxn ang="0">
                  <a:pos x="193" y="0"/>
                </a:cxn>
                <a:cxn ang="0">
                  <a:pos x="195" y="0"/>
                </a:cxn>
                <a:cxn ang="0">
                  <a:pos x="195" y="0"/>
                </a:cxn>
                <a:cxn ang="0">
                  <a:pos x="206" y="0"/>
                </a:cxn>
                <a:cxn ang="0">
                  <a:pos x="197" y="14"/>
                </a:cxn>
                <a:cxn ang="0">
                  <a:pos x="197" y="19"/>
                </a:cxn>
                <a:cxn ang="0">
                  <a:pos x="214" y="57"/>
                </a:cxn>
                <a:cxn ang="0">
                  <a:pos x="218" y="59"/>
                </a:cxn>
                <a:cxn ang="0">
                  <a:pos x="218" y="59"/>
                </a:cxn>
                <a:cxn ang="0">
                  <a:pos x="222" y="57"/>
                </a:cxn>
                <a:cxn ang="0">
                  <a:pos x="237" y="35"/>
                </a:cxn>
                <a:cxn ang="0">
                  <a:pos x="239" y="60"/>
                </a:cxn>
                <a:cxn ang="0">
                  <a:pos x="242" y="64"/>
                </a:cxn>
                <a:cxn ang="0">
                  <a:pos x="244" y="64"/>
                </a:cxn>
                <a:cxn ang="0">
                  <a:pos x="247" y="63"/>
                </a:cxn>
                <a:cxn ang="0">
                  <a:pos x="260" y="52"/>
                </a:cxn>
                <a:cxn ang="0">
                  <a:pos x="244" y="100"/>
                </a:cxn>
                <a:cxn ang="0">
                  <a:pos x="246" y="106"/>
                </a:cxn>
                <a:cxn ang="0">
                  <a:pos x="288" y="131"/>
                </a:cxn>
                <a:cxn ang="0">
                  <a:pos x="291" y="132"/>
                </a:cxn>
                <a:cxn ang="0">
                  <a:pos x="291" y="132"/>
                </a:cxn>
              </a:cxnLst>
              <a:rect l="0" t="0" r="r" b="b"/>
              <a:pathLst>
                <a:path w="450" h="133">
                  <a:moveTo>
                    <a:pt x="294" y="131"/>
                  </a:moveTo>
                  <a:lnTo>
                    <a:pt x="339" y="93"/>
                  </a:lnTo>
                  <a:lnTo>
                    <a:pt x="341" y="107"/>
                  </a:lnTo>
                  <a:cubicBezTo>
                    <a:pt x="341" y="109"/>
                    <a:pt x="343" y="110"/>
                    <a:pt x="345" y="111"/>
                  </a:cubicBezTo>
                  <a:lnTo>
                    <a:pt x="426" y="115"/>
                  </a:lnTo>
                  <a:cubicBezTo>
                    <a:pt x="428" y="115"/>
                    <a:pt x="429" y="114"/>
                    <a:pt x="430" y="113"/>
                  </a:cubicBezTo>
                  <a:cubicBezTo>
                    <a:pt x="431" y="112"/>
                    <a:pt x="431" y="110"/>
                    <a:pt x="431" y="109"/>
                  </a:cubicBezTo>
                  <a:lnTo>
                    <a:pt x="418" y="62"/>
                  </a:lnTo>
                  <a:cubicBezTo>
                    <a:pt x="418" y="61"/>
                    <a:pt x="417" y="60"/>
                    <a:pt x="416" y="59"/>
                  </a:cubicBezTo>
                  <a:lnTo>
                    <a:pt x="392" y="46"/>
                  </a:lnTo>
                  <a:lnTo>
                    <a:pt x="439" y="43"/>
                  </a:lnTo>
                  <a:cubicBezTo>
                    <a:pt x="442" y="43"/>
                    <a:pt x="443" y="41"/>
                    <a:pt x="444" y="39"/>
                  </a:cubicBezTo>
                  <a:lnTo>
                    <a:pt x="449" y="0"/>
                  </a:lnTo>
                  <a:close/>
                  <a:moveTo>
                    <a:pt x="0" y="0"/>
                  </a:moveTo>
                  <a:cubicBezTo>
                    <a:pt x="1" y="0"/>
                    <a:pt x="1" y="0"/>
                    <a:pt x="2" y="0"/>
                  </a:cubicBezTo>
                  <a:cubicBezTo>
                    <a:pt x="3" y="0"/>
                    <a:pt x="3" y="0"/>
                    <a:pt x="3" y="0"/>
                  </a:cubicBezTo>
                  <a:lnTo>
                    <a:pt x="4" y="0"/>
                  </a:lnTo>
                  <a:close/>
                  <a:moveTo>
                    <a:pt x="190" y="0"/>
                  </a:moveTo>
                  <a:cubicBezTo>
                    <a:pt x="191" y="0"/>
                    <a:pt x="192" y="0"/>
                    <a:pt x="193" y="0"/>
                  </a:cubicBezTo>
                  <a:cubicBezTo>
                    <a:pt x="194" y="0"/>
                    <a:pt x="195" y="0"/>
                    <a:pt x="195" y="0"/>
                  </a:cubicBezTo>
                  <a:lnTo>
                    <a:pt x="195" y="0"/>
                  </a:lnTo>
                  <a:close/>
                  <a:moveTo>
                    <a:pt x="206" y="0"/>
                  </a:moveTo>
                  <a:lnTo>
                    <a:pt x="197" y="14"/>
                  </a:lnTo>
                  <a:cubicBezTo>
                    <a:pt x="197" y="16"/>
                    <a:pt x="197" y="17"/>
                    <a:pt x="197" y="19"/>
                  </a:cubicBezTo>
                  <a:lnTo>
                    <a:pt x="214" y="57"/>
                  </a:lnTo>
                  <a:cubicBezTo>
                    <a:pt x="215" y="58"/>
                    <a:pt x="216" y="59"/>
                    <a:pt x="218" y="59"/>
                  </a:cubicBezTo>
                  <a:lnTo>
                    <a:pt x="218" y="59"/>
                  </a:lnTo>
                  <a:cubicBezTo>
                    <a:pt x="220" y="59"/>
                    <a:pt x="221" y="59"/>
                    <a:pt x="222" y="57"/>
                  </a:cubicBezTo>
                  <a:lnTo>
                    <a:pt x="237" y="35"/>
                  </a:lnTo>
                  <a:lnTo>
                    <a:pt x="239" y="60"/>
                  </a:lnTo>
                  <a:cubicBezTo>
                    <a:pt x="240" y="62"/>
                    <a:pt x="241" y="63"/>
                    <a:pt x="242" y="64"/>
                  </a:cubicBezTo>
                  <a:cubicBezTo>
                    <a:pt x="243" y="64"/>
                    <a:pt x="243" y="64"/>
                    <a:pt x="244" y="64"/>
                  </a:cubicBezTo>
                  <a:cubicBezTo>
                    <a:pt x="245" y="64"/>
                    <a:pt x="246" y="64"/>
                    <a:pt x="247" y="63"/>
                  </a:cubicBezTo>
                  <a:lnTo>
                    <a:pt x="260" y="52"/>
                  </a:lnTo>
                  <a:lnTo>
                    <a:pt x="244" y="100"/>
                  </a:lnTo>
                  <a:cubicBezTo>
                    <a:pt x="243" y="102"/>
                    <a:pt x="244" y="104"/>
                    <a:pt x="246" y="106"/>
                  </a:cubicBezTo>
                  <a:lnTo>
                    <a:pt x="288" y="131"/>
                  </a:lnTo>
                  <a:cubicBezTo>
                    <a:pt x="289" y="132"/>
                    <a:pt x="290" y="132"/>
                    <a:pt x="291" y="132"/>
                  </a:cubicBezTo>
                  <a:lnTo>
                    <a:pt x="291" y="132"/>
                  </a:lnTo>
                  <a:close/>
                </a:path>
              </a:pathLst>
            </a:custGeom>
            <a:noFill/>
            <a:ln w="3600" cap="rnd">
              <a:solidFill>
                <a:srgbClr val="FFFFFF"/>
              </a:solidFill>
              <a:round/>
              <a:headEnd/>
              <a:tailEnd/>
            </a:ln>
            <a:effectLst/>
          </p:spPr>
          <p:txBody>
            <a:bodyPr>
              <a:prstTxWarp prst="textNoShape">
                <a:avLst/>
              </a:prstTxWarp>
            </a:bodyPr>
            <a:lstStyle/>
            <a:p>
              <a:pPr>
                <a:buNone/>
              </a:pPr>
              <a:endParaRPr lang="en-US" dirty="0">
                <a:latin typeface="Arial" pitchFamily="34" charset="0"/>
                <a:cs typeface="Arial" pitchFamily="34" charset="0"/>
              </a:endParaRPr>
            </a:p>
          </p:txBody>
        </p:sp>
      </p:grpSp>
      <p:grpSp>
        <p:nvGrpSpPr>
          <p:cNvPr id="781" name="Group 8"/>
          <p:cNvGrpSpPr/>
          <p:nvPr/>
        </p:nvGrpSpPr>
        <p:grpSpPr>
          <a:xfrm>
            <a:off x="1018337" y="1563356"/>
            <a:ext cx="10044230" cy="4517653"/>
            <a:chOff x="1255807" y="1685925"/>
            <a:chExt cx="7456393" cy="3353706"/>
          </a:xfrm>
        </p:grpSpPr>
        <p:sp>
          <p:nvSpPr>
            <p:cNvPr id="782" name="Freeform 1"/>
            <p:cNvSpPr>
              <a:spLocks noChangeArrowheads="1"/>
            </p:cNvSpPr>
            <p:nvPr/>
          </p:nvSpPr>
          <p:spPr bwMode="auto">
            <a:xfrm>
              <a:off x="8567738" y="2452688"/>
              <a:ext cx="144462"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8"/>
                  </a:cubicBezTo>
                  <a:cubicBezTo>
                    <a:pt x="228" y="544"/>
                    <a:pt x="199" y="661"/>
                    <a:pt x="199" y="661"/>
                  </a:cubicBezTo>
                  <a:cubicBezTo>
                    <a:pt x="199" y="661"/>
                    <a:pt x="170" y="545"/>
                    <a:pt x="118" y="438"/>
                  </a:cubicBezTo>
                  <a:cubicBezTo>
                    <a:pt x="70" y="342"/>
                    <a:pt x="0" y="297"/>
                    <a:pt x="0" y="199"/>
                  </a:cubicBezTo>
                  <a:cubicBezTo>
                    <a:pt x="0" y="89"/>
                    <a:pt x="89" y="0"/>
                    <a:pt x="199" y="0"/>
                  </a:cubicBezTo>
                  <a:lnTo>
                    <a:pt x="199" y="0"/>
                  </a:lnTo>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3" name="Freeform 2"/>
            <p:cNvSpPr>
              <a:spLocks noChangeArrowheads="1"/>
            </p:cNvSpPr>
            <p:nvPr/>
          </p:nvSpPr>
          <p:spPr bwMode="auto">
            <a:xfrm>
              <a:off x="8567738" y="2452688"/>
              <a:ext cx="144462"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8"/>
                  </a:cubicBezTo>
                  <a:cubicBezTo>
                    <a:pt x="228" y="544"/>
                    <a:pt x="199" y="661"/>
                    <a:pt x="199" y="661"/>
                  </a:cubicBezTo>
                  <a:cubicBezTo>
                    <a:pt x="199" y="661"/>
                    <a:pt x="170" y="545"/>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4" name="Freeform 3"/>
            <p:cNvSpPr>
              <a:spLocks noChangeArrowheads="1"/>
            </p:cNvSpPr>
            <p:nvPr/>
          </p:nvSpPr>
          <p:spPr bwMode="auto">
            <a:xfrm>
              <a:off x="8543925" y="2478088"/>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5" name="Freeform 4"/>
            <p:cNvSpPr>
              <a:spLocks noChangeArrowheads="1"/>
            </p:cNvSpPr>
            <p:nvPr/>
          </p:nvSpPr>
          <p:spPr bwMode="auto">
            <a:xfrm>
              <a:off x="8543925" y="2478088"/>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6" name="Freeform 5"/>
            <p:cNvSpPr>
              <a:spLocks noChangeArrowheads="1"/>
            </p:cNvSpPr>
            <p:nvPr/>
          </p:nvSpPr>
          <p:spPr bwMode="auto">
            <a:xfrm>
              <a:off x="7577138" y="3268663"/>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90"/>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7" name="Freeform 6"/>
            <p:cNvSpPr>
              <a:spLocks noChangeArrowheads="1"/>
            </p:cNvSpPr>
            <p:nvPr/>
          </p:nvSpPr>
          <p:spPr bwMode="auto">
            <a:xfrm>
              <a:off x="7577138" y="3268663"/>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90"/>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8" name="Freeform 7"/>
            <p:cNvSpPr>
              <a:spLocks noChangeArrowheads="1"/>
            </p:cNvSpPr>
            <p:nvPr/>
          </p:nvSpPr>
          <p:spPr bwMode="auto">
            <a:xfrm>
              <a:off x="7532688" y="2935288"/>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6"/>
                    <a:pt x="329" y="342"/>
                    <a:pt x="281" y="438"/>
                  </a:cubicBezTo>
                  <a:cubicBezTo>
                    <a:pt x="229" y="544"/>
                    <a:pt x="200" y="661"/>
                    <a:pt x="200" y="661"/>
                  </a:cubicBezTo>
                  <a:cubicBezTo>
                    <a:pt x="200" y="661"/>
                    <a:pt x="171" y="544"/>
                    <a:pt x="119" y="438"/>
                  </a:cubicBezTo>
                  <a:cubicBezTo>
                    <a:pt x="71" y="342"/>
                    <a:pt x="0" y="296"/>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9" name="Freeform 8"/>
            <p:cNvSpPr>
              <a:spLocks noChangeArrowheads="1"/>
            </p:cNvSpPr>
            <p:nvPr/>
          </p:nvSpPr>
          <p:spPr bwMode="auto">
            <a:xfrm>
              <a:off x="7532688" y="2935288"/>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6"/>
                    <a:pt x="329" y="342"/>
                    <a:pt x="281" y="438"/>
                  </a:cubicBezTo>
                  <a:cubicBezTo>
                    <a:pt x="229" y="544"/>
                    <a:pt x="200" y="661"/>
                    <a:pt x="200" y="661"/>
                  </a:cubicBezTo>
                  <a:cubicBezTo>
                    <a:pt x="200" y="661"/>
                    <a:pt x="171" y="544"/>
                    <a:pt x="119" y="438"/>
                  </a:cubicBezTo>
                  <a:cubicBezTo>
                    <a:pt x="71" y="342"/>
                    <a:pt x="0" y="296"/>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0" name="Freeform 9"/>
            <p:cNvSpPr>
              <a:spLocks noChangeArrowheads="1"/>
            </p:cNvSpPr>
            <p:nvPr/>
          </p:nvSpPr>
          <p:spPr bwMode="auto">
            <a:xfrm>
              <a:off x="7812088" y="2306638"/>
              <a:ext cx="144462" cy="238125"/>
            </a:xfrm>
            <a:custGeom>
              <a:avLst/>
              <a:gdLst/>
              <a:ahLst/>
              <a:cxnLst>
                <a:cxn ang="0">
                  <a:pos x="200" y="0"/>
                </a:cxn>
                <a:cxn ang="0">
                  <a:pos x="399" y="200"/>
                </a:cxn>
                <a:cxn ang="0">
                  <a:pos x="281" y="439"/>
                </a:cxn>
                <a:cxn ang="0">
                  <a:pos x="200" y="661"/>
                </a:cxn>
                <a:cxn ang="0">
                  <a:pos x="118"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0" y="545"/>
                    <a:pt x="118" y="439"/>
                  </a:cubicBezTo>
                  <a:cubicBezTo>
                    <a:pt x="71" y="342"/>
                    <a:pt x="0" y="297"/>
                    <a:pt x="0" y="200"/>
                  </a:cubicBezTo>
                  <a:cubicBezTo>
                    <a:pt x="0" y="90"/>
                    <a:pt x="89"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1" name="Freeform 10"/>
            <p:cNvSpPr>
              <a:spLocks noChangeArrowheads="1"/>
            </p:cNvSpPr>
            <p:nvPr/>
          </p:nvSpPr>
          <p:spPr bwMode="auto">
            <a:xfrm>
              <a:off x="7812088" y="2306638"/>
              <a:ext cx="144462" cy="238125"/>
            </a:xfrm>
            <a:custGeom>
              <a:avLst/>
              <a:gdLst/>
              <a:ahLst/>
              <a:cxnLst>
                <a:cxn ang="0">
                  <a:pos x="200" y="0"/>
                </a:cxn>
                <a:cxn ang="0">
                  <a:pos x="399" y="200"/>
                </a:cxn>
                <a:cxn ang="0">
                  <a:pos x="281" y="439"/>
                </a:cxn>
                <a:cxn ang="0">
                  <a:pos x="200" y="661"/>
                </a:cxn>
                <a:cxn ang="0">
                  <a:pos x="118"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0" y="545"/>
                    <a:pt x="118" y="439"/>
                  </a:cubicBezTo>
                  <a:cubicBezTo>
                    <a:pt x="71" y="342"/>
                    <a:pt x="0" y="297"/>
                    <a:pt x="0" y="200"/>
                  </a:cubicBezTo>
                  <a:cubicBezTo>
                    <a:pt x="0" y="90"/>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2" name="Freeform 11"/>
            <p:cNvSpPr>
              <a:spLocks noChangeArrowheads="1"/>
            </p:cNvSpPr>
            <p:nvPr/>
          </p:nvSpPr>
          <p:spPr bwMode="auto">
            <a:xfrm>
              <a:off x="7826375" y="2320925"/>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3" name="Freeform 12"/>
            <p:cNvSpPr>
              <a:spLocks noChangeArrowheads="1"/>
            </p:cNvSpPr>
            <p:nvPr/>
          </p:nvSpPr>
          <p:spPr bwMode="auto">
            <a:xfrm>
              <a:off x="7826375" y="2320925"/>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4" name="Freeform 13"/>
            <p:cNvSpPr>
              <a:spLocks noChangeArrowheads="1"/>
            </p:cNvSpPr>
            <p:nvPr/>
          </p:nvSpPr>
          <p:spPr bwMode="auto">
            <a:xfrm>
              <a:off x="7840663" y="2335213"/>
              <a:ext cx="144462" cy="238125"/>
            </a:xfrm>
            <a:custGeom>
              <a:avLst/>
              <a:gdLst/>
              <a:ahLst/>
              <a:cxnLst>
                <a:cxn ang="0">
                  <a:pos x="200" y="0"/>
                </a:cxn>
                <a:cxn ang="0">
                  <a:pos x="399" y="199"/>
                </a:cxn>
                <a:cxn ang="0">
                  <a:pos x="281" y="438"/>
                </a:cxn>
                <a:cxn ang="0">
                  <a:pos x="200" y="660"/>
                </a:cxn>
                <a:cxn ang="0">
                  <a:pos x="119" y="438"/>
                </a:cxn>
                <a:cxn ang="0">
                  <a:pos x="0" y="199"/>
                </a:cxn>
                <a:cxn ang="0">
                  <a:pos x="200"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1" y="544"/>
                    <a:pt x="119" y="438"/>
                  </a:cubicBezTo>
                  <a:cubicBezTo>
                    <a:pt x="71" y="342"/>
                    <a:pt x="0" y="296"/>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5" name="Freeform 14"/>
            <p:cNvSpPr>
              <a:spLocks noChangeArrowheads="1"/>
            </p:cNvSpPr>
            <p:nvPr/>
          </p:nvSpPr>
          <p:spPr bwMode="auto">
            <a:xfrm>
              <a:off x="7840663" y="2335213"/>
              <a:ext cx="144462" cy="238125"/>
            </a:xfrm>
            <a:custGeom>
              <a:avLst/>
              <a:gdLst/>
              <a:ahLst/>
              <a:cxnLst>
                <a:cxn ang="0">
                  <a:pos x="200" y="0"/>
                </a:cxn>
                <a:cxn ang="0">
                  <a:pos x="399" y="199"/>
                </a:cxn>
                <a:cxn ang="0">
                  <a:pos x="281" y="438"/>
                </a:cxn>
                <a:cxn ang="0">
                  <a:pos x="200" y="660"/>
                </a:cxn>
                <a:cxn ang="0">
                  <a:pos x="119" y="438"/>
                </a:cxn>
                <a:cxn ang="0">
                  <a:pos x="0" y="199"/>
                </a:cxn>
                <a:cxn ang="0">
                  <a:pos x="200"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1" y="544"/>
                    <a:pt x="119" y="438"/>
                  </a:cubicBezTo>
                  <a:cubicBezTo>
                    <a:pt x="71" y="342"/>
                    <a:pt x="0" y="296"/>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6" name="Freeform 15"/>
            <p:cNvSpPr>
              <a:spLocks noChangeArrowheads="1"/>
            </p:cNvSpPr>
            <p:nvPr/>
          </p:nvSpPr>
          <p:spPr bwMode="auto">
            <a:xfrm>
              <a:off x="7823200" y="2370138"/>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7" name="Freeform 16"/>
            <p:cNvSpPr>
              <a:spLocks noChangeArrowheads="1"/>
            </p:cNvSpPr>
            <p:nvPr/>
          </p:nvSpPr>
          <p:spPr bwMode="auto">
            <a:xfrm>
              <a:off x="7823200" y="2370138"/>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8" name="Freeform 17"/>
            <p:cNvSpPr>
              <a:spLocks noChangeArrowheads="1"/>
            </p:cNvSpPr>
            <p:nvPr/>
          </p:nvSpPr>
          <p:spPr bwMode="auto">
            <a:xfrm>
              <a:off x="7859713" y="235743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99" name="Freeform 18"/>
            <p:cNvSpPr>
              <a:spLocks noChangeArrowheads="1"/>
            </p:cNvSpPr>
            <p:nvPr/>
          </p:nvSpPr>
          <p:spPr bwMode="auto">
            <a:xfrm>
              <a:off x="7859713" y="235743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0" name="Freeform 19"/>
            <p:cNvSpPr>
              <a:spLocks noChangeArrowheads="1"/>
            </p:cNvSpPr>
            <p:nvPr/>
          </p:nvSpPr>
          <p:spPr bwMode="auto">
            <a:xfrm>
              <a:off x="7904163" y="240665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1" name="Freeform 20"/>
            <p:cNvSpPr>
              <a:spLocks noChangeArrowheads="1"/>
            </p:cNvSpPr>
            <p:nvPr/>
          </p:nvSpPr>
          <p:spPr bwMode="auto">
            <a:xfrm>
              <a:off x="7904163" y="240665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2" name="Freeform 21"/>
            <p:cNvSpPr>
              <a:spLocks noChangeArrowheads="1"/>
            </p:cNvSpPr>
            <p:nvPr/>
          </p:nvSpPr>
          <p:spPr bwMode="auto">
            <a:xfrm>
              <a:off x="7959725" y="2439988"/>
              <a:ext cx="144463" cy="238125"/>
            </a:xfrm>
            <a:custGeom>
              <a:avLst/>
              <a:gdLst/>
              <a:ahLst/>
              <a:cxnLst>
                <a:cxn ang="0">
                  <a:pos x="199" y="0"/>
                </a:cxn>
                <a:cxn ang="0">
                  <a:pos x="399" y="199"/>
                </a:cxn>
                <a:cxn ang="0">
                  <a:pos x="281" y="438"/>
                </a:cxn>
                <a:cxn ang="0">
                  <a:pos x="200"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9" y="545"/>
                    <a:pt x="200" y="661"/>
                    <a:pt x="200" y="661"/>
                  </a:cubicBezTo>
                  <a:cubicBezTo>
                    <a:pt x="200" y="661"/>
                    <a:pt x="170" y="545"/>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3" name="Freeform 22"/>
            <p:cNvSpPr>
              <a:spLocks noChangeArrowheads="1"/>
            </p:cNvSpPr>
            <p:nvPr/>
          </p:nvSpPr>
          <p:spPr bwMode="auto">
            <a:xfrm>
              <a:off x="7959725" y="2439988"/>
              <a:ext cx="144463" cy="238125"/>
            </a:xfrm>
            <a:custGeom>
              <a:avLst/>
              <a:gdLst/>
              <a:ahLst/>
              <a:cxnLst>
                <a:cxn ang="0">
                  <a:pos x="199" y="0"/>
                </a:cxn>
                <a:cxn ang="0">
                  <a:pos x="399" y="199"/>
                </a:cxn>
                <a:cxn ang="0">
                  <a:pos x="281" y="438"/>
                </a:cxn>
                <a:cxn ang="0">
                  <a:pos x="200"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9" y="545"/>
                    <a:pt x="200" y="661"/>
                    <a:pt x="200" y="661"/>
                  </a:cubicBezTo>
                  <a:cubicBezTo>
                    <a:pt x="200"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4" name="Freeform 23"/>
            <p:cNvSpPr>
              <a:spLocks noChangeArrowheads="1"/>
            </p:cNvSpPr>
            <p:nvPr/>
          </p:nvSpPr>
          <p:spPr bwMode="auto">
            <a:xfrm>
              <a:off x="7829550" y="2541588"/>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8"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5" name="Freeform 24"/>
            <p:cNvSpPr>
              <a:spLocks noChangeArrowheads="1"/>
            </p:cNvSpPr>
            <p:nvPr/>
          </p:nvSpPr>
          <p:spPr bwMode="auto">
            <a:xfrm>
              <a:off x="7829550" y="2541588"/>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8"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6" name="Freeform 25"/>
            <p:cNvSpPr>
              <a:spLocks noChangeArrowheads="1"/>
            </p:cNvSpPr>
            <p:nvPr/>
          </p:nvSpPr>
          <p:spPr bwMode="auto">
            <a:xfrm>
              <a:off x="7908925" y="2519363"/>
              <a:ext cx="144463" cy="238125"/>
            </a:xfrm>
            <a:custGeom>
              <a:avLst/>
              <a:gdLst/>
              <a:ahLst/>
              <a:cxnLst>
                <a:cxn ang="0">
                  <a:pos x="199" y="0"/>
                </a:cxn>
                <a:cxn ang="0">
                  <a:pos x="399" y="199"/>
                </a:cxn>
                <a:cxn ang="0">
                  <a:pos x="281" y="438"/>
                </a:cxn>
                <a:cxn ang="0">
                  <a:pos x="200" y="660"/>
                </a:cxn>
                <a:cxn ang="0">
                  <a:pos x="118" y="438"/>
                </a:cxn>
                <a:cxn ang="0">
                  <a:pos x="0" y="199"/>
                </a:cxn>
                <a:cxn ang="0">
                  <a:pos x="199" y="0"/>
                </a:cxn>
                <a:cxn ang="0">
                  <a:pos x="199" y="0"/>
                </a:cxn>
              </a:cxnLst>
              <a:rect l="0" t="0" r="r" b="b"/>
              <a:pathLst>
                <a:path w="400" h="661">
                  <a:moveTo>
                    <a:pt x="199" y="0"/>
                  </a:moveTo>
                  <a:cubicBezTo>
                    <a:pt x="310" y="0"/>
                    <a:pt x="399" y="89"/>
                    <a:pt x="399" y="199"/>
                  </a:cubicBezTo>
                  <a:cubicBezTo>
                    <a:pt x="399" y="296"/>
                    <a:pt x="328" y="342"/>
                    <a:pt x="281" y="438"/>
                  </a:cubicBezTo>
                  <a:cubicBezTo>
                    <a:pt x="229" y="544"/>
                    <a:pt x="200" y="660"/>
                    <a:pt x="200" y="660"/>
                  </a:cubicBezTo>
                  <a:cubicBezTo>
                    <a:pt x="200" y="660"/>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7" name="Freeform 26"/>
            <p:cNvSpPr>
              <a:spLocks noChangeArrowheads="1"/>
            </p:cNvSpPr>
            <p:nvPr/>
          </p:nvSpPr>
          <p:spPr bwMode="auto">
            <a:xfrm>
              <a:off x="7908925" y="2519363"/>
              <a:ext cx="144463" cy="238125"/>
            </a:xfrm>
            <a:custGeom>
              <a:avLst/>
              <a:gdLst/>
              <a:ahLst/>
              <a:cxnLst>
                <a:cxn ang="0">
                  <a:pos x="199" y="0"/>
                </a:cxn>
                <a:cxn ang="0">
                  <a:pos x="399" y="199"/>
                </a:cxn>
                <a:cxn ang="0">
                  <a:pos x="281" y="438"/>
                </a:cxn>
                <a:cxn ang="0">
                  <a:pos x="200" y="660"/>
                </a:cxn>
                <a:cxn ang="0">
                  <a:pos x="118" y="438"/>
                </a:cxn>
                <a:cxn ang="0">
                  <a:pos x="0" y="199"/>
                </a:cxn>
                <a:cxn ang="0">
                  <a:pos x="199" y="0"/>
                </a:cxn>
                <a:cxn ang="0">
                  <a:pos x="199" y="0"/>
                </a:cxn>
              </a:cxnLst>
              <a:rect l="0" t="0" r="r" b="b"/>
              <a:pathLst>
                <a:path w="400" h="661">
                  <a:moveTo>
                    <a:pt x="199" y="0"/>
                  </a:moveTo>
                  <a:cubicBezTo>
                    <a:pt x="310" y="0"/>
                    <a:pt x="399" y="89"/>
                    <a:pt x="399" y="199"/>
                  </a:cubicBezTo>
                  <a:cubicBezTo>
                    <a:pt x="399" y="296"/>
                    <a:pt x="328" y="342"/>
                    <a:pt x="281" y="438"/>
                  </a:cubicBezTo>
                  <a:cubicBezTo>
                    <a:pt x="229" y="544"/>
                    <a:pt x="200" y="660"/>
                    <a:pt x="200" y="660"/>
                  </a:cubicBezTo>
                  <a:cubicBezTo>
                    <a:pt x="200" y="660"/>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8" name="Freeform 27"/>
            <p:cNvSpPr>
              <a:spLocks noChangeArrowheads="1"/>
            </p:cNvSpPr>
            <p:nvPr/>
          </p:nvSpPr>
          <p:spPr bwMode="auto">
            <a:xfrm>
              <a:off x="7951788" y="256381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9" name="Freeform 28"/>
            <p:cNvSpPr>
              <a:spLocks noChangeArrowheads="1"/>
            </p:cNvSpPr>
            <p:nvPr/>
          </p:nvSpPr>
          <p:spPr bwMode="auto">
            <a:xfrm>
              <a:off x="7951788" y="256381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0" name="Freeform 29"/>
            <p:cNvSpPr>
              <a:spLocks noChangeArrowheads="1"/>
            </p:cNvSpPr>
            <p:nvPr/>
          </p:nvSpPr>
          <p:spPr bwMode="auto">
            <a:xfrm>
              <a:off x="8020050" y="2565400"/>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1" name="Freeform 30"/>
            <p:cNvSpPr>
              <a:spLocks noChangeArrowheads="1"/>
            </p:cNvSpPr>
            <p:nvPr/>
          </p:nvSpPr>
          <p:spPr bwMode="auto">
            <a:xfrm>
              <a:off x="8020050" y="2565400"/>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2" name="Freeform 31"/>
            <p:cNvSpPr>
              <a:spLocks noChangeArrowheads="1"/>
            </p:cNvSpPr>
            <p:nvPr/>
          </p:nvSpPr>
          <p:spPr bwMode="auto">
            <a:xfrm>
              <a:off x="7988300" y="2595563"/>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90"/>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3" name="Freeform 32"/>
            <p:cNvSpPr>
              <a:spLocks noChangeArrowheads="1"/>
            </p:cNvSpPr>
            <p:nvPr/>
          </p:nvSpPr>
          <p:spPr bwMode="auto">
            <a:xfrm>
              <a:off x="7988300" y="2595563"/>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90"/>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4" name="Freeform 33"/>
            <p:cNvSpPr>
              <a:spLocks noChangeArrowheads="1"/>
            </p:cNvSpPr>
            <p:nvPr/>
          </p:nvSpPr>
          <p:spPr bwMode="auto">
            <a:xfrm>
              <a:off x="8027988" y="2587625"/>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5" name="Freeform 34"/>
            <p:cNvSpPr>
              <a:spLocks noChangeArrowheads="1"/>
            </p:cNvSpPr>
            <p:nvPr/>
          </p:nvSpPr>
          <p:spPr bwMode="auto">
            <a:xfrm>
              <a:off x="8027988" y="2587625"/>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6" name="Freeform 35"/>
            <p:cNvSpPr>
              <a:spLocks noChangeArrowheads="1"/>
            </p:cNvSpPr>
            <p:nvPr/>
          </p:nvSpPr>
          <p:spPr bwMode="auto">
            <a:xfrm>
              <a:off x="8002588" y="2609850"/>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7" name="Freeform 36"/>
            <p:cNvSpPr>
              <a:spLocks noChangeArrowheads="1"/>
            </p:cNvSpPr>
            <p:nvPr/>
          </p:nvSpPr>
          <p:spPr bwMode="auto">
            <a:xfrm>
              <a:off x="8002588" y="2609850"/>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8" name="Freeform 37"/>
            <p:cNvSpPr>
              <a:spLocks noChangeArrowheads="1"/>
            </p:cNvSpPr>
            <p:nvPr/>
          </p:nvSpPr>
          <p:spPr bwMode="auto">
            <a:xfrm>
              <a:off x="8020050" y="2620963"/>
              <a:ext cx="144463"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9" name="Freeform 38"/>
            <p:cNvSpPr>
              <a:spLocks noChangeArrowheads="1"/>
            </p:cNvSpPr>
            <p:nvPr/>
          </p:nvSpPr>
          <p:spPr bwMode="auto">
            <a:xfrm>
              <a:off x="8020050" y="2620963"/>
              <a:ext cx="144463"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0" name="Freeform 39"/>
            <p:cNvSpPr>
              <a:spLocks noChangeArrowheads="1"/>
            </p:cNvSpPr>
            <p:nvPr/>
          </p:nvSpPr>
          <p:spPr bwMode="auto">
            <a:xfrm>
              <a:off x="8048625" y="2600325"/>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0" y="545"/>
                    <a:pt x="118" y="438"/>
                  </a:cubicBezTo>
                  <a:cubicBezTo>
                    <a:pt x="71" y="342"/>
                    <a:pt x="0" y="297"/>
                    <a:pt x="0" y="199"/>
                  </a:cubicBezTo>
                  <a:cubicBezTo>
                    <a:pt x="0" y="89"/>
                    <a:pt x="89"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1" name="Freeform 40"/>
            <p:cNvSpPr>
              <a:spLocks noChangeArrowheads="1"/>
            </p:cNvSpPr>
            <p:nvPr/>
          </p:nvSpPr>
          <p:spPr bwMode="auto">
            <a:xfrm>
              <a:off x="8048625" y="2600325"/>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0" y="545"/>
                    <a:pt x="118" y="438"/>
                  </a:cubicBezTo>
                  <a:cubicBezTo>
                    <a:pt x="71" y="342"/>
                    <a:pt x="0" y="297"/>
                    <a:pt x="0" y="199"/>
                  </a:cubicBezTo>
                  <a:cubicBezTo>
                    <a:pt x="0" y="89"/>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2" name="Freeform 41"/>
            <p:cNvSpPr>
              <a:spLocks noChangeArrowheads="1"/>
            </p:cNvSpPr>
            <p:nvPr/>
          </p:nvSpPr>
          <p:spPr bwMode="auto">
            <a:xfrm>
              <a:off x="7904163" y="2613025"/>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3" name="Freeform 42"/>
            <p:cNvSpPr>
              <a:spLocks noChangeArrowheads="1"/>
            </p:cNvSpPr>
            <p:nvPr/>
          </p:nvSpPr>
          <p:spPr bwMode="auto">
            <a:xfrm>
              <a:off x="7904163" y="2613025"/>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4" name="Freeform 43"/>
            <p:cNvSpPr>
              <a:spLocks noChangeArrowheads="1"/>
            </p:cNvSpPr>
            <p:nvPr/>
          </p:nvSpPr>
          <p:spPr bwMode="auto">
            <a:xfrm>
              <a:off x="7908925" y="2630488"/>
              <a:ext cx="144463" cy="238125"/>
            </a:xfrm>
            <a:custGeom>
              <a:avLst/>
              <a:gdLst/>
              <a:ahLst/>
              <a:cxnLst>
                <a:cxn ang="0">
                  <a:pos x="199" y="0"/>
                </a:cxn>
                <a:cxn ang="0">
                  <a:pos x="399" y="200"/>
                </a:cxn>
                <a:cxn ang="0">
                  <a:pos x="281" y="439"/>
                </a:cxn>
                <a:cxn ang="0">
                  <a:pos x="200" y="661"/>
                </a:cxn>
                <a:cxn ang="0">
                  <a:pos x="118" y="439"/>
                </a:cxn>
                <a:cxn ang="0">
                  <a:pos x="0" y="200"/>
                </a:cxn>
                <a:cxn ang="0">
                  <a:pos x="199" y="0"/>
                </a:cxn>
                <a:cxn ang="0">
                  <a:pos x="199" y="0"/>
                </a:cxn>
              </a:cxnLst>
              <a:rect l="0" t="0" r="r" b="b"/>
              <a:pathLst>
                <a:path w="400" h="662">
                  <a:moveTo>
                    <a:pt x="199" y="0"/>
                  </a:moveTo>
                  <a:cubicBezTo>
                    <a:pt x="310" y="0"/>
                    <a:pt x="399" y="90"/>
                    <a:pt x="399" y="200"/>
                  </a:cubicBezTo>
                  <a:cubicBezTo>
                    <a:pt x="399" y="297"/>
                    <a:pt x="328" y="342"/>
                    <a:pt x="281" y="439"/>
                  </a:cubicBezTo>
                  <a:cubicBezTo>
                    <a:pt x="229" y="545"/>
                    <a:pt x="200" y="661"/>
                    <a:pt x="200" y="661"/>
                  </a:cubicBezTo>
                  <a:cubicBezTo>
                    <a:pt x="200" y="661"/>
                    <a:pt x="170" y="545"/>
                    <a:pt x="118" y="439"/>
                  </a:cubicBezTo>
                  <a:cubicBezTo>
                    <a:pt x="71" y="342"/>
                    <a:pt x="0" y="297"/>
                    <a:pt x="0" y="200"/>
                  </a:cubicBezTo>
                  <a:cubicBezTo>
                    <a:pt x="0" y="90"/>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5" name="Freeform 44"/>
            <p:cNvSpPr>
              <a:spLocks noChangeArrowheads="1"/>
            </p:cNvSpPr>
            <p:nvPr/>
          </p:nvSpPr>
          <p:spPr bwMode="auto">
            <a:xfrm>
              <a:off x="7908925" y="2630488"/>
              <a:ext cx="144463" cy="238125"/>
            </a:xfrm>
            <a:custGeom>
              <a:avLst/>
              <a:gdLst/>
              <a:ahLst/>
              <a:cxnLst>
                <a:cxn ang="0">
                  <a:pos x="199" y="0"/>
                </a:cxn>
                <a:cxn ang="0">
                  <a:pos x="399" y="200"/>
                </a:cxn>
                <a:cxn ang="0">
                  <a:pos x="281" y="439"/>
                </a:cxn>
                <a:cxn ang="0">
                  <a:pos x="200" y="661"/>
                </a:cxn>
                <a:cxn ang="0">
                  <a:pos x="118" y="439"/>
                </a:cxn>
                <a:cxn ang="0">
                  <a:pos x="0" y="200"/>
                </a:cxn>
                <a:cxn ang="0">
                  <a:pos x="199" y="0"/>
                </a:cxn>
                <a:cxn ang="0">
                  <a:pos x="199" y="0"/>
                </a:cxn>
              </a:cxnLst>
              <a:rect l="0" t="0" r="r" b="b"/>
              <a:pathLst>
                <a:path w="400" h="662">
                  <a:moveTo>
                    <a:pt x="199" y="0"/>
                  </a:moveTo>
                  <a:cubicBezTo>
                    <a:pt x="310" y="0"/>
                    <a:pt x="399" y="90"/>
                    <a:pt x="399" y="200"/>
                  </a:cubicBezTo>
                  <a:cubicBezTo>
                    <a:pt x="399" y="297"/>
                    <a:pt x="328" y="342"/>
                    <a:pt x="281" y="439"/>
                  </a:cubicBezTo>
                  <a:cubicBezTo>
                    <a:pt x="229" y="545"/>
                    <a:pt x="200" y="661"/>
                    <a:pt x="200" y="661"/>
                  </a:cubicBezTo>
                  <a:cubicBezTo>
                    <a:pt x="200" y="661"/>
                    <a:pt x="170" y="545"/>
                    <a:pt x="118" y="439"/>
                  </a:cubicBezTo>
                  <a:cubicBezTo>
                    <a:pt x="71" y="342"/>
                    <a:pt x="0" y="297"/>
                    <a:pt x="0" y="200"/>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6" name="Freeform 45"/>
            <p:cNvSpPr>
              <a:spLocks noChangeArrowheads="1"/>
            </p:cNvSpPr>
            <p:nvPr/>
          </p:nvSpPr>
          <p:spPr bwMode="auto">
            <a:xfrm>
              <a:off x="7889875" y="2654300"/>
              <a:ext cx="142875" cy="238125"/>
            </a:xfrm>
            <a:custGeom>
              <a:avLst/>
              <a:gdLst/>
              <a:ahLst/>
              <a:cxnLst>
                <a:cxn ang="0">
                  <a:pos x="199" y="0"/>
                </a:cxn>
                <a:cxn ang="0">
                  <a:pos x="398" y="199"/>
                </a:cxn>
                <a:cxn ang="0">
                  <a:pos x="280" y="438"/>
                </a:cxn>
                <a:cxn ang="0">
                  <a:pos x="199" y="660"/>
                </a:cxn>
                <a:cxn ang="0">
                  <a:pos x="118" y="438"/>
                </a:cxn>
                <a:cxn ang="0">
                  <a:pos x="0" y="199"/>
                </a:cxn>
                <a:cxn ang="0">
                  <a:pos x="199" y="0"/>
                </a:cxn>
                <a:cxn ang="0">
                  <a:pos x="199" y="0"/>
                </a:cxn>
              </a:cxnLst>
              <a:rect l="0" t="0" r="r" b="b"/>
              <a:pathLst>
                <a:path w="399" h="661">
                  <a:moveTo>
                    <a:pt x="199" y="0"/>
                  </a:moveTo>
                  <a:cubicBezTo>
                    <a:pt x="309" y="0"/>
                    <a:pt x="398" y="89"/>
                    <a:pt x="398" y="199"/>
                  </a:cubicBezTo>
                  <a:cubicBezTo>
                    <a:pt x="398" y="296"/>
                    <a:pt x="328" y="342"/>
                    <a:pt x="280" y="438"/>
                  </a:cubicBezTo>
                  <a:cubicBezTo>
                    <a:pt x="228" y="544"/>
                    <a:pt x="199" y="660"/>
                    <a:pt x="199" y="660"/>
                  </a:cubicBezTo>
                  <a:cubicBezTo>
                    <a:pt x="199" y="660"/>
                    <a:pt x="170" y="544"/>
                    <a:pt x="118" y="438"/>
                  </a:cubicBezTo>
                  <a:cubicBezTo>
                    <a:pt x="70" y="342"/>
                    <a:pt x="0" y="296"/>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7" name="Freeform 46"/>
            <p:cNvSpPr>
              <a:spLocks noChangeArrowheads="1"/>
            </p:cNvSpPr>
            <p:nvPr/>
          </p:nvSpPr>
          <p:spPr bwMode="auto">
            <a:xfrm>
              <a:off x="7889875" y="2654300"/>
              <a:ext cx="142875" cy="238125"/>
            </a:xfrm>
            <a:custGeom>
              <a:avLst/>
              <a:gdLst/>
              <a:ahLst/>
              <a:cxnLst>
                <a:cxn ang="0">
                  <a:pos x="199" y="0"/>
                </a:cxn>
                <a:cxn ang="0">
                  <a:pos x="398" y="199"/>
                </a:cxn>
                <a:cxn ang="0">
                  <a:pos x="280" y="438"/>
                </a:cxn>
                <a:cxn ang="0">
                  <a:pos x="199" y="660"/>
                </a:cxn>
                <a:cxn ang="0">
                  <a:pos x="118" y="438"/>
                </a:cxn>
                <a:cxn ang="0">
                  <a:pos x="0" y="199"/>
                </a:cxn>
                <a:cxn ang="0">
                  <a:pos x="199" y="0"/>
                </a:cxn>
                <a:cxn ang="0">
                  <a:pos x="199" y="0"/>
                </a:cxn>
              </a:cxnLst>
              <a:rect l="0" t="0" r="r" b="b"/>
              <a:pathLst>
                <a:path w="399" h="661">
                  <a:moveTo>
                    <a:pt x="199" y="0"/>
                  </a:moveTo>
                  <a:cubicBezTo>
                    <a:pt x="309" y="0"/>
                    <a:pt x="398" y="89"/>
                    <a:pt x="398" y="199"/>
                  </a:cubicBezTo>
                  <a:cubicBezTo>
                    <a:pt x="398" y="296"/>
                    <a:pt x="328" y="342"/>
                    <a:pt x="280" y="438"/>
                  </a:cubicBezTo>
                  <a:cubicBezTo>
                    <a:pt x="228" y="544"/>
                    <a:pt x="199" y="660"/>
                    <a:pt x="199" y="660"/>
                  </a:cubicBezTo>
                  <a:cubicBezTo>
                    <a:pt x="199" y="660"/>
                    <a:pt x="170" y="544"/>
                    <a:pt x="118" y="438"/>
                  </a:cubicBezTo>
                  <a:cubicBezTo>
                    <a:pt x="70"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8" name="Freeform 47"/>
            <p:cNvSpPr>
              <a:spLocks noChangeArrowheads="1"/>
            </p:cNvSpPr>
            <p:nvPr/>
          </p:nvSpPr>
          <p:spPr bwMode="auto">
            <a:xfrm>
              <a:off x="7897813" y="267176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29" name="Freeform 48"/>
            <p:cNvSpPr>
              <a:spLocks noChangeArrowheads="1"/>
            </p:cNvSpPr>
            <p:nvPr/>
          </p:nvSpPr>
          <p:spPr bwMode="auto">
            <a:xfrm>
              <a:off x="7897813" y="267176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0" name="Freeform 49"/>
            <p:cNvSpPr>
              <a:spLocks noChangeArrowheads="1"/>
            </p:cNvSpPr>
            <p:nvPr/>
          </p:nvSpPr>
          <p:spPr bwMode="auto">
            <a:xfrm>
              <a:off x="7951788" y="2665413"/>
              <a:ext cx="144462" cy="238125"/>
            </a:xfrm>
            <a:custGeom>
              <a:avLst/>
              <a:gdLst/>
              <a:ahLst/>
              <a:cxnLst>
                <a:cxn ang="0">
                  <a:pos x="199" y="0"/>
                </a:cxn>
                <a:cxn ang="0">
                  <a:pos x="399" y="199"/>
                </a:cxn>
                <a:cxn ang="0">
                  <a:pos x="280" y="438"/>
                </a:cxn>
                <a:cxn ang="0">
                  <a:pos x="199" y="660"/>
                </a:cxn>
                <a:cxn ang="0">
                  <a:pos x="118" y="438"/>
                </a:cxn>
                <a:cxn ang="0">
                  <a:pos x="0" y="199"/>
                </a:cxn>
                <a:cxn ang="0">
                  <a:pos x="199" y="0"/>
                </a:cxn>
                <a:cxn ang="0">
                  <a:pos x="199" y="0"/>
                </a:cxn>
              </a:cxnLst>
              <a:rect l="0" t="0" r="r" b="b"/>
              <a:pathLst>
                <a:path w="400" h="661">
                  <a:moveTo>
                    <a:pt x="199" y="0"/>
                  </a:moveTo>
                  <a:cubicBezTo>
                    <a:pt x="309" y="0"/>
                    <a:pt x="399" y="89"/>
                    <a:pt x="399" y="199"/>
                  </a:cubicBezTo>
                  <a:cubicBezTo>
                    <a:pt x="399" y="296"/>
                    <a:pt x="328" y="342"/>
                    <a:pt x="280" y="438"/>
                  </a:cubicBezTo>
                  <a:cubicBezTo>
                    <a:pt x="228" y="544"/>
                    <a:pt x="199" y="660"/>
                    <a:pt x="199" y="660"/>
                  </a:cubicBezTo>
                  <a:cubicBezTo>
                    <a:pt x="199" y="660"/>
                    <a:pt x="170" y="544"/>
                    <a:pt x="118" y="438"/>
                  </a:cubicBezTo>
                  <a:cubicBezTo>
                    <a:pt x="70"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1" name="Freeform 50"/>
            <p:cNvSpPr>
              <a:spLocks noChangeArrowheads="1"/>
            </p:cNvSpPr>
            <p:nvPr/>
          </p:nvSpPr>
          <p:spPr bwMode="auto">
            <a:xfrm>
              <a:off x="7951788" y="2665413"/>
              <a:ext cx="144462" cy="238125"/>
            </a:xfrm>
            <a:custGeom>
              <a:avLst/>
              <a:gdLst/>
              <a:ahLst/>
              <a:cxnLst>
                <a:cxn ang="0">
                  <a:pos x="199" y="0"/>
                </a:cxn>
                <a:cxn ang="0">
                  <a:pos x="399" y="199"/>
                </a:cxn>
                <a:cxn ang="0">
                  <a:pos x="280" y="438"/>
                </a:cxn>
                <a:cxn ang="0">
                  <a:pos x="199" y="660"/>
                </a:cxn>
                <a:cxn ang="0">
                  <a:pos x="118" y="438"/>
                </a:cxn>
                <a:cxn ang="0">
                  <a:pos x="0" y="199"/>
                </a:cxn>
                <a:cxn ang="0">
                  <a:pos x="199" y="0"/>
                </a:cxn>
                <a:cxn ang="0">
                  <a:pos x="199" y="0"/>
                </a:cxn>
              </a:cxnLst>
              <a:rect l="0" t="0" r="r" b="b"/>
              <a:pathLst>
                <a:path w="400" h="661">
                  <a:moveTo>
                    <a:pt x="199" y="0"/>
                  </a:moveTo>
                  <a:cubicBezTo>
                    <a:pt x="309" y="0"/>
                    <a:pt x="399" y="89"/>
                    <a:pt x="399" y="199"/>
                  </a:cubicBezTo>
                  <a:cubicBezTo>
                    <a:pt x="399" y="296"/>
                    <a:pt x="328" y="342"/>
                    <a:pt x="280" y="438"/>
                  </a:cubicBezTo>
                  <a:cubicBezTo>
                    <a:pt x="228" y="544"/>
                    <a:pt x="199" y="660"/>
                    <a:pt x="199" y="660"/>
                  </a:cubicBezTo>
                  <a:cubicBezTo>
                    <a:pt x="199" y="660"/>
                    <a:pt x="170" y="544"/>
                    <a:pt x="118" y="438"/>
                  </a:cubicBezTo>
                  <a:cubicBezTo>
                    <a:pt x="70"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2" name="Freeform 51"/>
            <p:cNvSpPr>
              <a:spLocks noChangeArrowheads="1"/>
            </p:cNvSpPr>
            <p:nvPr/>
          </p:nvSpPr>
          <p:spPr bwMode="auto">
            <a:xfrm>
              <a:off x="8016875" y="2665413"/>
              <a:ext cx="144463" cy="238125"/>
            </a:xfrm>
            <a:custGeom>
              <a:avLst/>
              <a:gdLst/>
              <a:ahLst/>
              <a:cxnLst>
                <a:cxn ang="0">
                  <a:pos x="199" y="0"/>
                </a:cxn>
                <a:cxn ang="0">
                  <a:pos x="399" y="199"/>
                </a:cxn>
                <a:cxn ang="0">
                  <a:pos x="280" y="438"/>
                </a:cxn>
                <a:cxn ang="0">
                  <a:pos x="199" y="660"/>
                </a:cxn>
                <a:cxn ang="0">
                  <a:pos x="118" y="438"/>
                </a:cxn>
                <a:cxn ang="0">
                  <a:pos x="0" y="199"/>
                </a:cxn>
                <a:cxn ang="0">
                  <a:pos x="199" y="0"/>
                </a:cxn>
                <a:cxn ang="0">
                  <a:pos x="199" y="0"/>
                </a:cxn>
              </a:cxnLst>
              <a:rect l="0" t="0" r="r" b="b"/>
              <a:pathLst>
                <a:path w="400" h="661">
                  <a:moveTo>
                    <a:pt x="199" y="0"/>
                  </a:moveTo>
                  <a:cubicBezTo>
                    <a:pt x="309" y="0"/>
                    <a:pt x="398" y="89"/>
                    <a:pt x="399" y="199"/>
                  </a:cubicBezTo>
                  <a:cubicBezTo>
                    <a:pt x="399" y="296"/>
                    <a:pt x="328" y="342"/>
                    <a:pt x="280" y="438"/>
                  </a:cubicBezTo>
                  <a:cubicBezTo>
                    <a:pt x="228" y="544"/>
                    <a:pt x="199" y="660"/>
                    <a:pt x="199" y="660"/>
                  </a:cubicBezTo>
                  <a:cubicBezTo>
                    <a:pt x="199" y="660"/>
                    <a:pt x="170" y="544"/>
                    <a:pt x="118" y="438"/>
                  </a:cubicBezTo>
                  <a:cubicBezTo>
                    <a:pt x="71" y="342"/>
                    <a:pt x="0" y="296"/>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3" name="Freeform 52"/>
            <p:cNvSpPr>
              <a:spLocks noChangeArrowheads="1"/>
            </p:cNvSpPr>
            <p:nvPr/>
          </p:nvSpPr>
          <p:spPr bwMode="auto">
            <a:xfrm>
              <a:off x="8016875" y="2665413"/>
              <a:ext cx="144463" cy="238125"/>
            </a:xfrm>
            <a:custGeom>
              <a:avLst/>
              <a:gdLst/>
              <a:ahLst/>
              <a:cxnLst>
                <a:cxn ang="0">
                  <a:pos x="199" y="0"/>
                </a:cxn>
                <a:cxn ang="0">
                  <a:pos x="399" y="199"/>
                </a:cxn>
                <a:cxn ang="0">
                  <a:pos x="280" y="438"/>
                </a:cxn>
                <a:cxn ang="0">
                  <a:pos x="199" y="660"/>
                </a:cxn>
                <a:cxn ang="0">
                  <a:pos x="118" y="438"/>
                </a:cxn>
                <a:cxn ang="0">
                  <a:pos x="0" y="199"/>
                </a:cxn>
                <a:cxn ang="0">
                  <a:pos x="199" y="0"/>
                </a:cxn>
                <a:cxn ang="0">
                  <a:pos x="199" y="0"/>
                </a:cxn>
              </a:cxnLst>
              <a:rect l="0" t="0" r="r" b="b"/>
              <a:pathLst>
                <a:path w="400" h="661">
                  <a:moveTo>
                    <a:pt x="199" y="0"/>
                  </a:moveTo>
                  <a:cubicBezTo>
                    <a:pt x="309" y="0"/>
                    <a:pt x="398" y="89"/>
                    <a:pt x="399" y="199"/>
                  </a:cubicBezTo>
                  <a:cubicBezTo>
                    <a:pt x="399" y="296"/>
                    <a:pt x="328" y="342"/>
                    <a:pt x="280" y="438"/>
                  </a:cubicBezTo>
                  <a:cubicBezTo>
                    <a:pt x="228" y="544"/>
                    <a:pt x="199" y="660"/>
                    <a:pt x="199" y="660"/>
                  </a:cubicBezTo>
                  <a:cubicBezTo>
                    <a:pt x="199" y="660"/>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4" name="Freeform 53"/>
            <p:cNvSpPr>
              <a:spLocks noChangeArrowheads="1"/>
            </p:cNvSpPr>
            <p:nvPr/>
          </p:nvSpPr>
          <p:spPr bwMode="auto">
            <a:xfrm>
              <a:off x="8050213" y="2654300"/>
              <a:ext cx="144462" cy="238125"/>
            </a:xfrm>
            <a:custGeom>
              <a:avLst/>
              <a:gdLst/>
              <a:ahLst/>
              <a:cxnLst>
                <a:cxn ang="0">
                  <a:pos x="200" y="0"/>
                </a:cxn>
                <a:cxn ang="0">
                  <a:pos x="399" y="199"/>
                </a:cxn>
                <a:cxn ang="0">
                  <a:pos x="281" y="438"/>
                </a:cxn>
                <a:cxn ang="0">
                  <a:pos x="200" y="660"/>
                </a:cxn>
                <a:cxn ang="0">
                  <a:pos x="118" y="438"/>
                </a:cxn>
                <a:cxn ang="0">
                  <a:pos x="0" y="199"/>
                </a:cxn>
                <a:cxn ang="0">
                  <a:pos x="199"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0" y="544"/>
                    <a:pt x="118" y="438"/>
                  </a:cubicBezTo>
                  <a:cubicBezTo>
                    <a:pt x="71" y="342"/>
                    <a:pt x="0" y="296"/>
                    <a:pt x="0" y="199"/>
                  </a:cubicBezTo>
                  <a:cubicBezTo>
                    <a:pt x="0" y="89"/>
                    <a:pt x="89" y="0"/>
                    <a:pt x="199"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5" name="Freeform 54"/>
            <p:cNvSpPr>
              <a:spLocks noChangeArrowheads="1"/>
            </p:cNvSpPr>
            <p:nvPr/>
          </p:nvSpPr>
          <p:spPr bwMode="auto">
            <a:xfrm>
              <a:off x="8050213" y="2654300"/>
              <a:ext cx="144462" cy="238125"/>
            </a:xfrm>
            <a:custGeom>
              <a:avLst/>
              <a:gdLst/>
              <a:ahLst/>
              <a:cxnLst>
                <a:cxn ang="0">
                  <a:pos x="200" y="0"/>
                </a:cxn>
                <a:cxn ang="0">
                  <a:pos x="399" y="199"/>
                </a:cxn>
                <a:cxn ang="0">
                  <a:pos x="281" y="438"/>
                </a:cxn>
                <a:cxn ang="0">
                  <a:pos x="200" y="660"/>
                </a:cxn>
                <a:cxn ang="0">
                  <a:pos x="118" y="438"/>
                </a:cxn>
                <a:cxn ang="0">
                  <a:pos x="0" y="199"/>
                </a:cxn>
                <a:cxn ang="0">
                  <a:pos x="199"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0" y="544"/>
                    <a:pt x="118" y="438"/>
                  </a:cubicBezTo>
                  <a:cubicBezTo>
                    <a:pt x="71" y="342"/>
                    <a:pt x="0" y="296"/>
                    <a:pt x="0" y="199"/>
                  </a:cubicBezTo>
                  <a:cubicBezTo>
                    <a:pt x="0" y="89"/>
                    <a:pt x="89" y="0"/>
                    <a:pt x="199"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6" name="Freeform 55"/>
            <p:cNvSpPr>
              <a:spLocks noChangeArrowheads="1"/>
            </p:cNvSpPr>
            <p:nvPr/>
          </p:nvSpPr>
          <p:spPr bwMode="auto">
            <a:xfrm>
              <a:off x="8020050" y="268605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7" name="Freeform 56"/>
            <p:cNvSpPr>
              <a:spLocks noChangeArrowheads="1"/>
            </p:cNvSpPr>
            <p:nvPr/>
          </p:nvSpPr>
          <p:spPr bwMode="auto">
            <a:xfrm>
              <a:off x="8020050" y="268605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8" name="Freeform 57"/>
            <p:cNvSpPr>
              <a:spLocks noChangeArrowheads="1"/>
            </p:cNvSpPr>
            <p:nvPr/>
          </p:nvSpPr>
          <p:spPr bwMode="auto">
            <a:xfrm>
              <a:off x="7983538" y="2720975"/>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1" y="545"/>
                    <a:pt x="118"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9" name="Freeform 58"/>
            <p:cNvSpPr>
              <a:spLocks noChangeArrowheads="1"/>
            </p:cNvSpPr>
            <p:nvPr/>
          </p:nvSpPr>
          <p:spPr bwMode="auto">
            <a:xfrm>
              <a:off x="7983538" y="2720975"/>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1" y="545"/>
                    <a:pt x="118"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0" name="Freeform 59"/>
            <p:cNvSpPr>
              <a:spLocks noChangeArrowheads="1"/>
            </p:cNvSpPr>
            <p:nvPr/>
          </p:nvSpPr>
          <p:spPr bwMode="auto">
            <a:xfrm>
              <a:off x="7958138" y="2738438"/>
              <a:ext cx="144462" cy="238125"/>
            </a:xfrm>
            <a:custGeom>
              <a:avLst/>
              <a:gdLst/>
              <a:ahLst/>
              <a:cxnLst>
                <a:cxn ang="0">
                  <a:pos x="200" y="0"/>
                </a:cxn>
                <a:cxn ang="0">
                  <a:pos x="399" y="199"/>
                </a:cxn>
                <a:cxn ang="0">
                  <a:pos x="281" y="438"/>
                </a:cxn>
                <a:cxn ang="0">
                  <a:pos x="200" y="660"/>
                </a:cxn>
                <a:cxn ang="0">
                  <a:pos x="118" y="438"/>
                </a:cxn>
                <a:cxn ang="0">
                  <a:pos x="0" y="199"/>
                </a:cxn>
                <a:cxn ang="0">
                  <a:pos x="200"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1" y="544"/>
                    <a:pt x="118" y="438"/>
                  </a:cubicBezTo>
                  <a:cubicBezTo>
                    <a:pt x="71" y="342"/>
                    <a:pt x="0" y="296"/>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1" name="Freeform 60"/>
            <p:cNvSpPr>
              <a:spLocks noChangeArrowheads="1"/>
            </p:cNvSpPr>
            <p:nvPr/>
          </p:nvSpPr>
          <p:spPr bwMode="auto">
            <a:xfrm>
              <a:off x="7958138" y="2738438"/>
              <a:ext cx="144462" cy="238125"/>
            </a:xfrm>
            <a:custGeom>
              <a:avLst/>
              <a:gdLst/>
              <a:ahLst/>
              <a:cxnLst>
                <a:cxn ang="0">
                  <a:pos x="200" y="0"/>
                </a:cxn>
                <a:cxn ang="0">
                  <a:pos x="399" y="199"/>
                </a:cxn>
                <a:cxn ang="0">
                  <a:pos x="281" y="438"/>
                </a:cxn>
                <a:cxn ang="0">
                  <a:pos x="200" y="660"/>
                </a:cxn>
                <a:cxn ang="0">
                  <a:pos x="118" y="438"/>
                </a:cxn>
                <a:cxn ang="0">
                  <a:pos x="0" y="199"/>
                </a:cxn>
                <a:cxn ang="0">
                  <a:pos x="200"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1" y="544"/>
                    <a:pt x="118" y="438"/>
                  </a:cubicBezTo>
                  <a:cubicBezTo>
                    <a:pt x="71" y="342"/>
                    <a:pt x="0" y="296"/>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2" name="Freeform 61"/>
            <p:cNvSpPr>
              <a:spLocks noChangeArrowheads="1"/>
            </p:cNvSpPr>
            <p:nvPr/>
          </p:nvSpPr>
          <p:spPr bwMode="auto">
            <a:xfrm>
              <a:off x="7954963" y="2771775"/>
              <a:ext cx="144462"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8" y="89"/>
                    <a:pt x="399" y="199"/>
                  </a:cubicBezTo>
                  <a:cubicBezTo>
                    <a:pt x="399"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3" name="Freeform 62"/>
            <p:cNvSpPr>
              <a:spLocks noChangeArrowheads="1"/>
            </p:cNvSpPr>
            <p:nvPr/>
          </p:nvSpPr>
          <p:spPr bwMode="auto">
            <a:xfrm>
              <a:off x="7954963" y="2771775"/>
              <a:ext cx="144462"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8" y="89"/>
                    <a:pt x="399" y="199"/>
                  </a:cubicBezTo>
                  <a:cubicBezTo>
                    <a:pt x="399"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4" name="Freeform 63"/>
            <p:cNvSpPr>
              <a:spLocks noChangeArrowheads="1"/>
            </p:cNvSpPr>
            <p:nvPr/>
          </p:nvSpPr>
          <p:spPr bwMode="auto">
            <a:xfrm>
              <a:off x="7918450" y="2797175"/>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5" name="Freeform 64"/>
            <p:cNvSpPr>
              <a:spLocks noChangeArrowheads="1"/>
            </p:cNvSpPr>
            <p:nvPr/>
          </p:nvSpPr>
          <p:spPr bwMode="auto">
            <a:xfrm>
              <a:off x="7918450" y="2797175"/>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6" name="Freeform 65"/>
            <p:cNvSpPr>
              <a:spLocks noChangeArrowheads="1"/>
            </p:cNvSpPr>
            <p:nvPr/>
          </p:nvSpPr>
          <p:spPr bwMode="auto">
            <a:xfrm>
              <a:off x="7945438" y="2806700"/>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1" y="545"/>
                    <a:pt x="118"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7" name="Freeform 66"/>
            <p:cNvSpPr>
              <a:spLocks noChangeArrowheads="1"/>
            </p:cNvSpPr>
            <p:nvPr/>
          </p:nvSpPr>
          <p:spPr bwMode="auto">
            <a:xfrm>
              <a:off x="7945438" y="2806700"/>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1" y="545"/>
                    <a:pt x="118"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8" name="Freeform 67"/>
            <p:cNvSpPr>
              <a:spLocks noChangeArrowheads="1"/>
            </p:cNvSpPr>
            <p:nvPr/>
          </p:nvSpPr>
          <p:spPr bwMode="auto">
            <a:xfrm>
              <a:off x="7927975" y="2824163"/>
              <a:ext cx="144463"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0"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49" name="Freeform 68"/>
            <p:cNvSpPr>
              <a:spLocks noChangeArrowheads="1"/>
            </p:cNvSpPr>
            <p:nvPr/>
          </p:nvSpPr>
          <p:spPr bwMode="auto">
            <a:xfrm>
              <a:off x="7927975" y="2824163"/>
              <a:ext cx="144463"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0"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0" name="Freeform 69"/>
            <p:cNvSpPr>
              <a:spLocks noChangeArrowheads="1"/>
            </p:cNvSpPr>
            <p:nvPr/>
          </p:nvSpPr>
          <p:spPr bwMode="auto">
            <a:xfrm>
              <a:off x="7969250" y="2828925"/>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1" name="Freeform 70"/>
            <p:cNvSpPr>
              <a:spLocks noChangeArrowheads="1"/>
            </p:cNvSpPr>
            <p:nvPr/>
          </p:nvSpPr>
          <p:spPr bwMode="auto">
            <a:xfrm>
              <a:off x="7969250" y="2828925"/>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2" name="Freeform 71"/>
            <p:cNvSpPr>
              <a:spLocks noChangeArrowheads="1"/>
            </p:cNvSpPr>
            <p:nvPr/>
          </p:nvSpPr>
          <p:spPr bwMode="auto">
            <a:xfrm>
              <a:off x="7980363" y="281940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5"/>
                    <a:pt x="118" y="438"/>
                  </a:cubicBezTo>
                  <a:cubicBezTo>
                    <a:pt x="70"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3" name="Freeform 72"/>
            <p:cNvSpPr>
              <a:spLocks noChangeArrowheads="1"/>
            </p:cNvSpPr>
            <p:nvPr/>
          </p:nvSpPr>
          <p:spPr bwMode="auto">
            <a:xfrm>
              <a:off x="7980363" y="281940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5"/>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4" name="Freeform 73"/>
            <p:cNvSpPr>
              <a:spLocks noChangeArrowheads="1"/>
            </p:cNvSpPr>
            <p:nvPr/>
          </p:nvSpPr>
          <p:spPr bwMode="auto">
            <a:xfrm>
              <a:off x="7996238" y="2803525"/>
              <a:ext cx="144462"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5" name="Freeform 74"/>
            <p:cNvSpPr>
              <a:spLocks noChangeArrowheads="1"/>
            </p:cNvSpPr>
            <p:nvPr/>
          </p:nvSpPr>
          <p:spPr bwMode="auto">
            <a:xfrm>
              <a:off x="7996238" y="2803525"/>
              <a:ext cx="144462"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6" name="Freeform 75"/>
            <p:cNvSpPr>
              <a:spLocks noChangeArrowheads="1"/>
            </p:cNvSpPr>
            <p:nvPr/>
          </p:nvSpPr>
          <p:spPr bwMode="auto">
            <a:xfrm>
              <a:off x="8013700" y="2792413"/>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7" name="Freeform 76"/>
            <p:cNvSpPr>
              <a:spLocks noChangeArrowheads="1"/>
            </p:cNvSpPr>
            <p:nvPr/>
          </p:nvSpPr>
          <p:spPr bwMode="auto">
            <a:xfrm>
              <a:off x="8013700" y="2792413"/>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8" name="Freeform 77"/>
            <p:cNvSpPr>
              <a:spLocks noChangeArrowheads="1"/>
            </p:cNvSpPr>
            <p:nvPr/>
          </p:nvSpPr>
          <p:spPr bwMode="auto">
            <a:xfrm>
              <a:off x="8045450" y="2809875"/>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59" name="Freeform 78"/>
            <p:cNvSpPr>
              <a:spLocks noChangeArrowheads="1"/>
            </p:cNvSpPr>
            <p:nvPr/>
          </p:nvSpPr>
          <p:spPr bwMode="auto">
            <a:xfrm>
              <a:off x="8045450" y="2809875"/>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0" name="Freeform 79"/>
            <p:cNvSpPr>
              <a:spLocks noChangeArrowheads="1"/>
            </p:cNvSpPr>
            <p:nvPr/>
          </p:nvSpPr>
          <p:spPr bwMode="auto">
            <a:xfrm>
              <a:off x="8027988" y="2828925"/>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1" name="Freeform 80"/>
            <p:cNvSpPr>
              <a:spLocks noChangeArrowheads="1"/>
            </p:cNvSpPr>
            <p:nvPr/>
          </p:nvSpPr>
          <p:spPr bwMode="auto">
            <a:xfrm>
              <a:off x="8027988" y="2828925"/>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2" name="Freeform 81"/>
            <p:cNvSpPr>
              <a:spLocks noChangeArrowheads="1"/>
            </p:cNvSpPr>
            <p:nvPr/>
          </p:nvSpPr>
          <p:spPr bwMode="auto">
            <a:xfrm>
              <a:off x="8007350" y="2847975"/>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3" name="Freeform 82"/>
            <p:cNvSpPr>
              <a:spLocks noChangeArrowheads="1"/>
            </p:cNvSpPr>
            <p:nvPr/>
          </p:nvSpPr>
          <p:spPr bwMode="auto">
            <a:xfrm>
              <a:off x="8007350" y="2847975"/>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4" name="Freeform 83"/>
            <p:cNvSpPr>
              <a:spLocks noChangeArrowheads="1"/>
            </p:cNvSpPr>
            <p:nvPr/>
          </p:nvSpPr>
          <p:spPr bwMode="auto">
            <a:xfrm>
              <a:off x="7878763" y="284480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5" name="Freeform 84"/>
            <p:cNvSpPr>
              <a:spLocks noChangeArrowheads="1"/>
            </p:cNvSpPr>
            <p:nvPr/>
          </p:nvSpPr>
          <p:spPr bwMode="auto">
            <a:xfrm>
              <a:off x="7878763" y="284480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6" name="Freeform 85"/>
            <p:cNvSpPr>
              <a:spLocks noChangeArrowheads="1"/>
            </p:cNvSpPr>
            <p:nvPr/>
          </p:nvSpPr>
          <p:spPr bwMode="auto">
            <a:xfrm>
              <a:off x="7824788" y="2851150"/>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7" name="Freeform 86"/>
            <p:cNvSpPr>
              <a:spLocks noChangeArrowheads="1"/>
            </p:cNvSpPr>
            <p:nvPr/>
          </p:nvSpPr>
          <p:spPr bwMode="auto">
            <a:xfrm>
              <a:off x="7824788" y="2851150"/>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8" name="Freeform 87"/>
            <p:cNvSpPr>
              <a:spLocks noChangeArrowheads="1"/>
            </p:cNvSpPr>
            <p:nvPr/>
          </p:nvSpPr>
          <p:spPr bwMode="auto">
            <a:xfrm>
              <a:off x="7769225" y="2840038"/>
              <a:ext cx="144463" cy="238125"/>
            </a:xfrm>
            <a:custGeom>
              <a:avLst/>
              <a:gdLst/>
              <a:ahLst/>
              <a:cxnLst>
                <a:cxn ang="0">
                  <a:pos x="200" y="0"/>
                </a:cxn>
                <a:cxn ang="0">
                  <a:pos x="399" y="199"/>
                </a:cxn>
                <a:cxn ang="0">
                  <a:pos x="281" y="439"/>
                </a:cxn>
                <a:cxn ang="0">
                  <a:pos x="199" y="661"/>
                </a:cxn>
                <a:cxn ang="0">
                  <a:pos x="118" y="439"/>
                </a:cxn>
                <a:cxn ang="0">
                  <a:pos x="0" y="199"/>
                </a:cxn>
                <a:cxn ang="0">
                  <a:pos x="199" y="0"/>
                </a:cxn>
                <a:cxn ang="0">
                  <a:pos x="200" y="0"/>
                </a:cxn>
              </a:cxnLst>
              <a:rect l="0" t="0" r="r" b="b"/>
              <a:pathLst>
                <a:path w="400" h="662">
                  <a:moveTo>
                    <a:pt x="200"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69" name="Freeform 88"/>
            <p:cNvSpPr>
              <a:spLocks noChangeArrowheads="1"/>
            </p:cNvSpPr>
            <p:nvPr/>
          </p:nvSpPr>
          <p:spPr bwMode="auto">
            <a:xfrm>
              <a:off x="7769225" y="2840038"/>
              <a:ext cx="144463" cy="238125"/>
            </a:xfrm>
            <a:custGeom>
              <a:avLst/>
              <a:gdLst/>
              <a:ahLst/>
              <a:cxnLst>
                <a:cxn ang="0">
                  <a:pos x="200" y="0"/>
                </a:cxn>
                <a:cxn ang="0">
                  <a:pos x="399" y="199"/>
                </a:cxn>
                <a:cxn ang="0">
                  <a:pos x="281" y="439"/>
                </a:cxn>
                <a:cxn ang="0">
                  <a:pos x="199" y="661"/>
                </a:cxn>
                <a:cxn ang="0">
                  <a:pos x="118" y="439"/>
                </a:cxn>
                <a:cxn ang="0">
                  <a:pos x="0" y="199"/>
                </a:cxn>
                <a:cxn ang="0">
                  <a:pos x="199" y="0"/>
                </a:cxn>
                <a:cxn ang="0">
                  <a:pos x="200" y="0"/>
                </a:cxn>
              </a:cxnLst>
              <a:rect l="0" t="0" r="r" b="b"/>
              <a:pathLst>
                <a:path w="400" h="662">
                  <a:moveTo>
                    <a:pt x="200"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0" name="Freeform 89"/>
            <p:cNvSpPr>
              <a:spLocks noChangeArrowheads="1"/>
            </p:cNvSpPr>
            <p:nvPr/>
          </p:nvSpPr>
          <p:spPr bwMode="auto">
            <a:xfrm>
              <a:off x="7796213" y="286861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9"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1" name="Freeform 90"/>
            <p:cNvSpPr>
              <a:spLocks noChangeArrowheads="1"/>
            </p:cNvSpPr>
            <p:nvPr/>
          </p:nvSpPr>
          <p:spPr bwMode="auto">
            <a:xfrm>
              <a:off x="7796213" y="286861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9"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2" name="Freeform 91"/>
            <p:cNvSpPr>
              <a:spLocks noChangeArrowheads="1"/>
            </p:cNvSpPr>
            <p:nvPr/>
          </p:nvSpPr>
          <p:spPr bwMode="auto">
            <a:xfrm>
              <a:off x="7813675" y="2873375"/>
              <a:ext cx="142875" cy="238125"/>
            </a:xfrm>
            <a:custGeom>
              <a:avLst/>
              <a:gdLst/>
              <a:ahLst/>
              <a:cxnLst>
                <a:cxn ang="0">
                  <a:pos x="199" y="0"/>
                </a:cxn>
                <a:cxn ang="0">
                  <a:pos x="398" y="199"/>
                </a:cxn>
                <a:cxn ang="0">
                  <a:pos x="280" y="438"/>
                </a:cxn>
                <a:cxn ang="0">
                  <a:pos x="199" y="660"/>
                </a:cxn>
                <a:cxn ang="0">
                  <a:pos x="118" y="438"/>
                </a:cxn>
                <a:cxn ang="0">
                  <a:pos x="0" y="199"/>
                </a:cxn>
                <a:cxn ang="0">
                  <a:pos x="199" y="0"/>
                </a:cxn>
                <a:cxn ang="0">
                  <a:pos x="199" y="0"/>
                </a:cxn>
              </a:cxnLst>
              <a:rect l="0" t="0" r="r" b="b"/>
              <a:pathLst>
                <a:path w="399" h="661">
                  <a:moveTo>
                    <a:pt x="199" y="0"/>
                  </a:moveTo>
                  <a:cubicBezTo>
                    <a:pt x="309" y="0"/>
                    <a:pt x="398" y="89"/>
                    <a:pt x="398" y="199"/>
                  </a:cubicBezTo>
                  <a:cubicBezTo>
                    <a:pt x="398" y="296"/>
                    <a:pt x="328" y="341"/>
                    <a:pt x="280" y="438"/>
                  </a:cubicBezTo>
                  <a:cubicBezTo>
                    <a:pt x="228" y="544"/>
                    <a:pt x="199" y="660"/>
                    <a:pt x="199" y="660"/>
                  </a:cubicBezTo>
                  <a:cubicBezTo>
                    <a:pt x="199" y="660"/>
                    <a:pt x="170" y="544"/>
                    <a:pt x="118" y="438"/>
                  </a:cubicBezTo>
                  <a:cubicBezTo>
                    <a:pt x="70" y="341"/>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3" name="Freeform 92"/>
            <p:cNvSpPr>
              <a:spLocks noChangeArrowheads="1"/>
            </p:cNvSpPr>
            <p:nvPr/>
          </p:nvSpPr>
          <p:spPr bwMode="auto">
            <a:xfrm>
              <a:off x="7813675" y="2873375"/>
              <a:ext cx="142875" cy="238125"/>
            </a:xfrm>
            <a:custGeom>
              <a:avLst/>
              <a:gdLst/>
              <a:ahLst/>
              <a:cxnLst>
                <a:cxn ang="0">
                  <a:pos x="199" y="0"/>
                </a:cxn>
                <a:cxn ang="0">
                  <a:pos x="398" y="199"/>
                </a:cxn>
                <a:cxn ang="0">
                  <a:pos x="280" y="438"/>
                </a:cxn>
                <a:cxn ang="0">
                  <a:pos x="199" y="660"/>
                </a:cxn>
                <a:cxn ang="0">
                  <a:pos x="118" y="438"/>
                </a:cxn>
                <a:cxn ang="0">
                  <a:pos x="0" y="199"/>
                </a:cxn>
                <a:cxn ang="0">
                  <a:pos x="199" y="0"/>
                </a:cxn>
                <a:cxn ang="0">
                  <a:pos x="199" y="0"/>
                </a:cxn>
              </a:cxnLst>
              <a:rect l="0" t="0" r="r" b="b"/>
              <a:pathLst>
                <a:path w="399" h="661">
                  <a:moveTo>
                    <a:pt x="199" y="0"/>
                  </a:moveTo>
                  <a:cubicBezTo>
                    <a:pt x="309" y="0"/>
                    <a:pt x="398" y="89"/>
                    <a:pt x="398" y="199"/>
                  </a:cubicBezTo>
                  <a:cubicBezTo>
                    <a:pt x="398" y="296"/>
                    <a:pt x="328" y="341"/>
                    <a:pt x="280" y="438"/>
                  </a:cubicBezTo>
                  <a:cubicBezTo>
                    <a:pt x="228" y="544"/>
                    <a:pt x="199" y="660"/>
                    <a:pt x="199" y="660"/>
                  </a:cubicBezTo>
                  <a:cubicBezTo>
                    <a:pt x="199" y="660"/>
                    <a:pt x="170" y="544"/>
                    <a:pt x="118" y="438"/>
                  </a:cubicBezTo>
                  <a:cubicBezTo>
                    <a:pt x="70" y="341"/>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4" name="Freeform 93"/>
            <p:cNvSpPr>
              <a:spLocks noChangeArrowheads="1"/>
            </p:cNvSpPr>
            <p:nvPr/>
          </p:nvSpPr>
          <p:spPr bwMode="auto">
            <a:xfrm>
              <a:off x="7829550" y="2886075"/>
              <a:ext cx="144463" cy="238125"/>
            </a:xfrm>
            <a:custGeom>
              <a:avLst/>
              <a:gdLst/>
              <a:ahLst/>
              <a:cxnLst>
                <a:cxn ang="0">
                  <a:pos x="200" y="0"/>
                </a:cxn>
                <a:cxn ang="0">
                  <a:pos x="399" y="199"/>
                </a:cxn>
                <a:cxn ang="0">
                  <a:pos x="281" y="438"/>
                </a:cxn>
                <a:cxn ang="0">
                  <a:pos x="200" y="660"/>
                </a:cxn>
                <a:cxn ang="0">
                  <a:pos x="118" y="438"/>
                </a:cxn>
                <a:cxn ang="0">
                  <a:pos x="0" y="199"/>
                </a:cxn>
                <a:cxn ang="0">
                  <a:pos x="200" y="0"/>
                </a:cxn>
                <a:cxn ang="0">
                  <a:pos x="200" y="0"/>
                </a:cxn>
              </a:cxnLst>
              <a:rect l="0" t="0" r="r" b="b"/>
              <a:pathLst>
                <a:path w="400" h="661">
                  <a:moveTo>
                    <a:pt x="200" y="0"/>
                  </a:moveTo>
                  <a:cubicBezTo>
                    <a:pt x="310" y="0"/>
                    <a:pt x="399" y="89"/>
                    <a:pt x="399" y="199"/>
                  </a:cubicBezTo>
                  <a:cubicBezTo>
                    <a:pt x="399" y="296"/>
                    <a:pt x="328" y="341"/>
                    <a:pt x="281" y="438"/>
                  </a:cubicBezTo>
                  <a:cubicBezTo>
                    <a:pt x="229" y="544"/>
                    <a:pt x="200" y="660"/>
                    <a:pt x="200" y="660"/>
                  </a:cubicBezTo>
                  <a:cubicBezTo>
                    <a:pt x="200" y="660"/>
                    <a:pt x="171" y="544"/>
                    <a:pt x="118" y="438"/>
                  </a:cubicBezTo>
                  <a:cubicBezTo>
                    <a:pt x="71" y="341"/>
                    <a:pt x="0" y="296"/>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5" name="Freeform 94"/>
            <p:cNvSpPr>
              <a:spLocks noChangeArrowheads="1"/>
            </p:cNvSpPr>
            <p:nvPr/>
          </p:nvSpPr>
          <p:spPr bwMode="auto">
            <a:xfrm>
              <a:off x="7829550" y="2886075"/>
              <a:ext cx="144463" cy="238125"/>
            </a:xfrm>
            <a:custGeom>
              <a:avLst/>
              <a:gdLst/>
              <a:ahLst/>
              <a:cxnLst>
                <a:cxn ang="0">
                  <a:pos x="200" y="0"/>
                </a:cxn>
                <a:cxn ang="0">
                  <a:pos x="399" y="199"/>
                </a:cxn>
                <a:cxn ang="0">
                  <a:pos x="281" y="438"/>
                </a:cxn>
                <a:cxn ang="0">
                  <a:pos x="200" y="660"/>
                </a:cxn>
                <a:cxn ang="0">
                  <a:pos x="118" y="438"/>
                </a:cxn>
                <a:cxn ang="0">
                  <a:pos x="0" y="199"/>
                </a:cxn>
                <a:cxn ang="0">
                  <a:pos x="200" y="0"/>
                </a:cxn>
                <a:cxn ang="0">
                  <a:pos x="200" y="0"/>
                </a:cxn>
              </a:cxnLst>
              <a:rect l="0" t="0" r="r" b="b"/>
              <a:pathLst>
                <a:path w="400" h="661">
                  <a:moveTo>
                    <a:pt x="200" y="0"/>
                  </a:moveTo>
                  <a:cubicBezTo>
                    <a:pt x="310" y="0"/>
                    <a:pt x="399" y="89"/>
                    <a:pt x="399" y="199"/>
                  </a:cubicBezTo>
                  <a:cubicBezTo>
                    <a:pt x="399" y="296"/>
                    <a:pt x="328" y="341"/>
                    <a:pt x="281" y="438"/>
                  </a:cubicBezTo>
                  <a:cubicBezTo>
                    <a:pt x="229" y="544"/>
                    <a:pt x="200" y="660"/>
                    <a:pt x="200" y="660"/>
                  </a:cubicBezTo>
                  <a:cubicBezTo>
                    <a:pt x="200" y="660"/>
                    <a:pt x="171" y="544"/>
                    <a:pt x="118" y="438"/>
                  </a:cubicBezTo>
                  <a:cubicBezTo>
                    <a:pt x="71" y="341"/>
                    <a:pt x="0" y="296"/>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6" name="Freeform 95"/>
            <p:cNvSpPr>
              <a:spLocks noChangeArrowheads="1"/>
            </p:cNvSpPr>
            <p:nvPr/>
          </p:nvSpPr>
          <p:spPr bwMode="auto">
            <a:xfrm>
              <a:off x="7808913" y="2924175"/>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7" name="Freeform 96"/>
            <p:cNvSpPr>
              <a:spLocks noChangeArrowheads="1"/>
            </p:cNvSpPr>
            <p:nvPr/>
          </p:nvSpPr>
          <p:spPr bwMode="auto">
            <a:xfrm>
              <a:off x="7808913" y="2924175"/>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8" name="Freeform 97"/>
            <p:cNvSpPr>
              <a:spLocks noChangeArrowheads="1"/>
            </p:cNvSpPr>
            <p:nvPr/>
          </p:nvSpPr>
          <p:spPr bwMode="auto">
            <a:xfrm>
              <a:off x="7789863" y="2903538"/>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79" name="Freeform 98"/>
            <p:cNvSpPr>
              <a:spLocks noChangeArrowheads="1"/>
            </p:cNvSpPr>
            <p:nvPr/>
          </p:nvSpPr>
          <p:spPr bwMode="auto">
            <a:xfrm>
              <a:off x="7789863" y="2903538"/>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0" name="Freeform 99"/>
            <p:cNvSpPr>
              <a:spLocks noChangeArrowheads="1"/>
            </p:cNvSpPr>
            <p:nvPr/>
          </p:nvSpPr>
          <p:spPr bwMode="auto">
            <a:xfrm>
              <a:off x="7773988" y="2876550"/>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8"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1" name="Freeform 100"/>
            <p:cNvSpPr>
              <a:spLocks noChangeArrowheads="1"/>
            </p:cNvSpPr>
            <p:nvPr/>
          </p:nvSpPr>
          <p:spPr bwMode="auto">
            <a:xfrm>
              <a:off x="7773988" y="2876550"/>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8"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2" name="Freeform 101"/>
            <p:cNvSpPr>
              <a:spLocks noChangeArrowheads="1"/>
            </p:cNvSpPr>
            <p:nvPr/>
          </p:nvSpPr>
          <p:spPr bwMode="auto">
            <a:xfrm>
              <a:off x="7780338" y="2925763"/>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0" y="545"/>
                    <a:pt x="118" y="438"/>
                  </a:cubicBezTo>
                  <a:cubicBezTo>
                    <a:pt x="71" y="342"/>
                    <a:pt x="0" y="297"/>
                    <a:pt x="0" y="199"/>
                  </a:cubicBezTo>
                  <a:cubicBezTo>
                    <a:pt x="0" y="89"/>
                    <a:pt x="89"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3" name="Freeform 102"/>
            <p:cNvSpPr>
              <a:spLocks noChangeArrowheads="1"/>
            </p:cNvSpPr>
            <p:nvPr/>
          </p:nvSpPr>
          <p:spPr bwMode="auto">
            <a:xfrm>
              <a:off x="7780338" y="2925763"/>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0" y="545"/>
                    <a:pt x="118" y="438"/>
                  </a:cubicBezTo>
                  <a:cubicBezTo>
                    <a:pt x="71" y="342"/>
                    <a:pt x="0" y="297"/>
                    <a:pt x="0" y="199"/>
                  </a:cubicBezTo>
                  <a:cubicBezTo>
                    <a:pt x="0" y="89"/>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4" name="Freeform 103"/>
            <p:cNvSpPr>
              <a:spLocks noChangeArrowheads="1"/>
            </p:cNvSpPr>
            <p:nvPr/>
          </p:nvSpPr>
          <p:spPr bwMode="auto">
            <a:xfrm>
              <a:off x="7742238" y="2882900"/>
              <a:ext cx="144462" cy="238125"/>
            </a:xfrm>
            <a:custGeom>
              <a:avLst/>
              <a:gdLst/>
              <a:ahLst/>
              <a:cxnLst>
                <a:cxn ang="0">
                  <a:pos x="200" y="0"/>
                </a:cxn>
                <a:cxn ang="0">
                  <a:pos x="399" y="199"/>
                </a:cxn>
                <a:cxn ang="0">
                  <a:pos x="281" y="438"/>
                </a:cxn>
                <a:cxn ang="0">
                  <a:pos x="200" y="660"/>
                </a:cxn>
                <a:cxn ang="0">
                  <a:pos x="118" y="438"/>
                </a:cxn>
                <a:cxn ang="0">
                  <a:pos x="0" y="199"/>
                </a:cxn>
                <a:cxn ang="0">
                  <a:pos x="200"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0" y="544"/>
                    <a:pt x="118" y="438"/>
                  </a:cubicBezTo>
                  <a:cubicBezTo>
                    <a:pt x="71" y="342"/>
                    <a:pt x="0" y="296"/>
                    <a:pt x="0" y="199"/>
                  </a:cubicBezTo>
                  <a:cubicBezTo>
                    <a:pt x="0" y="89"/>
                    <a:pt x="89"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5" name="Freeform 104"/>
            <p:cNvSpPr>
              <a:spLocks noChangeArrowheads="1"/>
            </p:cNvSpPr>
            <p:nvPr/>
          </p:nvSpPr>
          <p:spPr bwMode="auto">
            <a:xfrm>
              <a:off x="7742238" y="2882900"/>
              <a:ext cx="144462" cy="238125"/>
            </a:xfrm>
            <a:custGeom>
              <a:avLst/>
              <a:gdLst/>
              <a:ahLst/>
              <a:cxnLst>
                <a:cxn ang="0">
                  <a:pos x="200" y="0"/>
                </a:cxn>
                <a:cxn ang="0">
                  <a:pos x="399" y="199"/>
                </a:cxn>
                <a:cxn ang="0">
                  <a:pos x="281" y="438"/>
                </a:cxn>
                <a:cxn ang="0">
                  <a:pos x="200" y="660"/>
                </a:cxn>
                <a:cxn ang="0">
                  <a:pos x="118" y="438"/>
                </a:cxn>
                <a:cxn ang="0">
                  <a:pos x="0" y="199"/>
                </a:cxn>
                <a:cxn ang="0">
                  <a:pos x="200" y="0"/>
                </a:cxn>
                <a:cxn ang="0">
                  <a:pos x="200" y="0"/>
                </a:cxn>
              </a:cxnLst>
              <a:rect l="0" t="0" r="r" b="b"/>
              <a:pathLst>
                <a:path w="400" h="661">
                  <a:moveTo>
                    <a:pt x="200" y="0"/>
                  </a:moveTo>
                  <a:cubicBezTo>
                    <a:pt x="310" y="0"/>
                    <a:pt x="399" y="89"/>
                    <a:pt x="399" y="199"/>
                  </a:cubicBezTo>
                  <a:cubicBezTo>
                    <a:pt x="399" y="296"/>
                    <a:pt x="328" y="342"/>
                    <a:pt x="281" y="438"/>
                  </a:cubicBezTo>
                  <a:cubicBezTo>
                    <a:pt x="229" y="544"/>
                    <a:pt x="200" y="660"/>
                    <a:pt x="200" y="660"/>
                  </a:cubicBezTo>
                  <a:cubicBezTo>
                    <a:pt x="200" y="660"/>
                    <a:pt x="170" y="544"/>
                    <a:pt x="118" y="438"/>
                  </a:cubicBezTo>
                  <a:cubicBezTo>
                    <a:pt x="71" y="342"/>
                    <a:pt x="0" y="296"/>
                    <a:pt x="0" y="199"/>
                  </a:cubicBezTo>
                  <a:cubicBezTo>
                    <a:pt x="0" y="89"/>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6" name="Freeform 105"/>
            <p:cNvSpPr>
              <a:spLocks noChangeArrowheads="1"/>
            </p:cNvSpPr>
            <p:nvPr/>
          </p:nvSpPr>
          <p:spPr bwMode="auto">
            <a:xfrm>
              <a:off x="8183563" y="2397125"/>
              <a:ext cx="144462"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0"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7" name="Freeform 106"/>
            <p:cNvSpPr>
              <a:spLocks noChangeArrowheads="1"/>
            </p:cNvSpPr>
            <p:nvPr/>
          </p:nvSpPr>
          <p:spPr bwMode="auto">
            <a:xfrm>
              <a:off x="8183563" y="2397125"/>
              <a:ext cx="144462"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0"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8" name="Freeform 107"/>
            <p:cNvSpPr>
              <a:spLocks noChangeArrowheads="1"/>
            </p:cNvSpPr>
            <p:nvPr/>
          </p:nvSpPr>
          <p:spPr bwMode="auto">
            <a:xfrm>
              <a:off x="8205788" y="242093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89" name="Freeform 108"/>
            <p:cNvSpPr>
              <a:spLocks noChangeArrowheads="1"/>
            </p:cNvSpPr>
            <p:nvPr/>
          </p:nvSpPr>
          <p:spPr bwMode="auto">
            <a:xfrm>
              <a:off x="8205788" y="242093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0" name="Freeform 109"/>
            <p:cNvSpPr>
              <a:spLocks noChangeArrowheads="1"/>
            </p:cNvSpPr>
            <p:nvPr/>
          </p:nvSpPr>
          <p:spPr bwMode="auto">
            <a:xfrm>
              <a:off x="8183563" y="2435225"/>
              <a:ext cx="144462" cy="238125"/>
            </a:xfrm>
            <a:custGeom>
              <a:avLst/>
              <a:gdLst/>
              <a:ahLst/>
              <a:cxnLst>
                <a:cxn ang="0">
                  <a:pos x="199" y="0"/>
                </a:cxn>
                <a:cxn ang="0">
                  <a:pos x="399" y="200"/>
                </a:cxn>
                <a:cxn ang="0">
                  <a:pos x="280" y="439"/>
                </a:cxn>
                <a:cxn ang="0">
                  <a:pos x="199" y="661"/>
                </a:cxn>
                <a:cxn ang="0">
                  <a:pos x="118" y="439"/>
                </a:cxn>
                <a:cxn ang="0">
                  <a:pos x="0" y="200"/>
                </a:cxn>
                <a:cxn ang="0">
                  <a:pos x="199" y="0"/>
                </a:cxn>
                <a:cxn ang="0">
                  <a:pos x="199" y="0"/>
                </a:cxn>
              </a:cxnLst>
              <a:rect l="0" t="0" r="r" b="b"/>
              <a:pathLst>
                <a:path w="400" h="662">
                  <a:moveTo>
                    <a:pt x="199" y="0"/>
                  </a:moveTo>
                  <a:cubicBezTo>
                    <a:pt x="309" y="0"/>
                    <a:pt x="398" y="90"/>
                    <a:pt x="399" y="200"/>
                  </a:cubicBezTo>
                  <a:cubicBezTo>
                    <a:pt x="399" y="297"/>
                    <a:pt x="328" y="342"/>
                    <a:pt x="280" y="439"/>
                  </a:cubicBezTo>
                  <a:cubicBezTo>
                    <a:pt x="228" y="545"/>
                    <a:pt x="199" y="661"/>
                    <a:pt x="199" y="661"/>
                  </a:cubicBezTo>
                  <a:cubicBezTo>
                    <a:pt x="199" y="661"/>
                    <a:pt x="170" y="545"/>
                    <a:pt x="118" y="439"/>
                  </a:cubicBezTo>
                  <a:cubicBezTo>
                    <a:pt x="70" y="342"/>
                    <a:pt x="0" y="297"/>
                    <a:pt x="0" y="200"/>
                  </a:cubicBezTo>
                  <a:cubicBezTo>
                    <a:pt x="0" y="90"/>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1" name="Freeform 110"/>
            <p:cNvSpPr>
              <a:spLocks noChangeArrowheads="1"/>
            </p:cNvSpPr>
            <p:nvPr/>
          </p:nvSpPr>
          <p:spPr bwMode="auto">
            <a:xfrm>
              <a:off x="8183563" y="2435225"/>
              <a:ext cx="144462" cy="238125"/>
            </a:xfrm>
            <a:custGeom>
              <a:avLst/>
              <a:gdLst/>
              <a:ahLst/>
              <a:cxnLst>
                <a:cxn ang="0">
                  <a:pos x="199" y="0"/>
                </a:cxn>
                <a:cxn ang="0">
                  <a:pos x="399" y="200"/>
                </a:cxn>
                <a:cxn ang="0">
                  <a:pos x="280" y="439"/>
                </a:cxn>
                <a:cxn ang="0">
                  <a:pos x="199" y="661"/>
                </a:cxn>
                <a:cxn ang="0">
                  <a:pos x="118" y="439"/>
                </a:cxn>
                <a:cxn ang="0">
                  <a:pos x="0" y="200"/>
                </a:cxn>
                <a:cxn ang="0">
                  <a:pos x="199" y="0"/>
                </a:cxn>
                <a:cxn ang="0">
                  <a:pos x="199" y="0"/>
                </a:cxn>
              </a:cxnLst>
              <a:rect l="0" t="0" r="r" b="b"/>
              <a:pathLst>
                <a:path w="400" h="662">
                  <a:moveTo>
                    <a:pt x="199" y="0"/>
                  </a:moveTo>
                  <a:cubicBezTo>
                    <a:pt x="309" y="0"/>
                    <a:pt x="398" y="90"/>
                    <a:pt x="399" y="200"/>
                  </a:cubicBezTo>
                  <a:cubicBezTo>
                    <a:pt x="399" y="297"/>
                    <a:pt x="328" y="342"/>
                    <a:pt x="280" y="439"/>
                  </a:cubicBezTo>
                  <a:cubicBezTo>
                    <a:pt x="228" y="545"/>
                    <a:pt x="199" y="661"/>
                    <a:pt x="199" y="661"/>
                  </a:cubicBezTo>
                  <a:cubicBezTo>
                    <a:pt x="199" y="661"/>
                    <a:pt x="170" y="545"/>
                    <a:pt x="118" y="439"/>
                  </a:cubicBezTo>
                  <a:cubicBezTo>
                    <a:pt x="70" y="342"/>
                    <a:pt x="0" y="297"/>
                    <a:pt x="0" y="200"/>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2" name="Freeform 111"/>
            <p:cNvSpPr>
              <a:spLocks noChangeArrowheads="1"/>
            </p:cNvSpPr>
            <p:nvPr/>
          </p:nvSpPr>
          <p:spPr bwMode="auto">
            <a:xfrm>
              <a:off x="8153400" y="2411413"/>
              <a:ext cx="144463" cy="238125"/>
            </a:xfrm>
            <a:custGeom>
              <a:avLst/>
              <a:gdLst/>
              <a:ahLst/>
              <a:cxnLst>
                <a:cxn ang="0">
                  <a:pos x="199" y="0"/>
                </a:cxn>
                <a:cxn ang="0">
                  <a:pos x="399" y="200"/>
                </a:cxn>
                <a:cxn ang="0">
                  <a:pos x="281" y="439"/>
                </a:cxn>
                <a:cxn ang="0">
                  <a:pos x="199" y="661"/>
                </a:cxn>
                <a:cxn ang="0">
                  <a:pos x="118" y="439"/>
                </a:cxn>
                <a:cxn ang="0">
                  <a:pos x="0" y="200"/>
                </a:cxn>
                <a:cxn ang="0">
                  <a:pos x="199" y="0"/>
                </a:cxn>
                <a:cxn ang="0">
                  <a:pos x="199" y="0"/>
                </a:cxn>
              </a:cxnLst>
              <a:rect l="0" t="0" r="r" b="b"/>
              <a:pathLst>
                <a:path w="400" h="662">
                  <a:moveTo>
                    <a:pt x="199" y="0"/>
                  </a:moveTo>
                  <a:cubicBezTo>
                    <a:pt x="310" y="0"/>
                    <a:pt x="399" y="90"/>
                    <a:pt x="399" y="200"/>
                  </a:cubicBezTo>
                  <a:cubicBezTo>
                    <a:pt x="399" y="297"/>
                    <a:pt x="328" y="342"/>
                    <a:pt x="281" y="439"/>
                  </a:cubicBezTo>
                  <a:cubicBezTo>
                    <a:pt x="229" y="545"/>
                    <a:pt x="199" y="661"/>
                    <a:pt x="199" y="661"/>
                  </a:cubicBezTo>
                  <a:cubicBezTo>
                    <a:pt x="199" y="661"/>
                    <a:pt x="170" y="545"/>
                    <a:pt x="118" y="439"/>
                  </a:cubicBezTo>
                  <a:cubicBezTo>
                    <a:pt x="71" y="342"/>
                    <a:pt x="0" y="297"/>
                    <a:pt x="0" y="200"/>
                  </a:cubicBezTo>
                  <a:cubicBezTo>
                    <a:pt x="0" y="90"/>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3" name="Freeform 112"/>
            <p:cNvSpPr>
              <a:spLocks noChangeArrowheads="1"/>
            </p:cNvSpPr>
            <p:nvPr/>
          </p:nvSpPr>
          <p:spPr bwMode="auto">
            <a:xfrm>
              <a:off x="8153400" y="2411413"/>
              <a:ext cx="144463" cy="238125"/>
            </a:xfrm>
            <a:custGeom>
              <a:avLst/>
              <a:gdLst/>
              <a:ahLst/>
              <a:cxnLst>
                <a:cxn ang="0">
                  <a:pos x="199" y="0"/>
                </a:cxn>
                <a:cxn ang="0">
                  <a:pos x="399" y="200"/>
                </a:cxn>
                <a:cxn ang="0">
                  <a:pos x="281" y="439"/>
                </a:cxn>
                <a:cxn ang="0">
                  <a:pos x="199" y="661"/>
                </a:cxn>
                <a:cxn ang="0">
                  <a:pos x="118" y="439"/>
                </a:cxn>
                <a:cxn ang="0">
                  <a:pos x="0" y="200"/>
                </a:cxn>
                <a:cxn ang="0">
                  <a:pos x="199" y="0"/>
                </a:cxn>
                <a:cxn ang="0">
                  <a:pos x="199" y="0"/>
                </a:cxn>
              </a:cxnLst>
              <a:rect l="0" t="0" r="r" b="b"/>
              <a:pathLst>
                <a:path w="400" h="662">
                  <a:moveTo>
                    <a:pt x="199" y="0"/>
                  </a:moveTo>
                  <a:cubicBezTo>
                    <a:pt x="310" y="0"/>
                    <a:pt x="399" y="90"/>
                    <a:pt x="399" y="200"/>
                  </a:cubicBezTo>
                  <a:cubicBezTo>
                    <a:pt x="399" y="297"/>
                    <a:pt x="328" y="342"/>
                    <a:pt x="281" y="439"/>
                  </a:cubicBezTo>
                  <a:cubicBezTo>
                    <a:pt x="229" y="545"/>
                    <a:pt x="199" y="661"/>
                    <a:pt x="199" y="661"/>
                  </a:cubicBezTo>
                  <a:cubicBezTo>
                    <a:pt x="199" y="661"/>
                    <a:pt x="170" y="545"/>
                    <a:pt x="118" y="439"/>
                  </a:cubicBezTo>
                  <a:cubicBezTo>
                    <a:pt x="71" y="342"/>
                    <a:pt x="0" y="297"/>
                    <a:pt x="0" y="200"/>
                  </a:cubicBezTo>
                  <a:cubicBezTo>
                    <a:pt x="0" y="90"/>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4" name="Freeform 113"/>
            <p:cNvSpPr>
              <a:spLocks noChangeArrowheads="1"/>
            </p:cNvSpPr>
            <p:nvPr/>
          </p:nvSpPr>
          <p:spPr bwMode="auto">
            <a:xfrm>
              <a:off x="8159750" y="2435225"/>
              <a:ext cx="144463" cy="238125"/>
            </a:xfrm>
            <a:custGeom>
              <a:avLst/>
              <a:gdLst/>
              <a:ahLst/>
              <a:cxnLst>
                <a:cxn ang="0">
                  <a:pos x="200" y="0"/>
                </a:cxn>
                <a:cxn ang="0">
                  <a:pos x="399" y="199"/>
                </a:cxn>
                <a:cxn ang="0">
                  <a:pos x="281" y="438"/>
                </a:cxn>
                <a:cxn ang="0">
                  <a:pos x="200" y="660"/>
                </a:cxn>
                <a:cxn ang="0">
                  <a:pos x="119" y="438"/>
                </a:cxn>
                <a:cxn ang="0">
                  <a:pos x="0" y="199"/>
                </a:cxn>
                <a:cxn ang="0">
                  <a:pos x="200" y="0"/>
                </a:cxn>
                <a:cxn ang="0">
                  <a:pos x="200" y="0"/>
                </a:cxn>
              </a:cxnLst>
              <a:rect l="0" t="0" r="r" b="b"/>
              <a:pathLst>
                <a:path w="400" h="661">
                  <a:moveTo>
                    <a:pt x="200" y="0"/>
                  </a:moveTo>
                  <a:cubicBezTo>
                    <a:pt x="310" y="0"/>
                    <a:pt x="399" y="89"/>
                    <a:pt x="399" y="199"/>
                  </a:cubicBezTo>
                  <a:cubicBezTo>
                    <a:pt x="399" y="296"/>
                    <a:pt x="329" y="342"/>
                    <a:pt x="281" y="438"/>
                  </a:cubicBezTo>
                  <a:cubicBezTo>
                    <a:pt x="229" y="544"/>
                    <a:pt x="200" y="660"/>
                    <a:pt x="200" y="660"/>
                  </a:cubicBezTo>
                  <a:cubicBezTo>
                    <a:pt x="200" y="660"/>
                    <a:pt x="171" y="544"/>
                    <a:pt x="119" y="438"/>
                  </a:cubicBezTo>
                  <a:cubicBezTo>
                    <a:pt x="71" y="342"/>
                    <a:pt x="0" y="296"/>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5" name="Freeform 114"/>
            <p:cNvSpPr>
              <a:spLocks noChangeArrowheads="1"/>
            </p:cNvSpPr>
            <p:nvPr/>
          </p:nvSpPr>
          <p:spPr bwMode="auto">
            <a:xfrm>
              <a:off x="8159750" y="2435225"/>
              <a:ext cx="144463" cy="238125"/>
            </a:xfrm>
            <a:custGeom>
              <a:avLst/>
              <a:gdLst/>
              <a:ahLst/>
              <a:cxnLst>
                <a:cxn ang="0">
                  <a:pos x="200" y="0"/>
                </a:cxn>
                <a:cxn ang="0">
                  <a:pos x="399" y="199"/>
                </a:cxn>
                <a:cxn ang="0">
                  <a:pos x="281" y="438"/>
                </a:cxn>
                <a:cxn ang="0">
                  <a:pos x="200" y="660"/>
                </a:cxn>
                <a:cxn ang="0">
                  <a:pos x="119" y="438"/>
                </a:cxn>
                <a:cxn ang="0">
                  <a:pos x="0" y="199"/>
                </a:cxn>
                <a:cxn ang="0">
                  <a:pos x="200" y="0"/>
                </a:cxn>
                <a:cxn ang="0">
                  <a:pos x="200" y="0"/>
                </a:cxn>
              </a:cxnLst>
              <a:rect l="0" t="0" r="r" b="b"/>
              <a:pathLst>
                <a:path w="400" h="661">
                  <a:moveTo>
                    <a:pt x="200" y="0"/>
                  </a:moveTo>
                  <a:cubicBezTo>
                    <a:pt x="310" y="0"/>
                    <a:pt x="399" y="89"/>
                    <a:pt x="399" y="199"/>
                  </a:cubicBezTo>
                  <a:cubicBezTo>
                    <a:pt x="399" y="296"/>
                    <a:pt x="329" y="342"/>
                    <a:pt x="281" y="438"/>
                  </a:cubicBezTo>
                  <a:cubicBezTo>
                    <a:pt x="229" y="544"/>
                    <a:pt x="200" y="660"/>
                    <a:pt x="200" y="660"/>
                  </a:cubicBezTo>
                  <a:cubicBezTo>
                    <a:pt x="200" y="660"/>
                    <a:pt x="171" y="544"/>
                    <a:pt x="119" y="438"/>
                  </a:cubicBezTo>
                  <a:cubicBezTo>
                    <a:pt x="71" y="342"/>
                    <a:pt x="0" y="296"/>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6" name="Freeform 115"/>
            <p:cNvSpPr>
              <a:spLocks noChangeArrowheads="1"/>
            </p:cNvSpPr>
            <p:nvPr/>
          </p:nvSpPr>
          <p:spPr bwMode="auto">
            <a:xfrm>
              <a:off x="8540750" y="2446338"/>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7" name="Freeform 116"/>
            <p:cNvSpPr>
              <a:spLocks noChangeArrowheads="1"/>
            </p:cNvSpPr>
            <p:nvPr/>
          </p:nvSpPr>
          <p:spPr bwMode="auto">
            <a:xfrm>
              <a:off x="8540750" y="2446338"/>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8" name="Freeform 117"/>
            <p:cNvSpPr>
              <a:spLocks noChangeArrowheads="1"/>
            </p:cNvSpPr>
            <p:nvPr/>
          </p:nvSpPr>
          <p:spPr bwMode="auto">
            <a:xfrm>
              <a:off x="7104063" y="2908300"/>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99" name="Freeform 118"/>
            <p:cNvSpPr>
              <a:spLocks noChangeArrowheads="1"/>
            </p:cNvSpPr>
            <p:nvPr/>
          </p:nvSpPr>
          <p:spPr bwMode="auto">
            <a:xfrm>
              <a:off x="7104063" y="2908300"/>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0" name="Freeform 119"/>
            <p:cNvSpPr>
              <a:spLocks noChangeArrowheads="1"/>
            </p:cNvSpPr>
            <p:nvPr/>
          </p:nvSpPr>
          <p:spPr bwMode="auto">
            <a:xfrm>
              <a:off x="7497763" y="3235325"/>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0" y="545"/>
                    <a:pt x="118" y="438"/>
                  </a:cubicBezTo>
                  <a:cubicBezTo>
                    <a:pt x="71" y="342"/>
                    <a:pt x="0" y="297"/>
                    <a:pt x="0" y="199"/>
                  </a:cubicBezTo>
                  <a:cubicBezTo>
                    <a:pt x="0" y="89"/>
                    <a:pt x="89"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1" name="Freeform 120"/>
            <p:cNvSpPr>
              <a:spLocks noChangeArrowheads="1"/>
            </p:cNvSpPr>
            <p:nvPr/>
          </p:nvSpPr>
          <p:spPr bwMode="auto">
            <a:xfrm>
              <a:off x="7497763" y="3235325"/>
              <a:ext cx="144462"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5"/>
                    <a:pt x="200" y="661"/>
                    <a:pt x="200" y="661"/>
                  </a:cubicBezTo>
                  <a:cubicBezTo>
                    <a:pt x="200" y="661"/>
                    <a:pt x="170" y="545"/>
                    <a:pt x="118" y="438"/>
                  </a:cubicBezTo>
                  <a:cubicBezTo>
                    <a:pt x="71" y="342"/>
                    <a:pt x="0" y="297"/>
                    <a:pt x="0" y="199"/>
                  </a:cubicBezTo>
                  <a:cubicBezTo>
                    <a:pt x="0" y="89"/>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2" name="Freeform 121"/>
            <p:cNvSpPr>
              <a:spLocks noChangeArrowheads="1"/>
            </p:cNvSpPr>
            <p:nvPr/>
          </p:nvSpPr>
          <p:spPr bwMode="auto">
            <a:xfrm>
              <a:off x="7486650" y="3549650"/>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90"/>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3" name="Freeform 122"/>
            <p:cNvSpPr>
              <a:spLocks noChangeArrowheads="1"/>
            </p:cNvSpPr>
            <p:nvPr/>
          </p:nvSpPr>
          <p:spPr bwMode="auto">
            <a:xfrm>
              <a:off x="7486650" y="3549650"/>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90"/>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4" name="Freeform 123"/>
            <p:cNvSpPr>
              <a:spLocks noChangeArrowheads="1"/>
            </p:cNvSpPr>
            <p:nvPr/>
          </p:nvSpPr>
          <p:spPr bwMode="auto">
            <a:xfrm>
              <a:off x="7462838" y="3525838"/>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5" name="Freeform 124"/>
            <p:cNvSpPr>
              <a:spLocks noChangeArrowheads="1"/>
            </p:cNvSpPr>
            <p:nvPr/>
          </p:nvSpPr>
          <p:spPr bwMode="auto">
            <a:xfrm>
              <a:off x="7462838" y="3525838"/>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6" name="Freeform 125"/>
            <p:cNvSpPr>
              <a:spLocks noChangeArrowheads="1"/>
            </p:cNvSpPr>
            <p:nvPr/>
          </p:nvSpPr>
          <p:spPr bwMode="auto">
            <a:xfrm>
              <a:off x="7581900" y="3790950"/>
              <a:ext cx="142875" cy="238125"/>
            </a:xfrm>
            <a:custGeom>
              <a:avLst/>
              <a:gdLst/>
              <a:ahLst/>
              <a:cxnLst>
                <a:cxn ang="0">
                  <a:pos x="199" y="0"/>
                </a:cxn>
                <a:cxn ang="0">
                  <a:pos x="398" y="198"/>
                </a:cxn>
                <a:cxn ang="0">
                  <a:pos x="280" y="437"/>
                </a:cxn>
                <a:cxn ang="0">
                  <a:pos x="199" y="660"/>
                </a:cxn>
                <a:cxn ang="0">
                  <a:pos x="118" y="437"/>
                </a:cxn>
                <a:cxn ang="0">
                  <a:pos x="0" y="198"/>
                </a:cxn>
                <a:cxn ang="0">
                  <a:pos x="199" y="0"/>
                </a:cxn>
                <a:cxn ang="0">
                  <a:pos x="199" y="0"/>
                </a:cxn>
              </a:cxnLst>
              <a:rect l="0" t="0" r="r" b="b"/>
              <a:pathLst>
                <a:path w="399" h="661">
                  <a:moveTo>
                    <a:pt x="199" y="0"/>
                  </a:moveTo>
                  <a:cubicBezTo>
                    <a:pt x="309" y="0"/>
                    <a:pt x="398" y="88"/>
                    <a:pt x="398" y="198"/>
                  </a:cubicBezTo>
                  <a:cubicBezTo>
                    <a:pt x="398" y="295"/>
                    <a:pt x="328" y="341"/>
                    <a:pt x="280" y="437"/>
                  </a:cubicBezTo>
                  <a:cubicBezTo>
                    <a:pt x="228" y="543"/>
                    <a:pt x="199" y="660"/>
                    <a:pt x="199" y="660"/>
                  </a:cubicBezTo>
                  <a:cubicBezTo>
                    <a:pt x="199" y="660"/>
                    <a:pt x="170" y="543"/>
                    <a:pt x="118" y="437"/>
                  </a:cubicBezTo>
                  <a:cubicBezTo>
                    <a:pt x="70" y="341"/>
                    <a:pt x="0" y="295"/>
                    <a:pt x="0" y="198"/>
                  </a:cubicBezTo>
                  <a:cubicBezTo>
                    <a:pt x="0" y="88"/>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7" name="Freeform 126"/>
            <p:cNvSpPr>
              <a:spLocks noChangeArrowheads="1"/>
            </p:cNvSpPr>
            <p:nvPr/>
          </p:nvSpPr>
          <p:spPr bwMode="auto">
            <a:xfrm>
              <a:off x="7581900" y="3790950"/>
              <a:ext cx="142875" cy="238125"/>
            </a:xfrm>
            <a:custGeom>
              <a:avLst/>
              <a:gdLst/>
              <a:ahLst/>
              <a:cxnLst>
                <a:cxn ang="0">
                  <a:pos x="199" y="0"/>
                </a:cxn>
                <a:cxn ang="0">
                  <a:pos x="398" y="198"/>
                </a:cxn>
                <a:cxn ang="0">
                  <a:pos x="280" y="437"/>
                </a:cxn>
                <a:cxn ang="0">
                  <a:pos x="199" y="660"/>
                </a:cxn>
                <a:cxn ang="0">
                  <a:pos x="118" y="437"/>
                </a:cxn>
                <a:cxn ang="0">
                  <a:pos x="0" y="198"/>
                </a:cxn>
                <a:cxn ang="0">
                  <a:pos x="199" y="0"/>
                </a:cxn>
                <a:cxn ang="0">
                  <a:pos x="199" y="0"/>
                </a:cxn>
              </a:cxnLst>
              <a:rect l="0" t="0" r="r" b="b"/>
              <a:pathLst>
                <a:path w="399" h="661">
                  <a:moveTo>
                    <a:pt x="199" y="0"/>
                  </a:moveTo>
                  <a:cubicBezTo>
                    <a:pt x="309" y="0"/>
                    <a:pt x="398" y="88"/>
                    <a:pt x="398" y="198"/>
                  </a:cubicBezTo>
                  <a:cubicBezTo>
                    <a:pt x="398" y="295"/>
                    <a:pt x="328" y="341"/>
                    <a:pt x="280" y="437"/>
                  </a:cubicBezTo>
                  <a:cubicBezTo>
                    <a:pt x="228" y="543"/>
                    <a:pt x="199" y="660"/>
                    <a:pt x="199" y="660"/>
                  </a:cubicBezTo>
                  <a:cubicBezTo>
                    <a:pt x="199" y="660"/>
                    <a:pt x="170" y="543"/>
                    <a:pt x="118" y="437"/>
                  </a:cubicBezTo>
                  <a:cubicBezTo>
                    <a:pt x="70" y="341"/>
                    <a:pt x="0" y="295"/>
                    <a:pt x="0" y="198"/>
                  </a:cubicBezTo>
                  <a:cubicBezTo>
                    <a:pt x="0" y="88"/>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8" name="Freeform 127"/>
            <p:cNvSpPr>
              <a:spLocks noChangeArrowheads="1"/>
            </p:cNvSpPr>
            <p:nvPr/>
          </p:nvSpPr>
          <p:spPr bwMode="auto">
            <a:xfrm>
              <a:off x="7059613" y="2865438"/>
              <a:ext cx="144462"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09" name="Freeform 128"/>
            <p:cNvSpPr>
              <a:spLocks noChangeArrowheads="1"/>
            </p:cNvSpPr>
            <p:nvPr/>
          </p:nvSpPr>
          <p:spPr bwMode="auto">
            <a:xfrm>
              <a:off x="7059613" y="2865438"/>
              <a:ext cx="144462"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0" name="Freeform 129"/>
            <p:cNvSpPr>
              <a:spLocks noChangeArrowheads="1"/>
            </p:cNvSpPr>
            <p:nvPr/>
          </p:nvSpPr>
          <p:spPr bwMode="auto">
            <a:xfrm>
              <a:off x="1255807" y="2295763"/>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1" name="Freeform 131"/>
            <p:cNvSpPr>
              <a:spLocks noChangeArrowheads="1"/>
            </p:cNvSpPr>
            <p:nvPr/>
          </p:nvSpPr>
          <p:spPr bwMode="auto">
            <a:xfrm>
              <a:off x="1274763" y="2382838"/>
              <a:ext cx="144462" cy="238125"/>
            </a:xfrm>
            <a:custGeom>
              <a:avLst/>
              <a:gdLst/>
              <a:ahLst/>
              <a:cxnLst>
                <a:cxn ang="0">
                  <a:pos x="199" y="0"/>
                </a:cxn>
                <a:cxn ang="0">
                  <a:pos x="399" y="199"/>
                </a:cxn>
                <a:cxn ang="0">
                  <a:pos x="280" y="438"/>
                </a:cxn>
                <a:cxn ang="0">
                  <a:pos x="199" y="660"/>
                </a:cxn>
                <a:cxn ang="0">
                  <a:pos x="118" y="438"/>
                </a:cxn>
                <a:cxn ang="0">
                  <a:pos x="0" y="199"/>
                </a:cxn>
                <a:cxn ang="0">
                  <a:pos x="199" y="0"/>
                </a:cxn>
                <a:cxn ang="0">
                  <a:pos x="199" y="0"/>
                </a:cxn>
              </a:cxnLst>
              <a:rect l="0" t="0" r="r" b="b"/>
              <a:pathLst>
                <a:path w="400" h="661">
                  <a:moveTo>
                    <a:pt x="199" y="0"/>
                  </a:moveTo>
                  <a:cubicBezTo>
                    <a:pt x="309" y="0"/>
                    <a:pt x="399" y="89"/>
                    <a:pt x="399" y="199"/>
                  </a:cubicBezTo>
                  <a:cubicBezTo>
                    <a:pt x="399" y="296"/>
                    <a:pt x="328" y="342"/>
                    <a:pt x="280" y="438"/>
                  </a:cubicBezTo>
                  <a:cubicBezTo>
                    <a:pt x="228" y="544"/>
                    <a:pt x="199" y="660"/>
                    <a:pt x="199" y="660"/>
                  </a:cubicBezTo>
                  <a:cubicBezTo>
                    <a:pt x="199" y="660"/>
                    <a:pt x="170" y="544"/>
                    <a:pt x="118" y="438"/>
                  </a:cubicBezTo>
                  <a:cubicBezTo>
                    <a:pt x="71" y="342"/>
                    <a:pt x="0" y="296"/>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2" name="Freeform 132"/>
            <p:cNvSpPr>
              <a:spLocks noChangeArrowheads="1"/>
            </p:cNvSpPr>
            <p:nvPr/>
          </p:nvSpPr>
          <p:spPr bwMode="auto">
            <a:xfrm>
              <a:off x="1274763" y="2382838"/>
              <a:ext cx="144462" cy="238125"/>
            </a:xfrm>
            <a:custGeom>
              <a:avLst/>
              <a:gdLst/>
              <a:ahLst/>
              <a:cxnLst>
                <a:cxn ang="0">
                  <a:pos x="199" y="0"/>
                </a:cxn>
                <a:cxn ang="0">
                  <a:pos x="399" y="199"/>
                </a:cxn>
                <a:cxn ang="0">
                  <a:pos x="280" y="438"/>
                </a:cxn>
                <a:cxn ang="0">
                  <a:pos x="199" y="660"/>
                </a:cxn>
                <a:cxn ang="0">
                  <a:pos x="118" y="438"/>
                </a:cxn>
                <a:cxn ang="0">
                  <a:pos x="0" y="199"/>
                </a:cxn>
                <a:cxn ang="0">
                  <a:pos x="199" y="0"/>
                </a:cxn>
                <a:cxn ang="0">
                  <a:pos x="199" y="0"/>
                </a:cxn>
              </a:cxnLst>
              <a:rect l="0" t="0" r="r" b="b"/>
              <a:pathLst>
                <a:path w="400" h="661">
                  <a:moveTo>
                    <a:pt x="199" y="0"/>
                  </a:moveTo>
                  <a:cubicBezTo>
                    <a:pt x="309" y="0"/>
                    <a:pt x="399" y="89"/>
                    <a:pt x="399" y="199"/>
                  </a:cubicBezTo>
                  <a:cubicBezTo>
                    <a:pt x="399" y="296"/>
                    <a:pt x="328" y="342"/>
                    <a:pt x="280" y="438"/>
                  </a:cubicBezTo>
                  <a:cubicBezTo>
                    <a:pt x="228" y="544"/>
                    <a:pt x="199" y="660"/>
                    <a:pt x="199" y="660"/>
                  </a:cubicBezTo>
                  <a:cubicBezTo>
                    <a:pt x="199" y="660"/>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3" name="Freeform 133"/>
            <p:cNvSpPr>
              <a:spLocks noChangeArrowheads="1"/>
            </p:cNvSpPr>
            <p:nvPr/>
          </p:nvSpPr>
          <p:spPr bwMode="auto">
            <a:xfrm>
              <a:off x="1281880" y="2451339"/>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8"/>
                  </a:cubicBezTo>
                  <a:cubicBezTo>
                    <a:pt x="228" y="544"/>
                    <a:pt x="199" y="661"/>
                    <a:pt x="199" y="661"/>
                  </a:cubicBezTo>
                  <a:cubicBezTo>
                    <a:pt x="199" y="661"/>
                    <a:pt x="170" y="544"/>
                    <a:pt x="118" y="438"/>
                  </a:cubicBezTo>
                  <a:cubicBezTo>
                    <a:pt x="70"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4" name="Freeform 135"/>
            <p:cNvSpPr>
              <a:spLocks noChangeArrowheads="1"/>
            </p:cNvSpPr>
            <p:nvPr/>
          </p:nvSpPr>
          <p:spPr bwMode="auto">
            <a:xfrm>
              <a:off x="1949450" y="3078163"/>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6"/>
                    <a:pt x="328" y="342"/>
                    <a:pt x="281" y="438"/>
                  </a:cubicBezTo>
                  <a:cubicBezTo>
                    <a:pt x="229"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5" name="Freeform 136"/>
            <p:cNvSpPr>
              <a:spLocks noChangeArrowheads="1"/>
            </p:cNvSpPr>
            <p:nvPr/>
          </p:nvSpPr>
          <p:spPr bwMode="auto">
            <a:xfrm>
              <a:off x="1949450" y="3078163"/>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6"/>
                    <a:pt x="328" y="342"/>
                    <a:pt x="281" y="438"/>
                  </a:cubicBezTo>
                  <a:cubicBezTo>
                    <a:pt x="229"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6" name="Freeform 137"/>
            <p:cNvSpPr>
              <a:spLocks noChangeArrowheads="1"/>
            </p:cNvSpPr>
            <p:nvPr/>
          </p:nvSpPr>
          <p:spPr bwMode="auto">
            <a:xfrm>
              <a:off x="2157413" y="3152775"/>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7" name="Freeform 138"/>
            <p:cNvSpPr>
              <a:spLocks noChangeArrowheads="1"/>
            </p:cNvSpPr>
            <p:nvPr/>
          </p:nvSpPr>
          <p:spPr bwMode="auto">
            <a:xfrm>
              <a:off x="2157413" y="3152775"/>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8" name="Freeform 139"/>
            <p:cNvSpPr>
              <a:spLocks noChangeArrowheads="1"/>
            </p:cNvSpPr>
            <p:nvPr/>
          </p:nvSpPr>
          <p:spPr bwMode="auto">
            <a:xfrm>
              <a:off x="2514600" y="2235200"/>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6"/>
                    <a:pt x="328" y="342"/>
                    <a:pt x="281" y="438"/>
                  </a:cubicBezTo>
                  <a:cubicBezTo>
                    <a:pt x="229"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19" name="Freeform 140"/>
            <p:cNvSpPr>
              <a:spLocks noChangeArrowheads="1"/>
            </p:cNvSpPr>
            <p:nvPr/>
          </p:nvSpPr>
          <p:spPr bwMode="auto">
            <a:xfrm>
              <a:off x="2514600" y="2235200"/>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6"/>
                    <a:pt x="328" y="342"/>
                    <a:pt x="281" y="438"/>
                  </a:cubicBezTo>
                  <a:cubicBezTo>
                    <a:pt x="229"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0" name="Freeform 141"/>
            <p:cNvSpPr>
              <a:spLocks noChangeArrowheads="1"/>
            </p:cNvSpPr>
            <p:nvPr/>
          </p:nvSpPr>
          <p:spPr bwMode="auto">
            <a:xfrm>
              <a:off x="2657475" y="2181225"/>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1" name="Freeform 142"/>
            <p:cNvSpPr>
              <a:spLocks noChangeArrowheads="1"/>
            </p:cNvSpPr>
            <p:nvPr/>
          </p:nvSpPr>
          <p:spPr bwMode="auto">
            <a:xfrm>
              <a:off x="2657475" y="2181225"/>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2" name="Freeform 143"/>
            <p:cNvSpPr>
              <a:spLocks noChangeArrowheads="1"/>
            </p:cNvSpPr>
            <p:nvPr/>
          </p:nvSpPr>
          <p:spPr bwMode="auto">
            <a:xfrm>
              <a:off x="2708275" y="2208213"/>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9"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3" name="Freeform 144"/>
            <p:cNvSpPr>
              <a:spLocks noChangeArrowheads="1"/>
            </p:cNvSpPr>
            <p:nvPr/>
          </p:nvSpPr>
          <p:spPr bwMode="auto">
            <a:xfrm>
              <a:off x="2708275" y="2208213"/>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9"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4" name="Freeform 145"/>
            <p:cNvSpPr>
              <a:spLocks noChangeArrowheads="1"/>
            </p:cNvSpPr>
            <p:nvPr/>
          </p:nvSpPr>
          <p:spPr bwMode="auto">
            <a:xfrm>
              <a:off x="4275138" y="1689100"/>
              <a:ext cx="144462"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5" name="Freeform 146"/>
            <p:cNvSpPr>
              <a:spLocks noChangeArrowheads="1"/>
            </p:cNvSpPr>
            <p:nvPr/>
          </p:nvSpPr>
          <p:spPr bwMode="auto">
            <a:xfrm>
              <a:off x="4275138" y="1689100"/>
              <a:ext cx="144462"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6" name="Freeform 147"/>
            <p:cNvSpPr>
              <a:spLocks noChangeArrowheads="1"/>
            </p:cNvSpPr>
            <p:nvPr/>
          </p:nvSpPr>
          <p:spPr bwMode="auto">
            <a:xfrm>
              <a:off x="4730750" y="1701800"/>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7" name="Freeform 148"/>
            <p:cNvSpPr>
              <a:spLocks noChangeArrowheads="1"/>
            </p:cNvSpPr>
            <p:nvPr/>
          </p:nvSpPr>
          <p:spPr bwMode="auto">
            <a:xfrm>
              <a:off x="4730750" y="1701800"/>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8" name="Freeform 149"/>
            <p:cNvSpPr>
              <a:spLocks noChangeArrowheads="1"/>
            </p:cNvSpPr>
            <p:nvPr/>
          </p:nvSpPr>
          <p:spPr bwMode="auto">
            <a:xfrm>
              <a:off x="4652963" y="1685925"/>
              <a:ext cx="144462" cy="238125"/>
            </a:xfrm>
            <a:custGeom>
              <a:avLst/>
              <a:gdLst/>
              <a:ahLst/>
              <a:cxnLst>
                <a:cxn ang="0">
                  <a:pos x="199" y="0"/>
                </a:cxn>
                <a:cxn ang="0">
                  <a:pos x="399" y="199"/>
                </a:cxn>
                <a:cxn ang="0">
                  <a:pos x="281" y="438"/>
                </a:cxn>
                <a:cxn ang="0">
                  <a:pos x="199" y="660"/>
                </a:cxn>
                <a:cxn ang="0">
                  <a:pos x="118" y="438"/>
                </a:cxn>
                <a:cxn ang="0">
                  <a:pos x="0" y="199"/>
                </a:cxn>
                <a:cxn ang="0">
                  <a:pos x="199" y="0"/>
                </a:cxn>
                <a:cxn ang="0">
                  <a:pos x="199" y="0"/>
                </a:cxn>
              </a:cxnLst>
              <a:rect l="0" t="0" r="r" b="b"/>
              <a:pathLst>
                <a:path w="400" h="661">
                  <a:moveTo>
                    <a:pt x="199" y="0"/>
                  </a:moveTo>
                  <a:cubicBezTo>
                    <a:pt x="309" y="0"/>
                    <a:pt x="399" y="89"/>
                    <a:pt x="399" y="199"/>
                  </a:cubicBezTo>
                  <a:cubicBezTo>
                    <a:pt x="399" y="296"/>
                    <a:pt x="328" y="342"/>
                    <a:pt x="281" y="438"/>
                  </a:cubicBezTo>
                  <a:cubicBezTo>
                    <a:pt x="229" y="544"/>
                    <a:pt x="199" y="660"/>
                    <a:pt x="199" y="660"/>
                  </a:cubicBezTo>
                  <a:cubicBezTo>
                    <a:pt x="199" y="660"/>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29" name="Freeform 150"/>
            <p:cNvSpPr>
              <a:spLocks noChangeArrowheads="1"/>
            </p:cNvSpPr>
            <p:nvPr/>
          </p:nvSpPr>
          <p:spPr bwMode="auto">
            <a:xfrm>
              <a:off x="4652963" y="1685925"/>
              <a:ext cx="144462" cy="238125"/>
            </a:xfrm>
            <a:custGeom>
              <a:avLst/>
              <a:gdLst/>
              <a:ahLst/>
              <a:cxnLst>
                <a:cxn ang="0">
                  <a:pos x="199" y="0"/>
                </a:cxn>
                <a:cxn ang="0">
                  <a:pos x="399" y="199"/>
                </a:cxn>
                <a:cxn ang="0">
                  <a:pos x="281" y="438"/>
                </a:cxn>
                <a:cxn ang="0">
                  <a:pos x="199" y="660"/>
                </a:cxn>
                <a:cxn ang="0">
                  <a:pos x="118" y="438"/>
                </a:cxn>
                <a:cxn ang="0">
                  <a:pos x="0" y="199"/>
                </a:cxn>
                <a:cxn ang="0">
                  <a:pos x="199" y="0"/>
                </a:cxn>
                <a:cxn ang="0">
                  <a:pos x="199" y="0"/>
                </a:cxn>
              </a:cxnLst>
              <a:rect l="0" t="0" r="r" b="b"/>
              <a:pathLst>
                <a:path w="400" h="661">
                  <a:moveTo>
                    <a:pt x="199" y="0"/>
                  </a:moveTo>
                  <a:cubicBezTo>
                    <a:pt x="309" y="0"/>
                    <a:pt x="399" y="89"/>
                    <a:pt x="399" y="199"/>
                  </a:cubicBezTo>
                  <a:cubicBezTo>
                    <a:pt x="399" y="296"/>
                    <a:pt x="328" y="342"/>
                    <a:pt x="281" y="438"/>
                  </a:cubicBezTo>
                  <a:cubicBezTo>
                    <a:pt x="229" y="544"/>
                    <a:pt x="199" y="660"/>
                    <a:pt x="199" y="660"/>
                  </a:cubicBezTo>
                  <a:cubicBezTo>
                    <a:pt x="199" y="660"/>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0" name="Freeform 151"/>
            <p:cNvSpPr>
              <a:spLocks noChangeArrowheads="1"/>
            </p:cNvSpPr>
            <p:nvPr/>
          </p:nvSpPr>
          <p:spPr bwMode="auto">
            <a:xfrm>
              <a:off x="4665663" y="171608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1" name="Freeform 152"/>
            <p:cNvSpPr>
              <a:spLocks noChangeArrowheads="1"/>
            </p:cNvSpPr>
            <p:nvPr/>
          </p:nvSpPr>
          <p:spPr bwMode="auto">
            <a:xfrm>
              <a:off x="4665663" y="171608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2" name="Freeform 153"/>
            <p:cNvSpPr>
              <a:spLocks noChangeArrowheads="1"/>
            </p:cNvSpPr>
            <p:nvPr/>
          </p:nvSpPr>
          <p:spPr bwMode="auto">
            <a:xfrm>
              <a:off x="4597400" y="1751013"/>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90"/>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3" name="Freeform 154"/>
            <p:cNvSpPr>
              <a:spLocks noChangeArrowheads="1"/>
            </p:cNvSpPr>
            <p:nvPr/>
          </p:nvSpPr>
          <p:spPr bwMode="auto">
            <a:xfrm>
              <a:off x="4597400" y="1751013"/>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90"/>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4" name="Freeform 155"/>
            <p:cNvSpPr>
              <a:spLocks noChangeArrowheads="1"/>
            </p:cNvSpPr>
            <p:nvPr/>
          </p:nvSpPr>
          <p:spPr bwMode="auto">
            <a:xfrm>
              <a:off x="4622800" y="1779588"/>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8" y="438"/>
                  </a:cubicBezTo>
                  <a:cubicBezTo>
                    <a:pt x="71" y="342"/>
                    <a:pt x="0" y="297"/>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5" name="Freeform 156"/>
            <p:cNvSpPr>
              <a:spLocks noChangeArrowheads="1"/>
            </p:cNvSpPr>
            <p:nvPr/>
          </p:nvSpPr>
          <p:spPr bwMode="auto">
            <a:xfrm>
              <a:off x="4622800" y="1779588"/>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8"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6" name="Freeform 157"/>
            <p:cNvSpPr>
              <a:spLocks noChangeArrowheads="1"/>
            </p:cNvSpPr>
            <p:nvPr/>
          </p:nvSpPr>
          <p:spPr bwMode="auto">
            <a:xfrm>
              <a:off x="3498850" y="4319588"/>
              <a:ext cx="144463" cy="238125"/>
            </a:xfrm>
            <a:custGeom>
              <a:avLst/>
              <a:gdLst/>
              <a:ahLst/>
              <a:cxnLst>
                <a:cxn ang="0">
                  <a:pos x="200" y="0"/>
                </a:cxn>
                <a:cxn ang="0">
                  <a:pos x="399" y="200"/>
                </a:cxn>
                <a:cxn ang="0">
                  <a:pos x="281" y="439"/>
                </a:cxn>
                <a:cxn ang="0">
                  <a:pos x="200" y="661"/>
                </a:cxn>
                <a:cxn ang="0">
                  <a:pos x="119"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9" y="439"/>
                  </a:cubicBezTo>
                  <a:cubicBezTo>
                    <a:pt x="71" y="342"/>
                    <a:pt x="0" y="297"/>
                    <a:pt x="0" y="200"/>
                  </a:cubicBezTo>
                  <a:cubicBezTo>
                    <a:pt x="0" y="90"/>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7" name="Freeform 158"/>
            <p:cNvSpPr>
              <a:spLocks noChangeArrowheads="1"/>
            </p:cNvSpPr>
            <p:nvPr/>
          </p:nvSpPr>
          <p:spPr bwMode="auto">
            <a:xfrm>
              <a:off x="3498850" y="4319588"/>
              <a:ext cx="144463" cy="238125"/>
            </a:xfrm>
            <a:custGeom>
              <a:avLst/>
              <a:gdLst/>
              <a:ahLst/>
              <a:cxnLst>
                <a:cxn ang="0">
                  <a:pos x="200" y="0"/>
                </a:cxn>
                <a:cxn ang="0">
                  <a:pos x="399" y="200"/>
                </a:cxn>
                <a:cxn ang="0">
                  <a:pos x="281" y="439"/>
                </a:cxn>
                <a:cxn ang="0">
                  <a:pos x="200" y="661"/>
                </a:cxn>
                <a:cxn ang="0">
                  <a:pos x="119"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9" y="439"/>
                  </a:cubicBezTo>
                  <a:cubicBezTo>
                    <a:pt x="71" y="342"/>
                    <a:pt x="0" y="297"/>
                    <a:pt x="0" y="200"/>
                  </a:cubicBezTo>
                  <a:cubicBezTo>
                    <a:pt x="0" y="90"/>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8" name="Freeform 159"/>
            <p:cNvSpPr>
              <a:spLocks noChangeArrowheads="1"/>
            </p:cNvSpPr>
            <p:nvPr/>
          </p:nvSpPr>
          <p:spPr bwMode="auto">
            <a:xfrm>
              <a:off x="3141641" y="4801506"/>
              <a:ext cx="144463" cy="238125"/>
            </a:xfrm>
            <a:custGeom>
              <a:avLst/>
              <a:gdLst/>
              <a:ahLst/>
              <a:cxnLst>
                <a:cxn ang="0">
                  <a:pos x="200" y="0"/>
                </a:cxn>
                <a:cxn ang="0">
                  <a:pos x="399" y="199"/>
                </a:cxn>
                <a:cxn ang="0">
                  <a:pos x="281" y="438"/>
                </a:cxn>
                <a:cxn ang="0">
                  <a:pos x="200" y="660"/>
                </a:cxn>
                <a:cxn ang="0">
                  <a:pos x="119" y="438"/>
                </a:cxn>
                <a:cxn ang="0">
                  <a:pos x="0" y="199"/>
                </a:cxn>
                <a:cxn ang="0">
                  <a:pos x="200" y="0"/>
                </a:cxn>
                <a:cxn ang="0">
                  <a:pos x="200" y="0"/>
                </a:cxn>
              </a:cxnLst>
              <a:rect l="0" t="0" r="r" b="b"/>
              <a:pathLst>
                <a:path w="400" h="661">
                  <a:moveTo>
                    <a:pt x="200" y="0"/>
                  </a:moveTo>
                  <a:cubicBezTo>
                    <a:pt x="310" y="0"/>
                    <a:pt x="399" y="89"/>
                    <a:pt x="399" y="199"/>
                  </a:cubicBezTo>
                  <a:cubicBezTo>
                    <a:pt x="399" y="296"/>
                    <a:pt x="328" y="341"/>
                    <a:pt x="281" y="438"/>
                  </a:cubicBezTo>
                  <a:cubicBezTo>
                    <a:pt x="229" y="544"/>
                    <a:pt x="200" y="660"/>
                    <a:pt x="200" y="660"/>
                  </a:cubicBezTo>
                  <a:cubicBezTo>
                    <a:pt x="200" y="660"/>
                    <a:pt x="171" y="544"/>
                    <a:pt x="119" y="438"/>
                  </a:cubicBezTo>
                  <a:cubicBezTo>
                    <a:pt x="71" y="341"/>
                    <a:pt x="0" y="296"/>
                    <a:pt x="0" y="199"/>
                  </a:cubicBezTo>
                  <a:cubicBezTo>
                    <a:pt x="0" y="89"/>
                    <a:pt x="90" y="0"/>
                    <a:pt x="200" y="0"/>
                  </a:cubicBezTo>
                  <a:lnTo>
                    <a:pt x="200"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39" name="Freeform 161"/>
            <p:cNvSpPr>
              <a:spLocks noChangeArrowheads="1"/>
            </p:cNvSpPr>
            <p:nvPr/>
          </p:nvSpPr>
          <p:spPr bwMode="auto">
            <a:xfrm>
              <a:off x="4416425" y="1863725"/>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8"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0" name="Freeform 162"/>
            <p:cNvSpPr>
              <a:spLocks noChangeArrowheads="1"/>
            </p:cNvSpPr>
            <p:nvPr/>
          </p:nvSpPr>
          <p:spPr bwMode="auto">
            <a:xfrm>
              <a:off x="4416425" y="1863725"/>
              <a:ext cx="144463" cy="238125"/>
            </a:xfrm>
            <a:custGeom>
              <a:avLst/>
              <a:gdLst/>
              <a:ahLst/>
              <a:cxnLst>
                <a:cxn ang="0">
                  <a:pos x="200" y="0"/>
                </a:cxn>
                <a:cxn ang="0">
                  <a:pos x="399" y="199"/>
                </a:cxn>
                <a:cxn ang="0">
                  <a:pos x="281" y="438"/>
                </a:cxn>
                <a:cxn ang="0">
                  <a:pos x="200" y="661"/>
                </a:cxn>
                <a:cxn ang="0">
                  <a:pos x="118"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8"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1" name="Freeform 163"/>
            <p:cNvSpPr>
              <a:spLocks noChangeArrowheads="1"/>
            </p:cNvSpPr>
            <p:nvPr/>
          </p:nvSpPr>
          <p:spPr bwMode="auto">
            <a:xfrm>
              <a:off x="4354513" y="1897063"/>
              <a:ext cx="144462"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90"/>
                    <a:pt x="399" y="199"/>
                  </a:cubicBezTo>
                  <a:cubicBezTo>
                    <a:pt x="399" y="297"/>
                    <a:pt x="328" y="342"/>
                    <a:pt x="281" y="439"/>
                  </a:cubicBezTo>
                  <a:cubicBezTo>
                    <a:pt x="229" y="545"/>
                    <a:pt x="200" y="661"/>
                    <a:pt x="200" y="661"/>
                  </a:cubicBezTo>
                  <a:cubicBezTo>
                    <a:pt x="200" y="661"/>
                    <a:pt x="170" y="545"/>
                    <a:pt x="118" y="439"/>
                  </a:cubicBezTo>
                  <a:cubicBezTo>
                    <a:pt x="71" y="342"/>
                    <a:pt x="0" y="297"/>
                    <a:pt x="0" y="199"/>
                  </a:cubicBezTo>
                  <a:cubicBezTo>
                    <a:pt x="0" y="90"/>
                    <a:pt x="89"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2" name="Freeform 164"/>
            <p:cNvSpPr>
              <a:spLocks noChangeArrowheads="1"/>
            </p:cNvSpPr>
            <p:nvPr/>
          </p:nvSpPr>
          <p:spPr bwMode="auto">
            <a:xfrm>
              <a:off x="4354513" y="1897063"/>
              <a:ext cx="144462"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90"/>
                    <a:pt x="399" y="199"/>
                  </a:cubicBezTo>
                  <a:cubicBezTo>
                    <a:pt x="399" y="297"/>
                    <a:pt x="328" y="342"/>
                    <a:pt x="281" y="439"/>
                  </a:cubicBezTo>
                  <a:cubicBezTo>
                    <a:pt x="229" y="545"/>
                    <a:pt x="200" y="661"/>
                    <a:pt x="200" y="661"/>
                  </a:cubicBezTo>
                  <a:cubicBezTo>
                    <a:pt x="200" y="661"/>
                    <a:pt x="170" y="545"/>
                    <a:pt x="118" y="439"/>
                  </a:cubicBezTo>
                  <a:cubicBezTo>
                    <a:pt x="71" y="342"/>
                    <a:pt x="0" y="297"/>
                    <a:pt x="0" y="199"/>
                  </a:cubicBezTo>
                  <a:cubicBezTo>
                    <a:pt x="0" y="90"/>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3" name="Freeform 165"/>
            <p:cNvSpPr>
              <a:spLocks noChangeArrowheads="1"/>
            </p:cNvSpPr>
            <p:nvPr/>
          </p:nvSpPr>
          <p:spPr bwMode="auto">
            <a:xfrm>
              <a:off x="4386263" y="1962150"/>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4" name="Freeform 166"/>
            <p:cNvSpPr>
              <a:spLocks noChangeArrowheads="1"/>
            </p:cNvSpPr>
            <p:nvPr/>
          </p:nvSpPr>
          <p:spPr bwMode="auto">
            <a:xfrm>
              <a:off x="4386263" y="1962150"/>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5" name="Freeform 167"/>
            <p:cNvSpPr>
              <a:spLocks noChangeArrowheads="1"/>
            </p:cNvSpPr>
            <p:nvPr/>
          </p:nvSpPr>
          <p:spPr bwMode="auto">
            <a:xfrm>
              <a:off x="4414838" y="1962150"/>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6" name="Freeform 168"/>
            <p:cNvSpPr>
              <a:spLocks noChangeArrowheads="1"/>
            </p:cNvSpPr>
            <p:nvPr/>
          </p:nvSpPr>
          <p:spPr bwMode="auto">
            <a:xfrm>
              <a:off x="4414838" y="1962150"/>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7" name="Freeform 169"/>
            <p:cNvSpPr>
              <a:spLocks noChangeArrowheads="1"/>
            </p:cNvSpPr>
            <p:nvPr/>
          </p:nvSpPr>
          <p:spPr bwMode="auto">
            <a:xfrm>
              <a:off x="4389438" y="1987550"/>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8" name="Freeform 170"/>
            <p:cNvSpPr>
              <a:spLocks noChangeArrowheads="1"/>
            </p:cNvSpPr>
            <p:nvPr/>
          </p:nvSpPr>
          <p:spPr bwMode="auto">
            <a:xfrm>
              <a:off x="4389438" y="1987550"/>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49" name="Freeform 171"/>
            <p:cNvSpPr>
              <a:spLocks noChangeArrowheads="1"/>
            </p:cNvSpPr>
            <p:nvPr/>
          </p:nvSpPr>
          <p:spPr bwMode="auto">
            <a:xfrm>
              <a:off x="4421188" y="198596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0" name="Freeform 172"/>
            <p:cNvSpPr>
              <a:spLocks noChangeArrowheads="1"/>
            </p:cNvSpPr>
            <p:nvPr/>
          </p:nvSpPr>
          <p:spPr bwMode="auto">
            <a:xfrm>
              <a:off x="4421188" y="198596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1" name="Freeform 173"/>
            <p:cNvSpPr>
              <a:spLocks noChangeArrowheads="1"/>
            </p:cNvSpPr>
            <p:nvPr/>
          </p:nvSpPr>
          <p:spPr bwMode="auto">
            <a:xfrm>
              <a:off x="4686300" y="1882775"/>
              <a:ext cx="144463" cy="238125"/>
            </a:xfrm>
            <a:custGeom>
              <a:avLst/>
              <a:gdLst/>
              <a:ahLst/>
              <a:cxnLst>
                <a:cxn ang="0">
                  <a:pos x="200" y="0"/>
                </a:cxn>
                <a:cxn ang="0">
                  <a:pos x="399" y="200"/>
                </a:cxn>
                <a:cxn ang="0">
                  <a:pos x="281" y="439"/>
                </a:cxn>
                <a:cxn ang="0">
                  <a:pos x="200" y="661"/>
                </a:cxn>
                <a:cxn ang="0">
                  <a:pos x="118"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8" y="439"/>
                  </a:cubicBezTo>
                  <a:cubicBezTo>
                    <a:pt x="71" y="342"/>
                    <a:pt x="0" y="297"/>
                    <a:pt x="0" y="200"/>
                  </a:cubicBezTo>
                  <a:cubicBezTo>
                    <a:pt x="0" y="90"/>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2" name="Freeform 174"/>
            <p:cNvSpPr>
              <a:spLocks noChangeArrowheads="1"/>
            </p:cNvSpPr>
            <p:nvPr/>
          </p:nvSpPr>
          <p:spPr bwMode="auto">
            <a:xfrm>
              <a:off x="4686300" y="1882775"/>
              <a:ext cx="144463" cy="238125"/>
            </a:xfrm>
            <a:custGeom>
              <a:avLst/>
              <a:gdLst/>
              <a:ahLst/>
              <a:cxnLst>
                <a:cxn ang="0">
                  <a:pos x="200" y="0"/>
                </a:cxn>
                <a:cxn ang="0">
                  <a:pos x="399" y="200"/>
                </a:cxn>
                <a:cxn ang="0">
                  <a:pos x="281" y="439"/>
                </a:cxn>
                <a:cxn ang="0">
                  <a:pos x="200" y="661"/>
                </a:cxn>
                <a:cxn ang="0">
                  <a:pos x="118"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8" y="439"/>
                  </a:cubicBezTo>
                  <a:cubicBezTo>
                    <a:pt x="71" y="342"/>
                    <a:pt x="0" y="297"/>
                    <a:pt x="0" y="200"/>
                  </a:cubicBezTo>
                  <a:cubicBezTo>
                    <a:pt x="0" y="90"/>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3" name="Freeform 175"/>
            <p:cNvSpPr>
              <a:spLocks noChangeArrowheads="1"/>
            </p:cNvSpPr>
            <p:nvPr/>
          </p:nvSpPr>
          <p:spPr bwMode="auto">
            <a:xfrm>
              <a:off x="4651375" y="1941513"/>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6"/>
                    <a:pt x="328" y="342"/>
                    <a:pt x="281" y="438"/>
                  </a:cubicBezTo>
                  <a:cubicBezTo>
                    <a:pt x="229"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4" name="Freeform 176"/>
            <p:cNvSpPr>
              <a:spLocks noChangeArrowheads="1"/>
            </p:cNvSpPr>
            <p:nvPr/>
          </p:nvSpPr>
          <p:spPr bwMode="auto">
            <a:xfrm>
              <a:off x="4651375" y="1941513"/>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10" y="0"/>
                    <a:pt x="399" y="89"/>
                    <a:pt x="399" y="199"/>
                  </a:cubicBezTo>
                  <a:cubicBezTo>
                    <a:pt x="399" y="296"/>
                    <a:pt x="328" y="342"/>
                    <a:pt x="281" y="438"/>
                  </a:cubicBezTo>
                  <a:cubicBezTo>
                    <a:pt x="229"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5" name="Freeform 177"/>
            <p:cNvSpPr>
              <a:spLocks noChangeArrowheads="1"/>
            </p:cNvSpPr>
            <p:nvPr/>
          </p:nvSpPr>
          <p:spPr bwMode="auto">
            <a:xfrm>
              <a:off x="4518025" y="1987550"/>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6" name="Freeform 178"/>
            <p:cNvSpPr>
              <a:spLocks noChangeArrowheads="1"/>
            </p:cNvSpPr>
            <p:nvPr/>
          </p:nvSpPr>
          <p:spPr bwMode="auto">
            <a:xfrm>
              <a:off x="4518025" y="1987550"/>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8"/>
                  </a:cubicBezTo>
                  <a:cubicBezTo>
                    <a:pt x="229" y="544"/>
                    <a:pt x="200" y="661"/>
                    <a:pt x="200" y="661"/>
                  </a:cubicBezTo>
                  <a:cubicBezTo>
                    <a:pt x="200" y="661"/>
                    <a:pt x="171" y="544"/>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7" name="Freeform 179"/>
            <p:cNvSpPr>
              <a:spLocks noChangeArrowheads="1"/>
            </p:cNvSpPr>
            <p:nvPr/>
          </p:nvSpPr>
          <p:spPr bwMode="auto">
            <a:xfrm>
              <a:off x="4670425" y="2081213"/>
              <a:ext cx="142875" cy="238125"/>
            </a:xfrm>
            <a:custGeom>
              <a:avLst/>
              <a:gdLst/>
              <a:ahLst/>
              <a:cxnLst>
                <a:cxn ang="0">
                  <a:pos x="199" y="0"/>
                </a:cxn>
                <a:cxn ang="0">
                  <a:pos x="398" y="199"/>
                </a:cxn>
                <a:cxn ang="0">
                  <a:pos x="280" y="439"/>
                </a:cxn>
                <a:cxn ang="0">
                  <a:pos x="199" y="661"/>
                </a:cxn>
                <a:cxn ang="0">
                  <a:pos x="118" y="439"/>
                </a:cxn>
                <a:cxn ang="0">
                  <a:pos x="0" y="199"/>
                </a:cxn>
                <a:cxn ang="0">
                  <a:pos x="199" y="0"/>
                </a:cxn>
                <a:cxn ang="0">
                  <a:pos x="199" y="0"/>
                </a:cxn>
              </a:cxnLst>
              <a:rect l="0" t="0" r="r" b="b"/>
              <a:pathLst>
                <a:path w="399" h="662">
                  <a:moveTo>
                    <a:pt x="199" y="0"/>
                  </a:moveTo>
                  <a:cubicBezTo>
                    <a:pt x="309" y="0"/>
                    <a:pt x="398" y="90"/>
                    <a:pt x="398" y="199"/>
                  </a:cubicBezTo>
                  <a:cubicBezTo>
                    <a:pt x="398" y="297"/>
                    <a:pt x="328" y="342"/>
                    <a:pt x="280" y="439"/>
                  </a:cubicBezTo>
                  <a:cubicBezTo>
                    <a:pt x="228" y="545"/>
                    <a:pt x="199" y="661"/>
                    <a:pt x="199" y="661"/>
                  </a:cubicBezTo>
                  <a:cubicBezTo>
                    <a:pt x="199" y="661"/>
                    <a:pt x="170" y="545"/>
                    <a:pt x="118" y="439"/>
                  </a:cubicBezTo>
                  <a:cubicBezTo>
                    <a:pt x="70"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8" name="Freeform 180"/>
            <p:cNvSpPr>
              <a:spLocks noChangeArrowheads="1"/>
            </p:cNvSpPr>
            <p:nvPr/>
          </p:nvSpPr>
          <p:spPr bwMode="auto">
            <a:xfrm>
              <a:off x="4670425" y="2081213"/>
              <a:ext cx="142875" cy="238125"/>
            </a:xfrm>
            <a:custGeom>
              <a:avLst/>
              <a:gdLst/>
              <a:ahLst/>
              <a:cxnLst>
                <a:cxn ang="0">
                  <a:pos x="199" y="0"/>
                </a:cxn>
                <a:cxn ang="0">
                  <a:pos x="398" y="199"/>
                </a:cxn>
                <a:cxn ang="0">
                  <a:pos x="280" y="439"/>
                </a:cxn>
                <a:cxn ang="0">
                  <a:pos x="199" y="661"/>
                </a:cxn>
                <a:cxn ang="0">
                  <a:pos x="118" y="439"/>
                </a:cxn>
                <a:cxn ang="0">
                  <a:pos x="0" y="199"/>
                </a:cxn>
                <a:cxn ang="0">
                  <a:pos x="199" y="0"/>
                </a:cxn>
                <a:cxn ang="0">
                  <a:pos x="199" y="0"/>
                </a:cxn>
              </a:cxnLst>
              <a:rect l="0" t="0" r="r" b="b"/>
              <a:pathLst>
                <a:path w="399" h="662">
                  <a:moveTo>
                    <a:pt x="199" y="0"/>
                  </a:moveTo>
                  <a:cubicBezTo>
                    <a:pt x="309" y="0"/>
                    <a:pt x="398" y="90"/>
                    <a:pt x="398" y="199"/>
                  </a:cubicBezTo>
                  <a:cubicBezTo>
                    <a:pt x="398" y="297"/>
                    <a:pt x="328" y="342"/>
                    <a:pt x="280" y="439"/>
                  </a:cubicBezTo>
                  <a:cubicBezTo>
                    <a:pt x="228" y="545"/>
                    <a:pt x="199" y="661"/>
                    <a:pt x="199" y="661"/>
                  </a:cubicBezTo>
                  <a:cubicBezTo>
                    <a:pt x="199" y="661"/>
                    <a:pt x="170" y="545"/>
                    <a:pt x="118" y="439"/>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9" name="Freeform 181"/>
            <p:cNvSpPr>
              <a:spLocks noChangeArrowheads="1"/>
            </p:cNvSpPr>
            <p:nvPr/>
          </p:nvSpPr>
          <p:spPr bwMode="auto">
            <a:xfrm>
              <a:off x="5259388" y="227330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0" name="Freeform 182"/>
            <p:cNvSpPr>
              <a:spLocks noChangeArrowheads="1"/>
            </p:cNvSpPr>
            <p:nvPr/>
          </p:nvSpPr>
          <p:spPr bwMode="auto">
            <a:xfrm>
              <a:off x="5259388" y="2273300"/>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1" name="Freeform 183"/>
            <p:cNvSpPr>
              <a:spLocks noChangeArrowheads="1"/>
            </p:cNvSpPr>
            <p:nvPr/>
          </p:nvSpPr>
          <p:spPr bwMode="auto">
            <a:xfrm>
              <a:off x="5240338" y="2644775"/>
              <a:ext cx="144462" cy="238125"/>
            </a:xfrm>
            <a:custGeom>
              <a:avLst/>
              <a:gdLst/>
              <a:ahLst/>
              <a:cxnLst>
                <a:cxn ang="0">
                  <a:pos x="200" y="0"/>
                </a:cxn>
                <a:cxn ang="0">
                  <a:pos x="399" y="199"/>
                </a:cxn>
                <a:cxn ang="0">
                  <a:pos x="281" y="439"/>
                </a:cxn>
                <a:cxn ang="0">
                  <a:pos x="199" y="661"/>
                </a:cxn>
                <a:cxn ang="0">
                  <a:pos x="118" y="439"/>
                </a:cxn>
                <a:cxn ang="0">
                  <a:pos x="0" y="199"/>
                </a:cxn>
                <a:cxn ang="0">
                  <a:pos x="199" y="0"/>
                </a:cxn>
                <a:cxn ang="0">
                  <a:pos x="200" y="0"/>
                </a:cxn>
              </a:cxnLst>
              <a:rect l="0" t="0" r="r" b="b"/>
              <a:pathLst>
                <a:path w="400" h="662">
                  <a:moveTo>
                    <a:pt x="200"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2" name="Freeform 184"/>
            <p:cNvSpPr>
              <a:spLocks noChangeArrowheads="1"/>
            </p:cNvSpPr>
            <p:nvPr/>
          </p:nvSpPr>
          <p:spPr bwMode="auto">
            <a:xfrm>
              <a:off x="5240338" y="2644775"/>
              <a:ext cx="144462" cy="238125"/>
            </a:xfrm>
            <a:custGeom>
              <a:avLst/>
              <a:gdLst/>
              <a:ahLst/>
              <a:cxnLst>
                <a:cxn ang="0">
                  <a:pos x="200" y="0"/>
                </a:cxn>
                <a:cxn ang="0">
                  <a:pos x="399" y="199"/>
                </a:cxn>
                <a:cxn ang="0">
                  <a:pos x="281" y="439"/>
                </a:cxn>
                <a:cxn ang="0">
                  <a:pos x="199" y="661"/>
                </a:cxn>
                <a:cxn ang="0">
                  <a:pos x="118" y="439"/>
                </a:cxn>
                <a:cxn ang="0">
                  <a:pos x="0" y="199"/>
                </a:cxn>
                <a:cxn ang="0">
                  <a:pos x="199" y="0"/>
                </a:cxn>
                <a:cxn ang="0">
                  <a:pos x="200" y="0"/>
                </a:cxn>
              </a:cxnLst>
              <a:rect l="0" t="0" r="r" b="b"/>
              <a:pathLst>
                <a:path w="400" h="662">
                  <a:moveTo>
                    <a:pt x="200" y="0"/>
                  </a:moveTo>
                  <a:cubicBezTo>
                    <a:pt x="310" y="0"/>
                    <a:pt x="399" y="89"/>
                    <a:pt x="399" y="199"/>
                  </a:cubicBezTo>
                  <a:cubicBezTo>
                    <a:pt x="399" y="297"/>
                    <a:pt x="328" y="342"/>
                    <a:pt x="281" y="439"/>
                  </a:cubicBezTo>
                  <a:cubicBezTo>
                    <a:pt x="229" y="545"/>
                    <a:pt x="199" y="661"/>
                    <a:pt x="199" y="661"/>
                  </a:cubicBezTo>
                  <a:cubicBezTo>
                    <a:pt x="199" y="661"/>
                    <a:pt x="170" y="545"/>
                    <a:pt x="118" y="439"/>
                  </a:cubicBezTo>
                  <a:cubicBezTo>
                    <a:pt x="71" y="342"/>
                    <a:pt x="0" y="297"/>
                    <a:pt x="0" y="199"/>
                  </a:cubicBezTo>
                  <a:cubicBezTo>
                    <a:pt x="0" y="89"/>
                    <a:pt x="89" y="0"/>
                    <a:pt x="199"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3" name="Freeform 185"/>
            <p:cNvSpPr>
              <a:spLocks noChangeArrowheads="1"/>
            </p:cNvSpPr>
            <p:nvPr/>
          </p:nvSpPr>
          <p:spPr bwMode="auto">
            <a:xfrm>
              <a:off x="5546725" y="2927350"/>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0" y="545"/>
                    <a:pt x="118" y="439"/>
                  </a:cubicBezTo>
                  <a:cubicBezTo>
                    <a:pt x="71" y="342"/>
                    <a:pt x="0" y="297"/>
                    <a:pt x="0" y="199"/>
                  </a:cubicBezTo>
                  <a:cubicBezTo>
                    <a:pt x="0" y="89"/>
                    <a:pt x="89"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4" name="Freeform 186"/>
            <p:cNvSpPr>
              <a:spLocks noChangeArrowheads="1"/>
            </p:cNvSpPr>
            <p:nvPr/>
          </p:nvSpPr>
          <p:spPr bwMode="auto">
            <a:xfrm>
              <a:off x="5546725" y="2927350"/>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0" y="545"/>
                    <a:pt x="118" y="439"/>
                  </a:cubicBezTo>
                  <a:cubicBezTo>
                    <a:pt x="71" y="342"/>
                    <a:pt x="0" y="297"/>
                    <a:pt x="0" y="199"/>
                  </a:cubicBezTo>
                  <a:cubicBezTo>
                    <a:pt x="0" y="89"/>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5" name="Freeform 187"/>
            <p:cNvSpPr>
              <a:spLocks noChangeArrowheads="1"/>
            </p:cNvSpPr>
            <p:nvPr/>
          </p:nvSpPr>
          <p:spPr bwMode="auto">
            <a:xfrm>
              <a:off x="5821363" y="2767013"/>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6" name="Freeform 188"/>
            <p:cNvSpPr>
              <a:spLocks noChangeArrowheads="1"/>
            </p:cNvSpPr>
            <p:nvPr/>
          </p:nvSpPr>
          <p:spPr bwMode="auto">
            <a:xfrm>
              <a:off x="5821363" y="2767013"/>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7" name="Freeform 189"/>
            <p:cNvSpPr>
              <a:spLocks noChangeArrowheads="1"/>
            </p:cNvSpPr>
            <p:nvPr/>
          </p:nvSpPr>
          <p:spPr bwMode="auto">
            <a:xfrm>
              <a:off x="6578600" y="2606675"/>
              <a:ext cx="144463"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0" y="439"/>
                  </a:cubicBezTo>
                  <a:cubicBezTo>
                    <a:pt x="228" y="545"/>
                    <a:pt x="199" y="661"/>
                    <a:pt x="199" y="661"/>
                  </a:cubicBezTo>
                  <a:cubicBezTo>
                    <a:pt x="199" y="661"/>
                    <a:pt x="170" y="545"/>
                    <a:pt x="118" y="439"/>
                  </a:cubicBezTo>
                  <a:cubicBezTo>
                    <a:pt x="70"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8" name="Freeform 190"/>
            <p:cNvSpPr>
              <a:spLocks noChangeArrowheads="1"/>
            </p:cNvSpPr>
            <p:nvPr/>
          </p:nvSpPr>
          <p:spPr bwMode="auto">
            <a:xfrm>
              <a:off x="6578600" y="2606675"/>
              <a:ext cx="144463"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90"/>
                    <a:pt x="399" y="199"/>
                  </a:cubicBezTo>
                  <a:cubicBezTo>
                    <a:pt x="399" y="297"/>
                    <a:pt x="328" y="342"/>
                    <a:pt x="280" y="439"/>
                  </a:cubicBezTo>
                  <a:cubicBezTo>
                    <a:pt x="228" y="545"/>
                    <a:pt x="199" y="661"/>
                    <a:pt x="199" y="661"/>
                  </a:cubicBezTo>
                  <a:cubicBezTo>
                    <a:pt x="199" y="661"/>
                    <a:pt x="170" y="545"/>
                    <a:pt x="118" y="439"/>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69" name="Freeform 191"/>
            <p:cNvSpPr>
              <a:spLocks noChangeArrowheads="1"/>
            </p:cNvSpPr>
            <p:nvPr/>
          </p:nvSpPr>
          <p:spPr bwMode="auto">
            <a:xfrm>
              <a:off x="6357938" y="280828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0" name="Freeform 192"/>
            <p:cNvSpPr>
              <a:spLocks noChangeArrowheads="1"/>
            </p:cNvSpPr>
            <p:nvPr/>
          </p:nvSpPr>
          <p:spPr bwMode="auto">
            <a:xfrm>
              <a:off x="6357938" y="280828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1" name="Freeform 193"/>
            <p:cNvSpPr>
              <a:spLocks noChangeArrowheads="1"/>
            </p:cNvSpPr>
            <p:nvPr/>
          </p:nvSpPr>
          <p:spPr bwMode="auto">
            <a:xfrm>
              <a:off x="6543675" y="2974975"/>
              <a:ext cx="144463"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2" name="Freeform 194"/>
            <p:cNvSpPr>
              <a:spLocks noChangeArrowheads="1"/>
            </p:cNvSpPr>
            <p:nvPr/>
          </p:nvSpPr>
          <p:spPr bwMode="auto">
            <a:xfrm>
              <a:off x="6543675" y="2974975"/>
              <a:ext cx="144463"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3" name="Freeform 195"/>
            <p:cNvSpPr>
              <a:spLocks noChangeArrowheads="1"/>
            </p:cNvSpPr>
            <p:nvPr/>
          </p:nvSpPr>
          <p:spPr bwMode="auto">
            <a:xfrm>
              <a:off x="6965950" y="2900363"/>
              <a:ext cx="144463" cy="238125"/>
            </a:xfrm>
            <a:custGeom>
              <a:avLst/>
              <a:gdLst/>
              <a:ahLst/>
              <a:cxnLst>
                <a:cxn ang="0">
                  <a:pos x="200" y="0"/>
                </a:cxn>
                <a:cxn ang="0">
                  <a:pos x="399" y="199"/>
                </a:cxn>
                <a:cxn ang="0">
                  <a:pos x="281" y="438"/>
                </a:cxn>
                <a:cxn ang="0">
                  <a:pos x="200" y="660"/>
                </a:cxn>
                <a:cxn ang="0">
                  <a:pos x="119" y="438"/>
                </a:cxn>
                <a:cxn ang="0">
                  <a:pos x="0" y="199"/>
                </a:cxn>
                <a:cxn ang="0">
                  <a:pos x="200" y="0"/>
                </a:cxn>
                <a:cxn ang="0">
                  <a:pos x="200" y="0"/>
                </a:cxn>
              </a:cxnLst>
              <a:rect l="0" t="0" r="r" b="b"/>
              <a:pathLst>
                <a:path w="400" h="661">
                  <a:moveTo>
                    <a:pt x="200" y="0"/>
                  </a:moveTo>
                  <a:cubicBezTo>
                    <a:pt x="310" y="0"/>
                    <a:pt x="399" y="89"/>
                    <a:pt x="399" y="199"/>
                  </a:cubicBezTo>
                  <a:cubicBezTo>
                    <a:pt x="399" y="296"/>
                    <a:pt x="329" y="341"/>
                    <a:pt x="281" y="438"/>
                  </a:cubicBezTo>
                  <a:cubicBezTo>
                    <a:pt x="229" y="544"/>
                    <a:pt x="200" y="660"/>
                    <a:pt x="200" y="660"/>
                  </a:cubicBezTo>
                  <a:cubicBezTo>
                    <a:pt x="200" y="660"/>
                    <a:pt x="171" y="544"/>
                    <a:pt x="119" y="438"/>
                  </a:cubicBezTo>
                  <a:cubicBezTo>
                    <a:pt x="71" y="341"/>
                    <a:pt x="0" y="296"/>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4" name="Freeform 196"/>
            <p:cNvSpPr>
              <a:spLocks noChangeArrowheads="1"/>
            </p:cNvSpPr>
            <p:nvPr/>
          </p:nvSpPr>
          <p:spPr bwMode="auto">
            <a:xfrm>
              <a:off x="6965950" y="2900363"/>
              <a:ext cx="144463" cy="238125"/>
            </a:xfrm>
            <a:custGeom>
              <a:avLst/>
              <a:gdLst/>
              <a:ahLst/>
              <a:cxnLst>
                <a:cxn ang="0">
                  <a:pos x="200" y="0"/>
                </a:cxn>
                <a:cxn ang="0">
                  <a:pos x="399" y="199"/>
                </a:cxn>
                <a:cxn ang="0">
                  <a:pos x="281" y="438"/>
                </a:cxn>
                <a:cxn ang="0">
                  <a:pos x="200" y="660"/>
                </a:cxn>
                <a:cxn ang="0">
                  <a:pos x="119" y="438"/>
                </a:cxn>
                <a:cxn ang="0">
                  <a:pos x="0" y="199"/>
                </a:cxn>
                <a:cxn ang="0">
                  <a:pos x="200" y="0"/>
                </a:cxn>
                <a:cxn ang="0">
                  <a:pos x="200" y="0"/>
                </a:cxn>
              </a:cxnLst>
              <a:rect l="0" t="0" r="r" b="b"/>
              <a:pathLst>
                <a:path w="400" h="661">
                  <a:moveTo>
                    <a:pt x="200" y="0"/>
                  </a:moveTo>
                  <a:cubicBezTo>
                    <a:pt x="310" y="0"/>
                    <a:pt x="399" y="89"/>
                    <a:pt x="399" y="199"/>
                  </a:cubicBezTo>
                  <a:cubicBezTo>
                    <a:pt x="399" y="296"/>
                    <a:pt x="329" y="341"/>
                    <a:pt x="281" y="438"/>
                  </a:cubicBezTo>
                  <a:cubicBezTo>
                    <a:pt x="229" y="544"/>
                    <a:pt x="200" y="660"/>
                    <a:pt x="200" y="660"/>
                  </a:cubicBezTo>
                  <a:cubicBezTo>
                    <a:pt x="200" y="660"/>
                    <a:pt x="171" y="544"/>
                    <a:pt x="119" y="438"/>
                  </a:cubicBezTo>
                  <a:cubicBezTo>
                    <a:pt x="71" y="341"/>
                    <a:pt x="0" y="296"/>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5" name="Freeform 197"/>
            <p:cNvSpPr>
              <a:spLocks noChangeArrowheads="1"/>
            </p:cNvSpPr>
            <p:nvPr/>
          </p:nvSpPr>
          <p:spPr bwMode="auto">
            <a:xfrm>
              <a:off x="7231063" y="3084513"/>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6" name="Freeform 198"/>
            <p:cNvSpPr>
              <a:spLocks noChangeArrowheads="1"/>
            </p:cNvSpPr>
            <p:nvPr/>
          </p:nvSpPr>
          <p:spPr bwMode="auto">
            <a:xfrm>
              <a:off x="7231063" y="3084513"/>
              <a:ext cx="144462"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7" name="Freeform 199"/>
            <p:cNvSpPr>
              <a:spLocks noChangeArrowheads="1"/>
            </p:cNvSpPr>
            <p:nvPr/>
          </p:nvSpPr>
          <p:spPr bwMode="auto">
            <a:xfrm>
              <a:off x="7378700" y="3167063"/>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6"/>
                    <a:pt x="328" y="342"/>
                    <a:pt x="281" y="438"/>
                  </a:cubicBezTo>
                  <a:cubicBezTo>
                    <a:pt x="229" y="544"/>
                    <a:pt x="200" y="661"/>
                    <a:pt x="200" y="661"/>
                  </a:cubicBezTo>
                  <a:cubicBezTo>
                    <a:pt x="200" y="661"/>
                    <a:pt x="171" y="544"/>
                    <a:pt x="119" y="438"/>
                  </a:cubicBezTo>
                  <a:cubicBezTo>
                    <a:pt x="71" y="342"/>
                    <a:pt x="0" y="296"/>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8" name="Freeform 200"/>
            <p:cNvSpPr>
              <a:spLocks noChangeArrowheads="1"/>
            </p:cNvSpPr>
            <p:nvPr/>
          </p:nvSpPr>
          <p:spPr bwMode="auto">
            <a:xfrm>
              <a:off x="7378700" y="3167063"/>
              <a:ext cx="144463"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6"/>
                    <a:pt x="328" y="342"/>
                    <a:pt x="281" y="438"/>
                  </a:cubicBezTo>
                  <a:cubicBezTo>
                    <a:pt x="229" y="544"/>
                    <a:pt x="200" y="661"/>
                    <a:pt x="200" y="661"/>
                  </a:cubicBezTo>
                  <a:cubicBezTo>
                    <a:pt x="200" y="661"/>
                    <a:pt x="171" y="544"/>
                    <a:pt x="119" y="438"/>
                  </a:cubicBezTo>
                  <a:cubicBezTo>
                    <a:pt x="71" y="342"/>
                    <a:pt x="0" y="296"/>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9" name="Freeform 201"/>
            <p:cNvSpPr>
              <a:spLocks noChangeArrowheads="1"/>
            </p:cNvSpPr>
            <p:nvPr/>
          </p:nvSpPr>
          <p:spPr bwMode="auto">
            <a:xfrm>
              <a:off x="7045325" y="2851150"/>
              <a:ext cx="144463"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90"/>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90"/>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0" name="Freeform 202"/>
            <p:cNvSpPr>
              <a:spLocks noChangeArrowheads="1"/>
            </p:cNvSpPr>
            <p:nvPr/>
          </p:nvSpPr>
          <p:spPr bwMode="auto">
            <a:xfrm>
              <a:off x="7045325" y="2851150"/>
              <a:ext cx="144463" cy="238125"/>
            </a:xfrm>
            <a:custGeom>
              <a:avLst/>
              <a:gdLst/>
              <a:ahLst/>
              <a:cxnLst>
                <a:cxn ang="0">
                  <a:pos x="200" y="0"/>
                </a:cxn>
                <a:cxn ang="0">
                  <a:pos x="399" y="199"/>
                </a:cxn>
                <a:cxn ang="0">
                  <a:pos x="281" y="439"/>
                </a:cxn>
                <a:cxn ang="0">
                  <a:pos x="200" y="661"/>
                </a:cxn>
                <a:cxn ang="0">
                  <a:pos x="119" y="439"/>
                </a:cxn>
                <a:cxn ang="0">
                  <a:pos x="0" y="199"/>
                </a:cxn>
                <a:cxn ang="0">
                  <a:pos x="200" y="0"/>
                </a:cxn>
                <a:cxn ang="0">
                  <a:pos x="200" y="0"/>
                </a:cxn>
              </a:cxnLst>
              <a:rect l="0" t="0" r="r" b="b"/>
              <a:pathLst>
                <a:path w="400" h="662">
                  <a:moveTo>
                    <a:pt x="200" y="0"/>
                  </a:moveTo>
                  <a:cubicBezTo>
                    <a:pt x="310" y="0"/>
                    <a:pt x="399" y="90"/>
                    <a:pt x="399" y="199"/>
                  </a:cubicBezTo>
                  <a:cubicBezTo>
                    <a:pt x="399" y="297"/>
                    <a:pt x="328" y="342"/>
                    <a:pt x="281" y="439"/>
                  </a:cubicBezTo>
                  <a:cubicBezTo>
                    <a:pt x="229" y="545"/>
                    <a:pt x="200" y="661"/>
                    <a:pt x="200" y="661"/>
                  </a:cubicBezTo>
                  <a:cubicBezTo>
                    <a:pt x="200" y="661"/>
                    <a:pt x="171" y="545"/>
                    <a:pt x="119" y="439"/>
                  </a:cubicBezTo>
                  <a:cubicBezTo>
                    <a:pt x="71" y="342"/>
                    <a:pt x="0" y="297"/>
                    <a:pt x="0" y="199"/>
                  </a:cubicBezTo>
                  <a:cubicBezTo>
                    <a:pt x="0" y="90"/>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1" name="Freeform 203"/>
            <p:cNvSpPr>
              <a:spLocks noChangeArrowheads="1"/>
            </p:cNvSpPr>
            <p:nvPr/>
          </p:nvSpPr>
          <p:spPr bwMode="auto">
            <a:xfrm>
              <a:off x="6713538" y="2668588"/>
              <a:ext cx="144462"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2" name="Freeform 204"/>
            <p:cNvSpPr>
              <a:spLocks noChangeArrowheads="1"/>
            </p:cNvSpPr>
            <p:nvPr/>
          </p:nvSpPr>
          <p:spPr bwMode="auto">
            <a:xfrm>
              <a:off x="6713538" y="2668588"/>
              <a:ext cx="144462"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3" name="Freeform 205"/>
            <p:cNvSpPr>
              <a:spLocks noChangeArrowheads="1"/>
            </p:cNvSpPr>
            <p:nvPr/>
          </p:nvSpPr>
          <p:spPr bwMode="auto">
            <a:xfrm>
              <a:off x="4468813" y="2090738"/>
              <a:ext cx="144462" cy="238125"/>
            </a:xfrm>
            <a:custGeom>
              <a:avLst/>
              <a:gdLst/>
              <a:ahLst/>
              <a:cxnLst>
                <a:cxn ang="0">
                  <a:pos x="200" y="0"/>
                </a:cxn>
                <a:cxn ang="0">
                  <a:pos x="399" y="200"/>
                </a:cxn>
                <a:cxn ang="0">
                  <a:pos x="281" y="439"/>
                </a:cxn>
                <a:cxn ang="0">
                  <a:pos x="200" y="661"/>
                </a:cxn>
                <a:cxn ang="0">
                  <a:pos x="118"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8" y="439"/>
                  </a:cubicBezTo>
                  <a:cubicBezTo>
                    <a:pt x="71" y="342"/>
                    <a:pt x="0" y="297"/>
                    <a:pt x="0" y="200"/>
                  </a:cubicBezTo>
                  <a:cubicBezTo>
                    <a:pt x="0" y="90"/>
                    <a:pt x="89"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4" name="Freeform 206"/>
            <p:cNvSpPr>
              <a:spLocks noChangeArrowheads="1"/>
            </p:cNvSpPr>
            <p:nvPr/>
          </p:nvSpPr>
          <p:spPr bwMode="auto">
            <a:xfrm>
              <a:off x="4468813" y="2090738"/>
              <a:ext cx="144462" cy="238125"/>
            </a:xfrm>
            <a:custGeom>
              <a:avLst/>
              <a:gdLst/>
              <a:ahLst/>
              <a:cxnLst>
                <a:cxn ang="0">
                  <a:pos x="200" y="0"/>
                </a:cxn>
                <a:cxn ang="0">
                  <a:pos x="399" y="200"/>
                </a:cxn>
                <a:cxn ang="0">
                  <a:pos x="281" y="439"/>
                </a:cxn>
                <a:cxn ang="0">
                  <a:pos x="200" y="661"/>
                </a:cxn>
                <a:cxn ang="0">
                  <a:pos x="118"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8" y="439"/>
                  </a:cubicBezTo>
                  <a:cubicBezTo>
                    <a:pt x="71" y="342"/>
                    <a:pt x="0" y="297"/>
                    <a:pt x="0" y="200"/>
                  </a:cubicBezTo>
                  <a:cubicBezTo>
                    <a:pt x="0" y="90"/>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5" name="Freeform 207"/>
            <p:cNvSpPr>
              <a:spLocks noChangeArrowheads="1"/>
            </p:cNvSpPr>
            <p:nvPr/>
          </p:nvSpPr>
          <p:spPr bwMode="auto">
            <a:xfrm>
              <a:off x="6654800" y="2733675"/>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6" name="Freeform 208"/>
            <p:cNvSpPr>
              <a:spLocks noChangeArrowheads="1"/>
            </p:cNvSpPr>
            <p:nvPr/>
          </p:nvSpPr>
          <p:spPr bwMode="auto">
            <a:xfrm>
              <a:off x="6654800" y="2733675"/>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7" name="Freeform 209"/>
            <p:cNvSpPr>
              <a:spLocks noChangeArrowheads="1"/>
            </p:cNvSpPr>
            <p:nvPr/>
          </p:nvSpPr>
          <p:spPr bwMode="auto">
            <a:xfrm>
              <a:off x="6680200" y="2725738"/>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8" name="Freeform 210"/>
            <p:cNvSpPr>
              <a:spLocks noChangeArrowheads="1"/>
            </p:cNvSpPr>
            <p:nvPr/>
          </p:nvSpPr>
          <p:spPr bwMode="auto">
            <a:xfrm>
              <a:off x="6680200" y="2725738"/>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6"/>
                    <a:pt x="328" y="342"/>
                    <a:pt x="281" y="438"/>
                  </a:cubicBezTo>
                  <a:cubicBezTo>
                    <a:pt x="228" y="544"/>
                    <a:pt x="199" y="661"/>
                    <a:pt x="199" y="661"/>
                  </a:cubicBezTo>
                  <a:cubicBezTo>
                    <a:pt x="199" y="661"/>
                    <a:pt x="170" y="544"/>
                    <a:pt x="118" y="438"/>
                  </a:cubicBezTo>
                  <a:cubicBezTo>
                    <a:pt x="71"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9" name="Freeform 211"/>
            <p:cNvSpPr>
              <a:spLocks noChangeArrowheads="1"/>
            </p:cNvSpPr>
            <p:nvPr/>
          </p:nvSpPr>
          <p:spPr bwMode="auto">
            <a:xfrm>
              <a:off x="6718300" y="3127375"/>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0" name="Freeform 212"/>
            <p:cNvSpPr>
              <a:spLocks noChangeArrowheads="1"/>
            </p:cNvSpPr>
            <p:nvPr/>
          </p:nvSpPr>
          <p:spPr bwMode="auto">
            <a:xfrm>
              <a:off x="6718300" y="3127375"/>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1" name="Freeform 213"/>
            <p:cNvSpPr>
              <a:spLocks noChangeArrowheads="1"/>
            </p:cNvSpPr>
            <p:nvPr/>
          </p:nvSpPr>
          <p:spPr bwMode="auto">
            <a:xfrm>
              <a:off x="6656388" y="3159125"/>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2" name="Freeform 214"/>
            <p:cNvSpPr>
              <a:spLocks noChangeArrowheads="1"/>
            </p:cNvSpPr>
            <p:nvPr/>
          </p:nvSpPr>
          <p:spPr bwMode="auto">
            <a:xfrm>
              <a:off x="6656388" y="3159125"/>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3" name="Freeform 215"/>
            <p:cNvSpPr>
              <a:spLocks noChangeArrowheads="1"/>
            </p:cNvSpPr>
            <p:nvPr/>
          </p:nvSpPr>
          <p:spPr bwMode="auto">
            <a:xfrm>
              <a:off x="6629400" y="3148013"/>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4" name="Freeform 216"/>
            <p:cNvSpPr>
              <a:spLocks noChangeArrowheads="1"/>
            </p:cNvSpPr>
            <p:nvPr/>
          </p:nvSpPr>
          <p:spPr bwMode="auto">
            <a:xfrm>
              <a:off x="6629400" y="3148013"/>
              <a:ext cx="144463" cy="238125"/>
            </a:xfrm>
            <a:custGeom>
              <a:avLst/>
              <a:gdLst/>
              <a:ahLst/>
              <a:cxnLst>
                <a:cxn ang="0">
                  <a:pos x="199" y="0"/>
                </a:cxn>
                <a:cxn ang="0">
                  <a:pos x="399" y="199"/>
                </a:cxn>
                <a:cxn ang="0">
                  <a:pos x="281"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5" name="Freeform 217"/>
            <p:cNvSpPr>
              <a:spLocks noChangeArrowheads="1"/>
            </p:cNvSpPr>
            <p:nvPr/>
          </p:nvSpPr>
          <p:spPr bwMode="auto">
            <a:xfrm>
              <a:off x="6680200" y="3233738"/>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6" name="Freeform 218"/>
            <p:cNvSpPr>
              <a:spLocks noChangeArrowheads="1"/>
            </p:cNvSpPr>
            <p:nvPr/>
          </p:nvSpPr>
          <p:spPr bwMode="auto">
            <a:xfrm>
              <a:off x="6680200" y="3233738"/>
              <a:ext cx="144463"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5"/>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7" name="Freeform 219"/>
            <p:cNvSpPr>
              <a:spLocks noChangeArrowheads="1"/>
            </p:cNvSpPr>
            <p:nvPr/>
          </p:nvSpPr>
          <p:spPr bwMode="auto">
            <a:xfrm>
              <a:off x="6761163" y="3381375"/>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8" name="Freeform 220"/>
            <p:cNvSpPr>
              <a:spLocks noChangeArrowheads="1"/>
            </p:cNvSpPr>
            <p:nvPr/>
          </p:nvSpPr>
          <p:spPr bwMode="auto">
            <a:xfrm>
              <a:off x="6761163" y="3381375"/>
              <a:ext cx="144462" cy="238125"/>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9" name="Freeform 221"/>
            <p:cNvSpPr>
              <a:spLocks noChangeArrowheads="1"/>
            </p:cNvSpPr>
            <p:nvPr/>
          </p:nvSpPr>
          <p:spPr bwMode="auto">
            <a:xfrm>
              <a:off x="7600950" y="3806825"/>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89" y="0"/>
                    <a:pt x="200" y="0"/>
                  </a:cubicBezTo>
                  <a:lnTo>
                    <a:pt x="200"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0" name="Freeform 222"/>
            <p:cNvSpPr>
              <a:spLocks noChangeArrowheads="1"/>
            </p:cNvSpPr>
            <p:nvPr/>
          </p:nvSpPr>
          <p:spPr bwMode="auto">
            <a:xfrm>
              <a:off x="7600950" y="3806825"/>
              <a:ext cx="144463" cy="238125"/>
            </a:xfrm>
            <a:custGeom>
              <a:avLst/>
              <a:gdLst/>
              <a:ahLst/>
              <a:cxnLst>
                <a:cxn ang="0">
                  <a:pos x="200" y="0"/>
                </a:cxn>
                <a:cxn ang="0">
                  <a:pos x="399" y="199"/>
                </a:cxn>
                <a:cxn ang="0">
                  <a:pos x="281" y="439"/>
                </a:cxn>
                <a:cxn ang="0">
                  <a:pos x="200" y="661"/>
                </a:cxn>
                <a:cxn ang="0">
                  <a:pos x="118" y="439"/>
                </a:cxn>
                <a:cxn ang="0">
                  <a:pos x="0" y="199"/>
                </a:cxn>
                <a:cxn ang="0">
                  <a:pos x="200" y="0"/>
                </a:cxn>
                <a:cxn ang="0">
                  <a:pos x="200" y="0"/>
                </a:cxn>
              </a:cxnLst>
              <a:rect l="0" t="0" r="r" b="b"/>
              <a:pathLst>
                <a:path w="400" h="662">
                  <a:moveTo>
                    <a:pt x="200" y="0"/>
                  </a:moveTo>
                  <a:cubicBezTo>
                    <a:pt x="310" y="0"/>
                    <a:pt x="399" y="89"/>
                    <a:pt x="399" y="199"/>
                  </a:cubicBezTo>
                  <a:cubicBezTo>
                    <a:pt x="399" y="297"/>
                    <a:pt x="328" y="342"/>
                    <a:pt x="281" y="439"/>
                  </a:cubicBezTo>
                  <a:cubicBezTo>
                    <a:pt x="229" y="545"/>
                    <a:pt x="200" y="661"/>
                    <a:pt x="200" y="661"/>
                  </a:cubicBezTo>
                  <a:cubicBezTo>
                    <a:pt x="200" y="661"/>
                    <a:pt x="171" y="545"/>
                    <a:pt x="118" y="439"/>
                  </a:cubicBezTo>
                  <a:cubicBezTo>
                    <a:pt x="71" y="342"/>
                    <a:pt x="0" y="297"/>
                    <a:pt x="0" y="199"/>
                  </a:cubicBezTo>
                  <a:cubicBezTo>
                    <a:pt x="0" y="89"/>
                    <a:pt x="89" y="0"/>
                    <a:pt x="200" y="0"/>
                  </a:cubicBezTo>
                  <a:lnTo>
                    <a:pt x="20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1" name="Freeform 223"/>
            <p:cNvSpPr>
              <a:spLocks noChangeArrowheads="1"/>
            </p:cNvSpPr>
            <p:nvPr/>
          </p:nvSpPr>
          <p:spPr bwMode="auto">
            <a:xfrm>
              <a:off x="7710488" y="3806825"/>
              <a:ext cx="142875" cy="238125"/>
            </a:xfrm>
            <a:custGeom>
              <a:avLst/>
              <a:gdLst/>
              <a:ahLst/>
              <a:cxnLst>
                <a:cxn ang="0">
                  <a:pos x="199" y="0"/>
                </a:cxn>
                <a:cxn ang="0">
                  <a:pos x="398" y="199"/>
                </a:cxn>
                <a:cxn ang="0">
                  <a:pos x="280" y="439"/>
                </a:cxn>
                <a:cxn ang="0">
                  <a:pos x="199" y="661"/>
                </a:cxn>
                <a:cxn ang="0">
                  <a:pos x="118" y="439"/>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9"/>
                  </a:cubicBezTo>
                  <a:cubicBezTo>
                    <a:pt x="228" y="545"/>
                    <a:pt x="199" y="661"/>
                    <a:pt x="199" y="661"/>
                  </a:cubicBezTo>
                  <a:cubicBezTo>
                    <a:pt x="199" y="661"/>
                    <a:pt x="170" y="545"/>
                    <a:pt x="118" y="439"/>
                  </a:cubicBezTo>
                  <a:cubicBezTo>
                    <a:pt x="70"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2" name="Freeform 224"/>
            <p:cNvSpPr>
              <a:spLocks noChangeArrowheads="1"/>
            </p:cNvSpPr>
            <p:nvPr/>
          </p:nvSpPr>
          <p:spPr bwMode="auto">
            <a:xfrm>
              <a:off x="7710488" y="3806825"/>
              <a:ext cx="142875" cy="238125"/>
            </a:xfrm>
            <a:custGeom>
              <a:avLst/>
              <a:gdLst/>
              <a:ahLst/>
              <a:cxnLst>
                <a:cxn ang="0">
                  <a:pos x="199" y="0"/>
                </a:cxn>
                <a:cxn ang="0">
                  <a:pos x="398" y="199"/>
                </a:cxn>
                <a:cxn ang="0">
                  <a:pos x="280" y="439"/>
                </a:cxn>
                <a:cxn ang="0">
                  <a:pos x="199" y="661"/>
                </a:cxn>
                <a:cxn ang="0">
                  <a:pos x="118" y="439"/>
                </a:cxn>
                <a:cxn ang="0">
                  <a:pos x="0" y="199"/>
                </a:cxn>
                <a:cxn ang="0">
                  <a:pos x="199" y="0"/>
                </a:cxn>
                <a:cxn ang="0">
                  <a:pos x="199" y="0"/>
                </a:cxn>
              </a:cxnLst>
              <a:rect l="0" t="0" r="r" b="b"/>
              <a:pathLst>
                <a:path w="399" h="662">
                  <a:moveTo>
                    <a:pt x="199" y="0"/>
                  </a:moveTo>
                  <a:cubicBezTo>
                    <a:pt x="309" y="0"/>
                    <a:pt x="398" y="89"/>
                    <a:pt x="398" y="199"/>
                  </a:cubicBezTo>
                  <a:cubicBezTo>
                    <a:pt x="398" y="297"/>
                    <a:pt x="328" y="342"/>
                    <a:pt x="280" y="439"/>
                  </a:cubicBezTo>
                  <a:cubicBezTo>
                    <a:pt x="228" y="545"/>
                    <a:pt x="199" y="661"/>
                    <a:pt x="199" y="661"/>
                  </a:cubicBezTo>
                  <a:cubicBezTo>
                    <a:pt x="199" y="661"/>
                    <a:pt x="170" y="545"/>
                    <a:pt x="118" y="439"/>
                  </a:cubicBezTo>
                  <a:cubicBezTo>
                    <a:pt x="70"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3" name="Freeform 225"/>
            <p:cNvSpPr>
              <a:spLocks noChangeArrowheads="1"/>
            </p:cNvSpPr>
            <p:nvPr/>
          </p:nvSpPr>
          <p:spPr bwMode="auto">
            <a:xfrm>
              <a:off x="7994650" y="3141663"/>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4" name="Freeform 226"/>
            <p:cNvSpPr>
              <a:spLocks noChangeArrowheads="1"/>
            </p:cNvSpPr>
            <p:nvPr/>
          </p:nvSpPr>
          <p:spPr bwMode="auto">
            <a:xfrm>
              <a:off x="7994650" y="3141663"/>
              <a:ext cx="142875" cy="238125"/>
            </a:xfrm>
            <a:custGeom>
              <a:avLst/>
              <a:gdLst/>
              <a:ahLst/>
              <a:cxnLst>
                <a:cxn ang="0">
                  <a:pos x="199" y="0"/>
                </a:cxn>
                <a:cxn ang="0">
                  <a:pos x="398" y="199"/>
                </a:cxn>
                <a:cxn ang="0">
                  <a:pos x="280" y="438"/>
                </a:cxn>
                <a:cxn ang="0">
                  <a:pos x="199" y="661"/>
                </a:cxn>
                <a:cxn ang="0">
                  <a:pos x="118" y="438"/>
                </a:cxn>
                <a:cxn ang="0">
                  <a:pos x="0" y="199"/>
                </a:cxn>
                <a:cxn ang="0">
                  <a:pos x="199" y="0"/>
                </a:cxn>
                <a:cxn ang="0">
                  <a:pos x="199" y="0"/>
                </a:cxn>
              </a:cxnLst>
              <a:rect l="0" t="0" r="r" b="b"/>
              <a:pathLst>
                <a:path w="399" h="662">
                  <a:moveTo>
                    <a:pt x="199" y="0"/>
                  </a:moveTo>
                  <a:cubicBezTo>
                    <a:pt x="309" y="0"/>
                    <a:pt x="398" y="89"/>
                    <a:pt x="398" y="199"/>
                  </a:cubicBezTo>
                  <a:cubicBezTo>
                    <a:pt x="398" y="296"/>
                    <a:pt x="328" y="342"/>
                    <a:pt x="280" y="438"/>
                  </a:cubicBezTo>
                  <a:cubicBezTo>
                    <a:pt x="228" y="544"/>
                    <a:pt x="199" y="661"/>
                    <a:pt x="199" y="661"/>
                  </a:cubicBezTo>
                  <a:cubicBezTo>
                    <a:pt x="199" y="661"/>
                    <a:pt x="170" y="544"/>
                    <a:pt x="118" y="438"/>
                  </a:cubicBezTo>
                  <a:cubicBezTo>
                    <a:pt x="70" y="342"/>
                    <a:pt x="0" y="296"/>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5" name="Freeform 227"/>
            <p:cNvSpPr>
              <a:spLocks noChangeArrowheads="1"/>
            </p:cNvSpPr>
            <p:nvPr/>
          </p:nvSpPr>
          <p:spPr bwMode="auto">
            <a:xfrm>
              <a:off x="8413750" y="2490788"/>
              <a:ext cx="144463"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8" y="89"/>
                    <a:pt x="399" y="199"/>
                  </a:cubicBezTo>
                  <a:cubicBezTo>
                    <a:pt x="399" y="297"/>
                    <a:pt x="328" y="342"/>
                    <a:pt x="280" y="438"/>
                  </a:cubicBezTo>
                  <a:cubicBezTo>
                    <a:pt x="228" y="544"/>
                    <a:pt x="199" y="661"/>
                    <a:pt x="199" y="661"/>
                  </a:cubicBezTo>
                  <a:cubicBezTo>
                    <a:pt x="199" y="661"/>
                    <a:pt x="170" y="545"/>
                    <a:pt x="118" y="438"/>
                  </a:cubicBezTo>
                  <a:cubicBezTo>
                    <a:pt x="71" y="342"/>
                    <a:pt x="0" y="297"/>
                    <a:pt x="0" y="199"/>
                  </a:cubicBezTo>
                  <a:cubicBezTo>
                    <a:pt x="0" y="89"/>
                    <a:pt x="89" y="0"/>
                    <a:pt x="199" y="0"/>
                  </a:cubicBezTo>
                  <a:lnTo>
                    <a:pt x="199"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06" name="Freeform 228"/>
            <p:cNvSpPr>
              <a:spLocks noChangeArrowheads="1"/>
            </p:cNvSpPr>
            <p:nvPr/>
          </p:nvSpPr>
          <p:spPr bwMode="auto">
            <a:xfrm>
              <a:off x="8413750" y="2490788"/>
              <a:ext cx="144463" cy="238125"/>
            </a:xfrm>
            <a:custGeom>
              <a:avLst/>
              <a:gdLst/>
              <a:ahLst/>
              <a:cxnLst>
                <a:cxn ang="0">
                  <a:pos x="199" y="0"/>
                </a:cxn>
                <a:cxn ang="0">
                  <a:pos x="399" y="199"/>
                </a:cxn>
                <a:cxn ang="0">
                  <a:pos x="280" y="438"/>
                </a:cxn>
                <a:cxn ang="0">
                  <a:pos x="199" y="661"/>
                </a:cxn>
                <a:cxn ang="0">
                  <a:pos x="118" y="438"/>
                </a:cxn>
                <a:cxn ang="0">
                  <a:pos x="0" y="199"/>
                </a:cxn>
                <a:cxn ang="0">
                  <a:pos x="199" y="0"/>
                </a:cxn>
                <a:cxn ang="0">
                  <a:pos x="199" y="0"/>
                </a:cxn>
              </a:cxnLst>
              <a:rect l="0" t="0" r="r" b="b"/>
              <a:pathLst>
                <a:path w="400" h="662">
                  <a:moveTo>
                    <a:pt x="199" y="0"/>
                  </a:moveTo>
                  <a:cubicBezTo>
                    <a:pt x="309" y="0"/>
                    <a:pt x="398" y="89"/>
                    <a:pt x="399" y="199"/>
                  </a:cubicBezTo>
                  <a:cubicBezTo>
                    <a:pt x="399" y="297"/>
                    <a:pt x="328" y="342"/>
                    <a:pt x="280" y="438"/>
                  </a:cubicBezTo>
                  <a:cubicBezTo>
                    <a:pt x="228" y="544"/>
                    <a:pt x="199" y="661"/>
                    <a:pt x="199" y="661"/>
                  </a:cubicBezTo>
                  <a:cubicBezTo>
                    <a:pt x="199" y="661"/>
                    <a:pt x="170" y="545"/>
                    <a:pt x="118" y="438"/>
                  </a:cubicBezTo>
                  <a:cubicBezTo>
                    <a:pt x="71" y="342"/>
                    <a:pt x="0" y="297"/>
                    <a:pt x="0" y="199"/>
                  </a:cubicBezTo>
                  <a:cubicBezTo>
                    <a:pt x="0" y="89"/>
                    <a:pt x="89" y="0"/>
                    <a:pt x="199" y="0"/>
                  </a:cubicBezTo>
                  <a:lnTo>
                    <a:pt x="199"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grpSp>
      <p:grpSp>
        <p:nvGrpSpPr>
          <p:cNvPr id="1007" name="Group 9"/>
          <p:cNvGrpSpPr/>
          <p:nvPr/>
        </p:nvGrpSpPr>
        <p:grpSpPr>
          <a:xfrm>
            <a:off x="652870" y="6081962"/>
            <a:ext cx="511093" cy="241646"/>
            <a:chOff x="515937" y="4676775"/>
            <a:chExt cx="379413" cy="179387"/>
          </a:xfrm>
        </p:grpSpPr>
        <p:sp>
          <p:nvSpPr>
            <p:cNvPr id="1008" name="Text Box 16"/>
            <p:cNvSpPr txBox="1">
              <a:spLocks noChangeArrowheads="1"/>
            </p:cNvSpPr>
            <p:nvPr/>
          </p:nvSpPr>
          <p:spPr bwMode="auto">
            <a:xfrm>
              <a:off x="649287" y="4718050"/>
              <a:ext cx="246063" cy="112712"/>
            </a:xfrm>
            <a:prstGeom prst="rect">
              <a:avLst/>
            </a:prstGeom>
            <a:noFill/>
            <a:ln w="9525" cap="flat">
              <a:noFill/>
              <a:round/>
              <a:headEnd/>
              <a:tailEnd/>
            </a:ln>
            <a:effectLst/>
          </p:spPr>
          <p:txBody>
            <a:bodyPr wrap="none" lIns="0" tIns="7056" rIns="0" bIns="0">
              <a:prstTxWarp prst="textNoShape">
                <a:avLst/>
              </a:prstTxWarp>
            </a:bodyPr>
            <a:lstStyle/>
            <a:p>
              <a:pPr>
                <a:buNone/>
              </a:pPr>
              <a:r>
                <a:rPr lang="en-US" sz="800" dirty="0">
                  <a:solidFill>
                    <a:srgbClr val="6E6D5E"/>
                  </a:solidFill>
                  <a:latin typeface="Arial" pitchFamily="34" charset="0"/>
                  <a:ea typeface="'ArialMT'" pitchFamily="32" charset="0"/>
                  <a:cs typeface="Arial" pitchFamily="34" charset="0"/>
                </a:rPr>
                <a:t>Lab </a:t>
              </a:r>
            </a:p>
          </p:txBody>
        </p:sp>
        <p:sp>
          <p:nvSpPr>
            <p:cNvPr id="1009" name="Freeform 19"/>
            <p:cNvSpPr>
              <a:spLocks noChangeArrowheads="1"/>
            </p:cNvSpPr>
            <p:nvPr/>
          </p:nvSpPr>
          <p:spPr bwMode="auto">
            <a:xfrm>
              <a:off x="515937" y="4676775"/>
              <a:ext cx="107950" cy="179387"/>
            </a:xfrm>
            <a:custGeom>
              <a:avLst/>
              <a:gdLst/>
              <a:ahLst/>
              <a:cxnLst>
                <a:cxn ang="0">
                  <a:pos x="150" y="0"/>
                </a:cxn>
                <a:cxn ang="0">
                  <a:pos x="301" y="150"/>
                </a:cxn>
                <a:cxn ang="0">
                  <a:pos x="212" y="331"/>
                </a:cxn>
                <a:cxn ang="0">
                  <a:pos x="150" y="499"/>
                </a:cxn>
                <a:cxn ang="0">
                  <a:pos x="89" y="331"/>
                </a:cxn>
                <a:cxn ang="0">
                  <a:pos x="0" y="150"/>
                </a:cxn>
                <a:cxn ang="0">
                  <a:pos x="150" y="0"/>
                </a:cxn>
                <a:cxn ang="0">
                  <a:pos x="150" y="0"/>
                </a:cxn>
              </a:cxnLst>
              <a:rect l="0" t="0" r="r" b="b"/>
              <a:pathLst>
                <a:path w="302" h="500">
                  <a:moveTo>
                    <a:pt x="150" y="0"/>
                  </a:moveTo>
                  <a:cubicBezTo>
                    <a:pt x="234" y="0"/>
                    <a:pt x="301" y="67"/>
                    <a:pt x="301" y="150"/>
                  </a:cubicBezTo>
                  <a:cubicBezTo>
                    <a:pt x="301" y="224"/>
                    <a:pt x="248" y="258"/>
                    <a:pt x="212" y="331"/>
                  </a:cubicBezTo>
                  <a:cubicBezTo>
                    <a:pt x="172" y="411"/>
                    <a:pt x="150" y="499"/>
                    <a:pt x="150" y="499"/>
                  </a:cubicBezTo>
                  <a:cubicBezTo>
                    <a:pt x="150" y="499"/>
                    <a:pt x="128" y="411"/>
                    <a:pt x="89" y="331"/>
                  </a:cubicBezTo>
                  <a:cubicBezTo>
                    <a:pt x="53" y="258"/>
                    <a:pt x="0" y="224"/>
                    <a:pt x="0" y="150"/>
                  </a:cubicBezTo>
                  <a:cubicBezTo>
                    <a:pt x="0" y="67"/>
                    <a:pt x="67" y="0"/>
                    <a:pt x="150" y="0"/>
                  </a:cubicBezTo>
                  <a:lnTo>
                    <a:pt x="150" y="0"/>
                  </a:lnTo>
                </a:path>
              </a:pathLst>
            </a:custGeom>
            <a:solidFill>
              <a:srgbClr val="BD1839"/>
            </a:solidFill>
            <a:ln w="9525" cap="flat">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10" name="Freeform 20"/>
            <p:cNvSpPr>
              <a:spLocks noChangeArrowheads="1"/>
            </p:cNvSpPr>
            <p:nvPr/>
          </p:nvSpPr>
          <p:spPr bwMode="auto">
            <a:xfrm>
              <a:off x="515937" y="4676775"/>
              <a:ext cx="107950" cy="179387"/>
            </a:xfrm>
            <a:custGeom>
              <a:avLst/>
              <a:gdLst/>
              <a:ahLst/>
              <a:cxnLst>
                <a:cxn ang="0">
                  <a:pos x="150" y="0"/>
                </a:cxn>
                <a:cxn ang="0">
                  <a:pos x="301" y="150"/>
                </a:cxn>
                <a:cxn ang="0">
                  <a:pos x="212" y="331"/>
                </a:cxn>
                <a:cxn ang="0">
                  <a:pos x="150" y="499"/>
                </a:cxn>
                <a:cxn ang="0">
                  <a:pos x="89" y="331"/>
                </a:cxn>
                <a:cxn ang="0">
                  <a:pos x="0" y="150"/>
                </a:cxn>
                <a:cxn ang="0">
                  <a:pos x="150" y="0"/>
                </a:cxn>
                <a:cxn ang="0">
                  <a:pos x="150" y="0"/>
                </a:cxn>
              </a:cxnLst>
              <a:rect l="0" t="0" r="r" b="b"/>
              <a:pathLst>
                <a:path w="302" h="500">
                  <a:moveTo>
                    <a:pt x="150" y="0"/>
                  </a:moveTo>
                  <a:cubicBezTo>
                    <a:pt x="234" y="0"/>
                    <a:pt x="301" y="67"/>
                    <a:pt x="301" y="150"/>
                  </a:cubicBezTo>
                  <a:cubicBezTo>
                    <a:pt x="301" y="224"/>
                    <a:pt x="248" y="258"/>
                    <a:pt x="212" y="331"/>
                  </a:cubicBezTo>
                  <a:cubicBezTo>
                    <a:pt x="172" y="411"/>
                    <a:pt x="150" y="499"/>
                    <a:pt x="150" y="499"/>
                  </a:cubicBezTo>
                  <a:cubicBezTo>
                    <a:pt x="150" y="499"/>
                    <a:pt x="128" y="411"/>
                    <a:pt x="89" y="331"/>
                  </a:cubicBezTo>
                  <a:cubicBezTo>
                    <a:pt x="53" y="258"/>
                    <a:pt x="0" y="224"/>
                    <a:pt x="0" y="150"/>
                  </a:cubicBezTo>
                  <a:cubicBezTo>
                    <a:pt x="0" y="67"/>
                    <a:pt x="67" y="0"/>
                    <a:pt x="150" y="0"/>
                  </a:cubicBezTo>
                  <a:lnTo>
                    <a:pt x="150" y="0"/>
                  </a:lnTo>
                </a:path>
              </a:pathLst>
            </a:custGeom>
            <a:noFill/>
            <a:ln w="6480" cap="rnd">
              <a:solidFill>
                <a:srgbClr val="FFFFFF"/>
              </a:solidFill>
              <a:round/>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grpSp>
      <p:grpSp>
        <p:nvGrpSpPr>
          <p:cNvPr id="1011" name="Group 10"/>
          <p:cNvGrpSpPr/>
          <p:nvPr/>
        </p:nvGrpSpPr>
        <p:grpSpPr>
          <a:xfrm>
            <a:off x="1172517" y="6081962"/>
            <a:ext cx="1330123" cy="241646"/>
            <a:chOff x="901700" y="4676775"/>
            <a:chExt cx="987425" cy="179387"/>
          </a:xfrm>
        </p:grpSpPr>
        <p:sp>
          <p:nvSpPr>
            <p:cNvPr id="1012" name="Text Box 1"/>
            <p:cNvSpPr txBox="1">
              <a:spLocks noChangeArrowheads="1"/>
            </p:cNvSpPr>
            <p:nvPr/>
          </p:nvSpPr>
          <p:spPr bwMode="auto">
            <a:xfrm>
              <a:off x="1035050" y="4718050"/>
              <a:ext cx="854075" cy="112712"/>
            </a:xfrm>
            <a:prstGeom prst="rect">
              <a:avLst/>
            </a:prstGeom>
            <a:noFill/>
            <a:ln w="9525" cap="flat">
              <a:noFill/>
              <a:round/>
              <a:headEnd/>
              <a:tailEnd/>
            </a:ln>
            <a:effectLst/>
          </p:spPr>
          <p:txBody>
            <a:bodyPr wrap="none" lIns="0" tIns="7056" rIns="0" bIns="0">
              <a:prstTxWarp prst="textNoShape">
                <a:avLst/>
              </a:prstTxWarp>
            </a:bodyPr>
            <a:lstStyle/>
            <a:p>
              <a:pPr>
                <a:buNone/>
              </a:pPr>
              <a:r>
                <a:rPr lang="en-US" sz="800" dirty="0">
                  <a:solidFill>
                    <a:srgbClr val="6E6D5E"/>
                  </a:solidFill>
                  <a:latin typeface="Arial" pitchFamily="34" charset="0"/>
                  <a:ea typeface="'ArialMT'" pitchFamily="32" charset="0"/>
                  <a:cs typeface="Arial" pitchFamily="34" charset="0"/>
                </a:rPr>
                <a:t>Office / Certification Body</a:t>
              </a:r>
            </a:p>
          </p:txBody>
        </p:sp>
        <p:sp>
          <p:nvSpPr>
            <p:cNvPr id="1013" name="Freeform 21"/>
            <p:cNvSpPr>
              <a:spLocks noChangeArrowheads="1"/>
            </p:cNvSpPr>
            <p:nvPr/>
          </p:nvSpPr>
          <p:spPr bwMode="auto">
            <a:xfrm>
              <a:off x="901700" y="4676775"/>
              <a:ext cx="107950" cy="179387"/>
            </a:xfrm>
            <a:custGeom>
              <a:avLst/>
              <a:gdLst/>
              <a:ahLst/>
              <a:cxnLst>
                <a:cxn ang="0">
                  <a:pos x="150" y="0"/>
                </a:cxn>
                <a:cxn ang="0">
                  <a:pos x="301" y="150"/>
                </a:cxn>
                <a:cxn ang="0">
                  <a:pos x="212" y="331"/>
                </a:cxn>
                <a:cxn ang="0">
                  <a:pos x="150" y="499"/>
                </a:cxn>
                <a:cxn ang="0">
                  <a:pos x="89" y="331"/>
                </a:cxn>
                <a:cxn ang="0">
                  <a:pos x="0" y="150"/>
                </a:cxn>
                <a:cxn ang="0">
                  <a:pos x="150" y="0"/>
                </a:cxn>
                <a:cxn ang="0">
                  <a:pos x="150" y="0"/>
                </a:cxn>
              </a:cxnLst>
              <a:rect l="0" t="0" r="r" b="b"/>
              <a:pathLst>
                <a:path w="302" h="500">
                  <a:moveTo>
                    <a:pt x="150" y="0"/>
                  </a:moveTo>
                  <a:cubicBezTo>
                    <a:pt x="234" y="0"/>
                    <a:pt x="301" y="67"/>
                    <a:pt x="301" y="150"/>
                  </a:cubicBezTo>
                  <a:cubicBezTo>
                    <a:pt x="301" y="224"/>
                    <a:pt x="248" y="258"/>
                    <a:pt x="212" y="331"/>
                  </a:cubicBezTo>
                  <a:cubicBezTo>
                    <a:pt x="172" y="411"/>
                    <a:pt x="150" y="499"/>
                    <a:pt x="150" y="499"/>
                  </a:cubicBezTo>
                  <a:cubicBezTo>
                    <a:pt x="150" y="499"/>
                    <a:pt x="128" y="411"/>
                    <a:pt x="89" y="331"/>
                  </a:cubicBezTo>
                  <a:cubicBezTo>
                    <a:pt x="53" y="258"/>
                    <a:pt x="0" y="224"/>
                    <a:pt x="0" y="150"/>
                  </a:cubicBezTo>
                  <a:cubicBezTo>
                    <a:pt x="0" y="67"/>
                    <a:pt x="67" y="0"/>
                    <a:pt x="150" y="0"/>
                  </a:cubicBezTo>
                  <a:lnTo>
                    <a:pt x="150" y="0"/>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grpSp>
      <p:grpSp>
        <p:nvGrpSpPr>
          <p:cNvPr id="1014" name="Group 14"/>
          <p:cNvGrpSpPr/>
          <p:nvPr/>
        </p:nvGrpSpPr>
        <p:grpSpPr>
          <a:xfrm>
            <a:off x="5195061" y="5960801"/>
            <a:ext cx="1593154" cy="500400"/>
            <a:chOff x="4475162" y="3984625"/>
            <a:chExt cx="1182687" cy="371475"/>
          </a:xfrm>
        </p:grpSpPr>
        <p:grpSp>
          <p:nvGrpSpPr>
            <p:cNvPr id="1015" name="Group 37"/>
            <p:cNvGrpSpPr/>
            <p:nvPr/>
          </p:nvGrpSpPr>
          <p:grpSpPr>
            <a:xfrm>
              <a:off x="4475162" y="4019550"/>
              <a:ext cx="284163" cy="336550"/>
              <a:chOff x="4475162" y="4019550"/>
              <a:chExt cx="284163" cy="336550"/>
            </a:xfrm>
          </p:grpSpPr>
          <p:sp>
            <p:nvSpPr>
              <p:cNvPr id="1019" name="Freeform 23"/>
              <p:cNvSpPr>
                <a:spLocks noChangeArrowheads="1"/>
              </p:cNvSpPr>
              <p:nvPr/>
            </p:nvSpPr>
            <p:spPr bwMode="auto">
              <a:xfrm>
                <a:off x="4508500" y="4019550"/>
                <a:ext cx="68262" cy="65087"/>
              </a:xfrm>
              <a:custGeom>
                <a:avLst/>
                <a:gdLst/>
                <a:ahLst/>
                <a:cxnLst>
                  <a:cxn ang="0">
                    <a:pos x="94" y="180"/>
                  </a:cxn>
                  <a:cxn ang="0">
                    <a:pos x="0" y="90"/>
                  </a:cxn>
                  <a:cxn ang="0">
                    <a:pos x="94" y="0"/>
                  </a:cxn>
                  <a:cxn ang="0">
                    <a:pos x="188" y="90"/>
                  </a:cxn>
                  <a:cxn ang="0">
                    <a:pos x="94" y="180"/>
                  </a:cxn>
                </a:cxnLst>
                <a:rect l="0" t="0" r="r" b="b"/>
                <a:pathLst>
                  <a:path w="189" h="181">
                    <a:moveTo>
                      <a:pt x="94" y="180"/>
                    </a:moveTo>
                    <a:cubicBezTo>
                      <a:pt x="42" y="180"/>
                      <a:pt x="0" y="139"/>
                      <a:pt x="0" y="90"/>
                    </a:cubicBezTo>
                    <a:cubicBezTo>
                      <a:pt x="0" y="40"/>
                      <a:pt x="42" y="0"/>
                      <a:pt x="94" y="0"/>
                    </a:cubicBezTo>
                    <a:cubicBezTo>
                      <a:pt x="147" y="0"/>
                      <a:pt x="188" y="40"/>
                      <a:pt x="188" y="90"/>
                    </a:cubicBezTo>
                    <a:cubicBezTo>
                      <a:pt x="188" y="139"/>
                      <a:pt x="147" y="180"/>
                      <a:pt x="94" y="180"/>
                    </a:cubicBez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20" name="Freeform 24"/>
              <p:cNvSpPr>
                <a:spLocks noChangeArrowheads="1"/>
              </p:cNvSpPr>
              <p:nvPr/>
            </p:nvSpPr>
            <p:spPr bwMode="auto">
              <a:xfrm>
                <a:off x="4475162" y="4089400"/>
                <a:ext cx="133350" cy="266700"/>
              </a:xfrm>
              <a:custGeom>
                <a:avLst/>
                <a:gdLst/>
                <a:ahLst/>
                <a:cxnLst>
                  <a:cxn ang="0">
                    <a:pos x="322" y="0"/>
                  </a:cxn>
                  <a:cxn ang="0">
                    <a:pos x="370" y="46"/>
                  </a:cxn>
                  <a:cxn ang="0">
                    <a:pos x="370" y="81"/>
                  </a:cxn>
                  <a:cxn ang="0">
                    <a:pos x="370" y="100"/>
                  </a:cxn>
                  <a:cxn ang="0">
                    <a:pos x="370" y="103"/>
                  </a:cxn>
                  <a:cxn ang="0">
                    <a:pos x="370" y="185"/>
                  </a:cxn>
                  <a:cxn ang="0">
                    <a:pos x="370" y="196"/>
                  </a:cxn>
                  <a:cxn ang="0">
                    <a:pos x="370" y="298"/>
                  </a:cxn>
                  <a:cxn ang="0">
                    <a:pos x="335" y="334"/>
                  </a:cxn>
                  <a:cxn ang="0">
                    <a:pos x="300" y="298"/>
                  </a:cxn>
                  <a:cxn ang="0">
                    <a:pos x="300" y="196"/>
                  </a:cxn>
                  <a:cxn ang="0">
                    <a:pos x="300" y="185"/>
                  </a:cxn>
                  <a:cxn ang="0">
                    <a:pos x="300" y="149"/>
                  </a:cxn>
                  <a:cxn ang="0">
                    <a:pos x="288" y="149"/>
                  </a:cxn>
                  <a:cxn ang="0">
                    <a:pos x="288" y="395"/>
                  </a:cxn>
                  <a:cxn ang="0">
                    <a:pos x="288" y="430"/>
                  </a:cxn>
                  <a:cxn ang="0">
                    <a:pos x="288" y="470"/>
                  </a:cxn>
                  <a:cxn ang="0">
                    <a:pos x="288" y="497"/>
                  </a:cxn>
                  <a:cxn ang="0">
                    <a:pos x="288" y="698"/>
                  </a:cxn>
                  <a:cxn ang="0">
                    <a:pos x="247" y="738"/>
                  </a:cxn>
                  <a:cxn ang="0">
                    <a:pos x="235" y="738"/>
                  </a:cxn>
                  <a:cxn ang="0">
                    <a:pos x="193" y="698"/>
                  </a:cxn>
                  <a:cxn ang="0">
                    <a:pos x="193" y="497"/>
                  </a:cxn>
                  <a:cxn ang="0">
                    <a:pos x="193" y="470"/>
                  </a:cxn>
                  <a:cxn ang="0">
                    <a:pos x="193" y="430"/>
                  </a:cxn>
                  <a:cxn ang="0">
                    <a:pos x="185" y="430"/>
                  </a:cxn>
                  <a:cxn ang="0">
                    <a:pos x="178" y="430"/>
                  </a:cxn>
                  <a:cxn ang="0">
                    <a:pos x="178" y="470"/>
                  </a:cxn>
                  <a:cxn ang="0">
                    <a:pos x="178" y="497"/>
                  </a:cxn>
                  <a:cxn ang="0">
                    <a:pos x="178" y="698"/>
                  </a:cxn>
                  <a:cxn ang="0">
                    <a:pos x="136" y="738"/>
                  </a:cxn>
                  <a:cxn ang="0">
                    <a:pos x="124" y="738"/>
                  </a:cxn>
                  <a:cxn ang="0">
                    <a:pos x="81" y="698"/>
                  </a:cxn>
                  <a:cxn ang="0">
                    <a:pos x="81" y="497"/>
                  </a:cxn>
                  <a:cxn ang="0">
                    <a:pos x="81" y="470"/>
                  </a:cxn>
                  <a:cxn ang="0">
                    <a:pos x="81" y="430"/>
                  </a:cxn>
                  <a:cxn ang="0">
                    <a:pos x="81" y="395"/>
                  </a:cxn>
                  <a:cxn ang="0">
                    <a:pos x="81" y="149"/>
                  </a:cxn>
                  <a:cxn ang="0">
                    <a:pos x="70" y="149"/>
                  </a:cxn>
                  <a:cxn ang="0">
                    <a:pos x="70" y="185"/>
                  </a:cxn>
                  <a:cxn ang="0">
                    <a:pos x="70" y="196"/>
                  </a:cxn>
                  <a:cxn ang="0">
                    <a:pos x="70" y="298"/>
                  </a:cxn>
                  <a:cxn ang="0">
                    <a:pos x="35" y="334"/>
                  </a:cxn>
                  <a:cxn ang="0">
                    <a:pos x="0" y="298"/>
                  </a:cxn>
                  <a:cxn ang="0">
                    <a:pos x="0" y="196"/>
                  </a:cxn>
                  <a:cxn ang="0">
                    <a:pos x="0" y="185"/>
                  </a:cxn>
                  <a:cxn ang="0">
                    <a:pos x="0" y="103"/>
                  </a:cxn>
                  <a:cxn ang="0">
                    <a:pos x="0" y="100"/>
                  </a:cxn>
                  <a:cxn ang="0">
                    <a:pos x="0" y="81"/>
                  </a:cxn>
                  <a:cxn ang="0">
                    <a:pos x="0" y="46"/>
                  </a:cxn>
                  <a:cxn ang="0">
                    <a:pos x="48" y="0"/>
                  </a:cxn>
                  <a:cxn ang="0">
                    <a:pos x="70" y="0"/>
                  </a:cxn>
                  <a:cxn ang="0">
                    <a:pos x="81" y="0"/>
                  </a:cxn>
                  <a:cxn ang="0">
                    <a:pos x="137" y="0"/>
                  </a:cxn>
                  <a:cxn ang="0">
                    <a:pos x="185" y="0"/>
                  </a:cxn>
                  <a:cxn ang="0">
                    <a:pos x="234" y="0"/>
                  </a:cxn>
                  <a:cxn ang="0">
                    <a:pos x="288" y="0"/>
                  </a:cxn>
                  <a:cxn ang="0">
                    <a:pos x="300" y="0"/>
                  </a:cxn>
                  <a:cxn ang="0">
                    <a:pos x="322" y="0"/>
                  </a:cxn>
                </a:cxnLst>
                <a:rect l="0" t="0" r="r" b="b"/>
                <a:pathLst>
                  <a:path w="371" h="739">
                    <a:moveTo>
                      <a:pt x="322" y="0"/>
                    </a:moveTo>
                    <a:cubicBezTo>
                      <a:pt x="349" y="0"/>
                      <a:pt x="370" y="21"/>
                      <a:pt x="370" y="46"/>
                    </a:cubicBezTo>
                    <a:lnTo>
                      <a:pt x="370" y="81"/>
                    </a:lnTo>
                    <a:lnTo>
                      <a:pt x="370" y="100"/>
                    </a:lnTo>
                    <a:lnTo>
                      <a:pt x="370" y="103"/>
                    </a:lnTo>
                    <a:lnTo>
                      <a:pt x="370" y="185"/>
                    </a:lnTo>
                    <a:lnTo>
                      <a:pt x="370" y="196"/>
                    </a:lnTo>
                    <a:lnTo>
                      <a:pt x="370" y="298"/>
                    </a:lnTo>
                    <a:cubicBezTo>
                      <a:pt x="370" y="318"/>
                      <a:pt x="354" y="334"/>
                      <a:pt x="335" y="334"/>
                    </a:cubicBezTo>
                    <a:cubicBezTo>
                      <a:pt x="315" y="334"/>
                      <a:pt x="300" y="318"/>
                      <a:pt x="300" y="298"/>
                    </a:cubicBezTo>
                    <a:lnTo>
                      <a:pt x="300" y="196"/>
                    </a:lnTo>
                    <a:lnTo>
                      <a:pt x="300" y="185"/>
                    </a:lnTo>
                    <a:lnTo>
                      <a:pt x="300" y="149"/>
                    </a:lnTo>
                    <a:lnTo>
                      <a:pt x="288" y="149"/>
                    </a:lnTo>
                    <a:lnTo>
                      <a:pt x="288" y="395"/>
                    </a:lnTo>
                    <a:lnTo>
                      <a:pt x="288" y="430"/>
                    </a:lnTo>
                    <a:lnTo>
                      <a:pt x="288" y="470"/>
                    </a:lnTo>
                    <a:lnTo>
                      <a:pt x="288" y="497"/>
                    </a:lnTo>
                    <a:lnTo>
                      <a:pt x="288" y="698"/>
                    </a:lnTo>
                    <a:cubicBezTo>
                      <a:pt x="288" y="720"/>
                      <a:pt x="269" y="738"/>
                      <a:pt x="247" y="738"/>
                    </a:cubicBezTo>
                    <a:lnTo>
                      <a:pt x="235" y="738"/>
                    </a:lnTo>
                    <a:cubicBezTo>
                      <a:pt x="211" y="738"/>
                      <a:pt x="193" y="720"/>
                      <a:pt x="193" y="698"/>
                    </a:cubicBezTo>
                    <a:lnTo>
                      <a:pt x="193" y="497"/>
                    </a:lnTo>
                    <a:lnTo>
                      <a:pt x="193" y="470"/>
                    </a:lnTo>
                    <a:lnTo>
                      <a:pt x="193" y="430"/>
                    </a:lnTo>
                    <a:lnTo>
                      <a:pt x="185" y="430"/>
                    </a:lnTo>
                    <a:lnTo>
                      <a:pt x="178" y="430"/>
                    </a:lnTo>
                    <a:lnTo>
                      <a:pt x="178" y="470"/>
                    </a:lnTo>
                    <a:lnTo>
                      <a:pt x="178" y="497"/>
                    </a:lnTo>
                    <a:lnTo>
                      <a:pt x="178" y="698"/>
                    </a:lnTo>
                    <a:cubicBezTo>
                      <a:pt x="178" y="720"/>
                      <a:pt x="159" y="738"/>
                      <a:pt x="136" y="738"/>
                    </a:cubicBezTo>
                    <a:lnTo>
                      <a:pt x="124" y="738"/>
                    </a:lnTo>
                    <a:cubicBezTo>
                      <a:pt x="100" y="738"/>
                      <a:pt x="81" y="720"/>
                      <a:pt x="81" y="698"/>
                    </a:cubicBezTo>
                    <a:lnTo>
                      <a:pt x="81" y="497"/>
                    </a:lnTo>
                    <a:lnTo>
                      <a:pt x="81" y="470"/>
                    </a:lnTo>
                    <a:lnTo>
                      <a:pt x="81" y="430"/>
                    </a:lnTo>
                    <a:lnTo>
                      <a:pt x="81" y="395"/>
                    </a:lnTo>
                    <a:lnTo>
                      <a:pt x="81" y="149"/>
                    </a:lnTo>
                    <a:lnTo>
                      <a:pt x="70" y="149"/>
                    </a:lnTo>
                    <a:lnTo>
                      <a:pt x="70" y="185"/>
                    </a:lnTo>
                    <a:lnTo>
                      <a:pt x="70" y="196"/>
                    </a:lnTo>
                    <a:lnTo>
                      <a:pt x="70" y="298"/>
                    </a:lnTo>
                    <a:cubicBezTo>
                      <a:pt x="70" y="318"/>
                      <a:pt x="54" y="334"/>
                      <a:pt x="35" y="334"/>
                    </a:cubicBezTo>
                    <a:cubicBezTo>
                      <a:pt x="15" y="334"/>
                      <a:pt x="0" y="318"/>
                      <a:pt x="0" y="298"/>
                    </a:cubicBezTo>
                    <a:lnTo>
                      <a:pt x="0" y="196"/>
                    </a:lnTo>
                    <a:lnTo>
                      <a:pt x="0" y="185"/>
                    </a:lnTo>
                    <a:lnTo>
                      <a:pt x="0" y="103"/>
                    </a:lnTo>
                    <a:lnTo>
                      <a:pt x="0" y="100"/>
                    </a:lnTo>
                    <a:lnTo>
                      <a:pt x="0" y="81"/>
                    </a:lnTo>
                    <a:lnTo>
                      <a:pt x="0" y="46"/>
                    </a:lnTo>
                    <a:cubicBezTo>
                      <a:pt x="0" y="21"/>
                      <a:pt x="21" y="0"/>
                      <a:pt x="48" y="0"/>
                    </a:cubicBezTo>
                    <a:lnTo>
                      <a:pt x="70" y="0"/>
                    </a:lnTo>
                    <a:lnTo>
                      <a:pt x="81" y="0"/>
                    </a:lnTo>
                    <a:lnTo>
                      <a:pt x="137" y="0"/>
                    </a:lnTo>
                    <a:lnTo>
                      <a:pt x="185" y="0"/>
                    </a:lnTo>
                    <a:lnTo>
                      <a:pt x="234" y="0"/>
                    </a:lnTo>
                    <a:lnTo>
                      <a:pt x="288" y="0"/>
                    </a:lnTo>
                    <a:lnTo>
                      <a:pt x="300" y="0"/>
                    </a:lnTo>
                    <a:lnTo>
                      <a:pt x="322"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21" name="Freeform 25"/>
              <p:cNvSpPr>
                <a:spLocks noChangeArrowheads="1"/>
              </p:cNvSpPr>
              <p:nvPr/>
            </p:nvSpPr>
            <p:spPr bwMode="auto">
              <a:xfrm>
                <a:off x="4657725" y="4019550"/>
                <a:ext cx="68262" cy="65087"/>
              </a:xfrm>
              <a:custGeom>
                <a:avLst/>
                <a:gdLst/>
                <a:ahLst/>
                <a:cxnLst>
                  <a:cxn ang="0">
                    <a:pos x="95" y="180"/>
                  </a:cxn>
                  <a:cxn ang="0">
                    <a:pos x="0" y="90"/>
                  </a:cxn>
                  <a:cxn ang="0">
                    <a:pos x="95" y="0"/>
                  </a:cxn>
                  <a:cxn ang="0">
                    <a:pos x="190" y="90"/>
                  </a:cxn>
                  <a:cxn ang="0">
                    <a:pos x="95" y="180"/>
                  </a:cxn>
                </a:cxnLst>
                <a:rect l="0" t="0" r="r" b="b"/>
                <a:pathLst>
                  <a:path w="191" h="181">
                    <a:moveTo>
                      <a:pt x="95" y="180"/>
                    </a:moveTo>
                    <a:cubicBezTo>
                      <a:pt x="43" y="180"/>
                      <a:pt x="0" y="139"/>
                      <a:pt x="0" y="90"/>
                    </a:cubicBezTo>
                    <a:cubicBezTo>
                      <a:pt x="0" y="40"/>
                      <a:pt x="43" y="0"/>
                      <a:pt x="95" y="0"/>
                    </a:cubicBezTo>
                    <a:cubicBezTo>
                      <a:pt x="147" y="0"/>
                      <a:pt x="190" y="40"/>
                      <a:pt x="190" y="90"/>
                    </a:cubicBezTo>
                    <a:cubicBezTo>
                      <a:pt x="190" y="139"/>
                      <a:pt x="147" y="180"/>
                      <a:pt x="95" y="180"/>
                    </a:cubicBez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22" name="Freeform 26"/>
              <p:cNvSpPr>
                <a:spLocks noChangeArrowheads="1"/>
              </p:cNvSpPr>
              <p:nvPr/>
            </p:nvSpPr>
            <p:spPr bwMode="auto">
              <a:xfrm>
                <a:off x="4624387" y="4089400"/>
                <a:ext cx="134938" cy="266700"/>
              </a:xfrm>
              <a:custGeom>
                <a:avLst/>
                <a:gdLst/>
                <a:ahLst/>
                <a:cxnLst>
                  <a:cxn ang="0">
                    <a:pos x="323" y="0"/>
                  </a:cxn>
                  <a:cxn ang="0">
                    <a:pos x="372" y="46"/>
                  </a:cxn>
                  <a:cxn ang="0">
                    <a:pos x="372" y="81"/>
                  </a:cxn>
                  <a:cxn ang="0">
                    <a:pos x="372" y="100"/>
                  </a:cxn>
                  <a:cxn ang="0">
                    <a:pos x="372" y="103"/>
                  </a:cxn>
                  <a:cxn ang="0">
                    <a:pos x="372" y="185"/>
                  </a:cxn>
                  <a:cxn ang="0">
                    <a:pos x="372" y="196"/>
                  </a:cxn>
                  <a:cxn ang="0">
                    <a:pos x="372" y="298"/>
                  </a:cxn>
                  <a:cxn ang="0">
                    <a:pos x="337" y="334"/>
                  </a:cxn>
                  <a:cxn ang="0">
                    <a:pos x="301" y="298"/>
                  </a:cxn>
                  <a:cxn ang="0">
                    <a:pos x="301" y="196"/>
                  </a:cxn>
                  <a:cxn ang="0">
                    <a:pos x="301" y="185"/>
                  </a:cxn>
                  <a:cxn ang="0">
                    <a:pos x="301" y="149"/>
                  </a:cxn>
                  <a:cxn ang="0">
                    <a:pos x="290" y="149"/>
                  </a:cxn>
                  <a:cxn ang="0">
                    <a:pos x="290" y="395"/>
                  </a:cxn>
                  <a:cxn ang="0">
                    <a:pos x="290" y="430"/>
                  </a:cxn>
                  <a:cxn ang="0">
                    <a:pos x="290" y="470"/>
                  </a:cxn>
                  <a:cxn ang="0">
                    <a:pos x="290" y="497"/>
                  </a:cxn>
                  <a:cxn ang="0">
                    <a:pos x="290" y="698"/>
                  </a:cxn>
                  <a:cxn ang="0">
                    <a:pos x="248" y="738"/>
                  </a:cxn>
                  <a:cxn ang="0">
                    <a:pos x="236" y="738"/>
                  </a:cxn>
                  <a:cxn ang="0">
                    <a:pos x="193" y="698"/>
                  </a:cxn>
                  <a:cxn ang="0">
                    <a:pos x="193" y="497"/>
                  </a:cxn>
                  <a:cxn ang="0">
                    <a:pos x="193" y="470"/>
                  </a:cxn>
                  <a:cxn ang="0">
                    <a:pos x="193" y="430"/>
                  </a:cxn>
                  <a:cxn ang="0">
                    <a:pos x="186" y="430"/>
                  </a:cxn>
                  <a:cxn ang="0">
                    <a:pos x="179" y="430"/>
                  </a:cxn>
                  <a:cxn ang="0">
                    <a:pos x="179" y="470"/>
                  </a:cxn>
                  <a:cxn ang="0">
                    <a:pos x="179" y="497"/>
                  </a:cxn>
                  <a:cxn ang="0">
                    <a:pos x="179" y="698"/>
                  </a:cxn>
                  <a:cxn ang="0">
                    <a:pos x="137" y="738"/>
                  </a:cxn>
                  <a:cxn ang="0">
                    <a:pos x="125" y="738"/>
                  </a:cxn>
                  <a:cxn ang="0">
                    <a:pos x="82" y="698"/>
                  </a:cxn>
                  <a:cxn ang="0">
                    <a:pos x="82" y="497"/>
                  </a:cxn>
                  <a:cxn ang="0">
                    <a:pos x="82" y="470"/>
                  </a:cxn>
                  <a:cxn ang="0">
                    <a:pos x="82" y="430"/>
                  </a:cxn>
                  <a:cxn ang="0">
                    <a:pos x="82" y="395"/>
                  </a:cxn>
                  <a:cxn ang="0">
                    <a:pos x="82" y="149"/>
                  </a:cxn>
                  <a:cxn ang="0">
                    <a:pos x="71" y="149"/>
                  </a:cxn>
                  <a:cxn ang="0">
                    <a:pos x="71" y="185"/>
                  </a:cxn>
                  <a:cxn ang="0">
                    <a:pos x="71" y="196"/>
                  </a:cxn>
                  <a:cxn ang="0">
                    <a:pos x="71" y="298"/>
                  </a:cxn>
                  <a:cxn ang="0">
                    <a:pos x="35" y="334"/>
                  </a:cxn>
                  <a:cxn ang="0">
                    <a:pos x="0" y="298"/>
                  </a:cxn>
                  <a:cxn ang="0">
                    <a:pos x="0" y="196"/>
                  </a:cxn>
                  <a:cxn ang="0">
                    <a:pos x="0" y="185"/>
                  </a:cxn>
                  <a:cxn ang="0">
                    <a:pos x="0" y="103"/>
                  </a:cxn>
                  <a:cxn ang="0">
                    <a:pos x="0" y="100"/>
                  </a:cxn>
                  <a:cxn ang="0">
                    <a:pos x="0" y="81"/>
                  </a:cxn>
                  <a:cxn ang="0">
                    <a:pos x="0" y="46"/>
                  </a:cxn>
                  <a:cxn ang="0">
                    <a:pos x="49" y="0"/>
                  </a:cxn>
                  <a:cxn ang="0">
                    <a:pos x="71" y="0"/>
                  </a:cxn>
                  <a:cxn ang="0">
                    <a:pos x="82" y="0"/>
                  </a:cxn>
                  <a:cxn ang="0">
                    <a:pos x="137" y="0"/>
                  </a:cxn>
                  <a:cxn ang="0">
                    <a:pos x="186" y="0"/>
                  </a:cxn>
                  <a:cxn ang="0">
                    <a:pos x="235" y="0"/>
                  </a:cxn>
                  <a:cxn ang="0">
                    <a:pos x="290" y="0"/>
                  </a:cxn>
                  <a:cxn ang="0">
                    <a:pos x="301" y="0"/>
                  </a:cxn>
                  <a:cxn ang="0">
                    <a:pos x="323" y="0"/>
                  </a:cxn>
                </a:cxnLst>
                <a:rect l="0" t="0" r="r" b="b"/>
                <a:pathLst>
                  <a:path w="373" h="739">
                    <a:moveTo>
                      <a:pt x="323" y="0"/>
                    </a:moveTo>
                    <a:cubicBezTo>
                      <a:pt x="350" y="0"/>
                      <a:pt x="372" y="21"/>
                      <a:pt x="372" y="46"/>
                    </a:cubicBezTo>
                    <a:lnTo>
                      <a:pt x="372" y="81"/>
                    </a:lnTo>
                    <a:lnTo>
                      <a:pt x="372" y="100"/>
                    </a:lnTo>
                    <a:lnTo>
                      <a:pt x="372" y="103"/>
                    </a:lnTo>
                    <a:lnTo>
                      <a:pt x="372" y="185"/>
                    </a:lnTo>
                    <a:lnTo>
                      <a:pt x="372" y="196"/>
                    </a:lnTo>
                    <a:lnTo>
                      <a:pt x="372" y="298"/>
                    </a:lnTo>
                    <a:cubicBezTo>
                      <a:pt x="372" y="318"/>
                      <a:pt x="356" y="334"/>
                      <a:pt x="337" y="334"/>
                    </a:cubicBezTo>
                    <a:cubicBezTo>
                      <a:pt x="317" y="334"/>
                      <a:pt x="301" y="318"/>
                      <a:pt x="301" y="298"/>
                    </a:cubicBezTo>
                    <a:lnTo>
                      <a:pt x="301" y="196"/>
                    </a:lnTo>
                    <a:lnTo>
                      <a:pt x="301" y="185"/>
                    </a:lnTo>
                    <a:lnTo>
                      <a:pt x="301" y="149"/>
                    </a:lnTo>
                    <a:lnTo>
                      <a:pt x="290" y="149"/>
                    </a:lnTo>
                    <a:lnTo>
                      <a:pt x="290" y="395"/>
                    </a:lnTo>
                    <a:lnTo>
                      <a:pt x="290" y="430"/>
                    </a:lnTo>
                    <a:lnTo>
                      <a:pt x="290" y="470"/>
                    </a:lnTo>
                    <a:lnTo>
                      <a:pt x="290" y="497"/>
                    </a:lnTo>
                    <a:lnTo>
                      <a:pt x="290" y="698"/>
                    </a:lnTo>
                    <a:cubicBezTo>
                      <a:pt x="290" y="720"/>
                      <a:pt x="271" y="738"/>
                      <a:pt x="248" y="738"/>
                    </a:cubicBezTo>
                    <a:lnTo>
                      <a:pt x="236" y="738"/>
                    </a:lnTo>
                    <a:cubicBezTo>
                      <a:pt x="212" y="738"/>
                      <a:pt x="193" y="720"/>
                      <a:pt x="193" y="698"/>
                    </a:cubicBezTo>
                    <a:lnTo>
                      <a:pt x="193" y="497"/>
                    </a:lnTo>
                    <a:lnTo>
                      <a:pt x="193" y="470"/>
                    </a:lnTo>
                    <a:lnTo>
                      <a:pt x="193" y="430"/>
                    </a:lnTo>
                    <a:lnTo>
                      <a:pt x="186" y="430"/>
                    </a:lnTo>
                    <a:lnTo>
                      <a:pt x="179" y="430"/>
                    </a:lnTo>
                    <a:lnTo>
                      <a:pt x="179" y="470"/>
                    </a:lnTo>
                    <a:lnTo>
                      <a:pt x="179" y="497"/>
                    </a:lnTo>
                    <a:lnTo>
                      <a:pt x="179" y="698"/>
                    </a:lnTo>
                    <a:cubicBezTo>
                      <a:pt x="179" y="720"/>
                      <a:pt x="160" y="738"/>
                      <a:pt x="137" y="738"/>
                    </a:cubicBezTo>
                    <a:lnTo>
                      <a:pt x="125" y="738"/>
                    </a:lnTo>
                    <a:cubicBezTo>
                      <a:pt x="101" y="738"/>
                      <a:pt x="82" y="720"/>
                      <a:pt x="82" y="698"/>
                    </a:cubicBezTo>
                    <a:lnTo>
                      <a:pt x="82" y="497"/>
                    </a:lnTo>
                    <a:lnTo>
                      <a:pt x="82" y="470"/>
                    </a:lnTo>
                    <a:lnTo>
                      <a:pt x="82" y="430"/>
                    </a:lnTo>
                    <a:lnTo>
                      <a:pt x="82" y="395"/>
                    </a:lnTo>
                    <a:lnTo>
                      <a:pt x="82" y="149"/>
                    </a:lnTo>
                    <a:lnTo>
                      <a:pt x="71" y="149"/>
                    </a:lnTo>
                    <a:lnTo>
                      <a:pt x="71" y="185"/>
                    </a:lnTo>
                    <a:lnTo>
                      <a:pt x="71" y="196"/>
                    </a:lnTo>
                    <a:lnTo>
                      <a:pt x="71" y="298"/>
                    </a:lnTo>
                    <a:cubicBezTo>
                      <a:pt x="71" y="318"/>
                      <a:pt x="55" y="334"/>
                      <a:pt x="35" y="334"/>
                    </a:cubicBezTo>
                    <a:cubicBezTo>
                      <a:pt x="16" y="334"/>
                      <a:pt x="0" y="318"/>
                      <a:pt x="0" y="298"/>
                    </a:cubicBezTo>
                    <a:lnTo>
                      <a:pt x="0" y="196"/>
                    </a:lnTo>
                    <a:lnTo>
                      <a:pt x="0" y="185"/>
                    </a:lnTo>
                    <a:lnTo>
                      <a:pt x="0" y="103"/>
                    </a:lnTo>
                    <a:lnTo>
                      <a:pt x="0" y="100"/>
                    </a:lnTo>
                    <a:lnTo>
                      <a:pt x="0" y="81"/>
                    </a:lnTo>
                    <a:lnTo>
                      <a:pt x="0" y="46"/>
                    </a:lnTo>
                    <a:cubicBezTo>
                      <a:pt x="0" y="21"/>
                      <a:pt x="22" y="0"/>
                      <a:pt x="49" y="0"/>
                    </a:cubicBezTo>
                    <a:lnTo>
                      <a:pt x="71" y="0"/>
                    </a:lnTo>
                    <a:lnTo>
                      <a:pt x="82" y="0"/>
                    </a:lnTo>
                    <a:lnTo>
                      <a:pt x="137" y="0"/>
                    </a:lnTo>
                    <a:lnTo>
                      <a:pt x="186" y="0"/>
                    </a:lnTo>
                    <a:lnTo>
                      <a:pt x="235" y="0"/>
                    </a:lnTo>
                    <a:lnTo>
                      <a:pt x="290" y="0"/>
                    </a:lnTo>
                    <a:lnTo>
                      <a:pt x="301" y="0"/>
                    </a:lnTo>
                    <a:lnTo>
                      <a:pt x="323" y="0"/>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23" name="Freeform 27"/>
              <p:cNvSpPr>
                <a:spLocks noChangeArrowheads="1"/>
              </p:cNvSpPr>
              <p:nvPr/>
            </p:nvSpPr>
            <p:spPr bwMode="auto">
              <a:xfrm>
                <a:off x="4638675" y="4138612"/>
                <a:ext cx="106362" cy="128588"/>
              </a:xfrm>
              <a:custGeom>
                <a:avLst/>
                <a:gdLst/>
                <a:ahLst/>
                <a:cxnLst>
                  <a:cxn ang="0">
                    <a:pos x="295" y="355"/>
                  </a:cxn>
                  <a:cxn ang="0">
                    <a:pos x="0" y="355"/>
                  </a:cxn>
                  <a:cxn ang="0">
                    <a:pos x="40" y="0"/>
                  </a:cxn>
                  <a:cxn ang="0">
                    <a:pos x="255" y="0"/>
                  </a:cxn>
                  <a:cxn ang="0">
                    <a:pos x="295" y="355"/>
                  </a:cxn>
                </a:cxnLst>
                <a:rect l="0" t="0" r="r" b="b"/>
                <a:pathLst>
                  <a:path w="296" h="356">
                    <a:moveTo>
                      <a:pt x="295" y="355"/>
                    </a:moveTo>
                    <a:lnTo>
                      <a:pt x="0" y="355"/>
                    </a:lnTo>
                    <a:lnTo>
                      <a:pt x="40" y="0"/>
                    </a:lnTo>
                    <a:lnTo>
                      <a:pt x="255" y="0"/>
                    </a:lnTo>
                    <a:lnTo>
                      <a:pt x="295" y="355"/>
                    </a:lnTo>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grpSp>
        <p:sp>
          <p:nvSpPr>
            <p:cNvPr id="1016" name="Text Box 132"/>
            <p:cNvSpPr txBox="1">
              <a:spLocks noChangeArrowheads="1"/>
            </p:cNvSpPr>
            <p:nvPr/>
          </p:nvSpPr>
          <p:spPr bwMode="auto">
            <a:xfrm>
              <a:off x="4792662" y="3984625"/>
              <a:ext cx="849313" cy="258762"/>
            </a:xfrm>
            <a:prstGeom prst="rect">
              <a:avLst/>
            </a:prstGeom>
            <a:noFill/>
            <a:ln w="9525" cap="flat">
              <a:noFill/>
              <a:round/>
              <a:headEnd/>
              <a:tailEnd/>
            </a:ln>
            <a:effectLst/>
          </p:spPr>
          <p:txBody>
            <a:bodyPr lIns="0" tIns="15876" rIns="0" bIns="0">
              <a:prstTxWarp prst="textNoShape">
                <a:avLst/>
              </a:prstTxWarp>
            </a:bodyPr>
            <a:lstStyle/>
            <a:p>
              <a:pPr>
                <a:buNone/>
              </a:pPr>
              <a:r>
                <a:rPr lang="en-US" dirty="0">
                  <a:solidFill>
                    <a:srgbClr val="BD1839"/>
                  </a:solidFill>
                  <a:latin typeface="Arial" pitchFamily="34" charset="0"/>
                  <a:ea typeface="'ArialMT'" pitchFamily="32" charset="0"/>
                  <a:cs typeface="Arial" pitchFamily="34" charset="0"/>
                </a:rPr>
                <a:t>12,000+ </a:t>
              </a:r>
            </a:p>
          </p:txBody>
        </p:sp>
        <p:sp>
          <p:nvSpPr>
            <p:cNvPr id="1017" name="Text Box 138"/>
            <p:cNvSpPr txBox="1">
              <a:spLocks noChangeArrowheads="1"/>
            </p:cNvSpPr>
            <p:nvPr/>
          </p:nvSpPr>
          <p:spPr bwMode="auto">
            <a:xfrm>
              <a:off x="4792662" y="4238625"/>
              <a:ext cx="55563" cy="111125"/>
            </a:xfrm>
            <a:prstGeom prst="rect">
              <a:avLst/>
            </a:prstGeom>
            <a:noFill/>
            <a:ln w="9525" cap="flat">
              <a:noFill/>
              <a:round/>
              <a:headEnd/>
              <a:tailEnd/>
            </a:ln>
            <a:effectLst/>
          </p:spPr>
          <p:txBody>
            <a:bodyPr wrap="none" lIns="0" tIns="7056" rIns="0" bIns="0">
              <a:prstTxWarp prst="textNoShape">
                <a:avLst/>
              </a:prstTxWarp>
            </a:bodyPr>
            <a:lstStyle/>
            <a:p>
              <a:pPr>
                <a:buNone/>
              </a:pPr>
              <a:r>
                <a:rPr lang="en-US" sz="800" dirty="0">
                  <a:solidFill>
                    <a:srgbClr val="6E6D5E"/>
                  </a:solidFill>
                  <a:latin typeface="Arial" pitchFamily="34" charset="0"/>
                  <a:ea typeface="'ArialMT'" pitchFamily="32" charset="0"/>
                  <a:cs typeface="Arial" pitchFamily="34" charset="0"/>
                </a:rPr>
                <a:t>  </a:t>
              </a:r>
            </a:p>
          </p:txBody>
        </p:sp>
        <p:sp>
          <p:nvSpPr>
            <p:cNvPr id="1018" name="Text Box 139"/>
            <p:cNvSpPr txBox="1">
              <a:spLocks noChangeArrowheads="1"/>
            </p:cNvSpPr>
            <p:nvPr/>
          </p:nvSpPr>
          <p:spPr bwMode="auto">
            <a:xfrm>
              <a:off x="4821236" y="4238625"/>
              <a:ext cx="836613" cy="111125"/>
            </a:xfrm>
            <a:prstGeom prst="rect">
              <a:avLst/>
            </a:prstGeom>
            <a:noFill/>
            <a:ln w="9525" cap="flat">
              <a:noFill/>
              <a:round/>
              <a:headEnd/>
              <a:tailEnd/>
            </a:ln>
            <a:effectLst/>
          </p:spPr>
          <p:txBody>
            <a:bodyPr wrap="none" lIns="0" tIns="7056" rIns="0" bIns="0">
              <a:prstTxWarp prst="textNoShape">
                <a:avLst/>
              </a:prstTxWarp>
            </a:bodyPr>
            <a:lstStyle/>
            <a:p>
              <a:pPr>
                <a:buNone/>
              </a:pPr>
              <a:r>
                <a:rPr lang="en-US" sz="800" dirty="0">
                  <a:solidFill>
                    <a:srgbClr val="6E6D5E"/>
                  </a:solidFill>
                  <a:latin typeface="Arial" pitchFamily="34" charset="0"/>
                  <a:ea typeface="'ArialMT'" pitchFamily="32" charset="0"/>
                  <a:cs typeface="Arial" pitchFamily="34" charset="0"/>
                </a:rPr>
                <a:t>Employees </a:t>
              </a:r>
            </a:p>
          </p:txBody>
        </p:sp>
      </p:grpSp>
      <p:grpSp>
        <p:nvGrpSpPr>
          <p:cNvPr id="1024" name="Group 19"/>
          <p:cNvGrpSpPr/>
          <p:nvPr/>
        </p:nvGrpSpPr>
        <p:grpSpPr>
          <a:xfrm>
            <a:off x="6916523" y="5950107"/>
            <a:ext cx="1605986" cy="538893"/>
            <a:chOff x="5753100" y="3976687"/>
            <a:chExt cx="1192213" cy="400050"/>
          </a:xfrm>
        </p:grpSpPr>
        <p:grpSp>
          <p:nvGrpSpPr>
            <p:cNvPr id="1025" name="Group 32"/>
            <p:cNvGrpSpPr/>
            <p:nvPr/>
          </p:nvGrpSpPr>
          <p:grpSpPr>
            <a:xfrm>
              <a:off x="5753100" y="3976687"/>
              <a:ext cx="342900" cy="382588"/>
              <a:chOff x="5753100" y="3976687"/>
              <a:chExt cx="342900" cy="382588"/>
            </a:xfrm>
          </p:grpSpPr>
          <p:sp>
            <p:nvSpPr>
              <p:cNvPr id="1028" name="Freeform 28"/>
              <p:cNvSpPr>
                <a:spLocks noChangeArrowheads="1"/>
              </p:cNvSpPr>
              <p:nvPr/>
            </p:nvSpPr>
            <p:spPr bwMode="auto">
              <a:xfrm>
                <a:off x="5753100" y="3976687"/>
                <a:ext cx="222250" cy="381000"/>
              </a:xfrm>
              <a:custGeom>
                <a:avLst/>
                <a:gdLst/>
                <a:ahLst/>
                <a:cxnLst>
                  <a:cxn ang="0">
                    <a:pos x="0" y="439"/>
                  </a:cxn>
                  <a:cxn ang="0">
                    <a:pos x="618" y="439"/>
                  </a:cxn>
                  <a:cxn ang="0">
                    <a:pos x="309" y="1058"/>
                  </a:cxn>
                  <a:cxn ang="0">
                    <a:pos x="0" y="439"/>
                  </a:cxn>
                  <a:cxn ang="0">
                    <a:pos x="309" y="594"/>
                  </a:cxn>
                  <a:cxn ang="0">
                    <a:pos x="473" y="430"/>
                  </a:cxn>
                  <a:cxn ang="0">
                    <a:pos x="309" y="267"/>
                  </a:cxn>
                  <a:cxn ang="0">
                    <a:pos x="145" y="430"/>
                  </a:cxn>
                  <a:cxn ang="0">
                    <a:pos x="309" y="594"/>
                  </a:cxn>
                </a:cxnLst>
                <a:rect l="0" t="0" r="r" b="b"/>
                <a:pathLst>
                  <a:path w="619" h="1059">
                    <a:moveTo>
                      <a:pt x="0" y="439"/>
                    </a:moveTo>
                    <a:cubicBezTo>
                      <a:pt x="0" y="0"/>
                      <a:pt x="618" y="0"/>
                      <a:pt x="618" y="439"/>
                    </a:cubicBezTo>
                    <a:cubicBezTo>
                      <a:pt x="618" y="676"/>
                      <a:pt x="309" y="1058"/>
                      <a:pt x="309" y="1058"/>
                    </a:cubicBezTo>
                    <a:cubicBezTo>
                      <a:pt x="309" y="1058"/>
                      <a:pt x="0" y="676"/>
                      <a:pt x="0" y="439"/>
                    </a:cubicBezTo>
                    <a:close/>
                    <a:moveTo>
                      <a:pt x="309" y="594"/>
                    </a:moveTo>
                    <a:cubicBezTo>
                      <a:pt x="399" y="594"/>
                      <a:pt x="473" y="521"/>
                      <a:pt x="473" y="430"/>
                    </a:cubicBezTo>
                    <a:cubicBezTo>
                      <a:pt x="473" y="340"/>
                      <a:pt x="399" y="267"/>
                      <a:pt x="309" y="267"/>
                    </a:cubicBezTo>
                    <a:cubicBezTo>
                      <a:pt x="218" y="267"/>
                      <a:pt x="145" y="340"/>
                      <a:pt x="145" y="430"/>
                    </a:cubicBezTo>
                    <a:cubicBezTo>
                      <a:pt x="145" y="521"/>
                      <a:pt x="218" y="594"/>
                      <a:pt x="309" y="594"/>
                    </a:cubicBezTo>
                    <a:close/>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29" name="Freeform 29"/>
              <p:cNvSpPr>
                <a:spLocks noChangeArrowheads="1"/>
              </p:cNvSpPr>
              <p:nvPr/>
            </p:nvSpPr>
            <p:spPr bwMode="auto">
              <a:xfrm>
                <a:off x="5937250" y="4086225"/>
                <a:ext cx="158750" cy="273050"/>
              </a:xfrm>
              <a:custGeom>
                <a:avLst/>
                <a:gdLst/>
                <a:ahLst/>
                <a:cxnLst>
                  <a:cxn ang="0">
                    <a:pos x="0" y="314"/>
                  </a:cxn>
                  <a:cxn ang="0">
                    <a:pos x="441" y="314"/>
                  </a:cxn>
                  <a:cxn ang="0">
                    <a:pos x="220" y="756"/>
                  </a:cxn>
                  <a:cxn ang="0">
                    <a:pos x="0" y="314"/>
                  </a:cxn>
                  <a:cxn ang="0">
                    <a:pos x="220" y="425"/>
                  </a:cxn>
                  <a:cxn ang="0">
                    <a:pos x="337" y="308"/>
                  </a:cxn>
                  <a:cxn ang="0">
                    <a:pos x="220" y="191"/>
                  </a:cxn>
                  <a:cxn ang="0">
                    <a:pos x="103" y="308"/>
                  </a:cxn>
                  <a:cxn ang="0">
                    <a:pos x="220" y="425"/>
                  </a:cxn>
                </a:cxnLst>
                <a:rect l="0" t="0" r="r" b="b"/>
                <a:pathLst>
                  <a:path w="442" h="757">
                    <a:moveTo>
                      <a:pt x="0" y="314"/>
                    </a:moveTo>
                    <a:cubicBezTo>
                      <a:pt x="0" y="0"/>
                      <a:pt x="441" y="0"/>
                      <a:pt x="441" y="314"/>
                    </a:cubicBezTo>
                    <a:cubicBezTo>
                      <a:pt x="441" y="483"/>
                      <a:pt x="220" y="756"/>
                      <a:pt x="220" y="756"/>
                    </a:cubicBezTo>
                    <a:cubicBezTo>
                      <a:pt x="220" y="756"/>
                      <a:pt x="0" y="483"/>
                      <a:pt x="0" y="314"/>
                    </a:cubicBezTo>
                    <a:close/>
                    <a:moveTo>
                      <a:pt x="220" y="425"/>
                    </a:moveTo>
                    <a:cubicBezTo>
                      <a:pt x="285" y="425"/>
                      <a:pt x="337" y="372"/>
                      <a:pt x="337" y="308"/>
                    </a:cubicBezTo>
                    <a:cubicBezTo>
                      <a:pt x="337" y="243"/>
                      <a:pt x="285" y="191"/>
                      <a:pt x="220" y="191"/>
                    </a:cubicBezTo>
                    <a:cubicBezTo>
                      <a:pt x="155" y="191"/>
                      <a:pt x="103" y="243"/>
                      <a:pt x="103" y="308"/>
                    </a:cubicBezTo>
                    <a:cubicBezTo>
                      <a:pt x="103" y="372"/>
                      <a:pt x="155" y="425"/>
                      <a:pt x="220" y="425"/>
                    </a:cubicBezTo>
                    <a:close/>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grpSp>
        <p:sp>
          <p:nvSpPr>
            <p:cNvPr id="1026" name="Text Box 132"/>
            <p:cNvSpPr txBox="1">
              <a:spLocks noChangeArrowheads="1"/>
            </p:cNvSpPr>
            <p:nvPr/>
          </p:nvSpPr>
          <p:spPr bwMode="auto">
            <a:xfrm>
              <a:off x="6096000" y="3984625"/>
              <a:ext cx="849313" cy="258762"/>
            </a:xfrm>
            <a:prstGeom prst="rect">
              <a:avLst/>
            </a:prstGeom>
            <a:noFill/>
            <a:ln w="9525" cap="flat">
              <a:noFill/>
              <a:round/>
              <a:headEnd/>
              <a:tailEnd/>
            </a:ln>
            <a:effectLst/>
          </p:spPr>
          <p:txBody>
            <a:bodyPr lIns="0" tIns="15876" rIns="0" bIns="0">
              <a:prstTxWarp prst="textNoShape">
                <a:avLst/>
              </a:prstTxWarp>
            </a:bodyPr>
            <a:lstStyle/>
            <a:p>
              <a:pPr>
                <a:buNone/>
              </a:pPr>
              <a:r>
                <a:rPr lang="en-US" dirty="0">
                  <a:solidFill>
                    <a:srgbClr val="BD1839"/>
                  </a:solidFill>
                  <a:latin typeface="Arial" pitchFamily="34" charset="0"/>
                  <a:ea typeface="'ArialMT'" pitchFamily="32" charset="0"/>
                  <a:cs typeface="Arial" pitchFamily="34" charset="0"/>
                </a:rPr>
                <a:t>300+ </a:t>
              </a:r>
            </a:p>
          </p:txBody>
        </p:sp>
        <p:sp>
          <p:nvSpPr>
            <p:cNvPr id="1027" name="Text Box 139"/>
            <p:cNvSpPr txBox="1">
              <a:spLocks noChangeArrowheads="1"/>
            </p:cNvSpPr>
            <p:nvPr/>
          </p:nvSpPr>
          <p:spPr bwMode="auto">
            <a:xfrm>
              <a:off x="6124575" y="4238625"/>
              <a:ext cx="699182" cy="138112"/>
            </a:xfrm>
            <a:prstGeom prst="rect">
              <a:avLst/>
            </a:prstGeom>
            <a:noFill/>
            <a:ln w="9525" cap="flat">
              <a:noFill/>
              <a:round/>
              <a:headEnd/>
              <a:tailEnd/>
            </a:ln>
            <a:effectLst/>
          </p:spPr>
          <p:txBody>
            <a:bodyPr wrap="none" lIns="0" tIns="7056" rIns="0" bIns="0">
              <a:prstTxWarp prst="textNoShape">
                <a:avLst/>
              </a:prstTxWarp>
            </a:bodyPr>
            <a:lstStyle/>
            <a:p>
              <a:pPr>
                <a:buNone/>
              </a:pPr>
              <a:r>
                <a:rPr lang="en-US" sz="800" dirty="0">
                  <a:solidFill>
                    <a:srgbClr val="6E6D5E"/>
                  </a:solidFill>
                  <a:latin typeface="Arial" pitchFamily="34" charset="0"/>
                  <a:ea typeface="'ArialMT'" pitchFamily="32" charset="0"/>
                  <a:cs typeface="Arial" pitchFamily="34" charset="0"/>
                </a:rPr>
                <a:t>Labs &amp; Offices</a:t>
              </a:r>
            </a:p>
          </p:txBody>
        </p:sp>
      </p:grpSp>
      <p:grpSp>
        <p:nvGrpSpPr>
          <p:cNvPr id="1030" name="Group 20"/>
          <p:cNvGrpSpPr/>
          <p:nvPr/>
        </p:nvGrpSpPr>
        <p:grpSpPr>
          <a:xfrm>
            <a:off x="8477599" y="5960800"/>
            <a:ext cx="2318093" cy="528200"/>
            <a:chOff x="6911975" y="3984625"/>
            <a:chExt cx="1720850" cy="392112"/>
          </a:xfrm>
        </p:grpSpPr>
        <p:grpSp>
          <p:nvGrpSpPr>
            <p:cNvPr id="1031" name="Group 27"/>
            <p:cNvGrpSpPr/>
            <p:nvPr/>
          </p:nvGrpSpPr>
          <p:grpSpPr>
            <a:xfrm>
              <a:off x="6911975" y="3997325"/>
              <a:ext cx="287337" cy="379412"/>
              <a:chOff x="6911975" y="3997325"/>
              <a:chExt cx="287337" cy="379412"/>
            </a:xfrm>
          </p:grpSpPr>
          <p:sp>
            <p:nvSpPr>
              <p:cNvPr id="1034" name="Freeform 30"/>
              <p:cNvSpPr>
                <a:spLocks noChangeArrowheads="1"/>
              </p:cNvSpPr>
              <p:nvPr/>
            </p:nvSpPr>
            <p:spPr bwMode="auto">
              <a:xfrm>
                <a:off x="6911975" y="3997325"/>
                <a:ext cx="287337" cy="379412"/>
              </a:xfrm>
              <a:custGeom>
                <a:avLst/>
                <a:gdLst/>
                <a:ahLst/>
                <a:cxnLst>
                  <a:cxn ang="0">
                    <a:pos x="763" y="397"/>
                  </a:cxn>
                  <a:cxn ang="0">
                    <a:pos x="789" y="478"/>
                  </a:cxn>
                  <a:cxn ang="0">
                    <a:pos x="777" y="523"/>
                  </a:cxn>
                  <a:cxn ang="0">
                    <a:pos x="714" y="579"/>
                  </a:cxn>
                  <a:cxn ang="0">
                    <a:pos x="696" y="662"/>
                  </a:cxn>
                  <a:cxn ang="0">
                    <a:pos x="663" y="696"/>
                  </a:cxn>
                  <a:cxn ang="0">
                    <a:pos x="621" y="705"/>
                  </a:cxn>
                  <a:cxn ang="0">
                    <a:pos x="698" y="990"/>
                  </a:cxn>
                  <a:cxn ang="0">
                    <a:pos x="561" y="937"/>
                  </a:cxn>
                  <a:cxn ang="0">
                    <a:pos x="469" y="1051"/>
                  </a:cxn>
                  <a:cxn ang="0">
                    <a:pos x="397" y="786"/>
                  </a:cxn>
                  <a:cxn ang="0">
                    <a:pos x="326" y="1051"/>
                  </a:cxn>
                  <a:cxn ang="0">
                    <a:pos x="234" y="937"/>
                  </a:cxn>
                  <a:cxn ang="0">
                    <a:pos x="97" y="990"/>
                  </a:cxn>
                  <a:cxn ang="0">
                    <a:pos x="173" y="705"/>
                  </a:cxn>
                  <a:cxn ang="0">
                    <a:pos x="131" y="696"/>
                  </a:cxn>
                  <a:cxn ang="0">
                    <a:pos x="98" y="662"/>
                  </a:cxn>
                  <a:cxn ang="0">
                    <a:pos x="81" y="579"/>
                  </a:cxn>
                  <a:cxn ang="0">
                    <a:pos x="17" y="523"/>
                  </a:cxn>
                  <a:cxn ang="0">
                    <a:pos x="5" y="478"/>
                  </a:cxn>
                  <a:cxn ang="0">
                    <a:pos x="32" y="397"/>
                  </a:cxn>
                  <a:cxn ang="0">
                    <a:pos x="5" y="316"/>
                  </a:cxn>
                  <a:cxn ang="0">
                    <a:pos x="17" y="271"/>
                  </a:cxn>
                  <a:cxn ang="0">
                    <a:pos x="81" y="214"/>
                  </a:cxn>
                  <a:cxn ang="0">
                    <a:pos x="98" y="131"/>
                  </a:cxn>
                  <a:cxn ang="0">
                    <a:pos x="131" y="98"/>
                  </a:cxn>
                  <a:cxn ang="0">
                    <a:pos x="214" y="80"/>
                  </a:cxn>
                  <a:cxn ang="0">
                    <a:pos x="271" y="17"/>
                  </a:cxn>
                  <a:cxn ang="0">
                    <a:pos x="317" y="5"/>
                  </a:cxn>
                  <a:cxn ang="0">
                    <a:pos x="397" y="31"/>
                  </a:cxn>
                  <a:cxn ang="0">
                    <a:pos x="478" y="5"/>
                  </a:cxn>
                  <a:cxn ang="0">
                    <a:pos x="523" y="17"/>
                  </a:cxn>
                  <a:cxn ang="0">
                    <a:pos x="580" y="80"/>
                  </a:cxn>
                  <a:cxn ang="0">
                    <a:pos x="663" y="98"/>
                  </a:cxn>
                  <a:cxn ang="0">
                    <a:pos x="696" y="131"/>
                  </a:cxn>
                  <a:cxn ang="0">
                    <a:pos x="714" y="214"/>
                  </a:cxn>
                  <a:cxn ang="0">
                    <a:pos x="777" y="271"/>
                  </a:cxn>
                  <a:cxn ang="0">
                    <a:pos x="789" y="316"/>
                  </a:cxn>
                  <a:cxn ang="0">
                    <a:pos x="763" y="397"/>
                  </a:cxn>
                  <a:cxn ang="0">
                    <a:pos x="397" y="151"/>
                  </a:cxn>
                  <a:cxn ang="0">
                    <a:pos x="152" y="397"/>
                  </a:cxn>
                  <a:cxn ang="0">
                    <a:pos x="397" y="642"/>
                  </a:cxn>
                  <a:cxn ang="0">
                    <a:pos x="643" y="397"/>
                  </a:cxn>
                  <a:cxn ang="0">
                    <a:pos x="397" y="151"/>
                  </a:cxn>
                </a:cxnLst>
                <a:rect l="0" t="0" r="r" b="b"/>
                <a:pathLst>
                  <a:path w="796" h="1052">
                    <a:moveTo>
                      <a:pt x="763" y="397"/>
                    </a:moveTo>
                    <a:lnTo>
                      <a:pt x="789" y="478"/>
                    </a:lnTo>
                    <a:cubicBezTo>
                      <a:pt x="795" y="494"/>
                      <a:pt x="790" y="511"/>
                      <a:pt x="777" y="523"/>
                    </a:cubicBezTo>
                    <a:lnTo>
                      <a:pt x="714" y="579"/>
                    </a:lnTo>
                    <a:lnTo>
                      <a:pt x="696" y="662"/>
                    </a:lnTo>
                    <a:cubicBezTo>
                      <a:pt x="693" y="679"/>
                      <a:pt x="680" y="692"/>
                      <a:pt x="663" y="696"/>
                    </a:cubicBezTo>
                    <a:lnTo>
                      <a:pt x="621" y="705"/>
                    </a:lnTo>
                    <a:lnTo>
                      <a:pt x="698" y="990"/>
                    </a:lnTo>
                    <a:lnTo>
                      <a:pt x="561" y="937"/>
                    </a:lnTo>
                    <a:lnTo>
                      <a:pt x="469" y="1051"/>
                    </a:lnTo>
                    <a:lnTo>
                      <a:pt x="397" y="786"/>
                    </a:lnTo>
                    <a:lnTo>
                      <a:pt x="326" y="1051"/>
                    </a:lnTo>
                    <a:lnTo>
                      <a:pt x="234" y="937"/>
                    </a:lnTo>
                    <a:lnTo>
                      <a:pt x="97" y="990"/>
                    </a:lnTo>
                    <a:lnTo>
                      <a:pt x="173" y="705"/>
                    </a:lnTo>
                    <a:lnTo>
                      <a:pt x="131" y="696"/>
                    </a:lnTo>
                    <a:cubicBezTo>
                      <a:pt x="115" y="692"/>
                      <a:pt x="101" y="679"/>
                      <a:pt x="98" y="662"/>
                    </a:cubicBezTo>
                    <a:lnTo>
                      <a:pt x="81" y="579"/>
                    </a:lnTo>
                    <a:lnTo>
                      <a:pt x="17" y="523"/>
                    </a:lnTo>
                    <a:cubicBezTo>
                      <a:pt x="5" y="511"/>
                      <a:pt x="0" y="494"/>
                      <a:pt x="5" y="478"/>
                    </a:cubicBezTo>
                    <a:lnTo>
                      <a:pt x="32" y="397"/>
                    </a:lnTo>
                    <a:lnTo>
                      <a:pt x="5" y="316"/>
                    </a:lnTo>
                    <a:cubicBezTo>
                      <a:pt x="0" y="300"/>
                      <a:pt x="5" y="282"/>
                      <a:pt x="17" y="271"/>
                    </a:cubicBezTo>
                    <a:lnTo>
                      <a:pt x="81" y="214"/>
                    </a:lnTo>
                    <a:lnTo>
                      <a:pt x="98" y="131"/>
                    </a:lnTo>
                    <a:cubicBezTo>
                      <a:pt x="101" y="114"/>
                      <a:pt x="115" y="102"/>
                      <a:pt x="131" y="98"/>
                    </a:cubicBezTo>
                    <a:lnTo>
                      <a:pt x="214" y="80"/>
                    </a:lnTo>
                    <a:lnTo>
                      <a:pt x="271" y="17"/>
                    </a:lnTo>
                    <a:cubicBezTo>
                      <a:pt x="283" y="4"/>
                      <a:pt x="301" y="0"/>
                      <a:pt x="317" y="5"/>
                    </a:cubicBezTo>
                    <a:lnTo>
                      <a:pt x="397" y="31"/>
                    </a:lnTo>
                    <a:lnTo>
                      <a:pt x="478" y="5"/>
                    </a:lnTo>
                    <a:cubicBezTo>
                      <a:pt x="494" y="0"/>
                      <a:pt x="512" y="4"/>
                      <a:pt x="523" y="17"/>
                    </a:cubicBezTo>
                    <a:lnTo>
                      <a:pt x="580" y="80"/>
                    </a:lnTo>
                    <a:lnTo>
                      <a:pt x="663" y="98"/>
                    </a:lnTo>
                    <a:cubicBezTo>
                      <a:pt x="680" y="101"/>
                      <a:pt x="693" y="114"/>
                      <a:pt x="696" y="131"/>
                    </a:cubicBezTo>
                    <a:lnTo>
                      <a:pt x="714" y="214"/>
                    </a:lnTo>
                    <a:lnTo>
                      <a:pt x="777" y="271"/>
                    </a:lnTo>
                    <a:cubicBezTo>
                      <a:pt x="790" y="282"/>
                      <a:pt x="795" y="300"/>
                      <a:pt x="789" y="316"/>
                    </a:cubicBezTo>
                    <a:lnTo>
                      <a:pt x="763" y="397"/>
                    </a:lnTo>
                    <a:close/>
                    <a:moveTo>
                      <a:pt x="397" y="151"/>
                    </a:moveTo>
                    <a:cubicBezTo>
                      <a:pt x="262" y="151"/>
                      <a:pt x="152" y="261"/>
                      <a:pt x="152" y="397"/>
                    </a:cubicBezTo>
                    <a:cubicBezTo>
                      <a:pt x="152" y="532"/>
                      <a:pt x="262" y="642"/>
                      <a:pt x="397" y="642"/>
                    </a:cubicBezTo>
                    <a:cubicBezTo>
                      <a:pt x="533" y="642"/>
                      <a:pt x="643" y="532"/>
                      <a:pt x="643" y="397"/>
                    </a:cubicBezTo>
                    <a:cubicBezTo>
                      <a:pt x="643" y="261"/>
                      <a:pt x="533" y="151"/>
                      <a:pt x="397" y="151"/>
                    </a:cubicBezTo>
                    <a:close/>
                  </a:path>
                </a:pathLst>
              </a:custGeom>
              <a:solidFill>
                <a:srgbClr val="BD1839"/>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35" name="Freeform 31"/>
              <p:cNvSpPr>
                <a:spLocks noChangeArrowheads="1"/>
              </p:cNvSpPr>
              <p:nvPr/>
            </p:nvSpPr>
            <p:spPr bwMode="auto">
              <a:xfrm>
                <a:off x="6983412" y="4090987"/>
                <a:ext cx="144463" cy="112713"/>
              </a:xfrm>
              <a:custGeom>
                <a:avLst/>
                <a:gdLst/>
                <a:ahLst/>
                <a:cxnLst>
                  <a:cxn ang="0">
                    <a:pos x="401" y="59"/>
                  </a:cxn>
                  <a:cxn ang="0">
                    <a:pos x="208" y="251"/>
                  </a:cxn>
                  <a:cxn ang="0">
                    <a:pos x="208" y="251"/>
                  </a:cxn>
                  <a:cxn ang="0">
                    <a:pos x="149" y="310"/>
                  </a:cxn>
                  <a:cxn ang="0">
                    <a:pos x="90" y="251"/>
                  </a:cxn>
                  <a:cxn ang="0">
                    <a:pos x="90" y="251"/>
                  </a:cxn>
                  <a:cxn ang="0">
                    <a:pos x="0" y="162"/>
                  </a:cxn>
                  <a:cxn ang="0">
                    <a:pos x="59" y="103"/>
                  </a:cxn>
                  <a:cxn ang="0">
                    <a:pos x="149" y="193"/>
                  </a:cxn>
                  <a:cxn ang="0">
                    <a:pos x="342" y="0"/>
                  </a:cxn>
                  <a:cxn ang="0">
                    <a:pos x="401" y="59"/>
                  </a:cxn>
                </a:cxnLst>
                <a:rect l="0" t="0" r="r" b="b"/>
                <a:pathLst>
                  <a:path w="402" h="311">
                    <a:moveTo>
                      <a:pt x="401" y="59"/>
                    </a:moveTo>
                    <a:lnTo>
                      <a:pt x="208" y="251"/>
                    </a:lnTo>
                    <a:lnTo>
                      <a:pt x="208" y="251"/>
                    </a:lnTo>
                    <a:lnTo>
                      <a:pt x="149" y="310"/>
                    </a:lnTo>
                    <a:lnTo>
                      <a:pt x="90" y="251"/>
                    </a:lnTo>
                    <a:lnTo>
                      <a:pt x="90" y="251"/>
                    </a:lnTo>
                    <a:lnTo>
                      <a:pt x="0" y="162"/>
                    </a:lnTo>
                    <a:lnTo>
                      <a:pt x="59" y="103"/>
                    </a:lnTo>
                    <a:lnTo>
                      <a:pt x="149" y="193"/>
                    </a:lnTo>
                    <a:lnTo>
                      <a:pt x="342" y="0"/>
                    </a:lnTo>
                    <a:lnTo>
                      <a:pt x="401" y="59"/>
                    </a:lnTo>
                  </a:path>
                </a:pathLst>
              </a:custGeom>
              <a:solidFill>
                <a:srgbClr val="5C8B76"/>
              </a:solidFill>
              <a:ln w="9525" cap="rnd">
                <a:no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grpSp>
        <p:sp>
          <p:nvSpPr>
            <p:cNvPr id="1032" name="Text Box 132"/>
            <p:cNvSpPr txBox="1">
              <a:spLocks noChangeArrowheads="1"/>
            </p:cNvSpPr>
            <p:nvPr/>
          </p:nvSpPr>
          <p:spPr bwMode="auto">
            <a:xfrm>
              <a:off x="7215187" y="3984625"/>
              <a:ext cx="849313" cy="258762"/>
            </a:xfrm>
            <a:prstGeom prst="rect">
              <a:avLst/>
            </a:prstGeom>
            <a:noFill/>
            <a:ln w="9525" cap="flat">
              <a:noFill/>
              <a:round/>
              <a:headEnd/>
              <a:tailEnd/>
            </a:ln>
            <a:effectLst/>
          </p:spPr>
          <p:txBody>
            <a:bodyPr lIns="0" tIns="15876" rIns="0" bIns="0">
              <a:prstTxWarp prst="textNoShape">
                <a:avLst/>
              </a:prstTxWarp>
            </a:bodyPr>
            <a:lstStyle/>
            <a:p>
              <a:pPr>
                <a:buNone/>
              </a:pPr>
              <a:r>
                <a:rPr lang="en-US" dirty="0">
                  <a:solidFill>
                    <a:srgbClr val="BD1839"/>
                  </a:solidFill>
                  <a:latin typeface="Arial" pitchFamily="34" charset="0"/>
                  <a:ea typeface="'ArialMT'" pitchFamily="32" charset="0"/>
                  <a:cs typeface="Arial" pitchFamily="34" charset="0"/>
                </a:rPr>
                <a:t>1,000+ </a:t>
              </a:r>
            </a:p>
          </p:txBody>
        </p:sp>
        <p:sp>
          <p:nvSpPr>
            <p:cNvPr id="1033" name="Text Box 139"/>
            <p:cNvSpPr txBox="1">
              <a:spLocks noChangeArrowheads="1"/>
            </p:cNvSpPr>
            <p:nvPr/>
          </p:nvSpPr>
          <p:spPr bwMode="auto">
            <a:xfrm>
              <a:off x="7243761" y="4238625"/>
              <a:ext cx="1389064" cy="111125"/>
            </a:xfrm>
            <a:prstGeom prst="rect">
              <a:avLst/>
            </a:prstGeom>
            <a:noFill/>
            <a:ln w="9525" cap="flat">
              <a:noFill/>
              <a:round/>
              <a:headEnd/>
              <a:tailEnd/>
            </a:ln>
            <a:effectLst/>
          </p:spPr>
          <p:txBody>
            <a:bodyPr wrap="none" lIns="0" tIns="7056" rIns="0" bIns="0">
              <a:prstTxWarp prst="textNoShape">
                <a:avLst/>
              </a:prstTxWarp>
            </a:bodyPr>
            <a:lstStyle/>
            <a:p>
              <a:pPr>
                <a:buNone/>
              </a:pPr>
              <a:r>
                <a:rPr lang="en-US" sz="800" dirty="0">
                  <a:solidFill>
                    <a:srgbClr val="6E6D5E"/>
                  </a:solidFill>
                  <a:latin typeface="Arial" pitchFamily="34" charset="0"/>
                  <a:ea typeface="'ArialMT'" pitchFamily="32" charset="0"/>
                  <a:cs typeface="Arial" pitchFamily="34" charset="0"/>
                </a:rPr>
                <a:t>Accreditations &amp; Recognitions</a:t>
              </a:r>
            </a:p>
          </p:txBody>
        </p:sp>
      </p:grpSp>
      <p:sp>
        <p:nvSpPr>
          <p:cNvPr id="1036" name="Freeform 157"/>
          <p:cNvSpPr>
            <a:spLocks noChangeArrowheads="1"/>
          </p:cNvSpPr>
          <p:nvPr/>
        </p:nvSpPr>
        <p:spPr bwMode="auto">
          <a:xfrm>
            <a:off x="6668812" y="1514657"/>
            <a:ext cx="194601" cy="320769"/>
          </a:xfrm>
          <a:custGeom>
            <a:avLst/>
            <a:gdLst/>
            <a:ahLst/>
            <a:cxnLst>
              <a:cxn ang="0">
                <a:pos x="200" y="0"/>
              </a:cxn>
              <a:cxn ang="0">
                <a:pos x="399" y="200"/>
              </a:cxn>
              <a:cxn ang="0">
                <a:pos x="281" y="439"/>
              </a:cxn>
              <a:cxn ang="0">
                <a:pos x="200" y="661"/>
              </a:cxn>
              <a:cxn ang="0">
                <a:pos x="119"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9" y="439"/>
                </a:cubicBezTo>
                <a:cubicBezTo>
                  <a:pt x="71" y="342"/>
                  <a:pt x="0" y="297"/>
                  <a:pt x="0" y="200"/>
                </a:cubicBezTo>
                <a:cubicBezTo>
                  <a:pt x="0" y="90"/>
                  <a:pt x="90" y="0"/>
                  <a:pt x="200" y="0"/>
                </a:cubicBezTo>
                <a:lnTo>
                  <a:pt x="200"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FontTx/>
              <a:buNone/>
            </a:pPr>
            <a:endParaRPr lang="en-US" dirty="0">
              <a:solidFill>
                <a:srgbClr val="19324B"/>
              </a:solidFill>
              <a:cs typeface="Arial" pitchFamily="34" charset="0"/>
            </a:endParaRPr>
          </a:p>
        </p:txBody>
      </p:sp>
      <p:sp>
        <p:nvSpPr>
          <p:cNvPr id="1037" name="Freeform 157"/>
          <p:cNvSpPr>
            <a:spLocks noChangeArrowheads="1"/>
          </p:cNvSpPr>
          <p:nvPr/>
        </p:nvSpPr>
        <p:spPr bwMode="auto">
          <a:xfrm>
            <a:off x="5991638" y="1683180"/>
            <a:ext cx="194601" cy="320769"/>
          </a:xfrm>
          <a:custGeom>
            <a:avLst/>
            <a:gdLst/>
            <a:ahLst/>
            <a:cxnLst>
              <a:cxn ang="0">
                <a:pos x="200" y="0"/>
              </a:cxn>
              <a:cxn ang="0">
                <a:pos x="399" y="200"/>
              </a:cxn>
              <a:cxn ang="0">
                <a:pos x="281" y="439"/>
              </a:cxn>
              <a:cxn ang="0">
                <a:pos x="200" y="661"/>
              </a:cxn>
              <a:cxn ang="0">
                <a:pos x="119"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9" y="439"/>
                </a:cubicBezTo>
                <a:cubicBezTo>
                  <a:pt x="71" y="342"/>
                  <a:pt x="0" y="297"/>
                  <a:pt x="0" y="200"/>
                </a:cubicBezTo>
                <a:cubicBezTo>
                  <a:pt x="0" y="90"/>
                  <a:pt x="90" y="0"/>
                  <a:pt x="200" y="0"/>
                </a:cubicBezTo>
                <a:lnTo>
                  <a:pt x="200"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FontTx/>
              <a:buNone/>
            </a:pPr>
            <a:endParaRPr lang="en-US" dirty="0">
              <a:solidFill>
                <a:srgbClr val="19324B"/>
              </a:solidFill>
              <a:cs typeface="Arial" pitchFamily="34" charset="0"/>
            </a:endParaRPr>
          </a:p>
        </p:txBody>
      </p:sp>
      <p:sp>
        <p:nvSpPr>
          <p:cNvPr id="1038" name="Freeform 157"/>
          <p:cNvSpPr>
            <a:spLocks noChangeArrowheads="1"/>
          </p:cNvSpPr>
          <p:nvPr/>
        </p:nvSpPr>
        <p:spPr bwMode="auto">
          <a:xfrm>
            <a:off x="5075490" y="2384848"/>
            <a:ext cx="194601" cy="320769"/>
          </a:xfrm>
          <a:custGeom>
            <a:avLst/>
            <a:gdLst/>
            <a:ahLst/>
            <a:cxnLst>
              <a:cxn ang="0">
                <a:pos x="200" y="0"/>
              </a:cxn>
              <a:cxn ang="0">
                <a:pos x="399" y="200"/>
              </a:cxn>
              <a:cxn ang="0">
                <a:pos x="281" y="439"/>
              </a:cxn>
              <a:cxn ang="0">
                <a:pos x="200" y="661"/>
              </a:cxn>
              <a:cxn ang="0">
                <a:pos x="119"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9" y="439"/>
                </a:cubicBezTo>
                <a:cubicBezTo>
                  <a:pt x="71" y="342"/>
                  <a:pt x="0" y="297"/>
                  <a:pt x="0" y="200"/>
                </a:cubicBezTo>
                <a:cubicBezTo>
                  <a:pt x="0" y="90"/>
                  <a:pt x="90" y="0"/>
                  <a:pt x="200" y="0"/>
                </a:cubicBezTo>
                <a:lnTo>
                  <a:pt x="200"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FontTx/>
              <a:buNone/>
            </a:pPr>
            <a:endParaRPr lang="en-US" dirty="0">
              <a:solidFill>
                <a:srgbClr val="19324B"/>
              </a:solidFill>
              <a:cs typeface="Arial" pitchFamily="34" charset="0"/>
            </a:endParaRPr>
          </a:p>
        </p:txBody>
      </p:sp>
      <p:sp>
        <p:nvSpPr>
          <p:cNvPr id="1039" name="Freeform 157"/>
          <p:cNvSpPr>
            <a:spLocks noChangeArrowheads="1"/>
          </p:cNvSpPr>
          <p:nvPr/>
        </p:nvSpPr>
        <p:spPr bwMode="auto">
          <a:xfrm>
            <a:off x="4894703" y="2461448"/>
            <a:ext cx="194601" cy="320769"/>
          </a:xfrm>
          <a:custGeom>
            <a:avLst/>
            <a:gdLst/>
            <a:ahLst/>
            <a:cxnLst>
              <a:cxn ang="0">
                <a:pos x="200" y="0"/>
              </a:cxn>
              <a:cxn ang="0">
                <a:pos x="399" y="200"/>
              </a:cxn>
              <a:cxn ang="0">
                <a:pos x="281" y="439"/>
              </a:cxn>
              <a:cxn ang="0">
                <a:pos x="200" y="661"/>
              </a:cxn>
              <a:cxn ang="0">
                <a:pos x="119"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9" y="439"/>
                </a:cubicBezTo>
                <a:cubicBezTo>
                  <a:pt x="71" y="342"/>
                  <a:pt x="0" y="297"/>
                  <a:pt x="0" y="200"/>
                </a:cubicBezTo>
                <a:cubicBezTo>
                  <a:pt x="0" y="90"/>
                  <a:pt x="90" y="0"/>
                  <a:pt x="200" y="0"/>
                </a:cubicBezTo>
                <a:lnTo>
                  <a:pt x="200"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FontTx/>
              <a:buNone/>
            </a:pPr>
            <a:endParaRPr lang="en-US" dirty="0">
              <a:solidFill>
                <a:srgbClr val="19324B"/>
              </a:solidFill>
              <a:cs typeface="Arial" pitchFamily="34" charset="0"/>
            </a:endParaRPr>
          </a:p>
        </p:txBody>
      </p:sp>
      <p:sp>
        <p:nvSpPr>
          <p:cNvPr id="1040" name="Freeform 157"/>
          <p:cNvSpPr>
            <a:spLocks noChangeArrowheads="1"/>
          </p:cNvSpPr>
          <p:nvPr/>
        </p:nvSpPr>
        <p:spPr bwMode="auto">
          <a:xfrm>
            <a:off x="2333161" y="2712706"/>
            <a:ext cx="194601" cy="320769"/>
          </a:xfrm>
          <a:custGeom>
            <a:avLst/>
            <a:gdLst/>
            <a:ahLst/>
            <a:cxnLst>
              <a:cxn ang="0">
                <a:pos x="200" y="0"/>
              </a:cxn>
              <a:cxn ang="0">
                <a:pos x="399" y="200"/>
              </a:cxn>
              <a:cxn ang="0">
                <a:pos x="281" y="439"/>
              </a:cxn>
              <a:cxn ang="0">
                <a:pos x="200" y="661"/>
              </a:cxn>
              <a:cxn ang="0">
                <a:pos x="119" y="439"/>
              </a:cxn>
              <a:cxn ang="0">
                <a:pos x="0" y="200"/>
              </a:cxn>
              <a:cxn ang="0">
                <a:pos x="200" y="0"/>
              </a:cxn>
              <a:cxn ang="0">
                <a:pos x="200" y="0"/>
              </a:cxn>
            </a:cxnLst>
            <a:rect l="0" t="0" r="r" b="b"/>
            <a:pathLst>
              <a:path w="400" h="662">
                <a:moveTo>
                  <a:pt x="200" y="0"/>
                </a:moveTo>
                <a:cubicBezTo>
                  <a:pt x="310" y="0"/>
                  <a:pt x="399" y="90"/>
                  <a:pt x="399" y="200"/>
                </a:cubicBezTo>
                <a:cubicBezTo>
                  <a:pt x="399" y="297"/>
                  <a:pt x="328" y="342"/>
                  <a:pt x="281" y="439"/>
                </a:cubicBezTo>
                <a:cubicBezTo>
                  <a:pt x="229" y="545"/>
                  <a:pt x="200" y="661"/>
                  <a:pt x="200" y="661"/>
                </a:cubicBezTo>
                <a:cubicBezTo>
                  <a:pt x="200" y="661"/>
                  <a:pt x="171" y="545"/>
                  <a:pt x="119" y="439"/>
                </a:cubicBezTo>
                <a:cubicBezTo>
                  <a:pt x="71" y="342"/>
                  <a:pt x="0" y="297"/>
                  <a:pt x="0" y="200"/>
                </a:cubicBezTo>
                <a:cubicBezTo>
                  <a:pt x="0" y="90"/>
                  <a:pt x="90" y="0"/>
                  <a:pt x="200" y="0"/>
                </a:cubicBezTo>
                <a:lnTo>
                  <a:pt x="200"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FontTx/>
              <a:buNone/>
            </a:pPr>
            <a:endParaRPr lang="en-US" dirty="0">
              <a:solidFill>
                <a:srgbClr val="19324B"/>
              </a:solidFill>
              <a:cs typeface="Arial" pitchFamily="34" charset="0"/>
            </a:endParaRPr>
          </a:p>
        </p:txBody>
      </p:sp>
      <p:sp>
        <p:nvSpPr>
          <p:cNvPr id="1041" name="Freeform 129">
            <a:extLst>
              <a:ext uri="{FF2B5EF4-FFF2-40B4-BE49-F238E27FC236}">
                <a16:creationId xmlns:a16="http://schemas.microsoft.com/office/drawing/2014/main" id="{136E4C43-850E-4217-A2A0-3FBD412AE137}"/>
              </a:ext>
            </a:extLst>
          </p:cNvPr>
          <p:cNvSpPr>
            <a:spLocks noChangeArrowheads="1"/>
          </p:cNvSpPr>
          <p:nvPr/>
        </p:nvSpPr>
        <p:spPr bwMode="auto">
          <a:xfrm>
            <a:off x="1115639" y="2384847"/>
            <a:ext cx="194601" cy="320769"/>
          </a:xfrm>
          <a:custGeom>
            <a:avLst/>
            <a:gdLst/>
            <a:ahLst/>
            <a:cxnLst>
              <a:cxn ang="0">
                <a:pos x="200" y="0"/>
              </a:cxn>
              <a:cxn ang="0">
                <a:pos x="399" y="199"/>
              </a:cxn>
              <a:cxn ang="0">
                <a:pos x="281" y="438"/>
              </a:cxn>
              <a:cxn ang="0">
                <a:pos x="200" y="661"/>
              </a:cxn>
              <a:cxn ang="0">
                <a:pos x="119" y="438"/>
              </a:cxn>
              <a:cxn ang="0">
                <a:pos x="0" y="199"/>
              </a:cxn>
              <a:cxn ang="0">
                <a:pos x="200" y="0"/>
              </a:cxn>
              <a:cxn ang="0">
                <a:pos x="200" y="0"/>
              </a:cxn>
            </a:cxnLst>
            <a:rect l="0" t="0" r="r" b="b"/>
            <a:pathLst>
              <a:path w="400" h="662">
                <a:moveTo>
                  <a:pt x="200" y="0"/>
                </a:moveTo>
                <a:cubicBezTo>
                  <a:pt x="310" y="0"/>
                  <a:pt x="399" y="89"/>
                  <a:pt x="399" y="199"/>
                </a:cubicBezTo>
                <a:cubicBezTo>
                  <a:pt x="399" y="297"/>
                  <a:pt x="329" y="342"/>
                  <a:pt x="281" y="438"/>
                </a:cubicBezTo>
                <a:cubicBezTo>
                  <a:pt x="229" y="545"/>
                  <a:pt x="200" y="661"/>
                  <a:pt x="200" y="661"/>
                </a:cubicBezTo>
                <a:cubicBezTo>
                  <a:pt x="200" y="661"/>
                  <a:pt x="171" y="545"/>
                  <a:pt x="119" y="438"/>
                </a:cubicBezTo>
                <a:cubicBezTo>
                  <a:pt x="71" y="342"/>
                  <a:pt x="0" y="297"/>
                  <a:pt x="0" y="199"/>
                </a:cubicBezTo>
                <a:cubicBezTo>
                  <a:pt x="0" y="89"/>
                  <a:pt x="90" y="0"/>
                  <a:pt x="200" y="0"/>
                </a:cubicBezTo>
                <a:lnTo>
                  <a:pt x="200"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dirty="0">
              <a:latin typeface="Arial" pitchFamily="34" charset="0"/>
              <a:cs typeface="Arial" pitchFamily="34" charset="0"/>
            </a:endParaRPr>
          </a:p>
        </p:txBody>
      </p:sp>
    </p:spTree>
    <p:extLst>
      <p:ext uri="{BB962C8B-B14F-4D97-AF65-F5344CB8AC3E}">
        <p14:creationId xmlns:p14="http://schemas.microsoft.com/office/powerpoint/2010/main" val="2417413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2</a:t>
            </a:fld>
            <a:endParaRPr lang="en-GB" dirty="0"/>
          </a:p>
        </p:txBody>
      </p:sp>
      <p:sp>
        <p:nvSpPr>
          <p:cNvPr id="4" name="標題 3"/>
          <p:cNvSpPr>
            <a:spLocks noGrp="1"/>
          </p:cNvSpPr>
          <p:nvPr>
            <p:ph type="title"/>
          </p:nvPr>
        </p:nvSpPr>
        <p:spPr/>
        <p:txBody>
          <a:bodyPr/>
          <a:lstStyle/>
          <a:p>
            <a:r>
              <a:rPr lang="en-US" altLang="zh-TW" dirty="0"/>
              <a:t>With a Focus on Greater China</a:t>
            </a:r>
            <a:r>
              <a:rPr lang="zh-TW" altLang="en-US" dirty="0"/>
              <a:t> </a:t>
            </a:r>
            <a:r>
              <a:rPr lang="en-US" altLang="zh-TW" dirty="0"/>
              <a:t>–</a:t>
            </a:r>
            <a:r>
              <a:rPr lang="zh-TW" altLang="en-US" dirty="0"/>
              <a:t> </a:t>
            </a:r>
            <a:r>
              <a:rPr lang="zh-TW" altLang="en-US" dirty="0">
                <a:latin typeface="微軟正黑體" panose="020B0604030504040204" pitchFamily="34" charset="-120"/>
              </a:rPr>
              <a:t>大中華區版圖</a:t>
            </a:r>
            <a:endParaRPr lang="zh-TW" altLang="en-US" dirty="0"/>
          </a:p>
        </p:txBody>
      </p:sp>
      <p:grpSp>
        <p:nvGrpSpPr>
          <p:cNvPr id="5" name="Countries Asia (shapes)"/>
          <p:cNvGrpSpPr/>
          <p:nvPr/>
        </p:nvGrpSpPr>
        <p:grpSpPr>
          <a:xfrm>
            <a:off x="1663334" y="828995"/>
            <a:ext cx="6994351" cy="5396504"/>
            <a:chOff x="3457990" y="2287474"/>
            <a:chExt cx="2708273" cy="2089573"/>
          </a:xfrm>
          <a:gradFill>
            <a:gsLst>
              <a:gs pos="0">
                <a:schemeClr val="bg1">
                  <a:lumMod val="85000"/>
                </a:schemeClr>
              </a:gs>
              <a:gs pos="100000">
                <a:srgbClr val="9D9D9D"/>
              </a:gs>
            </a:gsLst>
            <a:path path="circle">
              <a:fillToRect r="100000" b="100000"/>
            </a:path>
          </a:gradFill>
          <a:effectLst>
            <a:outerShdw blurRad="127000" dist="50800" dir="2700000" algn="tl" rotWithShape="0">
              <a:prstClr val="black">
                <a:alpha val="40000"/>
              </a:prstClr>
            </a:outerShdw>
          </a:effectLst>
        </p:grpSpPr>
        <p:sp>
          <p:nvSpPr>
            <p:cNvPr id="6" name="China (example: colored)" descr="© INSCALE GmbH, 05.05.2010&#10;http://www.presentationload.com/"/>
            <p:cNvSpPr>
              <a:spLocks noEditPoints="1"/>
            </p:cNvSpPr>
            <p:nvPr/>
          </p:nvSpPr>
          <p:spPr bwMode="gray">
            <a:xfrm>
              <a:off x="3457990" y="2287474"/>
              <a:ext cx="2708273" cy="2089573"/>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noProof="1">
                <a:cs typeface="Arial" pitchFamily="34" charset="0"/>
              </a:endParaRPr>
            </a:p>
          </p:txBody>
        </p:sp>
        <p:sp>
          <p:nvSpPr>
            <p:cNvPr id="7" name="Taiwan" descr="© INSCALE GmbH, 05.05.2010&#10;http://www.presentationload.com/"/>
            <p:cNvSpPr>
              <a:spLocks/>
            </p:cNvSpPr>
            <p:nvPr/>
          </p:nvSpPr>
          <p:spPr bwMode="gray">
            <a:xfrm>
              <a:off x="6011588" y="3956797"/>
              <a:ext cx="87552" cy="198451"/>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rgbClr val="C8C1B7"/>
            </a:solidFill>
            <a:ln w="9525" cap="rnd">
              <a:noFill/>
              <a:bevel/>
              <a:headEnd/>
              <a:tailEnd/>
            </a:ln>
            <a:effectLst/>
          </p:spPr>
          <p:txBody>
            <a:bodyPr wrap="none" anchor="ctr">
              <a:prstTxWarp prst="textNoShape">
                <a:avLst/>
              </a:prstTxWarp>
            </a:bodyPr>
            <a:lstStyle/>
            <a:p>
              <a:pPr>
                <a:buNone/>
              </a:pPr>
              <a:endParaRPr lang="en-US" noProof="1">
                <a:cs typeface="Arial" pitchFamily="34" charset="0"/>
              </a:endParaRPr>
            </a:p>
          </p:txBody>
        </p:sp>
      </p:grpSp>
      <p:sp>
        <p:nvSpPr>
          <p:cNvPr id="8" name="TextBox 5"/>
          <p:cNvSpPr txBox="1"/>
          <p:nvPr/>
        </p:nvSpPr>
        <p:spPr>
          <a:xfrm>
            <a:off x="8531286" y="5172807"/>
            <a:ext cx="2089893" cy="584775"/>
          </a:xfrm>
          <a:prstGeom prst="rect">
            <a:avLst/>
          </a:prstGeom>
          <a:noFill/>
        </p:spPr>
        <p:txBody>
          <a:bodyPr wrap="square" rtlCol="0">
            <a:spAutoFit/>
          </a:bodyPr>
          <a:lstStyle/>
          <a:p>
            <a:pPr>
              <a:buFontTx/>
              <a:buNone/>
            </a:pPr>
            <a:r>
              <a:rPr lang="en-US" sz="800" b="1" dirty="0" err="1">
                <a:solidFill>
                  <a:srgbClr val="19324B"/>
                </a:solidFill>
              </a:rPr>
              <a:t>HwaYa</a:t>
            </a:r>
            <a:r>
              <a:rPr lang="en-US" sz="800" b="1" dirty="0">
                <a:solidFill>
                  <a:srgbClr val="19324B"/>
                </a:solidFill>
              </a:rPr>
              <a:t>, </a:t>
            </a:r>
            <a:r>
              <a:rPr lang="en-US" sz="800" b="1" dirty="0" err="1">
                <a:solidFill>
                  <a:srgbClr val="19324B"/>
                </a:solidFill>
              </a:rPr>
              <a:t>Hsinchu</a:t>
            </a:r>
            <a:r>
              <a:rPr lang="en-US" sz="800" b="1" dirty="0">
                <a:solidFill>
                  <a:srgbClr val="19324B"/>
                </a:solidFill>
              </a:rPr>
              <a:t> (2 labs), </a:t>
            </a:r>
            <a:r>
              <a:rPr lang="en-US" sz="800" b="1" dirty="0" err="1">
                <a:solidFill>
                  <a:srgbClr val="19324B"/>
                </a:solidFill>
              </a:rPr>
              <a:t>Linkou</a:t>
            </a:r>
            <a:r>
              <a:rPr lang="en-US" sz="800" b="1" dirty="0">
                <a:solidFill>
                  <a:srgbClr val="19324B"/>
                </a:solidFill>
              </a:rPr>
              <a:t>, </a:t>
            </a:r>
            <a:r>
              <a:rPr lang="en-US" sz="800" b="1" dirty="0" err="1">
                <a:solidFill>
                  <a:srgbClr val="19324B"/>
                </a:solidFill>
              </a:rPr>
              <a:t>Xindian</a:t>
            </a:r>
            <a:r>
              <a:rPr lang="en-US" sz="800" b="1" dirty="0">
                <a:solidFill>
                  <a:srgbClr val="19324B"/>
                </a:solidFill>
              </a:rPr>
              <a:t>, </a:t>
            </a:r>
            <a:r>
              <a:rPr lang="en-US" sz="800" b="1" dirty="0" err="1">
                <a:solidFill>
                  <a:srgbClr val="19324B"/>
                </a:solidFill>
              </a:rPr>
              <a:t>Bangio</a:t>
            </a:r>
            <a:r>
              <a:rPr lang="en-US" sz="800" b="1" dirty="0">
                <a:solidFill>
                  <a:srgbClr val="19324B"/>
                </a:solidFill>
              </a:rPr>
              <a:t> (SO), Taiwan</a:t>
            </a:r>
          </a:p>
          <a:p>
            <a:r>
              <a:rPr lang="en-US" sz="800" dirty="0">
                <a:solidFill>
                  <a:srgbClr val="19324B"/>
                </a:solidFill>
              </a:rPr>
              <a:t>Labs: EE, Wireless, Asia KAM, SO</a:t>
            </a:r>
          </a:p>
          <a:p>
            <a:r>
              <a:rPr lang="en-US" sz="800" dirty="0">
                <a:solidFill>
                  <a:srgbClr val="19324B"/>
                </a:solidFill>
              </a:rPr>
              <a:t>CB: BSMI</a:t>
            </a:r>
          </a:p>
        </p:txBody>
      </p:sp>
      <p:sp>
        <p:nvSpPr>
          <p:cNvPr id="9" name="TextBox 6"/>
          <p:cNvSpPr txBox="1"/>
          <p:nvPr/>
        </p:nvSpPr>
        <p:spPr>
          <a:xfrm>
            <a:off x="8411921" y="5661024"/>
            <a:ext cx="1583420" cy="461665"/>
          </a:xfrm>
          <a:prstGeom prst="rect">
            <a:avLst/>
          </a:prstGeom>
          <a:noFill/>
        </p:spPr>
        <p:txBody>
          <a:bodyPr wrap="square" rtlCol="0">
            <a:spAutoFit/>
          </a:bodyPr>
          <a:lstStyle/>
          <a:p>
            <a:pPr>
              <a:buFontTx/>
              <a:buNone/>
            </a:pPr>
            <a:r>
              <a:rPr lang="en-US" sz="800" b="1" dirty="0" err="1">
                <a:solidFill>
                  <a:srgbClr val="19324B"/>
                </a:solidFill>
              </a:rPr>
              <a:t>Beitou</a:t>
            </a:r>
            <a:r>
              <a:rPr lang="en-US" sz="800" b="1" dirty="0">
                <a:solidFill>
                  <a:srgbClr val="19324B"/>
                </a:solidFill>
              </a:rPr>
              <a:t>, Taiwan</a:t>
            </a:r>
          </a:p>
          <a:p>
            <a:r>
              <a:rPr lang="en-US" sz="800" dirty="0">
                <a:solidFill>
                  <a:srgbClr val="19324B"/>
                </a:solidFill>
              </a:rPr>
              <a:t>SL,  FW, HL, Toys, Health &amp; Beauty, OO</a:t>
            </a:r>
          </a:p>
        </p:txBody>
      </p:sp>
      <p:sp>
        <p:nvSpPr>
          <p:cNvPr id="10" name="TextBox 7"/>
          <p:cNvSpPr txBox="1"/>
          <p:nvPr/>
        </p:nvSpPr>
        <p:spPr>
          <a:xfrm>
            <a:off x="8332472" y="3912007"/>
            <a:ext cx="2257890" cy="461665"/>
          </a:xfrm>
          <a:prstGeom prst="rect">
            <a:avLst/>
          </a:prstGeom>
          <a:noFill/>
        </p:spPr>
        <p:txBody>
          <a:bodyPr wrap="square" rtlCol="0">
            <a:spAutoFit/>
          </a:bodyPr>
          <a:lstStyle/>
          <a:p>
            <a:pPr>
              <a:buFontTx/>
              <a:buNone/>
            </a:pPr>
            <a:r>
              <a:rPr lang="en-US" sz="800" b="1" dirty="0">
                <a:solidFill>
                  <a:srgbClr val="19324B"/>
                </a:solidFill>
              </a:rPr>
              <a:t>Shanghai (5 labs, 1 SO)</a:t>
            </a:r>
          </a:p>
          <a:p>
            <a:r>
              <a:rPr lang="en-US" sz="800" dirty="0">
                <a:solidFill>
                  <a:srgbClr val="19324B"/>
                </a:solidFill>
              </a:rPr>
              <a:t>SL, FW, HL, Toys, EE, Auto, SO, OO</a:t>
            </a:r>
          </a:p>
          <a:p>
            <a:r>
              <a:rPr lang="en-US" sz="800" dirty="0">
                <a:solidFill>
                  <a:srgbClr val="19324B"/>
                </a:solidFill>
              </a:rPr>
              <a:t>Asia Government Relations</a:t>
            </a:r>
          </a:p>
        </p:txBody>
      </p:sp>
      <p:sp>
        <p:nvSpPr>
          <p:cNvPr id="11" name="TextBox 8"/>
          <p:cNvSpPr txBox="1"/>
          <p:nvPr/>
        </p:nvSpPr>
        <p:spPr>
          <a:xfrm>
            <a:off x="5135953" y="2809309"/>
            <a:ext cx="1863076" cy="338554"/>
          </a:xfrm>
          <a:prstGeom prst="rect">
            <a:avLst/>
          </a:prstGeom>
          <a:noFill/>
        </p:spPr>
        <p:txBody>
          <a:bodyPr wrap="square" rtlCol="0">
            <a:spAutoFit/>
          </a:bodyPr>
          <a:lstStyle/>
          <a:p>
            <a:pPr algn="r">
              <a:buFontTx/>
              <a:buNone/>
            </a:pPr>
            <a:r>
              <a:rPr lang="en-US" sz="800" b="1" dirty="0"/>
              <a:t>Beijing (2 labs, SO)</a:t>
            </a:r>
          </a:p>
          <a:p>
            <a:pPr algn="r"/>
            <a:r>
              <a:rPr lang="en-US" sz="800" dirty="0"/>
              <a:t>Wireless</a:t>
            </a:r>
          </a:p>
        </p:txBody>
      </p:sp>
      <p:sp>
        <p:nvSpPr>
          <p:cNvPr id="12" name="TextBox 9"/>
          <p:cNvSpPr txBox="1"/>
          <p:nvPr/>
        </p:nvSpPr>
        <p:spPr>
          <a:xfrm>
            <a:off x="5208901" y="5203186"/>
            <a:ext cx="2079008" cy="338554"/>
          </a:xfrm>
          <a:prstGeom prst="rect">
            <a:avLst/>
          </a:prstGeom>
          <a:noFill/>
        </p:spPr>
        <p:txBody>
          <a:bodyPr wrap="square" rtlCol="0">
            <a:spAutoFit/>
          </a:bodyPr>
          <a:lstStyle/>
          <a:p>
            <a:pPr algn="r">
              <a:buFontTx/>
              <a:buNone/>
            </a:pPr>
            <a:r>
              <a:rPr lang="en-US" sz="800" b="1" dirty="0"/>
              <a:t>Guangzhou (3 labs)</a:t>
            </a:r>
          </a:p>
          <a:p>
            <a:pPr algn="r"/>
            <a:r>
              <a:rPr lang="en-US" sz="800" dirty="0"/>
              <a:t>SL, FW, HL, Toys, EE, Auto, OO</a:t>
            </a:r>
          </a:p>
        </p:txBody>
      </p:sp>
      <p:sp>
        <p:nvSpPr>
          <p:cNvPr id="13" name="TextBox 10"/>
          <p:cNvSpPr txBox="1"/>
          <p:nvPr/>
        </p:nvSpPr>
        <p:spPr>
          <a:xfrm>
            <a:off x="5209804" y="4482734"/>
            <a:ext cx="1808393" cy="338554"/>
          </a:xfrm>
          <a:prstGeom prst="rect">
            <a:avLst/>
          </a:prstGeom>
          <a:noFill/>
        </p:spPr>
        <p:txBody>
          <a:bodyPr wrap="square" rtlCol="0">
            <a:spAutoFit/>
          </a:bodyPr>
          <a:lstStyle/>
          <a:p>
            <a:pPr algn="ctr">
              <a:buFontTx/>
              <a:buNone/>
            </a:pPr>
            <a:r>
              <a:rPr lang="en-US" sz="800" b="1" dirty="0"/>
              <a:t>Dongguan</a:t>
            </a:r>
          </a:p>
          <a:p>
            <a:pPr algn="ctr"/>
            <a:r>
              <a:rPr lang="en-US" sz="800" dirty="0"/>
              <a:t>EE, OO</a:t>
            </a:r>
          </a:p>
        </p:txBody>
      </p:sp>
      <p:sp>
        <p:nvSpPr>
          <p:cNvPr id="14" name="TextBox 11"/>
          <p:cNvSpPr txBox="1"/>
          <p:nvPr/>
        </p:nvSpPr>
        <p:spPr>
          <a:xfrm>
            <a:off x="7291372" y="5959902"/>
            <a:ext cx="3124837" cy="461665"/>
          </a:xfrm>
          <a:prstGeom prst="rect">
            <a:avLst/>
          </a:prstGeom>
          <a:noFill/>
        </p:spPr>
        <p:txBody>
          <a:bodyPr wrap="square" rtlCol="0">
            <a:spAutoFit/>
          </a:bodyPr>
          <a:lstStyle/>
          <a:p>
            <a:pPr>
              <a:buFontTx/>
              <a:buNone/>
            </a:pPr>
            <a:r>
              <a:rPr lang="en-US" sz="800" b="1" dirty="0">
                <a:solidFill>
                  <a:srgbClr val="19324B"/>
                </a:solidFill>
              </a:rPr>
              <a:t>HK (3 Labs, 1 HO/OO)</a:t>
            </a:r>
          </a:p>
          <a:p>
            <a:r>
              <a:rPr lang="en-US" sz="800" dirty="0">
                <a:solidFill>
                  <a:srgbClr val="19324B"/>
                </a:solidFill>
              </a:rPr>
              <a:t>SL, FW, HL, Toys, EE, Food, Health &amp; Beauty, OO</a:t>
            </a:r>
          </a:p>
          <a:p>
            <a:r>
              <a:rPr lang="en-US" sz="800" dirty="0">
                <a:solidFill>
                  <a:srgbClr val="19324B"/>
                </a:solidFill>
              </a:rPr>
              <a:t>HO – CPS Global</a:t>
            </a:r>
          </a:p>
        </p:txBody>
      </p:sp>
      <p:sp>
        <p:nvSpPr>
          <p:cNvPr id="15" name="TextBox 12"/>
          <p:cNvSpPr txBox="1"/>
          <p:nvPr/>
        </p:nvSpPr>
        <p:spPr>
          <a:xfrm>
            <a:off x="4832120" y="5966000"/>
            <a:ext cx="2032044" cy="461665"/>
          </a:xfrm>
          <a:prstGeom prst="rect">
            <a:avLst/>
          </a:prstGeom>
          <a:noFill/>
        </p:spPr>
        <p:txBody>
          <a:bodyPr wrap="square" rtlCol="0">
            <a:spAutoFit/>
          </a:bodyPr>
          <a:lstStyle/>
          <a:p>
            <a:pPr algn="r">
              <a:buFontTx/>
              <a:buNone/>
            </a:pPr>
            <a:r>
              <a:rPr lang="en-US" sz="800" b="1" dirty="0">
                <a:solidFill>
                  <a:srgbClr val="19324B"/>
                </a:solidFill>
              </a:rPr>
              <a:t>Shenzhen (3 labs, 1 SO/OO), China</a:t>
            </a:r>
          </a:p>
          <a:p>
            <a:pPr algn="r"/>
            <a:r>
              <a:rPr lang="en-US" sz="800" dirty="0">
                <a:solidFill>
                  <a:srgbClr val="19324B"/>
                </a:solidFill>
              </a:rPr>
              <a:t>HL, Toys, EE, Wireless, Food, Health &amp; Beauty, SO, OO</a:t>
            </a:r>
          </a:p>
        </p:txBody>
      </p:sp>
      <p:cxnSp>
        <p:nvCxnSpPr>
          <p:cNvPr id="16" name="Straight Connector 13"/>
          <p:cNvCxnSpPr>
            <a:stCxn id="13" idx="2"/>
          </p:cNvCxnSpPr>
          <p:nvPr/>
        </p:nvCxnSpPr>
        <p:spPr bwMode="auto">
          <a:xfrm>
            <a:off x="6114001" y="4821289"/>
            <a:ext cx="1370423" cy="544741"/>
          </a:xfrm>
          <a:prstGeom prst="line">
            <a:avLst/>
          </a:prstGeom>
          <a:noFill/>
          <a:ln w="12700" cap="flat" cmpd="sng" algn="ctr">
            <a:solidFill>
              <a:schemeClr val="bg1"/>
            </a:solidFill>
            <a:prstDash val="solid"/>
            <a:round/>
            <a:headEnd type="none" w="med" len="med"/>
            <a:tailEnd type="none" w="med" len="med"/>
          </a:ln>
          <a:effectLst/>
        </p:spPr>
      </p:cxnSp>
      <p:cxnSp>
        <p:nvCxnSpPr>
          <p:cNvPr id="17" name="Straight Connector 14"/>
          <p:cNvCxnSpPr>
            <a:stCxn id="15" idx="3"/>
          </p:cNvCxnSpPr>
          <p:nvPr/>
        </p:nvCxnSpPr>
        <p:spPr bwMode="auto">
          <a:xfrm flipV="1">
            <a:off x="6864164" y="5513634"/>
            <a:ext cx="698308" cy="683199"/>
          </a:xfrm>
          <a:prstGeom prst="line">
            <a:avLst/>
          </a:prstGeom>
          <a:noFill/>
          <a:ln w="12700" cap="flat" cmpd="sng" algn="ctr">
            <a:solidFill>
              <a:schemeClr val="tx1"/>
            </a:solidFill>
            <a:prstDash val="solid"/>
            <a:round/>
            <a:headEnd type="none" w="med" len="med"/>
            <a:tailEnd type="none" w="med" len="med"/>
          </a:ln>
          <a:effectLst/>
        </p:spPr>
      </p:cxnSp>
      <p:cxnSp>
        <p:nvCxnSpPr>
          <p:cNvPr id="18" name="Straight Connector 15"/>
          <p:cNvCxnSpPr/>
          <p:nvPr/>
        </p:nvCxnSpPr>
        <p:spPr bwMode="auto">
          <a:xfrm flipH="1" flipV="1">
            <a:off x="7520824" y="5709613"/>
            <a:ext cx="6451" cy="256387"/>
          </a:xfrm>
          <a:prstGeom prst="line">
            <a:avLst/>
          </a:prstGeom>
          <a:noFill/>
          <a:ln w="12700" cap="flat" cmpd="sng" algn="ctr">
            <a:solidFill>
              <a:schemeClr val="tx1"/>
            </a:solidFill>
            <a:prstDash val="solid"/>
            <a:round/>
            <a:headEnd type="none" w="med" len="med"/>
            <a:tailEnd type="none" w="med" len="med"/>
          </a:ln>
          <a:effectLst/>
        </p:spPr>
      </p:cxnSp>
      <p:sp>
        <p:nvSpPr>
          <p:cNvPr id="19" name="TextBox 16"/>
          <p:cNvSpPr txBox="1"/>
          <p:nvPr/>
        </p:nvSpPr>
        <p:spPr>
          <a:xfrm>
            <a:off x="7912190" y="3612011"/>
            <a:ext cx="1863076" cy="338554"/>
          </a:xfrm>
          <a:prstGeom prst="rect">
            <a:avLst/>
          </a:prstGeom>
          <a:noFill/>
        </p:spPr>
        <p:txBody>
          <a:bodyPr wrap="square" rtlCol="0">
            <a:spAutoFit/>
          </a:bodyPr>
          <a:lstStyle/>
          <a:p>
            <a:pPr>
              <a:buFontTx/>
              <a:buNone/>
            </a:pPr>
            <a:r>
              <a:rPr lang="en-US" sz="800" b="1" dirty="0" err="1">
                <a:solidFill>
                  <a:srgbClr val="19324B"/>
                </a:solidFill>
              </a:rPr>
              <a:t>Jiangyin</a:t>
            </a:r>
            <a:endParaRPr lang="en-US" sz="800" b="1" dirty="0">
              <a:solidFill>
                <a:srgbClr val="19324B"/>
              </a:solidFill>
            </a:endParaRPr>
          </a:p>
          <a:p>
            <a:r>
              <a:rPr lang="en-US" sz="800" dirty="0">
                <a:solidFill>
                  <a:srgbClr val="19324B"/>
                </a:solidFill>
              </a:rPr>
              <a:t>SL, OO</a:t>
            </a:r>
          </a:p>
        </p:txBody>
      </p:sp>
      <p:sp>
        <p:nvSpPr>
          <p:cNvPr id="20" name="TextBox 17"/>
          <p:cNvSpPr txBox="1"/>
          <p:nvPr/>
        </p:nvSpPr>
        <p:spPr>
          <a:xfrm>
            <a:off x="7230094" y="3552821"/>
            <a:ext cx="676894" cy="338554"/>
          </a:xfrm>
          <a:prstGeom prst="rect">
            <a:avLst/>
          </a:prstGeom>
          <a:noFill/>
        </p:spPr>
        <p:txBody>
          <a:bodyPr wrap="square" rtlCol="0">
            <a:spAutoFit/>
          </a:bodyPr>
          <a:lstStyle/>
          <a:p>
            <a:pPr algn="r">
              <a:buFontTx/>
              <a:buNone/>
            </a:pPr>
            <a:r>
              <a:rPr lang="en-US" sz="800" b="1" dirty="0"/>
              <a:t>Nanjing</a:t>
            </a:r>
          </a:p>
          <a:p>
            <a:pPr algn="r"/>
            <a:r>
              <a:rPr lang="en-US" sz="800" dirty="0"/>
              <a:t>SL. OO</a:t>
            </a:r>
          </a:p>
        </p:txBody>
      </p:sp>
      <p:sp>
        <p:nvSpPr>
          <p:cNvPr id="21" name="TextBox 18"/>
          <p:cNvSpPr txBox="1"/>
          <p:nvPr/>
        </p:nvSpPr>
        <p:spPr>
          <a:xfrm>
            <a:off x="7733579" y="3346297"/>
            <a:ext cx="1863076" cy="338554"/>
          </a:xfrm>
          <a:prstGeom prst="rect">
            <a:avLst/>
          </a:prstGeom>
          <a:noFill/>
        </p:spPr>
        <p:txBody>
          <a:bodyPr wrap="square" rtlCol="0">
            <a:spAutoFit/>
          </a:bodyPr>
          <a:lstStyle/>
          <a:p>
            <a:pPr>
              <a:buFontTx/>
              <a:buNone/>
            </a:pPr>
            <a:r>
              <a:rPr lang="en-US" sz="800" b="1" dirty="0">
                <a:solidFill>
                  <a:srgbClr val="19324B"/>
                </a:solidFill>
              </a:rPr>
              <a:t>Qingdao</a:t>
            </a:r>
          </a:p>
          <a:p>
            <a:r>
              <a:rPr lang="en-US" sz="800" dirty="0">
                <a:solidFill>
                  <a:srgbClr val="19324B"/>
                </a:solidFill>
              </a:rPr>
              <a:t>SL, HL, OO</a:t>
            </a:r>
          </a:p>
        </p:txBody>
      </p:sp>
      <p:sp>
        <p:nvSpPr>
          <p:cNvPr id="22" name="TextBox 19"/>
          <p:cNvSpPr txBox="1"/>
          <p:nvPr/>
        </p:nvSpPr>
        <p:spPr>
          <a:xfrm>
            <a:off x="5418863" y="3760326"/>
            <a:ext cx="1863076" cy="338554"/>
          </a:xfrm>
          <a:prstGeom prst="rect">
            <a:avLst/>
          </a:prstGeom>
          <a:noFill/>
        </p:spPr>
        <p:txBody>
          <a:bodyPr wrap="square" rtlCol="0">
            <a:spAutoFit/>
          </a:bodyPr>
          <a:lstStyle/>
          <a:p>
            <a:pPr algn="r">
              <a:buFontTx/>
              <a:buNone/>
            </a:pPr>
            <a:r>
              <a:rPr lang="en-US" sz="800" b="1" dirty="0"/>
              <a:t>Hefei</a:t>
            </a:r>
          </a:p>
          <a:p>
            <a:pPr algn="r"/>
            <a:r>
              <a:rPr lang="en-US" sz="800" dirty="0"/>
              <a:t>EE</a:t>
            </a:r>
          </a:p>
        </p:txBody>
      </p:sp>
      <p:sp>
        <p:nvSpPr>
          <p:cNvPr id="23" name="TextBox 20"/>
          <p:cNvSpPr txBox="1"/>
          <p:nvPr/>
        </p:nvSpPr>
        <p:spPr>
          <a:xfrm>
            <a:off x="6694716" y="4534866"/>
            <a:ext cx="1108798" cy="338554"/>
          </a:xfrm>
          <a:prstGeom prst="rect">
            <a:avLst/>
          </a:prstGeom>
          <a:noFill/>
        </p:spPr>
        <p:txBody>
          <a:bodyPr wrap="square" rtlCol="0">
            <a:spAutoFit/>
          </a:bodyPr>
          <a:lstStyle/>
          <a:p>
            <a:pPr algn="r">
              <a:buFontTx/>
              <a:buNone/>
            </a:pPr>
            <a:r>
              <a:rPr lang="en-US" sz="800" b="1" dirty="0" err="1"/>
              <a:t>Shaoxing</a:t>
            </a:r>
            <a:endParaRPr lang="en-US" sz="800" b="1" dirty="0"/>
          </a:p>
          <a:p>
            <a:pPr algn="r"/>
            <a:r>
              <a:rPr lang="en-US" sz="800" dirty="0"/>
              <a:t>SL</a:t>
            </a:r>
          </a:p>
        </p:txBody>
      </p:sp>
      <p:sp>
        <p:nvSpPr>
          <p:cNvPr id="24" name="TextBox 21"/>
          <p:cNvSpPr txBox="1"/>
          <p:nvPr/>
        </p:nvSpPr>
        <p:spPr>
          <a:xfrm>
            <a:off x="8172699" y="4630150"/>
            <a:ext cx="1863076" cy="338554"/>
          </a:xfrm>
          <a:prstGeom prst="rect">
            <a:avLst/>
          </a:prstGeom>
          <a:noFill/>
        </p:spPr>
        <p:txBody>
          <a:bodyPr wrap="square" rtlCol="0">
            <a:spAutoFit/>
          </a:bodyPr>
          <a:lstStyle/>
          <a:p>
            <a:pPr>
              <a:buFontTx/>
              <a:buNone/>
            </a:pPr>
            <a:r>
              <a:rPr lang="en-US" sz="800" b="1" dirty="0">
                <a:solidFill>
                  <a:srgbClr val="19324B"/>
                </a:solidFill>
              </a:rPr>
              <a:t>Wenzhou (2 labs)</a:t>
            </a:r>
          </a:p>
          <a:p>
            <a:r>
              <a:rPr lang="en-US" sz="800" dirty="0">
                <a:solidFill>
                  <a:srgbClr val="19324B"/>
                </a:solidFill>
              </a:rPr>
              <a:t>Footwear, EE, OO</a:t>
            </a:r>
          </a:p>
        </p:txBody>
      </p:sp>
      <p:sp>
        <p:nvSpPr>
          <p:cNvPr id="25" name="TextBox 22"/>
          <p:cNvSpPr txBox="1"/>
          <p:nvPr/>
        </p:nvSpPr>
        <p:spPr>
          <a:xfrm>
            <a:off x="7950713" y="2916928"/>
            <a:ext cx="1901747" cy="338554"/>
          </a:xfrm>
          <a:prstGeom prst="rect">
            <a:avLst/>
          </a:prstGeom>
          <a:noFill/>
        </p:spPr>
        <p:txBody>
          <a:bodyPr wrap="square" rtlCol="0">
            <a:spAutoFit/>
          </a:bodyPr>
          <a:lstStyle/>
          <a:p>
            <a:pPr>
              <a:buFontTx/>
              <a:buNone/>
            </a:pPr>
            <a:r>
              <a:rPr lang="en-US" sz="800" b="1" dirty="0">
                <a:solidFill>
                  <a:srgbClr val="19324B"/>
                </a:solidFill>
              </a:rPr>
              <a:t>Tianjin (3 Locations)</a:t>
            </a:r>
          </a:p>
          <a:p>
            <a:r>
              <a:rPr lang="en-US" sz="800" dirty="0">
                <a:solidFill>
                  <a:srgbClr val="19324B"/>
                </a:solidFill>
              </a:rPr>
              <a:t>Auto, SO, OO</a:t>
            </a:r>
          </a:p>
        </p:txBody>
      </p:sp>
      <p:cxnSp>
        <p:nvCxnSpPr>
          <p:cNvPr id="26" name="Straight Connector 23"/>
          <p:cNvCxnSpPr>
            <a:stCxn id="23" idx="3"/>
          </p:cNvCxnSpPr>
          <p:nvPr/>
        </p:nvCxnSpPr>
        <p:spPr bwMode="auto">
          <a:xfrm flipV="1">
            <a:off x="7803514" y="4614403"/>
            <a:ext cx="246894" cy="89741"/>
          </a:xfrm>
          <a:prstGeom prst="line">
            <a:avLst/>
          </a:prstGeom>
          <a:noFill/>
          <a:ln w="12700" cap="flat" cmpd="sng" algn="ctr">
            <a:solidFill>
              <a:schemeClr val="bg1"/>
            </a:solidFill>
            <a:prstDash val="solid"/>
            <a:round/>
            <a:headEnd type="none" w="med" len="med"/>
            <a:tailEnd type="none" w="med" len="med"/>
          </a:ln>
          <a:effectLst/>
        </p:spPr>
      </p:cxnSp>
      <p:sp>
        <p:nvSpPr>
          <p:cNvPr id="27" name="TextBox 24"/>
          <p:cNvSpPr txBox="1"/>
          <p:nvPr/>
        </p:nvSpPr>
        <p:spPr>
          <a:xfrm>
            <a:off x="6350843" y="4743217"/>
            <a:ext cx="1808393" cy="338554"/>
          </a:xfrm>
          <a:prstGeom prst="rect">
            <a:avLst/>
          </a:prstGeom>
          <a:noFill/>
        </p:spPr>
        <p:txBody>
          <a:bodyPr wrap="square" rtlCol="0">
            <a:spAutoFit/>
          </a:bodyPr>
          <a:lstStyle/>
          <a:p>
            <a:pPr algn="ctr">
              <a:buFontTx/>
              <a:buNone/>
            </a:pPr>
            <a:r>
              <a:rPr lang="en-US" sz="800" b="1" dirty="0"/>
              <a:t>Xiamen / </a:t>
            </a:r>
            <a:r>
              <a:rPr lang="en-US" sz="800" b="1" dirty="0" err="1"/>
              <a:t>Quanzhou</a:t>
            </a:r>
            <a:endParaRPr lang="en-US" sz="800" b="1" dirty="0"/>
          </a:p>
          <a:p>
            <a:pPr algn="ctr"/>
            <a:r>
              <a:rPr lang="en-US" sz="800" dirty="0"/>
              <a:t>EE, SL, FW, OO, SO</a:t>
            </a:r>
          </a:p>
        </p:txBody>
      </p:sp>
      <p:sp>
        <p:nvSpPr>
          <p:cNvPr id="28" name="TextBox 25"/>
          <p:cNvSpPr txBox="1"/>
          <p:nvPr/>
        </p:nvSpPr>
        <p:spPr>
          <a:xfrm>
            <a:off x="8533164" y="4280221"/>
            <a:ext cx="931538" cy="338554"/>
          </a:xfrm>
          <a:prstGeom prst="rect">
            <a:avLst/>
          </a:prstGeom>
          <a:noFill/>
        </p:spPr>
        <p:txBody>
          <a:bodyPr wrap="square" rtlCol="0">
            <a:spAutoFit/>
          </a:bodyPr>
          <a:lstStyle/>
          <a:p>
            <a:pPr>
              <a:buFontTx/>
              <a:buNone/>
            </a:pPr>
            <a:r>
              <a:rPr lang="en-US" sz="800" b="1" dirty="0" err="1">
                <a:solidFill>
                  <a:srgbClr val="19324B"/>
                </a:solidFill>
              </a:rPr>
              <a:t>Cixi</a:t>
            </a:r>
            <a:endParaRPr lang="en-US" sz="800" b="1" dirty="0">
              <a:solidFill>
                <a:srgbClr val="19324B"/>
              </a:solidFill>
            </a:endParaRPr>
          </a:p>
          <a:p>
            <a:r>
              <a:rPr lang="en-US" sz="800" dirty="0">
                <a:solidFill>
                  <a:srgbClr val="19324B"/>
                </a:solidFill>
              </a:rPr>
              <a:t>EE</a:t>
            </a:r>
          </a:p>
        </p:txBody>
      </p:sp>
      <p:cxnSp>
        <p:nvCxnSpPr>
          <p:cNvPr id="29" name="Straight Connector 26"/>
          <p:cNvCxnSpPr>
            <a:endCxn id="28" idx="1"/>
          </p:cNvCxnSpPr>
          <p:nvPr/>
        </p:nvCxnSpPr>
        <p:spPr bwMode="auto">
          <a:xfrm>
            <a:off x="8389076" y="4435234"/>
            <a:ext cx="144088" cy="14264"/>
          </a:xfrm>
          <a:prstGeom prst="line">
            <a:avLst/>
          </a:prstGeom>
          <a:noFill/>
          <a:ln w="12700" cap="flat" cmpd="sng" algn="ctr">
            <a:solidFill>
              <a:schemeClr val="tx1"/>
            </a:solidFill>
            <a:prstDash val="solid"/>
            <a:round/>
            <a:headEnd type="none" w="med" len="med"/>
            <a:tailEnd type="none" w="med" len="med"/>
          </a:ln>
          <a:effectLst/>
        </p:spPr>
      </p:cxnSp>
      <p:cxnSp>
        <p:nvCxnSpPr>
          <p:cNvPr id="30" name="Straight Connector 27"/>
          <p:cNvCxnSpPr>
            <a:endCxn id="25" idx="1"/>
          </p:cNvCxnSpPr>
          <p:nvPr/>
        </p:nvCxnSpPr>
        <p:spPr bwMode="auto">
          <a:xfrm flipV="1">
            <a:off x="7266550" y="3086206"/>
            <a:ext cx="684163" cy="3217"/>
          </a:xfrm>
          <a:prstGeom prst="line">
            <a:avLst/>
          </a:prstGeom>
          <a:noFill/>
          <a:ln w="12700" cap="flat" cmpd="sng" algn="ctr">
            <a:solidFill>
              <a:schemeClr val="tx1"/>
            </a:solidFill>
            <a:prstDash val="solid"/>
            <a:round/>
            <a:headEnd type="none" w="med" len="med"/>
            <a:tailEnd type="none" w="med" len="med"/>
          </a:ln>
          <a:effectLst/>
        </p:spPr>
      </p:cxnSp>
      <p:sp>
        <p:nvSpPr>
          <p:cNvPr id="31" name="TextBox 28"/>
          <p:cNvSpPr txBox="1"/>
          <p:nvPr/>
        </p:nvSpPr>
        <p:spPr>
          <a:xfrm>
            <a:off x="6361968" y="3207373"/>
            <a:ext cx="969353" cy="338554"/>
          </a:xfrm>
          <a:prstGeom prst="rect">
            <a:avLst/>
          </a:prstGeom>
          <a:noFill/>
        </p:spPr>
        <p:txBody>
          <a:bodyPr wrap="square" rtlCol="0">
            <a:spAutoFit/>
          </a:bodyPr>
          <a:lstStyle/>
          <a:p>
            <a:pPr algn="r">
              <a:buFontTx/>
              <a:buNone/>
            </a:pPr>
            <a:r>
              <a:rPr lang="en-US" sz="800" b="1" dirty="0"/>
              <a:t>Zibo</a:t>
            </a:r>
          </a:p>
          <a:p>
            <a:pPr algn="r"/>
            <a:r>
              <a:rPr lang="en-US" sz="800" dirty="0"/>
              <a:t>Auto, HL</a:t>
            </a:r>
          </a:p>
        </p:txBody>
      </p:sp>
      <p:sp>
        <p:nvSpPr>
          <p:cNvPr id="32" name="TextBox 29"/>
          <p:cNvSpPr txBox="1"/>
          <p:nvPr/>
        </p:nvSpPr>
        <p:spPr>
          <a:xfrm>
            <a:off x="7989421" y="4887844"/>
            <a:ext cx="1863076" cy="338554"/>
          </a:xfrm>
          <a:prstGeom prst="rect">
            <a:avLst/>
          </a:prstGeom>
          <a:noFill/>
        </p:spPr>
        <p:txBody>
          <a:bodyPr wrap="square" rtlCol="0">
            <a:spAutoFit/>
          </a:bodyPr>
          <a:lstStyle/>
          <a:p>
            <a:pPr>
              <a:buFontTx/>
              <a:buNone/>
            </a:pPr>
            <a:r>
              <a:rPr lang="en-US" sz="800" b="1" dirty="0">
                <a:solidFill>
                  <a:srgbClr val="19324B"/>
                </a:solidFill>
              </a:rPr>
              <a:t>Fuzhou</a:t>
            </a:r>
          </a:p>
          <a:p>
            <a:r>
              <a:rPr lang="en-US" sz="800" dirty="0">
                <a:solidFill>
                  <a:srgbClr val="19324B"/>
                </a:solidFill>
              </a:rPr>
              <a:t>OO</a:t>
            </a:r>
          </a:p>
        </p:txBody>
      </p:sp>
      <p:sp>
        <p:nvSpPr>
          <p:cNvPr id="33" name="TextBox 30"/>
          <p:cNvSpPr txBox="1"/>
          <p:nvPr/>
        </p:nvSpPr>
        <p:spPr>
          <a:xfrm>
            <a:off x="6719134" y="4003305"/>
            <a:ext cx="1108798" cy="338554"/>
          </a:xfrm>
          <a:prstGeom prst="rect">
            <a:avLst/>
          </a:prstGeom>
          <a:noFill/>
        </p:spPr>
        <p:txBody>
          <a:bodyPr wrap="square" rtlCol="0">
            <a:spAutoFit/>
          </a:bodyPr>
          <a:lstStyle/>
          <a:p>
            <a:pPr algn="r">
              <a:buFontTx/>
              <a:buNone/>
            </a:pPr>
            <a:r>
              <a:rPr lang="en-US" sz="800" b="1" dirty="0"/>
              <a:t>Hangzhou</a:t>
            </a:r>
          </a:p>
          <a:p>
            <a:pPr algn="r"/>
            <a:r>
              <a:rPr lang="en-US" sz="800" dirty="0"/>
              <a:t>SO, OO, CB</a:t>
            </a:r>
          </a:p>
        </p:txBody>
      </p:sp>
      <p:sp>
        <p:nvSpPr>
          <p:cNvPr id="34" name="TextBox 31"/>
          <p:cNvSpPr txBox="1"/>
          <p:nvPr/>
        </p:nvSpPr>
        <p:spPr>
          <a:xfrm>
            <a:off x="9505441" y="4420747"/>
            <a:ext cx="931538" cy="461665"/>
          </a:xfrm>
          <a:prstGeom prst="rect">
            <a:avLst/>
          </a:prstGeom>
          <a:noFill/>
        </p:spPr>
        <p:txBody>
          <a:bodyPr wrap="square" rtlCol="0">
            <a:spAutoFit/>
          </a:bodyPr>
          <a:lstStyle/>
          <a:p>
            <a:pPr>
              <a:buFontTx/>
              <a:buNone/>
            </a:pPr>
            <a:r>
              <a:rPr lang="en-US" sz="800" b="1" dirty="0">
                <a:solidFill>
                  <a:srgbClr val="19324B"/>
                </a:solidFill>
              </a:rPr>
              <a:t>Ningbo</a:t>
            </a:r>
          </a:p>
          <a:p>
            <a:r>
              <a:rPr lang="en-US" sz="800" dirty="0">
                <a:solidFill>
                  <a:srgbClr val="19324B"/>
                </a:solidFill>
              </a:rPr>
              <a:t>SL, HL, EE, SO, OO</a:t>
            </a:r>
          </a:p>
        </p:txBody>
      </p:sp>
      <p:cxnSp>
        <p:nvCxnSpPr>
          <p:cNvPr id="35" name="Straight Connector 32"/>
          <p:cNvCxnSpPr>
            <a:endCxn id="34" idx="1"/>
          </p:cNvCxnSpPr>
          <p:nvPr/>
        </p:nvCxnSpPr>
        <p:spPr bwMode="auto">
          <a:xfrm>
            <a:off x="8340299" y="4580907"/>
            <a:ext cx="1165142" cy="70672"/>
          </a:xfrm>
          <a:prstGeom prst="line">
            <a:avLst/>
          </a:prstGeom>
          <a:noFill/>
          <a:ln w="12700" cap="flat" cmpd="sng" algn="ctr">
            <a:solidFill>
              <a:schemeClr val="tx1"/>
            </a:solidFill>
            <a:prstDash val="solid"/>
            <a:round/>
            <a:headEnd type="none" w="med" len="med"/>
            <a:tailEnd type="none" w="med" len="med"/>
          </a:ln>
          <a:effectLst/>
        </p:spPr>
      </p:cxnSp>
      <p:sp>
        <p:nvSpPr>
          <p:cNvPr id="36" name="TextBox 33"/>
          <p:cNvSpPr txBox="1"/>
          <p:nvPr/>
        </p:nvSpPr>
        <p:spPr>
          <a:xfrm>
            <a:off x="6344608" y="4309988"/>
            <a:ext cx="1469725" cy="338554"/>
          </a:xfrm>
          <a:prstGeom prst="rect">
            <a:avLst/>
          </a:prstGeom>
          <a:noFill/>
        </p:spPr>
        <p:txBody>
          <a:bodyPr wrap="square" rtlCol="0">
            <a:spAutoFit/>
          </a:bodyPr>
          <a:lstStyle/>
          <a:p>
            <a:pPr algn="r">
              <a:buFontTx/>
              <a:buNone/>
            </a:pPr>
            <a:r>
              <a:rPr lang="en-US" sz="800" b="1" dirty="0" err="1"/>
              <a:t>Yiwu</a:t>
            </a:r>
            <a:r>
              <a:rPr lang="en-US" sz="800" b="1" dirty="0"/>
              <a:t> / </a:t>
            </a:r>
            <a:r>
              <a:rPr lang="en-US" sz="800" b="1" dirty="0" err="1"/>
              <a:t>Yongkang</a:t>
            </a:r>
            <a:endParaRPr lang="en-US" sz="800" b="1" dirty="0"/>
          </a:p>
          <a:p>
            <a:pPr algn="r"/>
            <a:r>
              <a:rPr lang="en-US" sz="800" dirty="0"/>
              <a:t>SO (2)</a:t>
            </a:r>
          </a:p>
        </p:txBody>
      </p:sp>
      <p:sp>
        <p:nvSpPr>
          <p:cNvPr id="37" name="TextBox 34"/>
          <p:cNvSpPr txBox="1"/>
          <p:nvPr/>
        </p:nvSpPr>
        <p:spPr>
          <a:xfrm>
            <a:off x="1744528" y="4939568"/>
            <a:ext cx="2591850" cy="276999"/>
          </a:xfrm>
          <a:prstGeom prst="rect">
            <a:avLst/>
          </a:prstGeom>
          <a:noFill/>
        </p:spPr>
        <p:txBody>
          <a:bodyPr wrap="square" rtlCol="0">
            <a:spAutoFit/>
          </a:bodyPr>
          <a:lstStyle/>
          <a:p>
            <a:pPr>
              <a:buFontTx/>
              <a:buNone/>
            </a:pPr>
            <a:r>
              <a:rPr lang="en-US" sz="1200" b="1" dirty="0">
                <a:solidFill>
                  <a:srgbClr val="19324B"/>
                </a:solidFill>
              </a:rPr>
              <a:t>Test Laboratory  </a:t>
            </a:r>
            <a:endParaRPr lang="en-US" sz="1200" dirty="0">
              <a:solidFill>
                <a:srgbClr val="19324B"/>
              </a:solidFill>
            </a:endParaRPr>
          </a:p>
        </p:txBody>
      </p:sp>
      <p:sp>
        <p:nvSpPr>
          <p:cNvPr id="38" name="TextBox 35"/>
          <p:cNvSpPr txBox="1"/>
          <p:nvPr/>
        </p:nvSpPr>
        <p:spPr>
          <a:xfrm>
            <a:off x="1744528" y="5460464"/>
            <a:ext cx="2780646" cy="1015663"/>
          </a:xfrm>
          <a:prstGeom prst="rect">
            <a:avLst/>
          </a:prstGeom>
          <a:noFill/>
        </p:spPr>
        <p:txBody>
          <a:bodyPr wrap="square" rtlCol="0">
            <a:spAutoFit/>
          </a:bodyPr>
          <a:lstStyle/>
          <a:p>
            <a:r>
              <a:rPr lang="en-US" sz="1200" b="1" dirty="0">
                <a:solidFill>
                  <a:srgbClr val="19324B"/>
                </a:solidFill>
              </a:rPr>
              <a:t>OO – IAAS Operating Office </a:t>
            </a:r>
          </a:p>
          <a:p>
            <a:r>
              <a:rPr lang="en-US" sz="1200" b="1" dirty="0">
                <a:solidFill>
                  <a:srgbClr val="19324B"/>
                </a:solidFill>
              </a:rPr>
              <a:t>SO – Sales Office with no lab </a:t>
            </a:r>
            <a:endParaRPr lang="en-US" sz="1200" b="1" dirty="0">
              <a:solidFill>
                <a:srgbClr val="19324B"/>
              </a:solidFill>
              <a:sym typeface="Wingdings"/>
            </a:endParaRPr>
          </a:p>
          <a:p>
            <a:r>
              <a:rPr lang="en-US" sz="1200" b="1" dirty="0">
                <a:solidFill>
                  <a:srgbClr val="19324B"/>
                </a:solidFill>
              </a:rPr>
              <a:t>HO – Head Office </a:t>
            </a:r>
          </a:p>
          <a:p>
            <a:r>
              <a:rPr lang="en-US" sz="1200" b="1" dirty="0">
                <a:solidFill>
                  <a:srgbClr val="19324B"/>
                </a:solidFill>
              </a:rPr>
              <a:t>CB – Homologation / Certification Body </a:t>
            </a:r>
            <a:endParaRPr lang="en-US" sz="1200" dirty="0">
              <a:solidFill>
                <a:srgbClr val="19324B"/>
              </a:solidFill>
            </a:endParaRPr>
          </a:p>
        </p:txBody>
      </p:sp>
      <p:sp>
        <p:nvSpPr>
          <p:cNvPr id="39" name="TextBox 36"/>
          <p:cNvSpPr txBox="1"/>
          <p:nvPr/>
        </p:nvSpPr>
        <p:spPr>
          <a:xfrm>
            <a:off x="6773548" y="4971822"/>
            <a:ext cx="1044553" cy="338554"/>
          </a:xfrm>
          <a:prstGeom prst="rect">
            <a:avLst/>
          </a:prstGeom>
          <a:noFill/>
        </p:spPr>
        <p:txBody>
          <a:bodyPr wrap="square" rtlCol="0">
            <a:spAutoFit/>
          </a:bodyPr>
          <a:lstStyle/>
          <a:p>
            <a:pPr algn="r">
              <a:buFontTx/>
              <a:buNone/>
            </a:pPr>
            <a:r>
              <a:rPr lang="en-US" sz="800" b="1" dirty="0"/>
              <a:t>Shantou, China</a:t>
            </a:r>
          </a:p>
          <a:p>
            <a:pPr algn="r"/>
            <a:r>
              <a:rPr lang="en-US" sz="800" dirty="0"/>
              <a:t> OO</a:t>
            </a:r>
          </a:p>
        </p:txBody>
      </p:sp>
      <p:sp>
        <p:nvSpPr>
          <p:cNvPr id="40" name="TextBox 37"/>
          <p:cNvSpPr txBox="1"/>
          <p:nvPr/>
        </p:nvSpPr>
        <p:spPr>
          <a:xfrm>
            <a:off x="5298609" y="5439500"/>
            <a:ext cx="2079008" cy="338554"/>
          </a:xfrm>
          <a:prstGeom prst="rect">
            <a:avLst/>
          </a:prstGeom>
          <a:noFill/>
        </p:spPr>
        <p:txBody>
          <a:bodyPr wrap="square" rtlCol="0">
            <a:spAutoFit/>
          </a:bodyPr>
          <a:lstStyle/>
          <a:p>
            <a:pPr algn="r">
              <a:buFontTx/>
              <a:buNone/>
            </a:pPr>
            <a:r>
              <a:rPr lang="en-US" sz="800" b="1" dirty="0" err="1"/>
              <a:t>Zhongshan</a:t>
            </a:r>
            <a:endParaRPr lang="en-US" sz="800" b="1" dirty="0"/>
          </a:p>
          <a:p>
            <a:pPr algn="r"/>
            <a:r>
              <a:rPr lang="en-US" sz="800" dirty="0"/>
              <a:t>EE</a:t>
            </a:r>
          </a:p>
        </p:txBody>
      </p:sp>
      <p:sp>
        <p:nvSpPr>
          <p:cNvPr id="41" name="Freeform 187"/>
          <p:cNvSpPr>
            <a:spLocks noChangeArrowheads="1"/>
          </p:cNvSpPr>
          <p:nvPr/>
        </p:nvSpPr>
        <p:spPr bwMode="auto">
          <a:xfrm>
            <a:off x="6922610" y="2801222"/>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2" name="Freeform 191"/>
          <p:cNvSpPr>
            <a:spLocks noChangeArrowheads="1"/>
          </p:cNvSpPr>
          <p:nvPr/>
        </p:nvSpPr>
        <p:spPr bwMode="auto">
          <a:xfrm>
            <a:off x="6970670" y="2917653"/>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3" name="Freeform 187"/>
          <p:cNvSpPr>
            <a:spLocks noChangeArrowheads="1"/>
          </p:cNvSpPr>
          <p:nvPr/>
        </p:nvSpPr>
        <p:spPr bwMode="auto">
          <a:xfrm>
            <a:off x="7006117" y="2834624"/>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4" name="Freeform 187"/>
          <p:cNvSpPr>
            <a:spLocks noChangeArrowheads="1"/>
          </p:cNvSpPr>
          <p:nvPr/>
        </p:nvSpPr>
        <p:spPr bwMode="auto">
          <a:xfrm>
            <a:off x="7067703" y="2996418"/>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5" name="Freeform 191"/>
          <p:cNvSpPr>
            <a:spLocks noChangeArrowheads="1"/>
          </p:cNvSpPr>
          <p:nvPr/>
        </p:nvSpPr>
        <p:spPr bwMode="auto">
          <a:xfrm>
            <a:off x="7129332" y="299802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6" name="Freeform 187"/>
          <p:cNvSpPr>
            <a:spLocks noChangeArrowheads="1"/>
          </p:cNvSpPr>
          <p:nvPr/>
        </p:nvSpPr>
        <p:spPr bwMode="auto">
          <a:xfrm>
            <a:off x="7266032" y="3232326"/>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7" name="Freeform 187"/>
          <p:cNvSpPr>
            <a:spLocks noChangeArrowheads="1"/>
          </p:cNvSpPr>
          <p:nvPr/>
        </p:nvSpPr>
        <p:spPr bwMode="auto">
          <a:xfrm>
            <a:off x="7349539" y="3265728"/>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8" name="Freeform 45"/>
          <p:cNvSpPr>
            <a:spLocks noChangeArrowheads="1"/>
          </p:cNvSpPr>
          <p:nvPr/>
        </p:nvSpPr>
        <p:spPr bwMode="auto">
          <a:xfrm>
            <a:off x="7630331" y="3267815"/>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49" name="Freeform 191"/>
          <p:cNvSpPr>
            <a:spLocks noChangeArrowheads="1"/>
          </p:cNvSpPr>
          <p:nvPr/>
        </p:nvSpPr>
        <p:spPr bwMode="auto">
          <a:xfrm>
            <a:off x="7197182" y="2956274"/>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0" name="Freeform 47"/>
          <p:cNvSpPr>
            <a:spLocks noChangeArrowheads="1"/>
          </p:cNvSpPr>
          <p:nvPr/>
        </p:nvSpPr>
        <p:spPr bwMode="auto">
          <a:xfrm>
            <a:off x="7232766" y="3794043"/>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1" name="Freeform 48"/>
          <p:cNvSpPr>
            <a:spLocks noChangeArrowheads="1"/>
          </p:cNvSpPr>
          <p:nvPr/>
        </p:nvSpPr>
        <p:spPr bwMode="auto">
          <a:xfrm>
            <a:off x="7564679" y="3815978"/>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2" name="Freeform 49"/>
          <p:cNvSpPr>
            <a:spLocks noChangeArrowheads="1"/>
          </p:cNvSpPr>
          <p:nvPr/>
        </p:nvSpPr>
        <p:spPr bwMode="auto">
          <a:xfrm>
            <a:off x="7871458" y="3837750"/>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3" name="Freeform 50"/>
          <p:cNvSpPr>
            <a:spLocks noChangeArrowheads="1"/>
          </p:cNvSpPr>
          <p:nvPr/>
        </p:nvSpPr>
        <p:spPr bwMode="auto">
          <a:xfrm>
            <a:off x="8007646" y="3928718"/>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4" name="Freeform 51"/>
          <p:cNvSpPr>
            <a:spLocks noChangeArrowheads="1"/>
          </p:cNvSpPr>
          <p:nvPr/>
        </p:nvSpPr>
        <p:spPr bwMode="auto">
          <a:xfrm>
            <a:off x="8182798" y="3916358"/>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5" name="Freeform 52"/>
          <p:cNvSpPr>
            <a:spLocks noChangeArrowheads="1"/>
          </p:cNvSpPr>
          <p:nvPr/>
        </p:nvSpPr>
        <p:spPr bwMode="auto">
          <a:xfrm>
            <a:off x="8003875" y="4016057"/>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6" name="Freeform 53"/>
          <p:cNvSpPr>
            <a:spLocks noChangeArrowheads="1"/>
          </p:cNvSpPr>
          <p:nvPr/>
        </p:nvSpPr>
        <p:spPr bwMode="auto">
          <a:xfrm>
            <a:off x="8086885" y="3875290"/>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7" name="Freeform 191"/>
          <p:cNvSpPr>
            <a:spLocks noChangeArrowheads="1"/>
          </p:cNvSpPr>
          <p:nvPr/>
        </p:nvSpPr>
        <p:spPr bwMode="auto">
          <a:xfrm>
            <a:off x="8095483" y="4034561"/>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8" name="Freeform 55"/>
          <p:cNvSpPr>
            <a:spLocks noChangeArrowheads="1"/>
          </p:cNvSpPr>
          <p:nvPr/>
        </p:nvSpPr>
        <p:spPr bwMode="auto">
          <a:xfrm>
            <a:off x="8187367" y="4026292"/>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59" name="Freeform 191"/>
          <p:cNvSpPr>
            <a:spLocks noChangeArrowheads="1"/>
          </p:cNvSpPr>
          <p:nvPr/>
        </p:nvSpPr>
        <p:spPr bwMode="auto">
          <a:xfrm>
            <a:off x="7754878" y="4144435"/>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0" name="Freeform 191"/>
          <p:cNvSpPr>
            <a:spLocks noChangeArrowheads="1"/>
          </p:cNvSpPr>
          <p:nvPr/>
        </p:nvSpPr>
        <p:spPr bwMode="auto">
          <a:xfrm>
            <a:off x="7816389" y="4172895"/>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1" name="Freeform 191"/>
          <p:cNvSpPr>
            <a:spLocks noChangeArrowheads="1"/>
          </p:cNvSpPr>
          <p:nvPr/>
        </p:nvSpPr>
        <p:spPr bwMode="auto">
          <a:xfrm>
            <a:off x="7704082" y="435742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2" name="Freeform 191"/>
          <p:cNvSpPr>
            <a:spLocks noChangeArrowheads="1"/>
          </p:cNvSpPr>
          <p:nvPr/>
        </p:nvSpPr>
        <p:spPr bwMode="auto">
          <a:xfrm>
            <a:off x="7833833" y="438588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3" name="Freeform 60"/>
          <p:cNvSpPr>
            <a:spLocks noChangeArrowheads="1"/>
          </p:cNvSpPr>
          <p:nvPr/>
        </p:nvSpPr>
        <p:spPr bwMode="auto">
          <a:xfrm>
            <a:off x="8262648" y="4246335"/>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4" name="Freeform 61"/>
          <p:cNvSpPr>
            <a:spLocks noChangeArrowheads="1"/>
          </p:cNvSpPr>
          <p:nvPr/>
        </p:nvSpPr>
        <p:spPr bwMode="auto">
          <a:xfrm>
            <a:off x="7990899" y="4398735"/>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5" name="Freeform 191"/>
          <p:cNvSpPr>
            <a:spLocks noChangeArrowheads="1"/>
          </p:cNvSpPr>
          <p:nvPr/>
        </p:nvSpPr>
        <p:spPr bwMode="auto">
          <a:xfrm>
            <a:off x="8154240" y="4403331"/>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6" name="Freeform 63"/>
          <p:cNvSpPr>
            <a:spLocks noChangeArrowheads="1"/>
          </p:cNvSpPr>
          <p:nvPr/>
        </p:nvSpPr>
        <p:spPr bwMode="auto">
          <a:xfrm>
            <a:off x="8217661" y="4446476"/>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7" name="Freeform 64"/>
          <p:cNvSpPr>
            <a:spLocks noChangeArrowheads="1"/>
          </p:cNvSpPr>
          <p:nvPr/>
        </p:nvSpPr>
        <p:spPr bwMode="auto">
          <a:xfrm>
            <a:off x="8031292" y="4618155"/>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8" name="Freeform 65"/>
          <p:cNvSpPr>
            <a:spLocks noChangeArrowheads="1"/>
          </p:cNvSpPr>
          <p:nvPr/>
        </p:nvSpPr>
        <p:spPr bwMode="auto">
          <a:xfrm>
            <a:off x="8081786" y="4665895"/>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69" name="Freeform 66"/>
          <p:cNvSpPr>
            <a:spLocks noChangeArrowheads="1"/>
          </p:cNvSpPr>
          <p:nvPr/>
        </p:nvSpPr>
        <p:spPr bwMode="auto">
          <a:xfrm>
            <a:off x="7861448" y="4806360"/>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0" name="Freeform 67"/>
          <p:cNvSpPr>
            <a:spLocks noChangeArrowheads="1"/>
          </p:cNvSpPr>
          <p:nvPr/>
        </p:nvSpPr>
        <p:spPr bwMode="auto">
          <a:xfrm>
            <a:off x="7950501" y="4834821"/>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1" name="Freeform 191"/>
          <p:cNvSpPr>
            <a:spLocks noChangeArrowheads="1"/>
          </p:cNvSpPr>
          <p:nvPr/>
        </p:nvSpPr>
        <p:spPr bwMode="auto">
          <a:xfrm>
            <a:off x="7844849" y="489541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2" name="Freeform 191"/>
          <p:cNvSpPr>
            <a:spLocks noChangeArrowheads="1"/>
          </p:cNvSpPr>
          <p:nvPr/>
        </p:nvSpPr>
        <p:spPr bwMode="auto">
          <a:xfrm>
            <a:off x="7906360" y="492387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3" name="Freeform 191"/>
          <p:cNvSpPr>
            <a:spLocks noChangeArrowheads="1"/>
          </p:cNvSpPr>
          <p:nvPr/>
        </p:nvSpPr>
        <p:spPr bwMode="auto">
          <a:xfrm>
            <a:off x="7777829" y="512860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4" name="Freeform 71"/>
          <p:cNvSpPr>
            <a:spLocks noChangeArrowheads="1"/>
          </p:cNvSpPr>
          <p:nvPr/>
        </p:nvSpPr>
        <p:spPr bwMode="auto">
          <a:xfrm>
            <a:off x="8239917" y="5096212"/>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5" name="Freeform 72"/>
          <p:cNvSpPr>
            <a:spLocks noChangeArrowheads="1"/>
          </p:cNvSpPr>
          <p:nvPr/>
        </p:nvSpPr>
        <p:spPr bwMode="auto">
          <a:xfrm>
            <a:off x="8236146" y="5183551"/>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6" name="Freeform 191"/>
          <p:cNvSpPr>
            <a:spLocks noChangeArrowheads="1"/>
          </p:cNvSpPr>
          <p:nvPr/>
        </p:nvSpPr>
        <p:spPr bwMode="auto">
          <a:xfrm>
            <a:off x="8327754" y="5311239"/>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7" name="Freeform 74"/>
          <p:cNvSpPr>
            <a:spLocks noChangeArrowheads="1"/>
          </p:cNvSpPr>
          <p:nvPr/>
        </p:nvSpPr>
        <p:spPr bwMode="auto">
          <a:xfrm>
            <a:off x="8419638" y="5193786"/>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8" name="Freeform 75"/>
          <p:cNvSpPr>
            <a:spLocks noChangeArrowheads="1"/>
          </p:cNvSpPr>
          <p:nvPr/>
        </p:nvSpPr>
        <p:spPr bwMode="auto">
          <a:xfrm>
            <a:off x="8376489" y="5017429"/>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79" name="Freeform 76"/>
          <p:cNvSpPr>
            <a:spLocks noChangeArrowheads="1"/>
          </p:cNvSpPr>
          <p:nvPr/>
        </p:nvSpPr>
        <p:spPr bwMode="auto">
          <a:xfrm>
            <a:off x="8415069" y="5083852"/>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0" name="Freeform 77"/>
          <p:cNvSpPr>
            <a:spLocks noChangeArrowheads="1"/>
          </p:cNvSpPr>
          <p:nvPr/>
        </p:nvSpPr>
        <p:spPr bwMode="auto">
          <a:xfrm>
            <a:off x="8319156" y="5042784"/>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1" name="Freeform 78"/>
          <p:cNvSpPr>
            <a:spLocks noChangeArrowheads="1"/>
          </p:cNvSpPr>
          <p:nvPr/>
        </p:nvSpPr>
        <p:spPr bwMode="auto">
          <a:xfrm>
            <a:off x="7410800" y="5644423"/>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2" name="Freeform 79"/>
          <p:cNvSpPr>
            <a:spLocks noChangeArrowheads="1"/>
          </p:cNvSpPr>
          <p:nvPr/>
        </p:nvSpPr>
        <p:spPr bwMode="auto">
          <a:xfrm>
            <a:off x="7514966" y="5643351"/>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3" name="Freeform 80"/>
          <p:cNvSpPr>
            <a:spLocks noChangeArrowheads="1"/>
          </p:cNvSpPr>
          <p:nvPr/>
        </p:nvSpPr>
        <p:spPr bwMode="auto">
          <a:xfrm>
            <a:off x="7238689" y="5291060"/>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4" name="Freeform 191"/>
          <p:cNvSpPr>
            <a:spLocks noChangeArrowheads="1"/>
          </p:cNvSpPr>
          <p:nvPr/>
        </p:nvSpPr>
        <p:spPr bwMode="auto">
          <a:xfrm>
            <a:off x="7359187" y="5415048"/>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5" name="Freeform 82"/>
          <p:cNvSpPr>
            <a:spLocks noChangeArrowheads="1"/>
          </p:cNvSpPr>
          <p:nvPr/>
        </p:nvSpPr>
        <p:spPr bwMode="auto">
          <a:xfrm>
            <a:off x="7451071" y="5406779"/>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6" name="Freeform 83"/>
          <p:cNvSpPr>
            <a:spLocks noChangeArrowheads="1"/>
          </p:cNvSpPr>
          <p:nvPr/>
        </p:nvSpPr>
        <p:spPr bwMode="auto">
          <a:xfrm>
            <a:off x="7407922" y="5201390"/>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7" name="Freeform 84"/>
          <p:cNvSpPr>
            <a:spLocks noChangeArrowheads="1"/>
          </p:cNvSpPr>
          <p:nvPr/>
        </p:nvSpPr>
        <p:spPr bwMode="auto">
          <a:xfrm>
            <a:off x="7471905" y="5271442"/>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8" name="Freeform 85"/>
          <p:cNvSpPr>
            <a:spLocks noChangeArrowheads="1"/>
          </p:cNvSpPr>
          <p:nvPr/>
        </p:nvSpPr>
        <p:spPr bwMode="auto">
          <a:xfrm>
            <a:off x="7516146" y="5333568"/>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89" name="Freeform 86"/>
          <p:cNvSpPr>
            <a:spLocks noChangeArrowheads="1"/>
          </p:cNvSpPr>
          <p:nvPr/>
        </p:nvSpPr>
        <p:spPr bwMode="auto">
          <a:xfrm>
            <a:off x="7289233" y="5210257"/>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0" name="Freeform 87"/>
          <p:cNvSpPr>
            <a:spLocks noChangeArrowheads="1"/>
          </p:cNvSpPr>
          <p:nvPr/>
        </p:nvSpPr>
        <p:spPr bwMode="auto">
          <a:xfrm>
            <a:off x="7271208" y="5400173"/>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1" name="Freeform 88"/>
          <p:cNvSpPr>
            <a:spLocks noChangeArrowheads="1"/>
          </p:cNvSpPr>
          <p:nvPr/>
        </p:nvSpPr>
        <p:spPr bwMode="auto">
          <a:xfrm>
            <a:off x="7350589" y="5255777"/>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2" name="Freeform 191"/>
          <p:cNvSpPr>
            <a:spLocks noChangeArrowheads="1"/>
          </p:cNvSpPr>
          <p:nvPr/>
        </p:nvSpPr>
        <p:spPr bwMode="auto">
          <a:xfrm>
            <a:off x="7420698" y="5382915"/>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3" name="Freeform 90"/>
          <p:cNvSpPr>
            <a:spLocks noChangeArrowheads="1"/>
          </p:cNvSpPr>
          <p:nvPr/>
        </p:nvSpPr>
        <p:spPr bwMode="auto">
          <a:xfrm>
            <a:off x="7456909" y="5614322"/>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4" name="Freeform 191"/>
          <p:cNvSpPr>
            <a:spLocks noChangeArrowheads="1"/>
          </p:cNvSpPr>
          <p:nvPr/>
        </p:nvSpPr>
        <p:spPr bwMode="auto">
          <a:xfrm>
            <a:off x="7462495" y="5706472"/>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5" name="Freeform 191"/>
          <p:cNvSpPr>
            <a:spLocks noChangeArrowheads="1"/>
          </p:cNvSpPr>
          <p:nvPr/>
        </p:nvSpPr>
        <p:spPr bwMode="auto">
          <a:xfrm>
            <a:off x="7743502" y="4214947"/>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6" name="Freeform 187"/>
          <p:cNvSpPr>
            <a:spLocks noChangeArrowheads="1"/>
          </p:cNvSpPr>
          <p:nvPr/>
        </p:nvSpPr>
        <p:spPr bwMode="auto">
          <a:xfrm>
            <a:off x="1576582" y="4965948"/>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7" name="Freeform 191"/>
          <p:cNvSpPr>
            <a:spLocks noChangeArrowheads="1"/>
          </p:cNvSpPr>
          <p:nvPr/>
        </p:nvSpPr>
        <p:spPr bwMode="auto">
          <a:xfrm>
            <a:off x="1576582" y="5513760"/>
            <a:ext cx="144462" cy="238125"/>
          </a:xfrm>
          <a:custGeom>
            <a:avLst/>
            <a:gdLst/>
            <a:ahLst/>
            <a:cxnLst>
              <a:cxn ang="0">
                <a:pos x="199" y="0"/>
              </a:cxn>
              <a:cxn ang="0">
                <a:pos x="399" y="199"/>
              </a:cxn>
              <a:cxn ang="0">
                <a:pos x="281" y="438"/>
              </a:cxn>
              <a:cxn ang="0">
                <a:pos x="199" y="661"/>
              </a:cxn>
              <a:cxn ang="0">
                <a:pos x="118" y="438"/>
              </a:cxn>
              <a:cxn ang="0">
                <a:pos x="0" y="199"/>
              </a:cxn>
              <a:cxn ang="0">
                <a:pos x="199" y="0"/>
              </a:cxn>
              <a:cxn ang="0">
                <a:pos x="199" y="0"/>
              </a:cxn>
            </a:cxnLst>
            <a:rect l="0" t="0" r="r" b="b"/>
            <a:pathLst>
              <a:path w="400" h="662">
                <a:moveTo>
                  <a:pt x="199" y="0"/>
                </a:moveTo>
                <a:cubicBezTo>
                  <a:pt x="309" y="0"/>
                  <a:pt x="399" y="89"/>
                  <a:pt x="399" y="199"/>
                </a:cubicBezTo>
                <a:cubicBezTo>
                  <a:pt x="399" y="297"/>
                  <a:pt x="328" y="342"/>
                  <a:pt x="281" y="438"/>
                </a:cubicBezTo>
                <a:cubicBezTo>
                  <a:pt x="228" y="544"/>
                  <a:pt x="199" y="661"/>
                  <a:pt x="199" y="661"/>
                </a:cubicBezTo>
                <a:cubicBezTo>
                  <a:pt x="199" y="661"/>
                  <a:pt x="170" y="544"/>
                  <a:pt x="118" y="438"/>
                </a:cubicBezTo>
                <a:cubicBezTo>
                  <a:pt x="71" y="342"/>
                  <a:pt x="0" y="297"/>
                  <a:pt x="0" y="199"/>
                </a:cubicBezTo>
                <a:cubicBezTo>
                  <a:pt x="0" y="89"/>
                  <a:pt x="89" y="0"/>
                  <a:pt x="199" y="0"/>
                </a:cubicBezTo>
                <a:lnTo>
                  <a:pt x="199" y="0"/>
                </a:lnTo>
              </a:path>
            </a:pathLst>
          </a:custGeom>
          <a:solidFill>
            <a:srgbClr val="5C8B76"/>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8" name="Freeform 95"/>
          <p:cNvSpPr>
            <a:spLocks noChangeArrowheads="1"/>
          </p:cNvSpPr>
          <p:nvPr/>
        </p:nvSpPr>
        <p:spPr bwMode="auto">
          <a:xfrm>
            <a:off x="6955140" y="4081477"/>
            <a:ext cx="144462" cy="238125"/>
          </a:xfrm>
          <a:custGeom>
            <a:avLst/>
            <a:gdLst/>
            <a:ahLst/>
            <a:cxnLst>
              <a:cxn ang="0">
                <a:pos x="199" y="0"/>
              </a:cxn>
              <a:cxn ang="0">
                <a:pos x="399" y="199"/>
              </a:cxn>
              <a:cxn ang="0">
                <a:pos x="280" y="439"/>
              </a:cxn>
              <a:cxn ang="0">
                <a:pos x="199" y="661"/>
              </a:cxn>
              <a:cxn ang="0">
                <a:pos x="118" y="439"/>
              </a:cxn>
              <a:cxn ang="0">
                <a:pos x="0" y="199"/>
              </a:cxn>
              <a:cxn ang="0">
                <a:pos x="199" y="0"/>
              </a:cxn>
              <a:cxn ang="0">
                <a:pos x="199" y="0"/>
              </a:cxn>
            </a:cxnLst>
            <a:rect l="0" t="0" r="r" b="b"/>
            <a:pathLst>
              <a:path w="400" h="662">
                <a:moveTo>
                  <a:pt x="199" y="0"/>
                </a:moveTo>
                <a:cubicBezTo>
                  <a:pt x="309" y="0"/>
                  <a:pt x="399" y="89"/>
                  <a:pt x="399" y="199"/>
                </a:cubicBezTo>
                <a:cubicBezTo>
                  <a:pt x="399" y="297"/>
                  <a:pt x="328" y="342"/>
                  <a:pt x="280" y="439"/>
                </a:cubicBezTo>
                <a:cubicBezTo>
                  <a:pt x="228" y="545"/>
                  <a:pt x="199" y="661"/>
                  <a:pt x="199" y="661"/>
                </a:cubicBezTo>
                <a:cubicBezTo>
                  <a:pt x="199" y="661"/>
                  <a:pt x="170" y="545"/>
                  <a:pt x="118" y="439"/>
                </a:cubicBezTo>
                <a:cubicBezTo>
                  <a:pt x="71" y="342"/>
                  <a:pt x="0" y="297"/>
                  <a:pt x="0" y="199"/>
                </a:cubicBezTo>
                <a:cubicBezTo>
                  <a:pt x="0" y="89"/>
                  <a:pt x="89" y="0"/>
                  <a:pt x="199" y="0"/>
                </a:cubicBezTo>
                <a:lnTo>
                  <a:pt x="199" y="0"/>
                </a:lnTo>
              </a:path>
            </a:pathLst>
          </a:custGeom>
          <a:solidFill>
            <a:srgbClr val="BD1839"/>
          </a:solidFill>
          <a:ln w="9525" cap="rnd">
            <a:solidFill>
              <a:schemeClr val="bg1"/>
            </a:solidFill>
            <a:bevel/>
            <a:headEnd/>
            <a:tailEnd/>
          </a:ln>
          <a:effectLst/>
        </p:spPr>
        <p:txBody>
          <a:bodyPr wrap="none" anchor="ctr">
            <a:prstTxWarp prst="textNoShape">
              <a:avLst/>
            </a:prstTxWarp>
          </a:bodyPr>
          <a:lstStyle/>
          <a:p>
            <a:pPr>
              <a:buNone/>
            </a:pPr>
            <a:endParaRPr lang="en-US">
              <a:latin typeface="Arial" pitchFamily="34" charset="0"/>
              <a:cs typeface="Arial" pitchFamily="34" charset="0"/>
            </a:endParaRPr>
          </a:p>
        </p:txBody>
      </p:sp>
      <p:sp>
        <p:nvSpPr>
          <p:cNvPr id="99" name="TextBox 96"/>
          <p:cNvSpPr txBox="1"/>
          <p:nvPr/>
        </p:nvSpPr>
        <p:spPr>
          <a:xfrm>
            <a:off x="6499765" y="4032719"/>
            <a:ext cx="530108" cy="338554"/>
          </a:xfrm>
          <a:prstGeom prst="rect">
            <a:avLst/>
          </a:prstGeom>
          <a:noFill/>
        </p:spPr>
        <p:txBody>
          <a:bodyPr wrap="square" rtlCol="0">
            <a:spAutoFit/>
          </a:bodyPr>
          <a:lstStyle/>
          <a:p>
            <a:pPr algn="r">
              <a:buFontTx/>
              <a:buNone/>
            </a:pPr>
            <a:r>
              <a:rPr lang="en-US" sz="800" b="1" dirty="0"/>
              <a:t>Wuhan</a:t>
            </a:r>
          </a:p>
          <a:p>
            <a:pPr algn="r"/>
            <a:r>
              <a:rPr lang="en-US" sz="800" dirty="0"/>
              <a:t>RS</a:t>
            </a:r>
          </a:p>
        </p:txBody>
      </p:sp>
    </p:spTree>
    <p:extLst>
      <p:ext uri="{BB962C8B-B14F-4D97-AF65-F5344CB8AC3E}">
        <p14:creationId xmlns:p14="http://schemas.microsoft.com/office/powerpoint/2010/main" val="4092417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3</a:t>
            </a:fld>
            <a:endParaRPr lang="en-GB" dirty="0"/>
          </a:p>
        </p:txBody>
      </p:sp>
      <p:sp>
        <p:nvSpPr>
          <p:cNvPr id="4" name="標題 3"/>
          <p:cNvSpPr>
            <a:spLocks noGrp="1"/>
          </p:cNvSpPr>
          <p:nvPr>
            <p:ph type="title"/>
          </p:nvPr>
        </p:nvSpPr>
        <p:spPr/>
        <p:txBody>
          <a:bodyPr/>
          <a:lstStyle/>
          <a:p>
            <a:r>
              <a:rPr lang="en-US" altLang="zh-TW" dirty="0"/>
              <a:t>Licensed to Operate – </a:t>
            </a:r>
            <a:r>
              <a:rPr lang="zh-TW" altLang="en-US" dirty="0">
                <a:latin typeface="微軟正黑體" panose="020B0604030504040204" pitchFamily="34" charset="-120"/>
              </a:rPr>
              <a:t>國際認證實驗室</a:t>
            </a:r>
            <a:endParaRPr lang="zh-TW" altLang="en-US" dirty="0"/>
          </a:p>
        </p:txBody>
      </p:sp>
      <p:pic>
        <p:nvPicPr>
          <p:cNvPr id="5"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0236" y="2301300"/>
            <a:ext cx="1497514" cy="960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19326" y="1514276"/>
            <a:ext cx="652463" cy="652463"/>
          </a:xfrm>
          <a:prstGeom prst="rect">
            <a:avLst/>
          </a:prstGeom>
          <a:noFill/>
          <a:ln w="9525">
            <a:noFill/>
            <a:round/>
            <a:headEnd/>
            <a:tailEnd/>
          </a:ln>
        </p:spPr>
      </p:pic>
      <p:pic>
        <p:nvPicPr>
          <p:cNvPr id="7"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04101" y="1514276"/>
            <a:ext cx="855663" cy="652463"/>
          </a:xfrm>
          <a:prstGeom prst="rect">
            <a:avLst/>
          </a:prstGeom>
          <a:noFill/>
          <a:ln w="9525">
            <a:noFill/>
            <a:round/>
            <a:headEnd/>
            <a:tailEnd/>
          </a:ln>
        </p:spPr>
      </p:pic>
      <p:pic>
        <p:nvPicPr>
          <p:cNvPr id="8"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57066" y="1514276"/>
            <a:ext cx="569913" cy="569913"/>
          </a:xfrm>
          <a:prstGeom prst="rect">
            <a:avLst/>
          </a:prstGeom>
          <a:noFill/>
          <a:ln w="9525">
            <a:noFill/>
            <a:round/>
            <a:headEnd/>
            <a:tailEnd/>
          </a:ln>
        </p:spPr>
      </p:pic>
      <p:pic>
        <p:nvPicPr>
          <p:cNvPr id="9" name="Picture 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416347" y="1597400"/>
            <a:ext cx="1649374" cy="374650"/>
          </a:xfrm>
          <a:prstGeom prst="rect">
            <a:avLst/>
          </a:prstGeom>
          <a:noFill/>
          <a:ln w="9525">
            <a:noFill/>
            <a:round/>
            <a:headEnd/>
            <a:tailEnd/>
          </a:ln>
        </p:spPr>
      </p:pic>
      <p:pic>
        <p:nvPicPr>
          <p:cNvPr id="10" name="Picture 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879557" y="2474131"/>
            <a:ext cx="760413" cy="488950"/>
          </a:xfrm>
          <a:prstGeom prst="rect">
            <a:avLst/>
          </a:prstGeom>
          <a:noFill/>
          <a:ln w="9525">
            <a:noFill/>
            <a:round/>
            <a:headEnd/>
            <a:tailEnd/>
          </a:ln>
        </p:spPr>
      </p:pic>
      <p:pic>
        <p:nvPicPr>
          <p:cNvPr id="11" name="Picture 9"/>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630738" y="2433266"/>
            <a:ext cx="1606540" cy="673273"/>
          </a:xfrm>
          <a:prstGeom prst="rect">
            <a:avLst/>
          </a:prstGeom>
          <a:noFill/>
          <a:ln w="9525">
            <a:noFill/>
            <a:round/>
            <a:headEnd/>
            <a:tailEnd/>
          </a:ln>
        </p:spPr>
      </p:pic>
      <p:pic>
        <p:nvPicPr>
          <p:cNvPr id="12" name="Picture 10"/>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021804" y="2301301"/>
            <a:ext cx="541337" cy="792163"/>
          </a:xfrm>
          <a:prstGeom prst="rect">
            <a:avLst/>
          </a:prstGeom>
          <a:noFill/>
          <a:ln w="9525">
            <a:noFill/>
            <a:round/>
            <a:headEnd/>
            <a:tailEnd/>
          </a:ln>
        </p:spPr>
      </p:pic>
      <p:pic>
        <p:nvPicPr>
          <p:cNvPr id="13" name="Picture 11"/>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852615" y="5000332"/>
            <a:ext cx="680182" cy="737662"/>
          </a:xfrm>
          <a:prstGeom prst="rect">
            <a:avLst/>
          </a:prstGeom>
          <a:noFill/>
          <a:ln w="9525">
            <a:noFill/>
            <a:round/>
            <a:headEnd/>
            <a:tailEnd/>
          </a:ln>
        </p:spPr>
      </p:pic>
      <p:pic>
        <p:nvPicPr>
          <p:cNvPr id="14" name="Picture 1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074863" y="2471538"/>
            <a:ext cx="939800" cy="488950"/>
          </a:xfrm>
          <a:prstGeom prst="rect">
            <a:avLst/>
          </a:prstGeom>
          <a:noFill/>
          <a:ln w="9525">
            <a:noFill/>
            <a:round/>
            <a:headEnd/>
            <a:tailEnd/>
          </a:ln>
        </p:spPr>
      </p:pic>
      <p:pic>
        <p:nvPicPr>
          <p:cNvPr id="15" name="Picture 13"/>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373438" y="2471538"/>
            <a:ext cx="747712" cy="488950"/>
          </a:xfrm>
          <a:prstGeom prst="rect">
            <a:avLst/>
          </a:prstGeom>
          <a:noFill/>
          <a:ln w="9525">
            <a:noFill/>
            <a:round/>
            <a:headEnd/>
            <a:tailEnd/>
          </a:ln>
        </p:spPr>
      </p:pic>
      <p:pic>
        <p:nvPicPr>
          <p:cNvPr id="16" name="Picture 14"/>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787750" y="4302789"/>
            <a:ext cx="1797090" cy="454819"/>
          </a:xfrm>
          <a:prstGeom prst="rect">
            <a:avLst/>
          </a:prstGeom>
          <a:noFill/>
          <a:ln w="9525">
            <a:noFill/>
            <a:round/>
            <a:headEnd/>
            <a:tailEnd/>
          </a:ln>
        </p:spPr>
      </p:pic>
      <p:pic>
        <p:nvPicPr>
          <p:cNvPr id="17" name="Picture 16"/>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917376" y="4333691"/>
            <a:ext cx="1146175" cy="488950"/>
          </a:xfrm>
          <a:prstGeom prst="rect">
            <a:avLst/>
          </a:prstGeom>
          <a:noFill/>
          <a:ln w="9525">
            <a:noFill/>
            <a:round/>
            <a:headEnd/>
            <a:tailEnd/>
          </a:ln>
        </p:spPr>
      </p:pic>
      <p:pic>
        <p:nvPicPr>
          <p:cNvPr id="18" name="Picture 17"/>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273426" y="4324166"/>
            <a:ext cx="906463" cy="527050"/>
          </a:xfrm>
          <a:prstGeom prst="rect">
            <a:avLst/>
          </a:prstGeom>
          <a:noFill/>
          <a:ln w="9525">
            <a:noFill/>
            <a:round/>
            <a:headEnd/>
            <a:tailEnd/>
          </a:ln>
        </p:spPr>
      </p:pic>
      <p:pic>
        <p:nvPicPr>
          <p:cNvPr id="19" name="Picture 18"/>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6124985" y="3369418"/>
            <a:ext cx="1198034" cy="661988"/>
          </a:xfrm>
          <a:prstGeom prst="rect">
            <a:avLst/>
          </a:prstGeom>
          <a:noFill/>
          <a:ln w="9525">
            <a:noFill/>
            <a:round/>
            <a:headEnd/>
            <a:tailEnd/>
          </a:ln>
        </p:spPr>
      </p:pic>
      <p:pic>
        <p:nvPicPr>
          <p:cNvPr id="20" name="Picture 19"/>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890149" y="3330543"/>
            <a:ext cx="622053" cy="739738"/>
          </a:xfrm>
          <a:prstGeom prst="rect">
            <a:avLst/>
          </a:prstGeom>
          <a:noFill/>
          <a:ln w="9525">
            <a:noFill/>
            <a:round/>
            <a:headEnd/>
            <a:tailEnd/>
          </a:ln>
        </p:spPr>
      </p:pic>
      <p:pic>
        <p:nvPicPr>
          <p:cNvPr id="21" name="Picture 21"/>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328988" y="3344663"/>
            <a:ext cx="838200" cy="488950"/>
          </a:xfrm>
          <a:prstGeom prst="rect">
            <a:avLst/>
          </a:prstGeom>
          <a:noFill/>
          <a:ln w="9525">
            <a:noFill/>
            <a:round/>
            <a:headEnd/>
            <a:tailEnd/>
          </a:ln>
        </p:spPr>
      </p:pic>
      <p:pic>
        <p:nvPicPr>
          <p:cNvPr id="22" name="Picture 22"/>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2214564" y="3395464"/>
            <a:ext cx="661987" cy="390525"/>
          </a:xfrm>
          <a:prstGeom prst="rect">
            <a:avLst/>
          </a:prstGeom>
          <a:noFill/>
          <a:ln w="9525">
            <a:noFill/>
            <a:round/>
            <a:headEnd/>
            <a:tailEnd/>
          </a:ln>
        </p:spPr>
      </p:pic>
      <p:pic>
        <p:nvPicPr>
          <p:cNvPr id="23" name="Picture 26"/>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730457" y="5165013"/>
            <a:ext cx="1520825" cy="390525"/>
          </a:xfrm>
          <a:prstGeom prst="rect">
            <a:avLst/>
          </a:prstGeom>
          <a:noFill/>
          <a:ln w="9525">
            <a:noFill/>
            <a:round/>
            <a:headEnd/>
            <a:tailEnd/>
          </a:ln>
        </p:spPr>
      </p:pic>
      <p:pic>
        <p:nvPicPr>
          <p:cNvPr id="24" name="Picture 27"/>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3659766" y="5238415"/>
            <a:ext cx="1040244" cy="418137"/>
          </a:xfrm>
          <a:prstGeom prst="rect">
            <a:avLst/>
          </a:prstGeom>
          <a:noFill/>
          <a:ln w="9525">
            <a:noFill/>
            <a:round/>
            <a:headEnd/>
            <a:tailEnd/>
          </a:ln>
        </p:spPr>
      </p:pic>
      <p:pic>
        <p:nvPicPr>
          <p:cNvPr id="25" name="Picture 28"/>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683125" y="4333691"/>
            <a:ext cx="602442" cy="652326"/>
          </a:xfrm>
          <a:prstGeom prst="rect">
            <a:avLst/>
          </a:prstGeom>
          <a:noFill/>
          <a:ln w="9525">
            <a:noFill/>
            <a:round/>
            <a:headEnd/>
            <a:tailEnd/>
          </a:ln>
        </p:spPr>
      </p:pic>
      <p:pic>
        <p:nvPicPr>
          <p:cNvPr id="26" name="Picture 29"/>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2180041" y="4232482"/>
            <a:ext cx="649287" cy="649287"/>
          </a:xfrm>
          <a:prstGeom prst="rect">
            <a:avLst/>
          </a:prstGeom>
          <a:noFill/>
          <a:ln w="9525">
            <a:noFill/>
            <a:round/>
            <a:headEnd/>
            <a:tailEnd/>
          </a:ln>
        </p:spPr>
      </p:pic>
      <p:pic>
        <p:nvPicPr>
          <p:cNvPr id="27" name="Picture 32"/>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2423067" y="5272655"/>
            <a:ext cx="812521" cy="413439"/>
          </a:xfrm>
          <a:prstGeom prst="rect">
            <a:avLst/>
          </a:prstGeom>
          <a:noFill/>
          <a:ln w="9525">
            <a:noFill/>
            <a:round/>
            <a:headEnd/>
            <a:tailEnd/>
          </a:ln>
        </p:spPr>
      </p:pic>
      <p:graphicFrame>
        <p:nvGraphicFramePr>
          <p:cNvPr id="28" name="物件 27"/>
          <p:cNvGraphicFramePr>
            <a:graphicFrameLocks noChangeAspect="1"/>
          </p:cNvGraphicFramePr>
          <p:nvPr>
            <p:extLst>
              <p:ext uri="{D42A27DB-BD31-4B8C-83A1-F6EECF244321}">
                <p14:modId xmlns:p14="http://schemas.microsoft.com/office/powerpoint/2010/main" val="2693491946"/>
              </p:ext>
            </p:extLst>
          </p:nvPr>
        </p:nvGraphicFramePr>
        <p:xfrm>
          <a:off x="6425189" y="4986018"/>
          <a:ext cx="870816" cy="838859"/>
        </p:xfrm>
        <a:graphic>
          <a:graphicData uri="http://schemas.openxmlformats.org/presentationml/2006/ole">
            <mc:AlternateContent xmlns:mc="http://schemas.openxmlformats.org/markup-compatibility/2006">
              <mc:Choice xmlns:v="urn:schemas-microsoft-com:vml" Requires="v">
                <p:oleObj name="點陣圖影像" r:id="rId25" imgW="1038225" imgH="1000125" progId="Paint.Picture">
                  <p:embed/>
                </p:oleObj>
              </mc:Choice>
              <mc:Fallback>
                <p:oleObj name="點陣圖影像" r:id="rId25" imgW="1038225" imgH="1000125" progId="Paint.Picture">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425189" y="4986018"/>
                        <a:ext cx="870816" cy="838859"/>
                      </a:xfrm>
                      <a:prstGeom prst="rect">
                        <a:avLst/>
                      </a:prstGeom>
                      <a:noFill/>
                    </p:spPr>
                  </p:pic>
                </p:oleObj>
              </mc:Fallback>
            </mc:AlternateContent>
          </a:graphicData>
        </a:graphic>
      </p:graphicFrame>
      <p:pic>
        <p:nvPicPr>
          <p:cNvPr id="29" name="Picture 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969679" y="5156970"/>
            <a:ext cx="1085047"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0" name="物件 29"/>
          <p:cNvGraphicFramePr>
            <a:graphicFrameLocks noChangeAspect="1"/>
          </p:cNvGraphicFramePr>
          <p:nvPr>
            <p:extLst>
              <p:ext uri="{D42A27DB-BD31-4B8C-83A1-F6EECF244321}">
                <p14:modId xmlns:p14="http://schemas.microsoft.com/office/powerpoint/2010/main" val="1756596385"/>
              </p:ext>
            </p:extLst>
          </p:nvPr>
        </p:nvGraphicFramePr>
        <p:xfrm>
          <a:off x="3133726" y="1596826"/>
          <a:ext cx="1228725" cy="390525"/>
        </p:xfrm>
        <a:graphic>
          <a:graphicData uri="http://schemas.openxmlformats.org/presentationml/2006/ole">
            <mc:AlternateContent xmlns:mc="http://schemas.openxmlformats.org/markup-compatibility/2006">
              <mc:Choice xmlns:v="urn:schemas-microsoft-com:vml" Requires="v">
                <p:oleObj name="點陣圖影像" r:id="rId28" imgW="2514600" imgH="819150" progId="Paint.Picture">
                  <p:embed/>
                </p:oleObj>
              </mc:Choice>
              <mc:Fallback>
                <p:oleObj name="點陣圖影像" r:id="rId28" imgW="2514600" imgH="819150" progId="Paint.Picture">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33726" y="1596826"/>
                        <a:ext cx="1228725" cy="390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1" name="物件 30"/>
          <p:cNvGraphicFramePr>
            <a:graphicFrameLocks noChangeAspect="1"/>
          </p:cNvGraphicFramePr>
          <p:nvPr>
            <p:extLst>
              <p:ext uri="{D42A27DB-BD31-4B8C-83A1-F6EECF244321}">
                <p14:modId xmlns:p14="http://schemas.microsoft.com/office/powerpoint/2010/main" val="1661048702"/>
              </p:ext>
            </p:extLst>
          </p:nvPr>
        </p:nvGraphicFramePr>
        <p:xfrm>
          <a:off x="4829257" y="1228526"/>
          <a:ext cx="800100" cy="962025"/>
        </p:xfrm>
        <a:graphic>
          <a:graphicData uri="http://schemas.openxmlformats.org/presentationml/2006/ole">
            <mc:AlternateContent xmlns:mc="http://schemas.openxmlformats.org/markup-compatibility/2006">
              <mc:Choice xmlns:v="urn:schemas-microsoft-com:vml" Requires="v">
                <p:oleObj name="點陣圖影像" r:id="rId30" imgW="933450" imgH="1123950" progId="Paint.Picture">
                  <p:embed/>
                </p:oleObj>
              </mc:Choice>
              <mc:Fallback>
                <p:oleObj name="點陣圖影像" r:id="rId30" imgW="933450" imgH="1123950" progId="Paint.Picture">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829257" y="1228526"/>
                        <a:ext cx="800100" cy="962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2" name="物件 31"/>
          <p:cNvGraphicFramePr>
            <a:graphicFrameLocks noChangeAspect="1"/>
          </p:cNvGraphicFramePr>
          <p:nvPr>
            <p:extLst>
              <p:ext uri="{D42A27DB-BD31-4B8C-83A1-F6EECF244321}">
                <p14:modId xmlns:p14="http://schemas.microsoft.com/office/powerpoint/2010/main" val="1555599493"/>
              </p:ext>
            </p:extLst>
          </p:nvPr>
        </p:nvGraphicFramePr>
        <p:xfrm>
          <a:off x="7778369" y="3317032"/>
          <a:ext cx="828675" cy="714375"/>
        </p:xfrm>
        <a:graphic>
          <a:graphicData uri="http://schemas.openxmlformats.org/presentationml/2006/ole">
            <mc:AlternateContent xmlns:mc="http://schemas.openxmlformats.org/markup-compatibility/2006">
              <mc:Choice xmlns:v="urn:schemas-microsoft-com:vml" Requires="v">
                <p:oleObj name="點陣圖影像" r:id="rId32" imgW="1314286" imgH="1133633" progId="Paint.Picture">
                  <p:embed/>
                </p:oleObj>
              </mc:Choice>
              <mc:Fallback>
                <p:oleObj name="點陣圖影像" r:id="rId32" imgW="1314286" imgH="1133633" progId="Paint.Picture">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778369" y="3317032"/>
                        <a:ext cx="828675" cy="7143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225558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7322322" y="2349000"/>
            <a:ext cx="4487300" cy="886397"/>
          </a:xfrm>
        </p:spPr>
        <p:txBody>
          <a:bodyPr/>
          <a:lstStyle/>
          <a:p>
            <a:r>
              <a:rPr lang="en-US" altLang="zh-TW" sz="2800" cap="none" dirty="0">
                <a:solidFill>
                  <a:srgbClr val="867D76"/>
                </a:solidFill>
                <a:latin typeface="微軟正黑體" panose="020B0604030504040204" pitchFamily="34" charset="-120"/>
              </a:rPr>
              <a:t>Bureau Veritas</a:t>
            </a:r>
            <a:endParaRPr lang="zh-TW" altLang="en-US" sz="2800" dirty="0">
              <a:solidFill>
                <a:srgbClr val="867D76"/>
              </a:solidFill>
            </a:endParaRPr>
          </a:p>
        </p:txBody>
      </p:sp>
      <p:sp>
        <p:nvSpPr>
          <p:cNvPr id="4" name="文字版面配置區 3"/>
          <p:cNvSpPr>
            <a:spLocks noGrp="1"/>
          </p:cNvSpPr>
          <p:nvPr>
            <p:ph type="body" idx="1"/>
          </p:nvPr>
        </p:nvSpPr>
        <p:spPr>
          <a:xfrm>
            <a:off x="7322322" y="3529965"/>
            <a:ext cx="4487300" cy="999262"/>
          </a:xfrm>
        </p:spPr>
        <p:txBody>
          <a:bodyPr>
            <a:normAutofit lnSpcReduction="10000"/>
          </a:bodyPr>
          <a:lstStyle/>
          <a:p>
            <a:r>
              <a:rPr lang="zh-TW" altLang="en-US" sz="2800" b="1" dirty="0">
                <a:solidFill>
                  <a:srgbClr val="CC023B"/>
                </a:solidFill>
              </a:rPr>
              <a:t> 消費性產品檢驗事業部 </a:t>
            </a:r>
            <a:endParaRPr lang="en-US" altLang="zh-TW" sz="2800" b="1" dirty="0">
              <a:solidFill>
                <a:srgbClr val="CC023B"/>
              </a:solidFill>
            </a:endParaRPr>
          </a:p>
          <a:p>
            <a:r>
              <a:rPr lang="en-US" altLang="zh-TW" sz="2800" b="1" dirty="0">
                <a:solidFill>
                  <a:srgbClr val="CC023B"/>
                </a:solidFill>
              </a:rPr>
              <a:t> </a:t>
            </a:r>
            <a:r>
              <a:rPr lang="zh-TW" altLang="en-US" sz="2800" b="1" dirty="0">
                <a:solidFill>
                  <a:srgbClr val="CC023B"/>
                </a:solidFill>
              </a:rPr>
              <a:t>台灣分公司</a:t>
            </a:r>
          </a:p>
        </p:txBody>
      </p:sp>
      <p:sp>
        <p:nvSpPr>
          <p:cNvPr id="5" name="投影片編號版面配置區 4"/>
          <p:cNvSpPr>
            <a:spLocks noGrp="1"/>
          </p:cNvSpPr>
          <p:nvPr>
            <p:ph type="sldNum" sz="quarter" idx="10"/>
          </p:nvPr>
        </p:nvSpPr>
        <p:spPr/>
        <p:txBody>
          <a:bodyPr/>
          <a:lstStyle/>
          <a:p>
            <a:r>
              <a:rPr lang="en-GB"/>
              <a:t>Slide / </a:t>
            </a:r>
            <a:fld id="{3EA6A558-C4CA-4506-B5EC-E793D5AE9532}" type="slidenum">
              <a:rPr lang="en-GB" smtClean="0"/>
              <a:pPr/>
              <a:t>14</a:t>
            </a:fld>
            <a:endParaRPr lang="en-GB" dirty="0"/>
          </a:p>
        </p:txBody>
      </p:sp>
      <p:sp>
        <p:nvSpPr>
          <p:cNvPr id="6" name="文字版面配置區 5"/>
          <p:cNvSpPr>
            <a:spLocks noGrp="1"/>
          </p:cNvSpPr>
          <p:nvPr>
            <p:ph type="body" sz="quarter" idx="12"/>
          </p:nvPr>
        </p:nvSpPr>
        <p:spPr/>
        <p:txBody>
          <a:bodyPr/>
          <a:lstStyle/>
          <a:p>
            <a:r>
              <a:rPr lang="en-US" altLang="zh-TW" dirty="0"/>
              <a:t>03</a:t>
            </a:r>
            <a:endParaRPr lang="zh-TW" altLang="en-US" dirty="0"/>
          </a:p>
        </p:txBody>
      </p:sp>
      <p:pic>
        <p:nvPicPr>
          <p:cNvPr id="8" name="圖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97248" y="180393"/>
            <a:ext cx="719999" cy="892173"/>
          </a:xfrm>
          <a:prstGeom prst="rect">
            <a:avLst/>
          </a:prstGeom>
        </p:spPr>
      </p:pic>
      <p:pic>
        <p:nvPicPr>
          <p:cNvPr id="7" name="圖片版面配置區 6"/>
          <p:cNvPicPr>
            <a:picLocks noGrp="1" noChangeAspect="1"/>
          </p:cNvPicPr>
          <p:nvPr>
            <p:ph type="pic" sz="quarter" idx="11"/>
          </p:nvPr>
        </p:nvPicPr>
        <p:blipFill rotWithShape="1">
          <a:blip r:embed="rId4" cstate="print">
            <a:extLst>
              <a:ext uri="{28A0092B-C50C-407E-A947-70E740481C1C}">
                <a14:useLocalDpi xmlns:a14="http://schemas.microsoft.com/office/drawing/2010/main" val="0"/>
              </a:ext>
            </a:extLst>
          </a:blip>
          <a:srcRect l="1986" t="-131" r="30590" b="131"/>
          <a:stretch/>
        </p:blipFill>
        <p:spPr/>
      </p:pic>
    </p:spTree>
    <p:extLst>
      <p:ext uri="{BB962C8B-B14F-4D97-AF65-F5344CB8AC3E}">
        <p14:creationId xmlns:p14="http://schemas.microsoft.com/office/powerpoint/2010/main" val="28676133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圖片 14" descr="一張含有 實驗室設備, 化學, 實驗室, 醫療設備 的圖片&#10;&#10;自動產生的描述">
            <a:extLst>
              <a:ext uri="{FF2B5EF4-FFF2-40B4-BE49-F238E27FC236}">
                <a16:creationId xmlns:a16="http://schemas.microsoft.com/office/drawing/2014/main" id="{470753C5-7F0B-C8AD-212F-EF74BA16F684}"/>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4012500" y="0"/>
            <a:ext cx="10543500" cy="7029000"/>
          </a:xfrm>
          <a:prstGeom prst="rect">
            <a:avLst/>
          </a:prstGeom>
          <a:effectLst>
            <a:softEdge rad="635000"/>
          </a:effectLst>
        </p:spPr>
      </p:pic>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5</a:t>
            </a:fld>
            <a:endParaRPr lang="en-GB" dirty="0"/>
          </a:p>
        </p:txBody>
      </p:sp>
      <p:sp>
        <p:nvSpPr>
          <p:cNvPr id="4" name="標題 3"/>
          <p:cNvSpPr>
            <a:spLocks noGrp="1"/>
          </p:cNvSpPr>
          <p:nvPr>
            <p:ph type="title"/>
          </p:nvPr>
        </p:nvSpPr>
        <p:spPr/>
        <p:txBody>
          <a:bodyPr/>
          <a:lstStyle/>
          <a:p>
            <a:r>
              <a:rPr lang="en-US" altLang="zh-CN" dirty="0">
                <a:ea typeface="微軟正黑體" panose="020B0604030504040204" pitchFamily="34" charset="-120"/>
              </a:rPr>
              <a:t>Bureau Veritas </a:t>
            </a:r>
            <a:r>
              <a:rPr lang="zh-TW" altLang="en-US" dirty="0"/>
              <a:t>台灣</a:t>
            </a:r>
          </a:p>
        </p:txBody>
      </p:sp>
      <p:sp>
        <p:nvSpPr>
          <p:cNvPr id="6" name="圓角矩形 5"/>
          <p:cNvSpPr/>
          <p:nvPr/>
        </p:nvSpPr>
        <p:spPr bwMode="auto">
          <a:xfrm>
            <a:off x="1714920" y="3981109"/>
            <a:ext cx="9061995" cy="2560796"/>
          </a:xfrm>
          <a:prstGeom prst="roundRect">
            <a:avLst/>
          </a:prstGeom>
          <a:noFill/>
          <a:ln w="22225" cap="flat" cmpd="sng" algn="ctr">
            <a:solidFill>
              <a:srgbClr val="439B7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None/>
            </a:pPr>
            <a:r>
              <a:rPr lang="zh-TW" altLang="en-US" sz="1600" b="1" u="sng" dirty="0">
                <a:solidFill>
                  <a:srgbClr val="00518E"/>
                </a:solidFill>
                <a:latin typeface="微軟正黑體" panose="020B0604030504040204" pitchFamily="34" charset="-120"/>
                <a:ea typeface="微軟正黑體" panose="020B0604030504040204" pitchFamily="34" charset="-120"/>
              </a:rPr>
              <a:t>其他事業體</a:t>
            </a:r>
            <a:endParaRPr lang="en-US" altLang="zh-TW" sz="1600" b="1" u="sng" dirty="0">
              <a:solidFill>
                <a:srgbClr val="00518E"/>
              </a:solidFill>
              <a:latin typeface="微軟正黑體" panose="020B0604030504040204" pitchFamily="34" charset="-120"/>
              <a:ea typeface="微軟正黑體" panose="020B0604030504040204" pitchFamily="34" charset="-120"/>
            </a:endParaRPr>
          </a:p>
          <a:p>
            <a:pPr>
              <a:buNone/>
            </a:pPr>
            <a:endParaRPr lang="en-US" altLang="zh-TW" sz="1300" dirty="0">
              <a:latin typeface="微軟正黑體" panose="020B0604030504040204" pitchFamily="34" charset="-120"/>
              <a:ea typeface="微軟正黑體" panose="020B0604030504040204" pitchFamily="34" charset="-120"/>
            </a:endParaRPr>
          </a:p>
          <a:p>
            <a:pPr marL="285750" indent="-285750">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法國驗船協會</a:t>
            </a:r>
            <a:endParaRPr lang="en-US" altLang="zh-TW" sz="1300" dirty="0">
              <a:latin typeface="微軟正黑體" panose="020B0604030504040204" pitchFamily="34" charset="-120"/>
              <a:ea typeface="微軟正黑體" panose="020B0604030504040204" pitchFamily="34" charset="-120"/>
            </a:endParaRPr>
          </a:p>
          <a:p>
            <a:pPr marL="285750" indent="-285750">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法立德公證有限公司</a:t>
            </a:r>
            <a:endParaRPr lang="en-US" altLang="zh-TW" sz="1300" dirty="0">
              <a:latin typeface="微軟正黑體" panose="020B0604030504040204" pitchFamily="34" charset="-120"/>
              <a:ea typeface="微軟正黑體" panose="020B0604030504040204" pitchFamily="34" charset="-120"/>
            </a:endParaRPr>
          </a:p>
          <a:p>
            <a:pPr marL="285750" indent="-285750">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台灣衛理品保有限公司</a:t>
            </a:r>
            <a:endParaRPr lang="en-US" altLang="zh-TW" sz="1300" dirty="0">
              <a:latin typeface="微軟正黑體" panose="020B0604030504040204" pitchFamily="34" charset="-120"/>
              <a:ea typeface="微軟正黑體" panose="020B0604030504040204" pitchFamily="34" charset="-120"/>
            </a:endParaRPr>
          </a:p>
          <a:p>
            <a:pPr marL="285750" indent="-285750">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電子電機產品事業部</a:t>
            </a:r>
            <a:endParaRPr lang="en-US" altLang="zh-TW" sz="1300" dirty="0">
              <a:latin typeface="微軟正黑體" panose="020B0604030504040204" pitchFamily="34" charset="-120"/>
              <a:ea typeface="微軟正黑體" panose="020B0604030504040204" pitchFamily="34" charset="-120"/>
            </a:endParaRPr>
          </a:p>
          <a:p>
            <a:pPr marL="285750" indent="-285750">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商品檢驗事業部</a:t>
            </a:r>
            <a:endParaRPr lang="en-US" altLang="zh-TW" sz="1300" dirty="0">
              <a:latin typeface="微軟正黑體" panose="020B0604030504040204" pitchFamily="34" charset="-120"/>
              <a:ea typeface="微軟正黑體" panose="020B0604030504040204" pitchFamily="34" charset="-120"/>
            </a:endParaRPr>
          </a:p>
          <a:p>
            <a:endParaRPr lang="en-US" altLang="zh-TW" sz="1600" b="1" u="sng" dirty="0">
              <a:solidFill>
                <a:srgbClr val="00518E"/>
              </a:solidFill>
              <a:latin typeface="微軟正黑體" panose="020B0604030504040204" pitchFamily="34" charset="-120"/>
              <a:ea typeface="微軟正黑體" panose="020B0604030504040204" pitchFamily="34" charset="-120"/>
            </a:endParaRPr>
          </a:p>
          <a:p>
            <a:endParaRPr lang="en-US" altLang="zh-TW" sz="1600" b="1" u="sng" dirty="0">
              <a:solidFill>
                <a:srgbClr val="00518E"/>
              </a:solidFill>
              <a:latin typeface="微軟正黑體" panose="020B0604030504040204" pitchFamily="34" charset="-120"/>
              <a:ea typeface="微軟正黑體" panose="020B0604030504040204" pitchFamily="34" charset="-120"/>
            </a:endParaRPr>
          </a:p>
          <a:p>
            <a:endParaRPr lang="en-US" altLang="zh-TW" sz="1600" b="1" u="sng" dirty="0">
              <a:solidFill>
                <a:srgbClr val="00518E"/>
              </a:solidFill>
              <a:latin typeface="微軟正黑體" panose="020B0604030504040204" pitchFamily="34" charset="-120"/>
              <a:ea typeface="微軟正黑體" panose="020B0604030504040204" pitchFamily="34" charset="-120"/>
            </a:endParaRPr>
          </a:p>
          <a:p>
            <a:pPr>
              <a:buNone/>
            </a:pPr>
            <a:endParaRPr lang="en-US" altLang="zh-TW" sz="1600" b="1" u="sng" dirty="0">
              <a:solidFill>
                <a:srgbClr val="00518E"/>
              </a:solidFill>
              <a:latin typeface="微軟正黑體" panose="020B0604030504040204" pitchFamily="34" charset="-120"/>
              <a:ea typeface="微軟正黑體" panose="020B0604030504040204" pitchFamily="34" charset="-120"/>
            </a:endParaRPr>
          </a:p>
        </p:txBody>
      </p:sp>
      <p:sp>
        <p:nvSpPr>
          <p:cNvPr id="7" name="圓角矩形 6"/>
          <p:cNvSpPr/>
          <p:nvPr/>
        </p:nvSpPr>
        <p:spPr bwMode="auto">
          <a:xfrm>
            <a:off x="1714004" y="1173624"/>
            <a:ext cx="9061995" cy="2560796"/>
          </a:xfrm>
          <a:prstGeom prst="roundRect">
            <a:avLst/>
          </a:prstGeom>
          <a:noFill/>
          <a:ln w="22225" cap="flat" cmpd="sng" algn="ctr">
            <a:solidFill>
              <a:srgbClr val="00206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ct val="90000"/>
              </a:lnSpc>
              <a:spcBef>
                <a:spcPct val="70000"/>
              </a:spcBef>
              <a:spcAft>
                <a:spcPct val="0"/>
              </a:spcAft>
            </a:pPr>
            <a:r>
              <a:rPr lang="zh-TW" altLang="en-US" sz="2400" b="1" u="sng" dirty="0">
                <a:solidFill>
                  <a:srgbClr val="00518E"/>
                </a:solidFill>
                <a:latin typeface="微軟正黑體" panose="020B0604030504040204" pitchFamily="34" charset="-120"/>
                <a:ea typeface="微軟正黑體" panose="020B0604030504040204" pitchFamily="34" charset="-120"/>
              </a:rPr>
              <a:t>消費品服務事業部</a:t>
            </a:r>
            <a:endParaRPr lang="en-US" altLang="zh-TW" sz="2400" b="1" u="sng" dirty="0">
              <a:solidFill>
                <a:srgbClr val="00518E"/>
              </a:solidFill>
              <a:latin typeface="微軟正黑體" panose="020B0604030504040204" pitchFamily="34" charset="-120"/>
              <a:ea typeface="微軟正黑體" panose="020B0604030504040204" pitchFamily="34" charset="-120"/>
            </a:endParaRPr>
          </a:p>
          <a:p>
            <a:pPr marL="285750" indent="-285750" fontAlgn="base">
              <a:lnSpc>
                <a:spcPct val="90000"/>
              </a:lnSpc>
              <a:spcBef>
                <a:spcPct val="70000"/>
              </a:spcBef>
              <a:spcAft>
                <a:spcPct val="0"/>
              </a:spcAft>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成立於</a:t>
            </a:r>
            <a:r>
              <a:rPr lang="en-US" altLang="zh-TW" sz="1300" dirty="0">
                <a:latin typeface="微軟正黑體" panose="020B0604030504040204" pitchFamily="34" charset="-120"/>
                <a:ea typeface="微軟正黑體" panose="020B0604030504040204" pitchFamily="34" charset="-120"/>
              </a:rPr>
              <a:t>1986</a:t>
            </a:r>
            <a:r>
              <a:rPr lang="zh-TW" altLang="en-US" sz="1300" dirty="0">
                <a:latin typeface="微軟正黑體" panose="020B0604030504040204" pitchFamily="34" charset="-120"/>
                <a:ea typeface="微軟正黑體" panose="020B0604030504040204" pitchFamily="34" charset="-120"/>
              </a:rPr>
              <a:t>年</a:t>
            </a:r>
            <a:endParaRPr lang="en-US" altLang="zh-TW" sz="1300" dirty="0">
              <a:latin typeface="微軟正黑體" panose="020B0604030504040204" pitchFamily="34" charset="-120"/>
              <a:ea typeface="微軟正黑體" panose="020B0604030504040204" pitchFamily="34" charset="-120"/>
            </a:endParaRPr>
          </a:p>
          <a:p>
            <a:pPr marL="285750" indent="-285750" fontAlgn="base">
              <a:lnSpc>
                <a:spcPct val="90000"/>
              </a:lnSpc>
              <a:spcBef>
                <a:spcPct val="70000"/>
              </a:spcBef>
              <a:spcAft>
                <a:spcPct val="0"/>
              </a:spcAft>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設立在台北北投區</a:t>
            </a:r>
            <a:endParaRPr lang="en-US" altLang="zh-TW" sz="1300" dirty="0">
              <a:latin typeface="微軟正黑體" panose="020B0604030504040204" pitchFamily="34" charset="-120"/>
              <a:ea typeface="微軟正黑體" panose="020B0604030504040204" pitchFamily="34" charset="-120"/>
            </a:endParaRPr>
          </a:p>
          <a:p>
            <a:pPr marL="285750" indent="-285750">
              <a:buFont typeface="Wingdings" panose="05000000000000000000" pitchFamily="2" charset="2"/>
              <a:buChar char="ü"/>
            </a:pPr>
            <a:r>
              <a:rPr lang="zh-TW" altLang="en-US" sz="1300" dirty="0">
                <a:latin typeface="微軟正黑體" panose="020B0604030504040204" pitchFamily="34" charset="-120"/>
                <a:ea typeface="微軟正黑體" panose="020B0604030504040204" pitchFamily="34" charset="-120"/>
              </a:rPr>
              <a:t>業務範圍包含</a:t>
            </a:r>
            <a:r>
              <a:rPr lang="en-US" altLang="zh-TW" sz="1300" dirty="0">
                <a:latin typeface="微軟正黑體" panose="020B0604030504040204" pitchFamily="34" charset="-120"/>
                <a:ea typeface="微軟正黑體" panose="020B0604030504040204" pitchFamily="34" charset="-120"/>
              </a:rPr>
              <a:t>:</a:t>
            </a:r>
            <a:br>
              <a:rPr lang="en-US" altLang="zh-TW" sz="1300" dirty="0">
                <a:latin typeface="微軟正黑體" panose="020B0604030504040204" pitchFamily="34" charset="-120"/>
                <a:ea typeface="微軟正黑體" panose="020B0604030504040204" pitchFamily="34" charset="-120"/>
              </a:rPr>
            </a:br>
            <a:r>
              <a:rPr lang="zh-TW" altLang="en-US" sz="1300" dirty="0">
                <a:latin typeface="微軟正黑體" panose="020B0604030504040204" pitchFamily="34" charset="-120"/>
                <a:ea typeface="微軟正黑體" panose="020B0604030504040204" pitchFamily="34" charset="-120"/>
              </a:rPr>
              <a:t>四大實驗室</a:t>
            </a:r>
            <a:r>
              <a:rPr lang="en-US" altLang="zh-TW" sz="1300" dirty="0">
                <a:latin typeface="微軟正黑體" panose="020B0604030504040204" pitchFamily="34" charset="-120"/>
                <a:ea typeface="微軟正黑體" panose="020B0604030504040204" pitchFamily="34" charset="-120"/>
              </a:rPr>
              <a:t>:</a:t>
            </a:r>
            <a:r>
              <a:rPr lang="zh-TW" altLang="en-US" sz="1300" dirty="0">
                <a:latin typeface="微軟正黑體" panose="020B0604030504040204" pitchFamily="34" charset="-120"/>
                <a:ea typeface="微軟正黑體" panose="020B0604030504040204" pitchFamily="34" charset="-120"/>
              </a:rPr>
              <a:t> 紡織品、雜貨、化學及微生物</a:t>
            </a:r>
            <a:br>
              <a:rPr lang="en-US" altLang="zh-TW" sz="1300" dirty="0">
                <a:latin typeface="微軟正黑體" panose="020B0604030504040204" pitchFamily="34" charset="-120"/>
                <a:ea typeface="微軟正黑體" panose="020B0604030504040204" pitchFamily="34" charset="-120"/>
              </a:rPr>
            </a:br>
            <a:r>
              <a:rPr lang="zh-TW" altLang="en-US" sz="1300" dirty="0">
                <a:latin typeface="微軟正黑體" panose="020B0604030504040204" pitchFamily="34" charset="-120"/>
                <a:ea typeface="微軟正黑體" panose="020B0604030504040204" pitchFamily="34" charset="-120"/>
              </a:rPr>
              <a:t>驗貨服務</a:t>
            </a:r>
            <a:r>
              <a:rPr lang="en-US" altLang="zh-TW" sz="1300" dirty="0">
                <a:latin typeface="微軟正黑體" panose="020B0604030504040204" pitchFamily="34" charset="-120"/>
                <a:ea typeface="微軟正黑體" panose="020B0604030504040204" pitchFamily="34" charset="-120"/>
              </a:rPr>
              <a:t>—</a:t>
            </a:r>
            <a:r>
              <a:rPr lang="zh-TW" altLang="en-US" sz="1300" dirty="0">
                <a:latin typeface="微軟正黑體" panose="020B0604030504040204" pitchFamily="34" charset="-120"/>
                <a:ea typeface="微軟正黑體" panose="020B0604030504040204" pitchFamily="34" charset="-120"/>
              </a:rPr>
              <a:t>檢驗、稽核</a:t>
            </a:r>
            <a:r>
              <a:rPr lang="en-US" altLang="zh-TW" sz="1300" dirty="0">
                <a:latin typeface="微軟正黑體" panose="020B0604030504040204" pitchFamily="34" charset="-120"/>
                <a:ea typeface="微軟正黑體" panose="020B0604030504040204" pitchFamily="34" charset="-120"/>
              </a:rPr>
              <a:t>&amp;</a:t>
            </a:r>
            <a:r>
              <a:rPr lang="zh-TW" altLang="en-US" sz="1300" dirty="0">
                <a:latin typeface="微軟正黑體" panose="020B0604030504040204" pitchFamily="34" charset="-120"/>
                <a:ea typeface="微軟正黑體" panose="020B0604030504040204" pitchFamily="34" charset="-120"/>
              </a:rPr>
              <a:t>評估</a:t>
            </a:r>
            <a:endParaRPr lang="en-US" altLang="zh-TW" sz="1300" dirty="0">
              <a:latin typeface="微軟正黑體" panose="020B0604030504040204" pitchFamily="34" charset="-120"/>
              <a:ea typeface="微軟正黑體" panose="020B0604030504040204" pitchFamily="34" charset="-120"/>
            </a:endParaRPr>
          </a:p>
          <a:p>
            <a:br>
              <a:rPr lang="en-US" altLang="zh-TW" sz="1400" dirty="0">
                <a:latin typeface="微軟正黑體" panose="020B0604030504040204" pitchFamily="34" charset="-120"/>
                <a:ea typeface="微軟正黑體" panose="020B0604030504040204" pitchFamily="34" charset="-120"/>
              </a:rPr>
            </a:br>
            <a:endParaRPr lang="en-US" altLang="zh-TW" sz="1400"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4043569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6</a:t>
            </a:fld>
            <a:endParaRPr lang="en-GB" dirty="0"/>
          </a:p>
        </p:txBody>
      </p:sp>
      <p:sp>
        <p:nvSpPr>
          <p:cNvPr id="4" name="標題 3"/>
          <p:cNvSpPr>
            <a:spLocks noGrp="1"/>
          </p:cNvSpPr>
          <p:nvPr>
            <p:ph type="title"/>
          </p:nvPr>
        </p:nvSpPr>
        <p:spPr/>
        <p:txBody>
          <a:bodyPr/>
          <a:lstStyle/>
          <a:p>
            <a:r>
              <a:rPr lang="en-US" altLang="zh-TW" dirty="0"/>
              <a:t>Consumer Products Services, Taiwan</a:t>
            </a:r>
            <a:br>
              <a:rPr lang="en-US" altLang="zh-TW" dirty="0"/>
            </a:br>
            <a:r>
              <a:rPr lang="zh-TW" altLang="en-US" dirty="0">
                <a:solidFill>
                  <a:schemeClr val="tx1">
                    <a:lumMod val="75000"/>
                  </a:schemeClr>
                </a:solidFill>
                <a:latin typeface="微軟正黑體" panose="020B0604030504040204" pitchFamily="34" charset="-120"/>
              </a:rPr>
              <a:t>消費性產品事業部  台灣分公司</a:t>
            </a:r>
            <a:br>
              <a:rPr lang="zh-TW" altLang="en-US" dirty="0">
                <a:solidFill>
                  <a:schemeClr val="hlink"/>
                </a:solidFill>
                <a:latin typeface="微軟正黑體" panose="020B0604030504040204" pitchFamily="34" charset="-120"/>
              </a:rPr>
            </a:br>
            <a:endParaRPr lang="zh-TW" altLang="en-US" dirty="0"/>
          </a:p>
        </p:txBody>
      </p:sp>
      <p:pic>
        <p:nvPicPr>
          <p:cNvPr id="5" name="Picture 117"/>
          <p:cNvPicPr>
            <a:picLocks noChangeAspect="1" noChangeArrowheads="1"/>
          </p:cNvPicPr>
          <p:nvPr/>
        </p:nvPicPr>
        <p:blipFill>
          <a:blip r:embed="rId2"/>
          <a:srcRect/>
          <a:stretch>
            <a:fillRect/>
          </a:stretch>
        </p:blipFill>
        <p:spPr bwMode="auto">
          <a:xfrm>
            <a:off x="3905335" y="4939898"/>
            <a:ext cx="1872000" cy="1294355"/>
          </a:xfrm>
          <a:prstGeom prst="rect">
            <a:avLst/>
          </a:prstGeom>
          <a:noFill/>
          <a:ln w="9525">
            <a:noFill/>
            <a:miter lim="800000"/>
            <a:headEnd/>
            <a:tailEnd/>
          </a:ln>
        </p:spPr>
      </p:pic>
      <p:pic>
        <p:nvPicPr>
          <p:cNvPr id="6" name="Picture 115"/>
          <p:cNvPicPr>
            <a:picLocks noChangeAspect="1" noChangeArrowheads="1"/>
          </p:cNvPicPr>
          <p:nvPr/>
        </p:nvPicPr>
        <p:blipFill>
          <a:blip r:embed="rId3"/>
          <a:srcRect/>
          <a:stretch>
            <a:fillRect/>
          </a:stretch>
        </p:blipFill>
        <p:spPr bwMode="auto">
          <a:xfrm>
            <a:off x="3906294" y="3247308"/>
            <a:ext cx="1852797" cy="1349803"/>
          </a:xfrm>
          <a:prstGeom prst="rect">
            <a:avLst/>
          </a:prstGeom>
          <a:noFill/>
          <a:ln w="9525">
            <a:noFill/>
            <a:miter lim="800000"/>
            <a:headEnd/>
            <a:tailEnd/>
          </a:ln>
        </p:spPr>
      </p:pic>
      <p:pic>
        <p:nvPicPr>
          <p:cNvPr id="7" name="Picture 111"/>
          <p:cNvPicPr>
            <a:picLocks noChangeAspect="1" noChangeArrowheads="1"/>
          </p:cNvPicPr>
          <p:nvPr/>
        </p:nvPicPr>
        <p:blipFill>
          <a:blip r:embed="rId4"/>
          <a:srcRect/>
          <a:stretch>
            <a:fillRect/>
          </a:stretch>
        </p:blipFill>
        <p:spPr bwMode="auto">
          <a:xfrm>
            <a:off x="1994310" y="4919550"/>
            <a:ext cx="1872502" cy="1296000"/>
          </a:xfrm>
          <a:prstGeom prst="rect">
            <a:avLst/>
          </a:prstGeom>
          <a:noFill/>
          <a:ln w="9525">
            <a:noFill/>
            <a:miter lim="800000"/>
            <a:headEnd/>
            <a:tailEnd/>
          </a:ln>
        </p:spPr>
      </p:pic>
      <p:pic>
        <p:nvPicPr>
          <p:cNvPr id="8" name="Picture 110"/>
          <p:cNvPicPr>
            <a:picLocks noChangeAspect="1" noChangeArrowheads="1"/>
          </p:cNvPicPr>
          <p:nvPr/>
        </p:nvPicPr>
        <p:blipFill>
          <a:blip r:embed="rId5"/>
          <a:srcRect/>
          <a:stretch>
            <a:fillRect/>
          </a:stretch>
        </p:blipFill>
        <p:spPr bwMode="auto">
          <a:xfrm>
            <a:off x="2018192" y="3255867"/>
            <a:ext cx="1797920" cy="1296000"/>
          </a:xfrm>
          <a:prstGeom prst="rect">
            <a:avLst/>
          </a:prstGeom>
          <a:noFill/>
          <a:ln w="9525">
            <a:noFill/>
            <a:miter lim="800000"/>
            <a:headEnd/>
            <a:tailEnd/>
          </a:ln>
        </p:spPr>
      </p:pic>
      <p:sp>
        <p:nvSpPr>
          <p:cNvPr id="9" name="Freeform 36"/>
          <p:cNvSpPr>
            <a:spLocks noChangeArrowheads="1"/>
          </p:cNvSpPr>
          <p:nvPr/>
        </p:nvSpPr>
        <p:spPr bwMode="auto">
          <a:xfrm>
            <a:off x="2022956" y="4543030"/>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a:latin typeface="Arial" pitchFamily="34" charset="0"/>
              <a:cs typeface="Arial" pitchFamily="34" charset="0"/>
            </a:endParaRPr>
          </a:p>
        </p:txBody>
      </p:sp>
      <p:grpSp>
        <p:nvGrpSpPr>
          <p:cNvPr id="10" name="Group 29"/>
          <p:cNvGrpSpPr/>
          <p:nvPr/>
        </p:nvGrpSpPr>
        <p:grpSpPr>
          <a:xfrm>
            <a:off x="9627764" y="5696438"/>
            <a:ext cx="352425" cy="265113"/>
            <a:chOff x="8250238" y="5215351"/>
            <a:chExt cx="352425" cy="265113"/>
          </a:xfrm>
        </p:grpSpPr>
        <p:sp>
          <p:nvSpPr>
            <p:cNvPr id="11" name="Freeform 50"/>
            <p:cNvSpPr>
              <a:spLocks noChangeArrowheads="1"/>
            </p:cNvSpPr>
            <p:nvPr/>
          </p:nvSpPr>
          <p:spPr bwMode="auto">
            <a:xfrm>
              <a:off x="8283576" y="5215351"/>
              <a:ext cx="287337" cy="158750"/>
            </a:xfrm>
            <a:custGeom>
              <a:avLst/>
              <a:gdLst>
                <a:gd name="T0" fmla="*/ 81 w 800"/>
                <a:gd name="T1" fmla="*/ 310 h 440"/>
                <a:gd name="T2" fmla="*/ 81 w 800"/>
                <a:gd name="T3" fmla="*/ 439 h 440"/>
                <a:gd name="T4" fmla="*/ 144 w 800"/>
                <a:gd name="T5" fmla="*/ 413 h 440"/>
                <a:gd name="T6" fmla="*/ 662 w 800"/>
                <a:gd name="T7" fmla="*/ 413 h 440"/>
                <a:gd name="T8" fmla="*/ 714 w 800"/>
                <a:gd name="T9" fmla="*/ 433 h 440"/>
                <a:gd name="T10" fmla="*/ 714 w 800"/>
                <a:gd name="T11" fmla="*/ 310 h 440"/>
                <a:gd name="T12" fmla="*/ 763 w 800"/>
                <a:gd name="T13" fmla="*/ 261 h 440"/>
                <a:gd name="T14" fmla="*/ 799 w 800"/>
                <a:gd name="T15" fmla="*/ 261 h 440"/>
                <a:gd name="T16" fmla="*/ 799 w 800"/>
                <a:gd name="T17" fmla="*/ 168 h 440"/>
                <a:gd name="T18" fmla="*/ 631 w 800"/>
                <a:gd name="T19" fmla="*/ 0 h 440"/>
                <a:gd name="T20" fmla="*/ 168 w 800"/>
                <a:gd name="T21" fmla="*/ 0 h 440"/>
                <a:gd name="T22" fmla="*/ 0 w 800"/>
                <a:gd name="T23" fmla="*/ 168 h 440"/>
                <a:gd name="T24" fmla="*/ 0 w 800"/>
                <a:gd name="T25" fmla="*/ 261 h 440"/>
                <a:gd name="T26" fmla="*/ 32 w 800"/>
                <a:gd name="T27" fmla="*/ 261 h 440"/>
                <a:gd name="T28" fmla="*/ 81 w 800"/>
                <a:gd name="T29" fmla="*/ 31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0" h="440">
                  <a:moveTo>
                    <a:pt x="81" y="310"/>
                  </a:moveTo>
                  <a:lnTo>
                    <a:pt x="81" y="439"/>
                  </a:lnTo>
                  <a:cubicBezTo>
                    <a:pt x="98" y="424"/>
                    <a:pt x="121" y="413"/>
                    <a:pt x="144" y="413"/>
                  </a:cubicBezTo>
                  <a:lnTo>
                    <a:pt x="662" y="413"/>
                  </a:lnTo>
                  <a:cubicBezTo>
                    <a:pt x="682" y="413"/>
                    <a:pt x="700" y="421"/>
                    <a:pt x="714" y="433"/>
                  </a:cubicBezTo>
                  <a:lnTo>
                    <a:pt x="714" y="310"/>
                  </a:lnTo>
                  <a:cubicBezTo>
                    <a:pt x="714" y="283"/>
                    <a:pt x="736" y="261"/>
                    <a:pt x="763" y="261"/>
                  </a:cubicBezTo>
                  <a:lnTo>
                    <a:pt x="799" y="261"/>
                  </a:lnTo>
                  <a:lnTo>
                    <a:pt x="799" y="168"/>
                  </a:lnTo>
                  <a:cubicBezTo>
                    <a:pt x="799" y="76"/>
                    <a:pt x="724" y="0"/>
                    <a:pt x="631" y="0"/>
                  </a:cubicBezTo>
                  <a:lnTo>
                    <a:pt x="168" y="0"/>
                  </a:lnTo>
                  <a:cubicBezTo>
                    <a:pt x="75" y="0"/>
                    <a:pt x="0" y="76"/>
                    <a:pt x="0" y="168"/>
                  </a:cubicBezTo>
                  <a:lnTo>
                    <a:pt x="0" y="261"/>
                  </a:lnTo>
                  <a:lnTo>
                    <a:pt x="32" y="261"/>
                  </a:lnTo>
                  <a:cubicBezTo>
                    <a:pt x="59" y="261"/>
                    <a:pt x="81" y="283"/>
                    <a:pt x="81" y="31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2" name="Freeform 51"/>
            <p:cNvSpPr>
              <a:spLocks noChangeArrowheads="1"/>
            </p:cNvSpPr>
            <p:nvPr/>
          </p:nvSpPr>
          <p:spPr bwMode="auto">
            <a:xfrm>
              <a:off x="8312151" y="5436014"/>
              <a:ext cx="228600" cy="42862"/>
            </a:xfrm>
            <a:custGeom>
              <a:avLst/>
              <a:gdLst>
                <a:gd name="T0" fmla="*/ 606 w 634"/>
                <a:gd name="T1" fmla="*/ 1 h 120"/>
                <a:gd name="T2" fmla="*/ 31 w 634"/>
                <a:gd name="T3" fmla="*/ 1 h 120"/>
                <a:gd name="T4" fmla="*/ 0 w 634"/>
                <a:gd name="T5" fmla="*/ 0 h 120"/>
                <a:gd name="T6" fmla="*/ 0 w 634"/>
                <a:gd name="T7" fmla="*/ 95 h 120"/>
                <a:gd name="T8" fmla="*/ 0 w 634"/>
                <a:gd name="T9" fmla="*/ 119 h 120"/>
                <a:gd name="T10" fmla="*/ 633 w 634"/>
                <a:gd name="T11" fmla="*/ 118 h 120"/>
                <a:gd name="T12" fmla="*/ 633 w 634"/>
                <a:gd name="T13" fmla="*/ 0 h 120"/>
                <a:gd name="T14" fmla="*/ 606 w 634"/>
                <a:gd name="T15" fmla="*/ 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4" h="120">
                  <a:moveTo>
                    <a:pt x="606" y="1"/>
                  </a:moveTo>
                  <a:lnTo>
                    <a:pt x="31" y="1"/>
                  </a:lnTo>
                  <a:cubicBezTo>
                    <a:pt x="18" y="1"/>
                    <a:pt x="8" y="1"/>
                    <a:pt x="0" y="0"/>
                  </a:cubicBezTo>
                  <a:lnTo>
                    <a:pt x="0" y="95"/>
                  </a:lnTo>
                  <a:lnTo>
                    <a:pt x="0" y="119"/>
                  </a:lnTo>
                  <a:lnTo>
                    <a:pt x="633" y="118"/>
                  </a:lnTo>
                  <a:lnTo>
                    <a:pt x="633" y="0"/>
                  </a:lnTo>
                  <a:cubicBezTo>
                    <a:pt x="625" y="1"/>
                    <a:pt x="617" y="1"/>
                    <a:pt x="606" y="1"/>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3" name="Freeform 52"/>
            <p:cNvSpPr>
              <a:spLocks noChangeArrowheads="1"/>
            </p:cNvSpPr>
            <p:nvPr/>
          </p:nvSpPr>
          <p:spPr bwMode="auto">
            <a:xfrm>
              <a:off x="8312151" y="5409026"/>
              <a:ext cx="228600" cy="14288"/>
            </a:xfrm>
            <a:custGeom>
              <a:avLst/>
              <a:gdLst>
                <a:gd name="T0" fmla="*/ 86 w 633"/>
                <a:gd name="T1" fmla="*/ 20 h 38"/>
                <a:gd name="T2" fmla="*/ 0 w 633"/>
                <a:gd name="T3" fmla="*/ 0 h 38"/>
                <a:gd name="T4" fmla="*/ 1 w 633"/>
                <a:gd name="T5" fmla="*/ 37 h 38"/>
                <a:gd name="T6" fmla="*/ 632 w 633"/>
                <a:gd name="T7" fmla="*/ 37 h 38"/>
                <a:gd name="T8" fmla="*/ 632 w 633"/>
                <a:gd name="T9" fmla="*/ 1 h 38"/>
                <a:gd name="T10" fmla="*/ 549 w 633"/>
                <a:gd name="T11" fmla="*/ 20 h 38"/>
                <a:gd name="T12" fmla="*/ 86 w 633"/>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633" h="38">
                  <a:moveTo>
                    <a:pt x="86" y="20"/>
                  </a:moveTo>
                  <a:cubicBezTo>
                    <a:pt x="55" y="20"/>
                    <a:pt x="26" y="13"/>
                    <a:pt x="0" y="0"/>
                  </a:cubicBezTo>
                  <a:cubicBezTo>
                    <a:pt x="1" y="14"/>
                    <a:pt x="1" y="27"/>
                    <a:pt x="1" y="37"/>
                  </a:cubicBezTo>
                  <a:lnTo>
                    <a:pt x="632" y="37"/>
                  </a:lnTo>
                  <a:lnTo>
                    <a:pt x="632" y="1"/>
                  </a:lnTo>
                  <a:cubicBezTo>
                    <a:pt x="607" y="13"/>
                    <a:pt x="579" y="20"/>
                    <a:pt x="549" y="20"/>
                  </a:cubicBezTo>
                  <a:lnTo>
                    <a:pt x="86" y="2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4" name="Freeform 53"/>
            <p:cNvSpPr>
              <a:spLocks noChangeArrowheads="1"/>
            </p:cNvSpPr>
            <p:nvPr/>
          </p:nvSpPr>
          <p:spPr bwMode="auto">
            <a:xfrm>
              <a:off x="8312151" y="5372514"/>
              <a:ext cx="228600" cy="33337"/>
            </a:xfrm>
            <a:custGeom>
              <a:avLst/>
              <a:gdLst>
                <a:gd name="T0" fmla="*/ 550 w 634"/>
                <a:gd name="T1" fmla="*/ 93 h 94"/>
                <a:gd name="T2" fmla="*/ 633 w 634"/>
                <a:gd name="T3" fmla="*/ 71 h 94"/>
                <a:gd name="T4" fmla="*/ 633 w 634"/>
                <a:gd name="T5" fmla="*/ 34 h 94"/>
                <a:gd name="T6" fmla="*/ 582 w 634"/>
                <a:gd name="T7" fmla="*/ 0 h 94"/>
                <a:gd name="T8" fmla="*/ 63 w 634"/>
                <a:gd name="T9" fmla="*/ 0 h 94"/>
                <a:gd name="T10" fmla="*/ 0 w 634"/>
                <a:gd name="T11" fmla="*/ 45 h 94"/>
                <a:gd name="T12" fmla="*/ 0 w 634"/>
                <a:gd name="T13" fmla="*/ 68 h 94"/>
                <a:gd name="T14" fmla="*/ 87 w 634"/>
                <a:gd name="T15" fmla="*/ 93 h 94"/>
                <a:gd name="T16" fmla="*/ 550 w 634"/>
                <a:gd name="T1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4" h="94">
                  <a:moveTo>
                    <a:pt x="550" y="93"/>
                  </a:moveTo>
                  <a:cubicBezTo>
                    <a:pt x="580" y="93"/>
                    <a:pt x="608" y="85"/>
                    <a:pt x="633" y="71"/>
                  </a:cubicBezTo>
                  <a:lnTo>
                    <a:pt x="633" y="34"/>
                  </a:lnTo>
                  <a:cubicBezTo>
                    <a:pt x="624" y="20"/>
                    <a:pt x="604" y="0"/>
                    <a:pt x="582" y="0"/>
                  </a:cubicBezTo>
                  <a:lnTo>
                    <a:pt x="63" y="0"/>
                  </a:lnTo>
                  <a:cubicBezTo>
                    <a:pt x="31" y="0"/>
                    <a:pt x="0" y="33"/>
                    <a:pt x="0" y="45"/>
                  </a:cubicBezTo>
                  <a:cubicBezTo>
                    <a:pt x="0" y="50"/>
                    <a:pt x="0" y="59"/>
                    <a:pt x="0" y="68"/>
                  </a:cubicBezTo>
                  <a:cubicBezTo>
                    <a:pt x="26" y="84"/>
                    <a:pt x="55" y="93"/>
                    <a:pt x="87" y="93"/>
                  </a:cubicBezTo>
                  <a:lnTo>
                    <a:pt x="550" y="93"/>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5" name="Freeform 54"/>
            <p:cNvSpPr>
              <a:spLocks noChangeArrowheads="1"/>
            </p:cNvSpPr>
            <p:nvPr/>
          </p:nvSpPr>
          <p:spPr bwMode="auto">
            <a:xfrm>
              <a:off x="8312151" y="5402676"/>
              <a:ext cx="228600" cy="12700"/>
            </a:xfrm>
            <a:custGeom>
              <a:avLst/>
              <a:gdLst>
                <a:gd name="T0" fmla="*/ 549 w 633"/>
                <a:gd name="T1" fmla="*/ 21 h 36"/>
                <a:gd name="T2" fmla="*/ 86 w 633"/>
                <a:gd name="T3" fmla="*/ 21 h 36"/>
                <a:gd name="T4" fmla="*/ 0 w 633"/>
                <a:gd name="T5" fmla="*/ 0 h 36"/>
                <a:gd name="T6" fmla="*/ 0 w 633"/>
                <a:gd name="T7" fmla="*/ 5 h 36"/>
                <a:gd name="T8" fmla="*/ 0 w 633"/>
                <a:gd name="T9" fmla="*/ 15 h 36"/>
                <a:gd name="T10" fmla="*/ 86 w 633"/>
                <a:gd name="T11" fmla="*/ 35 h 36"/>
                <a:gd name="T12" fmla="*/ 549 w 633"/>
                <a:gd name="T13" fmla="*/ 35 h 36"/>
                <a:gd name="T14" fmla="*/ 632 w 633"/>
                <a:gd name="T15" fmla="*/ 16 h 36"/>
                <a:gd name="T16" fmla="*/ 632 w 633"/>
                <a:gd name="T17" fmla="*/ 2 h 36"/>
                <a:gd name="T18" fmla="*/ 549 w 633"/>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3" h="36">
                  <a:moveTo>
                    <a:pt x="549" y="21"/>
                  </a:moveTo>
                  <a:lnTo>
                    <a:pt x="86" y="21"/>
                  </a:lnTo>
                  <a:cubicBezTo>
                    <a:pt x="55" y="21"/>
                    <a:pt x="25" y="14"/>
                    <a:pt x="0" y="0"/>
                  </a:cubicBezTo>
                  <a:cubicBezTo>
                    <a:pt x="0" y="1"/>
                    <a:pt x="0" y="3"/>
                    <a:pt x="0" y="5"/>
                  </a:cubicBezTo>
                  <a:cubicBezTo>
                    <a:pt x="0" y="8"/>
                    <a:pt x="0" y="12"/>
                    <a:pt x="0" y="15"/>
                  </a:cubicBezTo>
                  <a:cubicBezTo>
                    <a:pt x="26" y="28"/>
                    <a:pt x="55" y="35"/>
                    <a:pt x="86" y="35"/>
                  </a:cubicBezTo>
                  <a:lnTo>
                    <a:pt x="549" y="35"/>
                  </a:lnTo>
                  <a:cubicBezTo>
                    <a:pt x="579" y="35"/>
                    <a:pt x="607" y="28"/>
                    <a:pt x="632" y="16"/>
                  </a:cubicBezTo>
                  <a:lnTo>
                    <a:pt x="632" y="2"/>
                  </a:lnTo>
                  <a:cubicBezTo>
                    <a:pt x="607" y="14"/>
                    <a:pt x="579" y="21"/>
                    <a:pt x="549" y="21"/>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6" name="Freeform 55"/>
            <p:cNvSpPr>
              <a:spLocks noChangeArrowheads="1"/>
            </p:cNvSpPr>
            <p:nvPr/>
          </p:nvSpPr>
          <p:spPr bwMode="auto">
            <a:xfrm>
              <a:off x="8312151" y="5396326"/>
              <a:ext cx="228600" cy="14288"/>
            </a:xfrm>
            <a:custGeom>
              <a:avLst/>
              <a:gdLst>
                <a:gd name="T0" fmla="*/ 87 w 634"/>
                <a:gd name="T1" fmla="*/ 38 h 39"/>
                <a:gd name="T2" fmla="*/ 550 w 634"/>
                <a:gd name="T3" fmla="*/ 38 h 39"/>
                <a:gd name="T4" fmla="*/ 633 w 634"/>
                <a:gd name="T5" fmla="*/ 19 h 39"/>
                <a:gd name="T6" fmla="*/ 633 w 634"/>
                <a:gd name="T7" fmla="*/ 3 h 39"/>
                <a:gd name="T8" fmla="*/ 550 w 634"/>
                <a:gd name="T9" fmla="*/ 25 h 39"/>
                <a:gd name="T10" fmla="*/ 87 w 634"/>
                <a:gd name="T11" fmla="*/ 25 h 39"/>
                <a:gd name="T12" fmla="*/ 0 w 634"/>
                <a:gd name="T13" fmla="*/ 0 h 39"/>
                <a:gd name="T14" fmla="*/ 1 w 634"/>
                <a:gd name="T15" fmla="*/ 17 h 39"/>
                <a:gd name="T16" fmla="*/ 87 w 634"/>
                <a:gd name="T17"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4" h="39">
                  <a:moveTo>
                    <a:pt x="87" y="38"/>
                  </a:moveTo>
                  <a:lnTo>
                    <a:pt x="550" y="38"/>
                  </a:lnTo>
                  <a:cubicBezTo>
                    <a:pt x="580" y="38"/>
                    <a:pt x="608" y="31"/>
                    <a:pt x="633" y="19"/>
                  </a:cubicBezTo>
                  <a:lnTo>
                    <a:pt x="633" y="3"/>
                  </a:lnTo>
                  <a:cubicBezTo>
                    <a:pt x="608" y="17"/>
                    <a:pt x="580" y="25"/>
                    <a:pt x="550" y="25"/>
                  </a:cubicBezTo>
                  <a:lnTo>
                    <a:pt x="87" y="25"/>
                  </a:lnTo>
                  <a:cubicBezTo>
                    <a:pt x="55" y="25"/>
                    <a:pt x="26" y="16"/>
                    <a:pt x="0" y="0"/>
                  </a:cubicBezTo>
                  <a:cubicBezTo>
                    <a:pt x="0" y="6"/>
                    <a:pt x="1" y="11"/>
                    <a:pt x="1" y="17"/>
                  </a:cubicBezTo>
                  <a:cubicBezTo>
                    <a:pt x="26" y="31"/>
                    <a:pt x="56" y="38"/>
                    <a:pt x="87" y="38"/>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7" name="Freeform 56"/>
            <p:cNvSpPr>
              <a:spLocks noChangeArrowheads="1"/>
            </p:cNvSpPr>
            <p:nvPr/>
          </p:nvSpPr>
          <p:spPr bwMode="auto">
            <a:xfrm>
              <a:off x="8313738" y="5421726"/>
              <a:ext cx="227013" cy="4763"/>
            </a:xfrm>
            <a:custGeom>
              <a:avLst/>
              <a:gdLst>
                <a:gd name="T0" fmla="*/ 0 w 632"/>
                <a:gd name="T1" fmla="*/ 5 h 14"/>
                <a:gd name="T2" fmla="*/ 0 w 632"/>
                <a:gd name="T3" fmla="*/ 13 h 14"/>
                <a:gd name="T4" fmla="*/ 9 w 632"/>
                <a:gd name="T5" fmla="*/ 13 h 14"/>
                <a:gd name="T6" fmla="*/ 625 w 632"/>
                <a:gd name="T7" fmla="*/ 13 h 14"/>
                <a:gd name="T8" fmla="*/ 631 w 632"/>
                <a:gd name="T9" fmla="*/ 13 h 14"/>
                <a:gd name="T10" fmla="*/ 631 w 632"/>
                <a:gd name="T11" fmla="*/ 0 h 14"/>
                <a:gd name="T12" fmla="*/ 0 w 632"/>
                <a:gd name="T13" fmla="*/ 0 h 14"/>
                <a:gd name="T14" fmla="*/ 0 w 632"/>
                <a:gd name="T15" fmla="*/ 5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2" h="14">
                  <a:moveTo>
                    <a:pt x="0" y="5"/>
                  </a:moveTo>
                  <a:cubicBezTo>
                    <a:pt x="0" y="8"/>
                    <a:pt x="0" y="11"/>
                    <a:pt x="0" y="13"/>
                  </a:cubicBezTo>
                  <a:lnTo>
                    <a:pt x="9" y="13"/>
                  </a:lnTo>
                  <a:lnTo>
                    <a:pt x="625" y="13"/>
                  </a:lnTo>
                  <a:lnTo>
                    <a:pt x="631" y="13"/>
                  </a:lnTo>
                  <a:lnTo>
                    <a:pt x="631" y="0"/>
                  </a:lnTo>
                  <a:lnTo>
                    <a:pt x="0" y="0"/>
                  </a:lnTo>
                  <a:cubicBezTo>
                    <a:pt x="0" y="1"/>
                    <a:pt x="0" y="3"/>
                    <a:pt x="0" y="5"/>
                  </a:cubicBez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8" name="Freeform 57"/>
            <p:cNvSpPr>
              <a:spLocks noChangeArrowheads="1"/>
            </p:cNvSpPr>
            <p:nvPr/>
          </p:nvSpPr>
          <p:spPr bwMode="auto">
            <a:xfrm>
              <a:off x="8537576" y="5426489"/>
              <a:ext cx="3175" cy="1587"/>
            </a:xfrm>
            <a:custGeom>
              <a:avLst/>
              <a:gdLst>
                <a:gd name="T0" fmla="*/ 0 w 7"/>
                <a:gd name="T1" fmla="*/ 0 h 2"/>
                <a:gd name="T2" fmla="*/ 6 w 7"/>
                <a:gd name="T3" fmla="*/ 1 h 2"/>
                <a:gd name="T4" fmla="*/ 6 w 7"/>
                <a:gd name="T5" fmla="*/ 1 h 2"/>
                <a:gd name="T6" fmla="*/ 6 w 7"/>
                <a:gd name="T7" fmla="*/ 0 h 2"/>
                <a:gd name="T8" fmla="*/ 0 w 7"/>
                <a:gd name="T9" fmla="*/ 0 h 2"/>
              </a:gdLst>
              <a:ahLst/>
              <a:cxnLst>
                <a:cxn ang="0">
                  <a:pos x="T0" y="T1"/>
                </a:cxn>
                <a:cxn ang="0">
                  <a:pos x="T2" y="T3"/>
                </a:cxn>
                <a:cxn ang="0">
                  <a:pos x="T4" y="T5"/>
                </a:cxn>
                <a:cxn ang="0">
                  <a:pos x="T6" y="T7"/>
                </a:cxn>
                <a:cxn ang="0">
                  <a:pos x="T8" y="T9"/>
                </a:cxn>
              </a:cxnLst>
              <a:rect l="0" t="0" r="r" b="b"/>
              <a:pathLst>
                <a:path w="7" h="2">
                  <a:moveTo>
                    <a:pt x="0" y="0"/>
                  </a:moveTo>
                  <a:cubicBezTo>
                    <a:pt x="2" y="0"/>
                    <a:pt x="4" y="0"/>
                    <a:pt x="6" y="1"/>
                  </a:cubicBezTo>
                  <a:lnTo>
                    <a:pt x="6" y="1"/>
                  </a:lnTo>
                  <a:lnTo>
                    <a:pt x="6" y="0"/>
                  </a:lnTo>
                  <a:lnTo>
                    <a:pt x="0" y="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19" name="Freeform 58"/>
            <p:cNvSpPr>
              <a:spLocks noChangeArrowheads="1"/>
            </p:cNvSpPr>
            <p:nvPr/>
          </p:nvSpPr>
          <p:spPr bwMode="auto">
            <a:xfrm>
              <a:off x="8313738" y="5426489"/>
              <a:ext cx="3175" cy="1587"/>
            </a:xfrm>
            <a:custGeom>
              <a:avLst/>
              <a:gdLst>
                <a:gd name="T0" fmla="*/ 0 w 10"/>
                <a:gd name="T1" fmla="*/ 0 h 3"/>
                <a:gd name="T2" fmla="*/ 1 w 10"/>
                <a:gd name="T3" fmla="*/ 2 h 3"/>
                <a:gd name="T4" fmla="*/ 2 w 10"/>
                <a:gd name="T5" fmla="*/ 2 h 3"/>
                <a:gd name="T6" fmla="*/ 9 w 10"/>
                <a:gd name="T7" fmla="*/ 0 h 3"/>
                <a:gd name="T8" fmla="*/ 0 w 10"/>
                <a:gd name="T9" fmla="*/ 0 h 3"/>
              </a:gdLst>
              <a:ahLst/>
              <a:cxnLst>
                <a:cxn ang="0">
                  <a:pos x="T0" y="T1"/>
                </a:cxn>
                <a:cxn ang="0">
                  <a:pos x="T2" y="T3"/>
                </a:cxn>
                <a:cxn ang="0">
                  <a:pos x="T4" y="T5"/>
                </a:cxn>
                <a:cxn ang="0">
                  <a:pos x="T6" y="T7"/>
                </a:cxn>
                <a:cxn ang="0">
                  <a:pos x="T8" y="T9"/>
                </a:cxn>
              </a:cxnLst>
              <a:rect l="0" t="0" r="r" b="b"/>
              <a:pathLst>
                <a:path w="10" h="3">
                  <a:moveTo>
                    <a:pt x="0" y="0"/>
                  </a:moveTo>
                  <a:cubicBezTo>
                    <a:pt x="0" y="0"/>
                    <a:pt x="0" y="1"/>
                    <a:pt x="1" y="2"/>
                  </a:cubicBezTo>
                  <a:cubicBezTo>
                    <a:pt x="1" y="2"/>
                    <a:pt x="1" y="2"/>
                    <a:pt x="2" y="2"/>
                  </a:cubicBezTo>
                  <a:cubicBezTo>
                    <a:pt x="4" y="1"/>
                    <a:pt x="6" y="0"/>
                    <a:pt x="9" y="0"/>
                  </a:cubicBezTo>
                  <a:lnTo>
                    <a:pt x="0" y="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0" name="Freeform 59"/>
            <p:cNvSpPr>
              <a:spLocks noChangeArrowheads="1"/>
            </p:cNvSpPr>
            <p:nvPr/>
          </p:nvSpPr>
          <p:spPr bwMode="auto">
            <a:xfrm>
              <a:off x="8313738" y="5426489"/>
              <a:ext cx="227013" cy="1587"/>
            </a:xfrm>
            <a:custGeom>
              <a:avLst/>
              <a:gdLst>
                <a:gd name="T0" fmla="*/ 7 w 630"/>
                <a:gd name="T1" fmla="*/ 0 h 4"/>
                <a:gd name="T2" fmla="*/ 0 w 630"/>
                <a:gd name="T3" fmla="*/ 2 h 4"/>
                <a:gd name="T4" fmla="*/ 27 w 630"/>
                <a:gd name="T5" fmla="*/ 3 h 4"/>
                <a:gd name="T6" fmla="*/ 602 w 630"/>
                <a:gd name="T7" fmla="*/ 3 h 4"/>
                <a:gd name="T8" fmla="*/ 629 w 630"/>
                <a:gd name="T9" fmla="*/ 1 h 4"/>
                <a:gd name="T10" fmla="*/ 623 w 630"/>
                <a:gd name="T11" fmla="*/ 0 h 4"/>
                <a:gd name="T12" fmla="*/ 7 w 63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30" h="4">
                  <a:moveTo>
                    <a:pt x="7" y="0"/>
                  </a:moveTo>
                  <a:cubicBezTo>
                    <a:pt x="4" y="0"/>
                    <a:pt x="2" y="1"/>
                    <a:pt x="0" y="2"/>
                  </a:cubicBezTo>
                  <a:cubicBezTo>
                    <a:pt x="5" y="3"/>
                    <a:pt x="18" y="3"/>
                    <a:pt x="27" y="3"/>
                  </a:cubicBezTo>
                  <a:lnTo>
                    <a:pt x="602" y="3"/>
                  </a:lnTo>
                  <a:cubicBezTo>
                    <a:pt x="610" y="3"/>
                    <a:pt x="623" y="2"/>
                    <a:pt x="629" y="1"/>
                  </a:cubicBezTo>
                  <a:cubicBezTo>
                    <a:pt x="627" y="0"/>
                    <a:pt x="625" y="0"/>
                    <a:pt x="623" y="0"/>
                  </a:cubicBezTo>
                  <a:lnTo>
                    <a:pt x="7" y="0"/>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1" name="Freeform 60"/>
            <p:cNvSpPr>
              <a:spLocks noChangeArrowheads="1"/>
            </p:cNvSpPr>
            <p:nvPr/>
          </p:nvSpPr>
          <p:spPr bwMode="auto">
            <a:xfrm>
              <a:off x="8250238" y="5318539"/>
              <a:ext cx="53975" cy="161925"/>
            </a:xfrm>
            <a:custGeom>
              <a:avLst/>
              <a:gdLst>
                <a:gd name="T0" fmla="*/ 147 w 148"/>
                <a:gd name="T1" fmla="*/ 24 h 448"/>
                <a:gd name="T2" fmla="*/ 124 w 148"/>
                <a:gd name="T3" fmla="*/ 0 h 448"/>
                <a:gd name="T4" fmla="*/ 92 w 148"/>
                <a:gd name="T5" fmla="*/ 0 h 448"/>
                <a:gd name="T6" fmla="*/ 78 w 148"/>
                <a:gd name="T7" fmla="*/ 0 h 448"/>
                <a:gd name="T8" fmla="*/ 65 w 148"/>
                <a:gd name="T9" fmla="*/ 0 h 448"/>
                <a:gd name="T10" fmla="*/ 23 w 148"/>
                <a:gd name="T11" fmla="*/ 0 h 448"/>
                <a:gd name="T12" fmla="*/ 0 w 148"/>
                <a:gd name="T13" fmla="*/ 24 h 448"/>
                <a:gd name="T14" fmla="*/ 0 w 148"/>
                <a:gd name="T15" fmla="*/ 447 h 448"/>
                <a:gd name="T16" fmla="*/ 147 w 148"/>
                <a:gd name="T17" fmla="*/ 447 h 448"/>
                <a:gd name="T18" fmla="*/ 147 w 148"/>
                <a:gd name="T19" fmla="*/ 313 h 448"/>
                <a:gd name="T20" fmla="*/ 147 w 148"/>
                <a:gd name="T21" fmla="*/ 312 h 448"/>
                <a:gd name="T22" fmla="*/ 147 w 148"/>
                <a:gd name="T23" fmla="*/ 236 h 448"/>
                <a:gd name="T24" fmla="*/ 147 w 148"/>
                <a:gd name="T25" fmla="*/ 219 h 448"/>
                <a:gd name="T26" fmla="*/ 147 w 148"/>
                <a:gd name="T27" fmla="*/ 205 h 448"/>
                <a:gd name="T28" fmla="*/ 147 w 148"/>
                <a:gd name="T29" fmla="*/ 201 h 448"/>
                <a:gd name="T30" fmla="*/ 147 w 148"/>
                <a:gd name="T31" fmla="*/ 197 h 448"/>
                <a:gd name="T32" fmla="*/ 147 w 148"/>
                <a:gd name="T33" fmla="*/ 196 h 448"/>
                <a:gd name="T34" fmla="*/ 147 w 148"/>
                <a:gd name="T35" fmla="*/ 2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448">
                  <a:moveTo>
                    <a:pt x="147" y="24"/>
                  </a:moveTo>
                  <a:cubicBezTo>
                    <a:pt x="147" y="11"/>
                    <a:pt x="137" y="0"/>
                    <a:pt x="124" y="0"/>
                  </a:cubicBezTo>
                  <a:lnTo>
                    <a:pt x="92" y="0"/>
                  </a:lnTo>
                  <a:lnTo>
                    <a:pt x="78" y="0"/>
                  </a:lnTo>
                  <a:lnTo>
                    <a:pt x="65" y="0"/>
                  </a:lnTo>
                  <a:lnTo>
                    <a:pt x="23" y="0"/>
                  </a:lnTo>
                  <a:cubicBezTo>
                    <a:pt x="11" y="0"/>
                    <a:pt x="0" y="11"/>
                    <a:pt x="0" y="24"/>
                  </a:cubicBezTo>
                  <a:lnTo>
                    <a:pt x="0" y="447"/>
                  </a:lnTo>
                  <a:lnTo>
                    <a:pt x="147" y="447"/>
                  </a:lnTo>
                  <a:lnTo>
                    <a:pt x="147" y="313"/>
                  </a:lnTo>
                  <a:lnTo>
                    <a:pt x="147" y="312"/>
                  </a:lnTo>
                  <a:lnTo>
                    <a:pt x="147" y="236"/>
                  </a:lnTo>
                  <a:lnTo>
                    <a:pt x="147" y="219"/>
                  </a:lnTo>
                  <a:lnTo>
                    <a:pt x="147" y="205"/>
                  </a:lnTo>
                  <a:cubicBezTo>
                    <a:pt x="147" y="203"/>
                    <a:pt x="147" y="202"/>
                    <a:pt x="147" y="201"/>
                  </a:cubicBezTo>
                  <a:cubicBezTo>
                    <a:pt x="147" y="199"/>
                    <a:pt x="147" y="198"/>
                    <a:pt x="147" y="197"/>
                  </a:cubicBezTo>
                  <a:cubicBezTo>
                    <a:pt x="147" y="196"/>
                    <a:pt x="147" y="196"/>
                    <a:pt x="147" y="196"/>
                  </a:cubicBezTo>
                  <a:lnTo>
                    <a:pt x="147" y="24"/>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2" name="Freeform 61"/>
            <p:cNvSpPr>
              <a:spLocks noChangeArrowheads="1"/>
            </p:cNvSpPr>
            <p:nvPr/>
          </p:nvSpPr>
          <p:spPr bwMode="auto">
            <a:xfrm>
              <a:off x="8302626" y="5429664"/>
              <a:ext cx="1587" cy="49212"/>
            </a:xfrm>
            <a:custGeom>
              <a:avLst/>
              <a:gdLst>
                <a:gd name="T0" fmla="*/ 0 w 1"/>
                <a:gd name="T1" fmla="*/ 135 h 136"/>
                <a:gd name="T2" fmla="*/ 0 w 1"/>
                <a:gd name="T3" fmla="*/ 135 h 136"/>
                <a:gd name="T4" fmla="*/ 0 w 1"/>
                <a:gd name="T5" fmla="*/ 0 h 136"/>
                <a:gd name="T6" fmla="*/ 0 w 1"/>
                <a:gd name="T7" fmla="*/ 1 h 136"/>
                <a:gd name="T8" fmla="*/ 0 w 1"/>
                <a:gd name="T9" fmla="*/ 135 h 136"/>
              </a:gdLst>
              <a:ahLst/>
              <a:cxnLst>
                <a:cxn ang="0">
                  <a:pos x="T0" y="T1"/>
                </a:cxn>
                <a:cxn ang="0">
                  <a:pos x="T2" y="T3"/>
                </a:cxn>
                <a:cxn ang="0">
                  <a:pos x="T4" y="T5"/>
                </a:cxn>
                <a:cxn ang="0">
                  <a:pos x="T6" y="T7"/>
                </a:cxn>
                <a:cxn ang="0">
                  <a:pos x="T8" y="T9"/>
                </a:cxn>
              </a:cxnLst>
              <a:rect l="0" t="0" r="r" b="b"/>
              <a:pathLst>
                <a:path w="1" h="136">
                  <a:moveTo>
                    <a:pt x="0" y="135"/>
                  </a:moveTo>
                  <a:lnTo>
                    <a:pt x="0" y="135"/>
                  </a:lnTo>
                  <a:lnTo>
                    <a:pt x="0" y="0"/>
                  </a:lnTo>
                  <a:lnTo>
                    <a:pt x="0" y="1"/>
                  </a:lnTo>
                  <a:lnTo>
                    <a:pt x="0" y="135"/>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3" name="Freeform 62"/>
            <p:cNvSpPr>
              <a:spLocks noChangeArrowheads="1"/>
            </p:cNvSpPr>
            <p:nvPr/>
          </p:nvSpPr>
          <p:spPr bwMode="auto">
            <a:xfrm>
              <a:off x="8302626" y="5388389"/>
              <a:ext cx="1587" cy="1587"/>
            </a:xfrm>
            <a:custGeom>
              <a:avLst/>
              <a:gdLst>
                <a:gd name="T0" fmla="*/ 0 w 1"/>
                <a:gd name="T1" fmla="*/ 1 h 6"/>
                <a:gd name="T2" fmla="*/ 0 w 1"/>
                <a:gd name="T3" fmla="*/ 5 h 6"/>
                <a:gd name="T4" fmla="*/ 0 w 1"/>
                <a:gd name="T5" fmla="*/ 5 h 6"/>
                <a:gd name="T6" fmla="*/ 0 w 1"/>
                <a:gd name="T7" fmla="*/ 0 h 6"/>
                <a:gd name="T8" fmla="*/ 0 w 1"/>
                <a:gd name="T9" fmla="*/ 1 h 6"/>
              </a:gdLst>
              <a:ahLst/>
              <a:cxnLst>
                <a:cxn ang="0">
                  <a:pos x="T0" y="T1"/>
                </a:cxn>
                <a:cxn ang="0">
                  <a:pos x="T2" y="T3"/>
                </a:cxn>
                <a:cxn ang="0">
                  <a:pos x="T4" y="T5"/>
                </a:cxn>
                <a:cxn ang="0">
                  <a:pos x="T6" y="T7"/>
                </a:cxn>
                <a:cxn ang="0">
                  <a:pos x="T8" y="T9"/>
                </a:cxn>
              </a:cxnLst>
              <a:rect l="0" t="0" r="r" b="b"/>
              <a:pathLst>
                <a:path w="1" h="6">
                  <a:moveTo>
                    <a:pt x="0" y="1"/>
                  </a:moveTo>
                  <a:cubicBezTo>
                    <a:pt x="0" y="2"/>
                    <a:pt x="0" y="3"/>
                    <a:pt x="0" y="5"/>
                  </a:cubicBezTo>
                  <a:lnTo>
                    <a:pt x="0" y="5"/>
                  </a:lnTo>
                  <a:lnTo>
                    <a:pt x="0" y="0"/>
                  </a:lnTo>
                  <a:cubicBezTo>
                    <a:pt x="0" y="0"/>
                    <a:pt x="0" y="0"/>
                    <a:pt x="0" y="1"/>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4" name="Freeform 63"/>
            <p:cNvSpPr>
              <a:spLocks noChangeArrowheads="1"/>
            </p:cNvSpPr>
            <p:nvPr/>
          </p:nvSpPr>
          <p:spPr bwMode="auto">
            <a:xfrm>
              <a:off x="8302626" y="5389976"/>
              <a:ext cx="1587" cy="1588"/>
            </a:xfrm>
            <a:custGeom>
              <a:avLst/>
              <a:gdLst>
                <a:gd name="T0" fmla="*/ 0 w 1"/>
                <a:gd name="T1" fmla="*/ 0 h 5"/>
                <a:gd name="T2" fmla="*/ 0 w 1"/>
                <a:gd name="T3" fmla="*/ 4 h 5"/>
                <a:gd name="T4" fmla="*/ 0 w 1"/>
                <a:gd name="T5" fmla="*/ 0 h 5"/>
              </a:gdLst>
              <a:ahLst/>
              <a:cxnLst>
                <a:cxn ang="0">
                  <a:pos x="T0" y="T1"/>
                </a:cxn>
                <a:cxn ang="0">
                  <a:pos x="T2" y="T3"/>
                </a:cxn>
                <a:cxn ang="0">
                  <a:pos x="T4" y="T5"/>
                </a:cxn>
              </a:cxnLst>
              <a:rect l="0" t="0" r="r" b="b"/>
              <a:pathLst>
                <a:path w="1" h="5">
                  <a:moveTo>
                    <a:pt x="0" y="0"/>
                  </a:moveTo>
                  <a:cubicBezTo>
                    <a:pt x="0" y="1"/>
                    <a:pt x="0" y="2"/>
                    <a:pt x="0" y="4"/>
                  </a:cubicBezTo>
                  <a:lnTo>
                    <a:pt x="0" y="0"/>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5" name="Freeform 64"/>
            <p:cNvSpPr>
              <a:spLocks noChangeArrowheads="1"/>
            </p:cNvSpPr>
            <p:nvPr/>
          </p:nvSpPr>
          <p:spPr bwMode="auto">
            <a:xfrm>
              <a:off x="8548688" y="5318539"/>
              <a:ext cx="53975" cy="161925"/>
            </a:xfrm>
            <a:custGeom>
              <a:avLst/>
              <a:gdLst>
                <a:gd name="T0" fmla="*/ 124 w 149"/>
                <a:gd name="T1" fmla="*/ 0 h 448"/>
                <a:gd name="T2" fmla="*/ 88 w 149"/>
                <a:gd name="T3" fmla="*/ 0 h 448"/>
                <a:gd name="T4" fmla="*/ 74 w 149"/>
                <a:gd name="T5" fmla="*/ 0 h 448"/>
                <a:gd name="T6" fmla="*/ 60 w 149"/>
                <a:gd name="T7" fmla="*/ 0 h 448"/>
                <a:gd name="T8" fmla="*/ 24 w 149"/>
                <a:gd name="T9" fmla="*/ 0 h 448"/>
                <a:gd name="T10" fmla="*/ 0 w 149"/>
                <a:gd name="T11" fmla="*/ 24 h 448"/>
                <a:gd name="T12" fmla="*/ 0 w 149"/>
                <a:gd name="T13" fmla="*/ 180 h 448"/>
                <a:gd name="T14" fmla="*/ 4 w 149"/>
                <a:gd name="T15" fmla="*/ 197 h 448"/>
                <a:gd name="T16" fmla="*/ 4 w 149"/>
                <a:gd name="T17" fmla="*/ 202 h 448"/>
                <a:gd name="T18" fmla="*/ 4 w 149"/>
                <a:gd name="T19" fmla="*/ 220 h 448"/>
                <a:gd name="T20" fmla="*/ 4 w 149"/>
                <a:gd name="T21" fmla="*/ 237 h 448"/>
                <a:gd name="T22" fmla="*/ 3 w 149"/>
                <a:gd name="T23" fmla="*/ 243 h 448"/>
                <a:gd name="T24" fmla="*/ 2 w 149"/>
                <a:gd name="T25" fmla="*/ 294 h 448"/>
                <a:gd name="T26" fmla="*/ 2 w 149"/>
                <a:gd name="T27" fmla="*/ 296 h 448"/>
                <a:gd name="T28" fmla="*/ 9 w 149"/>
                <a:gd name="T29" fmla="*/ 313 h 448"/>
                <a:gd name="T30" fmla="*/ 9 w 149"/>
                <a:gd name="T31" fmla="*/ 447 h 448"/>
                <a:gd name="T32" fmla="*/ 148 w 149"/>
                <a:gd name="T33" fmla="*/ 447 h 448"/>
                <a:gd name="T34" fmla="*/ 148 w 149"/>
                <a:gd name="T35" fmla="*/ 24 h 448"/>
                <a:gd name="T36" fmla="*/ 124 w 149"/>
                <a:gd name="T3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9" h="448">
                  <a:moveTo>
                    <a:pt x="124" y="0"/>
                  </a:moveTo>
                  <a:lnTo>
                    <a:pt x="88" y="0"/>
                  </a:lnTo>
                  <a:lnTo>
                    <a:pt x="74" y="0"/>
                  </a:lnTo>
                  <a:lnTo>
                    <a:pt x="60" y="0"/>
                  </a:lnTo>
                  <a:lnTo>
                    <a:pt x="24" y="0"/>
                  </a:lnTo>
                  <a:cubicBezTo>
                    <a:pt x="11" y="0"/>
                    <a:pt x="0" y="11"/>
                    <a:pt x="0" y="24"/>
                  </a:cubicBezTo>
                  <a:lnTo>
                    <a:pt x="0" y="180"/>
                  </a:lnTo>
                  <a:cubicBezTo>
                    <a:pt x="3" y="186"/>
                    <a:pt x="4" y="192"/>
                    <a:pt x="4" y="197"/>
                  </a:cubicBezTo>
                  <a:cubicBezTo>
                    <a:pt x="4" y="198"/>
                    <a:pt x="4" y="200"/>
                    <a:pt x="4" y="202"/>
                  </a:cubicBezTo>
                  <a:cubicBezTo>
                    <a:pt x="4" y="207"/>
                    <a:pt x="4" y="213"/>
                    <a:pt x="4" y="220"/>
                  </a:cubicBezTo>
                  <a:cubicBezTo>
                    <a:pt x="4" y="225"/>
                    <a:pt x="4" y="231"/>
                    <a:pt x="4" y="237"/>
                  </a:cubicBezTo>
                  <a:cubicBezTo>
                    <a:pt x="4" y="239"/>
                    <a:pt x="4" y="241"/>
                    <a:pt x="3" y="243"/>
                  </a:cubicBezTo>
                  <a:cubicBezTo>
                    <a:pt x="3" y="262"/>
                    <a:pt x="2" y="282"/>
                    <a:pt x="2" y="294"/>
                  </a:cubicBezTo>
                  <a:cubicBezTo>
                    <a:pt x="2" y="295"/>
                    <a:pt x="2" y="295"/>
                    <a:pt x="2" y="296"/>
                  </a:cubicBezTo>
                  <a:cubicBezTo>
                    <a:pt x="7" y="301"/>
                    <a:pt x="9" y="307"/>
                    <a:pt x="9" y="313"/>
                  </a:cubicBezTo>
                  <a:lnTo>
                    <a:pt x="9" y="447"/>
                  </a:lnTo>
                  <a:lnTo>
                    <a:pt x="148" y="447"/>
                  </a:lnTo>
                  <a:lnTo>
                    <a:pt x="148" y="24"/>
                  </a:lnTo>
                  <a:cubicBezTo>
                    <a:pt x="148" y="11"/>
                    <a:pt x="137" y="0"/>
                    <a:pt x="124" y="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6" name="Freeform 65"/>
            <p:cNvSpPr>
              <a:spLocks noChangeArrowheads="1"/>
            </p:cNvSpPr>
            <p:nvPr/>
          </p:nvSpPr>
          <p:spPr bwMode="auto">
            <a:xfrm>
              <a:off x="8548688" y="5424901"/>
              <a:ext cx="3175" cy="53975"/>
            </a:xfrm>
            <a:custGeom>
              <a:avLst/>
              <a:gdLst>
                <a:gd name="T0" fmla="*/ 2 w 10"/>
                <a:gd name="T1" fmla="*/ 0 h 152"/>
                <a:gd name="T2" fmla="*/ 0 w 10"/>
                <a:gd name="T3" fmla="*/ 15 h 152"/>
                <a:gd name="T4" fmla="*/ 0 w 10"/>
                <a:gd name="T5" fmla="*/ 151 h 152"/>
                <a:gd name="T6" fmla="*/ 9 w 10"/>
                <a:gd name="T7" fmla="*/ 151 h 152"/>
                <a:gd name="T8" fmla="*/ 9 w 10"/>
                <a:gd name="T9" fmla="*/ 17 h 152"/>
                <a:gd name="T10" fmla="*/ 2 w 10"/>
                <a:gd name="T11" fmla="*/ 0 h 152"/>
              </a:gdLst>
              <a:ahLst/>
              <a:cxnLst>
                <a:cxn ang="0">
                  <a:pos x="T0" y="T1"/>
                </a:cxn>
                <a:cxn ang="0">
                  <a:pos x="T2" y="T3"/>
                </a:cxn>
                <a:cxn ang="0">
                  <a:pos x="T4" y="T5"/>
                </a:cxn>
                <a:cxn ang="0">
                  <a:pos x="T6" y="T7"/>
                </a:cxn>
                <a:cxn ang="0">
                  <a:pos x="T8" y="T9"/>
                </a:cxn>
                <a:cxn ang="0">
                  <a:pos x="T10" y="T11"/>
                </a:cxn>
              </a:cxnLst>
              <a:rect l="0" t="0" r="r" b="b"/>
              <a:pathLst>
                <a:path w="10" h="152">
                  <a:moveTo>
                    <a:pt x="2" y="0"/>
                  </a:moveTo>
                  <a:cubicBezTo>
                    <a:pt x="2" y="6"/>
                    <a:pt x="1" y="11"/>
                    <a:pt x="0" y="15"/>
                  </a:cubicBezTo>
                  <a:lnTo>
                    <a:pt x="0" y="151"/>
                  </a:lnTo>
                  <a:lnTo>
                    <a:pt x="9" y="151"/>
                  </a:lnTo>
                  <a:lnTo>
                    <a:pt x="9" y="17"/>
                  </a:lnTo>
                  <a:cubicBezTo>
                    <a:pt x="9" y="11"/>
                    <a:pt x="7" y="5"/>
                    <a:pt x="2" y="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7" name="Freeform 66"/>
            <p:cNvSpPr>
              <a:spLocks noChangeArrowheads="1"/>
            </p:cNvSpPr>
            <p:nvPr/>
          </p:nvSpPr>
          <p:spPr bwMode="auto">
            <a:xfrm>
              <a:off x="8548688" y="5402676"/>
              <a:ext cx="1588" cy="22225"/>
            </a:xfrm>
            <a:custGeom>
              <a:avLst/>
              <a:gdLst>
                <a:gd name="T0" fmla="*/ 2 w 5"/>
                <a:gd name="T1" fmla="*/ 59 h 60"/>
                <a:gd name="T2" fmla="*/ 3 w 5"/>
                <a:gd name="T3" fmla="*/ 57 h 60"/>
                <a:gd name="T4" fmla="*/ 4 w 5"/>
                <a:gd name="T5" fmla="*/ 6 h 60"/>
                <a:gd name="T6" fmla="*/ 4 w 5"/>
                <a:gd name="T7" fmla="*/ 0 h 60"/>
                <a:gd name="T8" fmla="*/ 0 w 5"/>
                <a:gd name="T9" fmla="*/ 2 h 60"/>
                <a:gd name="T10" fmla="*/ 0 w 5"/>
                <a:gd name="T11" fmla="*/ 58 h 60"/>
                <a:gd name="T12" fmla="*/ 2 w 5"/>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5" h="60">
                  <a:moveTo>
                    <a:pt x="2" y="59"/>
                  </a:moveTo>
                  <a:cubicBezTo>
                    <a:pt x="2" y="58"/>
                    <a:pt x="3" y="58"/>
                    <a:pt x="3" y="57"/>
                  </a:cubicBezTo>
                  <a:cubicBezTo>
                    <a:pt x="3" y="45"/>
                    <a:pt x="3" y="25"/>
                    <a:pt x="4" y="6"/>
                  </a:cubicBezTo>
                  <a:cubicBezTo>
                    <a:pt x="4" y="4"/>
                    <a:pt x="4" y="2"/>
                    <a:pt x="4" y="0"/>
                  </a:cubicBezTo>
                  <a:cubicBezTo>
                    <a:pt x="3" y="1"/>
                    <a:pt x="1" y="2"/>
                    <a:pt x="0" y="2"/>
                  </a:cubicBezTo>
                  <a:lnTo>
                    <a:pt x="0" y="58"/>
                  </a:lnTo>
                  <a:cubicBezTo>
                    <a:pt x="1" y="58"/>
                    <a:pt x="2" y="59"/>
                    <a:pt x="2" y="59"/>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8" name="Freeform 67"/>
            <p:cNvSpPr>
              <a:spLocks noChangeArrowheads="1"/>
            </p:cNvSpPr>
            <p:nvPr/>
          </p:nvSpPr>
          <p:spPr bwMode="auto">
            <a:xfrm>
              <a:off x="8548688" y="5382039"/>
              <a:ext cx="1588" cy="9525"/>
            </a:xfrm>
            <a:custGeom>
              <a:avLst/>
              <a:gdLst>
                <a:gd name="T0" fmla="*/ 0 w 5"/>
                <a:gd name="T1" fmla="*/ 0 h 26"/>
                <a:gd name="T2" fmla="*/ 0 w 5"/>
                <a:gd name="T3" fmla="*/ 25 h 26"/>
                <a:gd name="T4" fmla="*/ 4 w 5"/>
                <a:gd name="T5" fmla="*/ 22 h 26"/>
                <a:gd name="T6" fmla="*/ 4 w 5"/>
                <a:gd name="T7" fmla="*/ 17 h 26"/>
                <a:gd name="T8" fmla="*/ 0 w 5"/>
                <a:gd name="T9" fmla="*/ 0 h 26"/>
              </a:gdLst>
              <a:ahLst/>
              <a:cxnLst>
                <a:cxn ang="0">
                  <a:pos x="T0" y="T1"/>
                </a:cxn>
                <a:cxn ang="0">
                  <a:pos x="T2" y="T3"/>
                </a:cxn>
                <a:cxn ang="0">
                  <a:pos x="T4" y="T5"/>
                </a:cxn>
                <a:cxn ang="0">
                  <a:pos x="T6" y="T7"/>
                </a:cxn>
                <a:cxn ang="0">
                  <a:pos x="T8" y="T9"/>
                </a:cxn>
              </a:cxnLst>
              <a:rect l="0" t="0" r="r" b="b"/>
              <a:pathLst>
                <a:path w="5" h="26">
                  <a:moveTo>
                    <a:pt x="0" y="0"/>
                  </a:moveTo>
                  <a:lnTo>
                    <a:pt x="0" y="25"/>
                  </a:lnTo>
                  <a:cubicBezTo>
                    <a:pt x="2" y="24"/>
                    <a:pt x="3" y="23"/>
                    <a:pt x="4" y="22"/>
                  </a:cubicBezTo>
                  <a:cubicBezTo>
                    <a:pt x="4" y="20"/>
                    <a:pt x="4" y="18"/>
                    <a:pt x="4" y="17"/>
                  </a:cubicBezTo>
                  <a:cubicBezTo>
                    <a:pt x="4" y="11"/>
                    <a:pt x="3" y="6"/>
                    <a:pt x="0" y="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29" name="Freeform 68"/>
            <p:cNvSpPr>
              <a:spLocks noChangeArrowheads="1"/>
            </p:cNvSpPr>
            <p:nvPr/>
          </p:nvSpPr>
          <p:spPr bwMode="auto">
            <a:xfrm>
              <a:off x="8548688" y="5396326"/>
              <a:ext cx="1588" cy="7938"/>
            </a:xfrm>
            <a:custGeom>
              <a:avLst/>
              <a:gdLst>
                <a:gd name="T0" fmla="*/ 4 w 5"/>
                <a:gd name="T1" fmla="*/ 17 h 20"/>
                <a:gd name="T2" fmla="*/ 4 w 5"/>
                <a:gd name="T3" fmla="*/ 0 h 20"/>
                <a:gd name="T4" fmla="*/ 0 w 5"/>
                <a:gd name="T5" fmla="*/ 3 h 20"/>
                <a:gd name="T6" fmla="*/ 0 w 5"/>
                <a:gd name="T7" fmla="*/ 19 h 20"/>
                <a:gd name="T8" fmla="*/ 4 w 5"/>
                <a:gd name="T9" fmla="*/ 17 h 20"/>
              </a:gdLst>
              <a:ahLst/>
              <a:cxnLst>
                <a:cxn ang="0">
                  <a:pos x="T0" y="T1"/>
                </a:cxn>
                <a:cxn ang="0">
                  <a:pos x="T2" y="T3"/>
                </a:cxn>
                <a:cxn ang="0">
                  <a:pos x="T4" y="T5"/>
                </a:cxn>
                <a:cxn ang="0">
                  <a:pos x="T6" y="T7"/>
                </a:cxn>
                <a:cxn ang="0">
                  <a:pos x="T8" y="T9"/>
                </a:cxn>
              </a:cxnLst>
              <a:rect l="0" t="0" r="r" b="b"/>
              <a:pathLst>
                <a:path w="5" h="20">
                  <a:moveTo>
                    <a:pt x="4" y="17"/>
                  </a:moveTo>
                  <a:cubicBezTo>
                    <a:pt x="4" y="11"/>
                    <a:pt x="4" y="5"/>
                    <a:pt x="4" y="0"/>
                  </a:cubicBezTo>
                  <a:cubicBezTo>
                    <a:pt x="3" y="1"/>
                    <a:pt x="2" y="2"/>
                    <a:pt x="0" y="3"/>
                  </a:cubicBezTo>
                  <a:lnTo>
                    <a:pt x="0" y="19"/>
                  </a:lnTo>
                  <a:cubicBezTo>
                    <a:pt x="1" y="18"/>
                    <a:pt x="3" y="18"/>
                    <a:pt x="4" y="17"/>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30" name="Freeform 69"/>
            <p:cNvSpPr>
              <a:spLocks noChangeArrowheads="1"/>
            </p:cNvSpPr>
            <p:nvPr/>
          </p:nvSpPr>
          <p:spPr bwMode="auto">
            <a:xfrm>
              <a:off x="8548688" y="5389976"/>
              <a:ext cx="1588" cy="7938"/>
            </a:xfrm>
            <a:custGeom>
              <a:avLst/>
              <a:gdLst>
                <a:gd name="T0" fmla="*/ 0 w 5"/>
                <a:gd name="T1" fmla="*/ 21 h 22"/>
                <a:gd name="T2" fmla="*/ 4 w 5"/>
                <a:gd name="T3" fmla="*/ 18 h 22"/>
                <a:gd name="T4" fmla="*/ 4 w 5"/>
                <a:gd name="T5" fmla="*/ 0 h 22"/>
                <a:gd name="T6" fmla="*/ 0 w 5"/>
                <a:gd name="T7" fmla="*/ 3 h 22"/>
                <a:gd name="T8" fmla="*/ 0 w 5"/>
                <a:gd name="T9" fmla="*/ 21 h 22"/>
              </a:gdLst>
              <a:ahLst/>
              <a:cxnLst>
                <a:cxn ang="0">
                  <a:pos x="T0" y="T1"/>
                </a:cxn>
                <a:cxn ang="0">
                  <a:pos x="T2" y="T3"/>
                </a:cxn>
                <a:cxn ang="0">
                  <a:pos x="T4" y="T5"/>
                </a:cxn>
                <a:cxn ang="0">
                  <a:pos x="T6" y="T7"/>
                </a:cxn>
                <a:cxn ang="0">
                  <a:pos x="T8" y="T9"/>
                </a:cxn>
              </a:cxnLst>
              <a:rect l="0" t="0" r="r" b="b"/>
              <a:pathLst>
                <a:path w="5" h="22">
                  <a:moveTo>
                    <a:pt x="0" y="21"/>
                  </a:moveTo>
                  <a:cubicBezTo>
                    <a:pt x="2" y="20"/>
                    <a:pt x="3" y="19"/>
                    <a:pt x="4" y="18"/>
                  </a:cubicBezTo>
                  <a:cubicBezTo>
                    <a:pt x="4" y="11"/>
                    <a:pt x="4" y="5"/>
                    <a:pt x="4" y="0"/>
                  </a:cubicBezTo>
                  <a:cubicBezTo>
                    <a:pt x="3" y="1"/>
                    <a:pt x="2" y="2"/>
                    <a:pt x="0" y="3"/>
                  </a:cubicBezTo>
                  <a:lnTo>
                    <a:pt x="0" y="21"/>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31" name="Freeform 70"/>
            <p:cNvSpPr>
              <a:spLocks noChangeArrowheads="1"/>
            </p:cNvSpPr>
            <p:nvPr/>
          </p:nvSpPr>
          <p:spPr bwMode="auto">
            <a:xfrm>
              <a:off x="8548688" y="5423314"/>
              <a:ext cx="1588" cy="6350"/>
            </a:xfrm>
            <a:custGeom>
              <a:avLst/>
              <a:gdLst>
                <a:gd name="T0" fmla="*/ 0 w 3"/>
                <a:gd name="T1" fmla="*/ 0 h 17"/>
                <a:gd name="T2" fmla="*/ 0 w 3"/>
                <a:gd name="T3" fmla="*/ 16 h 17"/>
                <a:gd name="T4" fmla="*/ 2 w 3"/>
                <a:gd name="T5" fmla="*/ 1 h 17"/>
                <a:gd name="T6" fmla="*/ 0 w 3"/>
                <a:gd name="T7" fmla="*/ 0 h 17"/>
              </a:gdLst>
              <a:ahLst/>
              <a:cxnLst>
                <a:cxn ang="0">
                  <a:pos x="T0" y="T1"/>
                </a:cxn>
                <a:cxn ang="0">
                  <a:pos x="T2" y="T3"/>
                </a:cxn>
                <a:cxn ang="0">
                  <a:pos x="T4" y="T5"/>
                </a:cxn>
                <a:cxn ang="0">
                  <a:pos x="T6" y="T7"/>
                </a:cxn>
              </a:cxnLst>
              <a:rect l="0" t="0" r="r" b="b"/>
              <a:pathLst>
                <a:path w="3" h="17">
                  <a:moveTo>
                    <a:pt x="0" y="0"/>
                  </a:moveTo>
                  <a:lnTo>
                    <a:pt x="0" y="16"/>
                  </a:lnTo>
                  <a:cubicBezTo>
                    <a:pt x="1" y="12"/>
                    <a:pt x="2" y="7"/>
                    <a:pt x="2" y="1"/>
                  </a:cubicBezTo>
                  <a:cubicBezTo>
                    <a:pt x="2" y="1"/>
                    <a:pt x="1" y="0"/>
                    <a:pt x="0" y="0"/>
                  </a:cubicBez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grpSp>
      <p:grpSp>
        <p:nvGrpSpPr>
          <p:cNvPr id="32" name="Group 51"/>
          <p:cNvGrpSpPr/>
          <p:nvPr/>
        </p:nvGrpSpPr>
        <p:grpSpPr>
          <a:xfrm>
            <a:off x="9618735" y="4357775"/>
            <a:ext cx="349250" cy="257175"/>
            <a:chOff x="8251826" y="4391439"/>
            <a:chExt cx="349250" cy="257175"/>
          </a:xfrm>
        </p:grpSpPr>
        <p:sp>
          <p:nvSpPr>
            <p:cNvPr id="33" name="Freeform 71"/>
            <p:cNvSpPr>
              <a:spLocks noChangeArrowheads="1"/>
            </p:cNvSpPr>
            <p:nvPr/>
          </p:nvSpPr>
          <p:spPr bwMode="auto">
            <a:xfrm>
              <a:off x="8251826" y="4391439"/>
              <a:ext cx="349250" cy="257175"/>
            </a:xfrm>
            <a:custGeom>
              <a:avLst/>
              <a:gdLst>
                <a:gd name="T0" fmla="*/ 963 w 970"/>
                <a:gd name="T1" fmla="*/ 133 h 716"/>
                <a:gd name="T2" fmla="*/ 784 w 970"/>
                <a:gd name="T3" fmla="*/ 21 h 716"/>
                <a:gd name="T4" fmla="*/ 712 w 970"/>
                <a:gd name="T5" fmla="*/ 0 h 716"/>
                <a:gd name="T6" fmla="*/ 617 w 970"/>
                <a:gd name="T7" fmla="*/ 0 h 716"/>
                <a:gd name="T8" fmla="*/ 486 w 970"/>
                <a:gd name="T9" fmla="*/ 88 h 716"/>
                <a:gd name="T10" fmla="*/ 352 w 970"/>
                <a:gd name="T11" fmla="*/ 1 h 716"/>
                <a:gd name="T12" fmla="*/ 256 w 970"/>
                <a:gd name="T13" fmla="*/ 1 h 716"/>
                <a:gd name="T14" fmla="*/ 184 w 970"/>
                <a:gd name="T15" fmla="*/ 23 h 716"/>
                <a:gd name="T16" fmla="*/ 5 w 970"/>
                <a:gd name="T17" fmla="*/ 136 h 716"/>
                <a:gd name="T18" fmla="*/ 0 w 970"/>
                <a:gd name="T19" fmla="*/ 156 h 716"/>
                <a:gd name="T20" fmla="*/ 65 w 970"/>
                <a:gd name="T21" fmla="*/ 304 h 716"/>
                <a:gd name="T22" fmla="*/ 82 w 970"/>
                <a:gd name="T23" fmla="*/ 312 h 716"/>
                <a:gd name="T24" fmla="*/ 226 w 970"/>
                <a:gd name="T25" fmla="*/ 240 h 716"/>
                <a:gd name="T26" fmla="*/ 227 w 970"/>
                <a:gd name="T27" fmla="*/ 700 h 716"/>
                <a:gd name="T28" fmla="*/ 241 w 970"/>
                <a:gd name="T29" fmla="*/ 715 h 716"/>
                <a:gd name="T30" fmla="*/ 731 w 970"/>
                <a:gd name="T31" fmla="*/ 713 h 716"/>
                <a:gd name="T32" fmla="*/ 745 w 970"/>
                <a:gd name="T33" fmla="*/ 698 h 716"/>
                <a:gd name="T34" fmla="*/ 744 w 970"/>
                <a:gd name="T35" fmla="*/ 238 h 716"/>
                <a:gd name="T36" fmla="*/ 888 w 970"/>
                <a:gd name="T37" fmla="*/ 309 h 716"/>
                <a:gd name="T38" fmla="*/ 905 w 970"/>
                <a:gd name="T39" fmla="*/ 302 h 716"/>
                <a:gd name="T40" fmla="*/ 969 w 970"/>
                <a:gd name="T41" fmla="*/ 153 h 716"/>
                <a:gd name="T42" fmla="*/ 963 w 970"/>
                <a:gd name="T43" fmla="*/ 133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0" h="716">
                  <a:moveTo>
                    <a:pt x="963" y="133"/>
                  </a:moveTo>
                  <a:lnTo>
                    <a:pt x="784" y="21"/>
                  </a:lnTo>
                  <a:cubicBezTo>
                    <a:pt x="762" y="7"/>
                    <a:pt x="737" y="0"/>
                    <a:pt x="712" y="0"/>
                  </a:cubicBezTo>
                  <a:lnTo>
                    <a:pt x="617" y="0"/>
                  </a:lnTo>
                  <a:cubicBezTo>
                    <a:pt x="593" y="43"/>
                    <a:pt x="552" y="89"/>
                    <a:pt x="486" y="88"/>
                  </a:cubicBezTo>
                  <a:cubicBezTo>
                    <a:pt x="421" y="86"/>
                    <a:pt x="378" y="44"/>
                    <a:pt x="352" y="1"/>
                  </a:cubicBezTo>
                  <a:lnTo>
                    <a:pt x="256" y="1"/>
                  </a:lnTo>
                  <a:cubicBezTo>
                    <a:pt x="231" y="1"/>
                    <a:pt x="206" y="9"/>
                    <a:pt x="184" y="23"/>
                  </a:cubicBezTo>
                  <a:lnTo>
                    <a:pt x="5" y="136"/>
                  </a:lnTo>
                  <a:lnTo>
                    <a:pt x="0" y="156"/>
                  </a:lnTo>
                  <a:lnTo>
                    <a:pt x="65" y="304"/>
                  </a:lnTo>
                  <a:lnTo>
                    <a:pt x="82" y="312"/>
                  </a:lnTo>
                  <a:lnTo>
                    <a:pt x="226" y="240"/>
                  </a:lnTo>
                  <a:lnTo>
                    <a:pt x="227" y="700"/>
                  </a:lnTo>
                  <a:cubicBezTo>
                    <a:pt x="227" y="708"/>
                    <a:pt x="233" y="715"/>
                    <a:pt x="241" y="715"/>
                  </a:cubicBezTo>
                  <a:lnTo>
                    <a:pt x="731" y="713"/>
                  </a:lnTo>
                  <a:cubicBezTo>
                    <a:pt x="739" y="713"/>
                    <a:pt x="745" y="706"/>
                    <a:pt x="745" y="698"/>
                  </a:cubicBezTo>
                  <a:lnTo>
                    <a:pt x="744" y="238"/>
                  </a:lnTo>
                  <a:lnTo>
                    <a:pt x="888" y="309"/>
                  </a:lnTo>
                  <a:lnTo>
                    <a:pt x="905" y="302"/>
                  </a:lnTo>
                  <a:lnTo>
                    <a:pt x="969" y="153"/>
                  </a:lnTo>
                  <a:lnTo>
                    <a:pt x="963" y="133"/>
                  </a:lnTo>
                </a:path>
              </a:pathLst>
            </a:custGeom>
            <a:solidFill>
              <a:srgbClr val="BE183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34" name="Freeform 72"/>
            <p:cNvSpPr>
              <a:spLocks noChangeArrowheads="1"/>
            </p:cNvSpPr>
            <p:nvPr/>
          </p:nvSpPr>
          <p:spPr bwMode="auto">
            <a:xfrm>
              <a:off x="8359776" y="4391439"/>
              <a:ext cx="131762" cy="50800"/>
            </a:xfrm>
            <a:custGeom>
              <a:avLst/>
              <a:gdLst>
                <a:gd name="T0" fmla="*/ 51 w 368"/>
                <a:gd name="T1" fmla="*/ 1 h 140"/>
                <a:gd name="T2" fmla="*/ 185 w 368"/>
                <a:gd name="T3" fmla="*/ 87 h 140"/>
                <a:gd name="T4" fmla="*/ 316 w 368"/>
                <a:gd name="T5" fmla="*/ 0 h 140"/>
                <a:gd name="T6" fmla="*/ 367 w 368"/>
                <a:gd name="T7" fmla="*/ 0 h 140"/>
                <a:gd name="T8" fmla="*/ 189 w 368"/>
                <a:gd name="T9" fmla="*/ 139 h 140"/>
                <a:gd name="T10" fmla="*/ 185 w 368"/>
                <a:gd name="T11" fmla="*/ 139 h 140"/>
                <a:gd name="T12" fmla="*/ 0 w 368"/>
                <a:gd name="T13" fmla="*/ 1 h 140"/>
                <a:gd name="T14" fmla="*/ 51 w 368"/>
                <a:gd name="T15" fmla="*/ 1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140">
                  <a:moveTo>
                    <a:pt x="51" y="1"/>
                  </a:moveTo>
                  <a:cubicBezTo>
                    <a:pt x="77" y="43"/>
                    <a:pt x="120" y="85"/>
                    <a:pt x="185" y="87"/>
                  </a:cubicBezTo>
                  <a:cubicBezTo>
                    <a:pt x="251" y="88"/>
                    <a:pt x="292" y="43"/>
                    <a:pt x="316" y="0"/>
                  </a:cubicBezTo>
                  <a:lnTo>
                    <a:pt x="367" y="0"/>
                  </a:lnTo>
                  <a:cubicBezTo>
                    <a:pt x="324" y="91"/>
                    <a:pt x="263" y="139"/>
                    <a:pt x="189" y="139"/>
                  </a:cubicBezTo>
                  <a:lnTo>
                    <a:pt x="185" y="139"/>
                  </a:lnTo>
                  <a:cubicBezTo>
                    <a:pt x="85" y="137"/>
                    <a:pt x="28" y="57"/>
                    <a:pt x="0" y="1"/>
                  </a:cubicBezTo>
                  <a:lnTo>
                    <a:pt x="51" y="1"/>
                  </a:lnTo>
                </a:path>
              </a:pathLst>
            </a:custGeom>
            <a:solidFill>
              <a:srgbClr val="5C8B7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sp>
          <p:nvSpPr>
            <p:cNvPr id="35" name="Freeform 73"/>
            <p:cNvSpPr>
              <a:spLocks noChangeArrowheads="1"/>
            </p:cNvSpPr>
            <p:nvPr/>
          </p:nvSpPr>
          <p:spPr bwMode="auto">
            <a:xfrm>
              <a:off x="8251826" y="4391439"/>
              <a:ext cx="349250" cy="257175"/>
            </a:xfrm>
            <a:custGeom>
              <a:avLst/>
              <a:gdLst>
                <a:gd name="T0" fmla="*/ 963 w 970"/>
                <a:gd name="T1" fmla="*/ 134 h 716"/>
                <a:gd name="T2" fmla="*/ 963 w 970"/>
                <a:gd name="T3" fmla="*/ 134 h 716"/>
                <a:gd name="T4" fmla="*/ 969 w 970"/>
                <a:gd name="T5" fmla="*/ 153 h 716"/>
                <a:gd name="T6" fmla="*/ 905 w 970"/>
                <a:gd name="T7" fmla="*/ 302 h 716"/>
                <a:gd name="T8" fmla="*/ 888 w 970"/>
                <a:gd name="T9" fmla="*/ 310 h 716"/>
                <a:gd name="T10" fmla="*/ 744 w 970"/>
                <a:gd name="T11" fmla="*/ 238 h 716"/>
                <a:gd name="T12" fmla="*/ 745 w 970"/>
                <a:gd name="T13" fmla="*/ 698 h 716"/>
                <a:gd name="T14" fmla="*/ 731 w 970"/>
                <a:gd name="T15" fmla="*/ 713 h 716"/>
                <a:gd name="T16" fmla="*/ 241 w 970"/>
                <a:gd name="T17" fmla="*/ 715 h 716"/>
                <a:gd name="T18" fmla="*/ 227 w 970"/>
                <a:gd name="T19" fmla="*/ 700 h 716"/>
                <a:gd name="T20" fmla="*/ 226 w 970"/>
                <a:gd name="T21" fmla="*/ 240 h 716"/>
                <a:gd name="T22" fmla="*/ 82 w 970"/>
                <a:gd name="T23" fmla="*/ 312 h 716"/>
                <a:gd name="T24" fmla="*/ 65 w 970"/>
                <a:gd name="T25" fmla="*/ 304 h 716"/>
                <a:gd name="T26" fmla="*/ 0 w 970"/>
                <a:gd name="T27" fmla="*/ 156 h 716"/>
                <a:gd name="T28" fmla="*/ 5 w 970"/>
                <a:gd name="T29" fmla="*/ 137 h 716"/>
                <a:gd name="T30" fmla="*/ 184 w 970"/>
                <a:gd name="T31" fmla="*/ 23 h 716"/>
                <a:gd name="T32" fmla="*/ 256 w 970"/>
                <a:gd name="T33" fmla="*/ 2 h 716"/>
                <a:gd name="T34" fmla="*/ 352 w 970"/>
                <a:gd name="T35" fmla="*/ 2 h 716"/>
                <a:gd name="T36" fmla="*/ 486 w 970"/>
                <a:gd name="T37" fmla="*/ 88 h 716"/>
                <a:gd name="T38" fmla="*/ 617 w 970"/>
                <a:gd name="T39" fmla="*/ 1 h 716"/>
                <a:gd name="T40" fmla="*/ 712 w 970"/>
                <a:gd name="T41" fmla="*/ 0 h 716"/>
                <a:gd name="T42" fmla="*/ 784 w 970"/>
                <a:gd name="T43" fmla="*/ 21 h 716"/>
                <a:gd name="T44" fmla="*/ 963 w 970"/>
                <a:gd name="T45" fmla="*/ 134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0" h="716">
                  <a:moveTo>
                    <a:pt x="963" y="134"/>
                  </a:moveTo>
                  <a:lnTo>
                    <a:pt x="963" y="134"/>
                  </a:lnTo>
                  <a:lnTo>
                    <a:pt x="969" y="153"/>
                  </a:lnTo>
                  <a:lnTo>
                    <a:pt x="905" y="302"/>
                  </a:lnTo>
                  <a:lnTo>
                    <a:pt x="888" y="310"/>
                  </a:lnTo>
                  <a:lnTo>
                    <a:pt x="744" y="238"/>
                  </a:lnTo>
                  <a:lnTo>
                    <a:pt x="745" y="698"/>
                  </a:lnTo>
                  <a:cubicBezTo>
                    <a:pt x="745" y="706"/>
                    <a:pt x="739" y="713"/>
                    <a:pt x="731" y="713"/>
                  </a:cubicBezTo>
                  <a:lnTo>
                    <a:pt x="241" y="715"/>
                  </a:lnTo>
                  <a:cubicBezTo>
                    <a:pt x="233" y="715"/>
                    <a:pt x="227" y="708"/>
                    <a:pt x="227" y="700"/>
                  </a:cubicBezTo>
                  <a:lnTo>
                    <a:pt x="226" y="240"/>
                  </a:lnTo>
                  <a:lnTo>
                    <a:pt x="82" y="312"/>
                  </a:lnTo>
                  <a:lnTo>
                    <a:pt x="65" y="304"/>
                  </a:lnTo>
                  <a:lnTo>
                    <a:pt x="0" y="156"/>
                  </a:lnTo>
                  <a:lnTo>
                    <a:pt x="5" y="137"/>
                  </a:lnTo>
                  <a:lnTo>
                    <a:pt x="184" y="23"/>
                  </a:lnTo>
                  <a:cubicBezTo>
                    <a:pt x="206" y="9"/>
                    <a:pt x="231" y="2"/>
                    <a:pt x="256" y="2"/>
                  </a:cubicBezTo>
                  <a:lnTo>
                    <a:pt x="352" y="2"/>
                  </a:lnTo>
                  <a:cubicBezTo>
                    <a:pt x="378" y="44"/>
                    <a:pt x="421" y="86"/>
                    <a:pt x="486" y="88"/>
                  </a:cubicBezTo>
                  <a:cubicBezTo>
                    <a:pt x="552" y="89"/>
                    <a:pt x="593" y="44"/>
                    <a:pt x="617" y="1"/>
                  </a:cubicBezTo>
                  <a:lnTo>
                    <a:pt x="712" y="0"/>
                  </a:lnTo>
                  <a:cubicBezTo>
                    <a:pt x="737" y="0"/>
                    <a:pt x="762" y="7"/>
                    <a:pt x="784" y="21"/>
                  </a:cubicBezTo>
                  <a:lnTo>
                    <a:pt x="963" y="134"/>
                  </a:lnTo>
                </a:path>
              </a:pathLst>
            </a:custGeom>
            <a:noFill/>
            <a:ln w="6480" cap="flat">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buNone/>
              </a:pPr>
              <a:endParaRPr lang="ru-RU">
                <a:latin typeface="Arial" pitchFamily="34" charset="0"/>
                <a:cs typeface="Arial" pitchFamily="34" charset="0"/>
              </a:endParaRPr>
            </a:p>
          </p:txBody>
        </p:sp>
      </p:grpSp>
      <p:sp>
        <p:nvSpPr>
          <p:cNvPr id="36" name="Text Box 59"/>
          <p:cNvSpPr txBox="1">
            <a:spLocks noChangeAspect="1" noChangeArrowheads="1"/>
          </p:cNvSpPr>
          <p:nvPr/>
        </p:nvSpPr>
        <p:spPr bwMode="auto">
          <a:xfrm>
            <a:off x="6159781" y="3314400"/>
            <a:ext cx="2754295" cy="288000"/>
          </a:xfrm>
          <a:prstGeom prst="rect">
            <a:avLst/>
          </a:prstGeom>
          <a:noFill/>
          <a:ln w="9525">
            <a:noFill/>
            <a:round/>
            <a:headEnd/>
            <a:tailEnd/>
          </a:ln>
        </p:spPr>
        <p:txBody>
          <a:bodyPr lIns="0" tIns="6173" rIns="0" bIns="0" anchor="ctr">
            <a:prstTxWarp prst="textNoShape">
              <a:avLst/>
            </a:prstTxWarp>
          </a:bodyPr>
          <a:lstStyle/>
          <a:p>
            <a:pPr>
              <a:buNone/>
            </a:pPr>
            <a:r>
              <a:rPr lang="en-US" sz="1500" b="1" dirty="0">
                <a:solidFill>
                  <a:srgbClr val="BE1839"/>
                </a:solidFill>
                <a:latin typeface="微軟正黑體" panose="020B0604030504040204" pitchFamily="34" charset="-120"/>
                <a:ea typeface="微軟正黑體" panose="020B0604030504040204" pitchFamily="34" charset="-120"/>
                <a:cs typeface="Arial" pitchFamily="34" charset="0"/>
              </a:rPr>
              <a:t>Product Categories – </a:t>
            </a:r>
            <a:r>
              <a:rPr lang="zh-TW" altLang="en-US" sz="1500" b="1" dirty="0">
                <a:solidFill>
                  <a:srgbClr val="BE1839"/>
                </a:solidFill>
                <a:latin typeface="微軟正黑體" panose="020B0604030504040204" pitchFamily="34" charset="-120"/>
                <a:ea typeface="微軟正黑體" panose="020B0604030504040204" pitchFamily="34" charset="-120"/>
                <a:cs typeface="Arial" pitchFamily="34" charset="0"/>
              </a:rPr>
              <a:t>產品種類</a:t>
            </a:r>
            <a:endParaRPr lang="en-US" sz="1500" b="1"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pic>
        <p:nvPicPr>
          <p:cNvPr id="37" name="Picture 105"/>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003425" y="2753875"/>
            <a:ext cx="8134350"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Text Box 59"/>
          <p:cNvSpPr txBox="1">
            <a:spLocks noChangeAspect="1" noChangeArrowheads="1"/>
          </p:cNvSpPr>
          <p:nvPr/>
        </p:nvSpPr>
        <p:spPr bwMode="auto">
          <a:xfrm>
            <a:off x="2135560" y="1377357"/>
            <a:ext cx="1463303" cy="666754"/>
          </a:xfrm>
          <a:prstGeom prst="rect">
            <a:avLst/>
          </a:prstGeom>
          <a:noFill/>
          <a:ln w="9525">
            <a:noFill/>
            <a:round/>
            <a:headEnd/>
            <a:tailEnd/>
          </a:ln>
        </p:spPr>
        <p:txBody>
          <a:bodyPr lIns="0" tIns="6173" rIns="0" bIns="0">
            <a:prstTxWarp prst="textNoShape">
              <a:avLst/>
            </a:prstTxWarp>
          </a:bodyPr>
          <a:lstStyle/>
          <a:p>
            <a:pPr>
              <a:spcAft>
                <a:spcPts val="200"/>
              </a:spcAft>
            </a:pPr>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Set up in 1986   </a:t>
            </a:r>
            <a:b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br>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a:p>
            <a:pPr>
              <a:spcAft>
                <a:spcPts val="200"/>
              </a:spcAft>
            </a:pPr>
            <a:endParaRPr lang="en-US" sz="1200" b="1" dirty="0">
              <a:solidFill>
                <a:srgbClr val="53597D"/>
              </a:solidFill>
              <a:latin typeface="微軟正黑體" panose="020B0604030504040204" pitchFamily="34" charset="-120"/>
              <a:ea typeface="微軟正黑體" panose="020B0604030504040204" pitchFamily="34" charset="-120"/>
              <a:cs typeface="Arial" pitchFamily="34" charset="0"/>
            </a:endParaRPr>
          </a:p>
        </p:txBody>
      </p:sp>
      <p:grpSp>
        <p:nvGrpSpPr>
          <p:cNvPr id="39" name="Group 60"/>
          <p:cNvGrpSpPr/>
          <p:nvPr/>
        </p:nvGrpSpPr>
        <p:grpSpPr>
          <a:xfrm>
            <a:off x="2033589" y="1366723"/>
            <a:ext cx="6626087" cy="1354774"/>
            <a:chOff x="509588" y="1372014"/>
            <a:chExt cx="6626087" cy="1179512"/>
          </a:xfrm>
        </p:grpSpPr>
        <p:cxnSp>
          <p:nvCxnSpPr>
            <p:cNvPr id="40" name="Straight Connector 61"/>
            <p:cNvCxnSpPr/>
            <p:nvPr/>
          </p:nvCxnSpPr>
          <p:spPr>
            <a:xfrm>
              <a:off x="509588"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1" name="Straight Connector 62"/>
            <p:cNvCxnSpPr/>
            <p:nvPr/>
          </p:nvCxnSpPr>
          <p:spPr>
            <a:xfrm>
              <a:off x="2166110"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2" name="Straight Connector 63"/>
            <p:cNvCxnSpPr/>
            <p:nvPr/>
          </p:nvCxnSpPr>
          <p:spPr>
            <a:xfrm>
              <a:off x="3822632"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3" name="Straight Connector 64"/>
            <p:cNvCxnSpPr/>
            <p:nvPr/>
          </p:nvCxnSpPr>
          <p:spPr>
            <a:xfrm>
              <a:off x="5479154"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4" name="Straight Connector 65"/>
            <p:cNvCxnSpPr/>
            <p:nvPr/>
          </p:nvCxnSpPr>
          <p:spPr>
            <a:xfrm>
              <a:off x="7135675"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grpSp>
      <p:sp>
        <p:nvSpPr>
          <p:cNvPr id="45" name="Text Box 59"/>
          <p:cNvSpPr txBox="1">
            <a:spLocks noChangeAspect="1" noChangeArrowheads="1"/>
          </p:cNvSpPr>
          <p:nvPr/>
        </p:nvSpPr>
        <p:spPr bwMode="auto">
          <a:xfrm>
            <a:off x="3752893" y="1366724"/>
            <a:ext cx="1554550" cy="690138"/>
          </a:xfrm>
          <a:prstGeom prst="rect">
            <a:avLst/>
          </a:prstGeom>
          <a:noFill/>
          <a:ln w="9525">
            <a:noFill/>
            <a:round/>
            <a:headEnd/>
            <a:tailEnd/>
          </a:ln>
        </p:spPr>
        <p:txBody>
          <a:bodyPr lIns="0" tIns="6173" rIns="0" bIns="0">
            <a:prstTxWarp prst="textNoShape">
              <a:avLst/>
            </a:prstTxWarp>
          </a:bodyPr>
          <a:lstStyle/>
          <a:p>
            <a:pPr>
              <a:spcAft>
                <a:spcPts val="200"/>
              </a:spcAft>
            </a:pPr>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Office &amp; Lab located in Beitou, Taipei </a:t>
            </a:r>
            <a:b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br>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sp>
        <p:nvSpPr>
          <p:cNvPr id="46" name="Text Box 59"/>
          <p:cNvSpPr txBox="1">
            <a:spLocks noChangeAspect="1" noChangeArrowheads="1"/>
          </p:cNvSpPr>
          <p:nvPr/>
        </p:nvSpPr>
        <p:spPr bwMode="auto">
          <a:xfrm>
            <a:off x="5447928" y="1366723"/>
            <a:ext cx="1395412" cy="1354774"/>
          </a:xfrm>
          <a:prstGeom prst="rect">
            <a:avLst/>
          </a:prstGeom>
          <a:noFill/>
          <a:ln w="9525">
            <a:noFill/>
            <a:round/>
            <a:headEnd/>
            <a:tailEnd/>
          </a:ln>
        </p:spPr>
        <p:txBody>
          <a:bodyPr lIns="0" tIns="6173" rIns="0" bIns="0">
            <a:prstTxWarp prst="textNoShape">
              <a:avLst/>
            </a:prstTxWarp>
          </a:bodyPr>
          <a:lstStyle/>
          <a:p>
            <a:pPr>
              <a:spcAft>
                <a:spcPts val="200"/>
              </a:spcAft>
            </a:pPr>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Four laboratories: Softline, Hardline, Analytical and Microbiological</a:t>
            </a:r>
          </a:p>
        </p:txBody>
      </p:sp>
      <p:sp>
        <p:nvSpPr>
          <p:cNvPr id="47" name="Text Box 59"/>
          <p:cNvSpPr txBox="1">
            <a:spLocks noChangeAspect="1" noChangeArrowheads="1"/>
          </p:cNvSpPr>
          <p:nvPr/>
        </p:nvSpPr>
        <p:spPr bwMode="auto">
          <a:xfrm>
            <a:off x="7086082" y="1383303"/>
            <a:ext cx="1439147" cy="810154"/>
          </a:xfrm>
          <a:prstGeom prst="rect">
            <a:avLst/>
          </a:prstGeom>
          <a:noFill/>
          <a:ln w="9525">
            <a:noFill/>
            <a:round/>
            <a:headEnd/>
            <a:tailEnd/>
          </a:ln>
        </p:spPr>
        <p:txBody>
          <a:bodyPr lIns="0" tIns="6173" rIns="0" bIns="0">
            <a:prstTxWarp prst="textNoShape">
              <a:avLst/>
            </a:prstTxWarp>
          </a:bodyPr>
          <a:lstStyle/>
          <a:p>
            <a:pPr>
              <a:spcAft>
                <a:spcPts val="200"/>
              </a:spcAft>
            </a:pPr>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IAA service: Inspection, Audit &amp; Assessment  </a:t>
            </a:r>
          </a:p>
        </p:txBody>
      </p:sp>
      <p:sp>
        <p:nvSpPr>
          <p:cNvPr id="48" name="Text Box 59"/>
          <p:cNvSpPr txBox="1">
            <a:spLocks noChangeAspect="1" noChangeArrowheads="1"/>
          </p:cNvSpPr>
          <p:nvPr/>
        </p:nvSpPr>
        <p:spPr bwMode="auto">
          <a:xfrm>
            <a:off x="8748395" y="1366724"/>
            <a:ext cx="1404205" cy="677387"/>
          </a:xfrm>
          <a:prstGeom prst="rect">
            <a:avLst/>
          </a:prstGeom>
          <a:noFill/>
          <a:ln w="9525">
            <a:noFill/>
            <a:round/>
            <a:headEnd/>
            <a:tailEnd/>
          </a:ln>
        </p:spPr>
        <p:txBody>
          <a:bodyPr lIns="0" tIns="6173" rIns="0" bIns="0">
            <a:prstTxWarp prst="textNoShape">
              <a:avLst/>
            </a:prstTxWarp>
          </a:bodyPr>
          <a:lstStyle/>
          <a:p>
            <a:pPr>
              <a:spcAft>
                <a:spcPts val="200"/>
              </a:spcAft>
            </a:pPr>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Number of Employees: 2</a:t>
            </a:r>
            <a:r>
              <a:rPr lang="en-US" altLang="zh-TW" sz="1200" b="1" dirty="0">
                <a:solidFill>
                  <a:srgbClr val="BE1839"/>
                </a:solidFill>
                <a:latin typeface="微軟正黑體" panose="020B0604030504040204" pitchFamily="34" charset="-120"/>
                <a:ea typeface="微軟正黑體" panose="020B0604030504040204" pitchFamily="34" charset="-120"/>
                <a:cs typeface="Arial" pitchFamily="34" charset="0"/>
              </a:rPr>
              <a:t>2</a:t>
            </a:r>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0</a:t>
            </a:r>
          </a:p>
        </p:txBody>
      </p:sp>
      <p:sp>
        <p:nvSpPr>
          <p:cNvPr id="49" name="Text Box 59"/>
          <p:cNvSpPr txBox="1">
            <a:spLocks noChangeAspect="1" noChangeArrowheads="1"/>
          </p:cNvSpPr>
          <p:nvPr/>
        </p:nvSpPr>
        <p:spPr bwMode="auto">
          <a:xfrm>
            <a:off x="6159780" y="3644601"/>
            <a:ext cx="3290716" cy="2687908"/>
          </a:xfrm>
          <a:prstGeom prst="rect">
            <a:avLst/>
          </a:prstGeom>
          <a:noFill/>
          <a:ln w="9525">
            <a:noFill/>
            <a:round/>
            <a:headEnd/>
            <a:tailEnd/>
          </a:ln>
        </p:spPr>
        <p:txBody>
          <a:bodyPr lIns="0" tIns="6173" rIns="0" bIns="0">
            <a:prstTxWarp prst="textNoShape">
              <a:avLst/>
            </a:prstTxWarp>
          </a:bodyPr>
          <a:lstStyle/>
          <a:p>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Electrical &amp; Electronic Products</a:t>
            </a:r>
            <a:r>
              <a:rPr lang="zh-TW" altLang="en-US" sz="1200" b="1" dirty="0">
                <a:solidFill>
                  <a:srgbClr val="BE1839"/>
                </a:solidFill>
                <a:latin typeface="微軟正黑體" panose="020B0604030504040204" pitchFamily="34" charset="-120"/>
                <a:ea typeface="微軟正黑體" panose="020B0604030504040204" pitchFamily="34" charset="-120"/>
                <a:cs typeface="Arial" pitchFamily="34" charset="0"/>
              </a:rPr>
              <a:t>  電子電機產品</a:t>
            </a:r>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a:p>
            <a:r>
              <a:rPr lang="en-US" sz="1000" dirty="0">
                <a:solidFill>
                  <a:srgbClr val="6E6D5E"/>
                </a:solidFill>
                <a:latin typeface="微軟正黑體" panose="020B0604030504040204" pitchFamily="34" charset="-120"/>
                <a:ea typeface="微軟正黑體" panose="020B0604030504040204" pitchFamily="34" charset="-120"/>
                <a:cs typeface="Arial" pitchFamily="34" charset="0"/>
              </a:rPr>
              <a:t>Lighting, Tools, Household Appliances (Large / Small), HVAC,     AV / IT Equipment, Fixed Line Telecoms, Photovoltaic Products</a:t>
            </a:r>
          </a:p>
          <a:p>
            <a:endParaRPr lang="en-US" sz="900" b="1" dirty="0">
              <a:solidFill>
                <a:srgbClr val="BE1839"/>
              </a:solidFill>
              <a:latin typeface="微軟正黑體" panose="020B0604030504040204" pitchFamily="34" charset="-120"/>
              <a:ea typeface="微軟正黑體" panose="020B0604030504040204" pitchFamily="34" charset="-120"/>
              <a:cs typeface="Arial" pitchFamily="34" charset="0"/>
            </a:endParaRPr>
          </a:p>
          <a:p>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Softlines </a:t>
            </a:r>
            <a:r>
              <a:rPr lang="zh-TW" altLang="en-US" sz="1200" b="1" dirty="0">
                <a:solidFill>
                  <a:srgbClr val="BE1839"/>
                </a:solidFill>
                <a:latin typeface="微軟正黑體" panose="020B0604030504040204" pitchFamily="34" charset="-120"/>
                <a:ea typeface="微軟正黑體" panose="020B0604030504040204" pitchFamily="34" charset="-120"/>
                <a:cs typeface="Arial" pitchFamily="34" charset="0"/>
              </a:rPr>
              <a:t>紡織類產品</a:t>
            </a:r>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a:p>
            <a:r>
              <a:rPr lang="en-US" sz="1000" dirty="0">
                <a:solidFill>
                  <a:srgbClr val="6E6D5E"/>
                </a:solidFill>
                <a:latin typeface="微軟正黑體" panose="020B0604030504040204" pitchFamily="34" charset="-120"/>
                <a:ea typeface="微軟正黑體" panose="020B0604030504040204" pitchFamily="34" charset="-120"/>
                <a:cs typeface="Arial" pitchFamily="34" charset="0"/>
              </a:rPr>
              <a:t>Textiles and Fabrics, Garments, Trims and Accessories, Leather Goods,  Hosiery, Footwear</a:t>
            </a:r>
            <a:endParaRPr lang="en-US" sz="1000" dirty="0">
              <a:solidFill>
                <a:srgbClr val="BE1839"/>
              </a:solidFill>
              <a:latin typeface="微軟正黑體" panose="020B0604030504040204" pitchFamily="34" charset="-120"/>
              <a:ea typeface="微軟正黑體" panose="020B0604030504040204" pitchFamily="34" charset="-120"/>
              <a:cs typeface="Arial" pitchFamily="34" charset="0"/>
            </a:endParaRPr>
          </a:p>
          <a:p>
            <a:endParaRPr lang="en-US" sz="900" b="1" dirty="0">
              <a:solidFill>
                <a:srgbClr val="BE1839"/>
              </a:solidFill>
              <a:latin typeface="微軟正黑體" panose="020B0604030504040204" pitchFamily="34" charset="-120"/>
              <a:ea typeface="微軟正黑體" panose="020B0604030504040204" pitchFamily="34" charset="-120"/>
              <a:cs typeface="Arial" pitchFamily="34" charset="0"/>
            </a:endParaRPr>
          </a:p>
          <a:p>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Toys and Juvenile Products</a:t>
            </a:r>
            <a:r>
              <a:rPr lang="zh-TW" altLang="en-US" sz="1200" b="1" dirty="0">
                <a:solidFill>
                  <a:srgbClr val="BE1839"/>
                </a:solidFill>
                <a:latin typeface="微軟正黑體" panose="020B0604030504040204" pitchFamily="34" charset="-120"/>
                <a:ea typeface="微軟正黑體" panose="020B0604030504040204" pitchFamily="34" charset="-120"/>
                <a:cs typeface="Arial" pitchFamily="34" charset="0"/>
              </a:rPr>
              <a:t> 玩具及青少年產品</a:t>
            </a:r>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a:p>
            <a:r>
              <a:rPr lang="en-US" sz="1000" dirty="0">
                <a:solidFill>
                  <a:srgbClr val="6E6D5E"/>
                </a:solidFill>
                <a:latin typeface="微軟正黑體" panose="020B0604030504040204" pitchFamily="34" charset="-120"/>
                <a:ea typeface="微軟正黑體" panose="020B0604030504040204" pitchFamily="34" charset="-120"/>
                <a:cs typeface="Arial" pitchFamily="34" charset="0"/>
              </a:rPr>
              <a:t>Plush Toys, Electrical / Battery-operated Toys, Art and Craft Toys, Educational Toys, Liquid-filled Toys, Juvenile Products</a:t>
            </a:r>
            <a:endParaRPr lang="en-US" sz="1000" dirty="0">
              <a:solidFill>
                <a:srgbClr val="BE1839"/>
              </a:solidFill>
              <a:latin typeface="微軟正黑體" panose="020B0604030504040204" pitchFamily="34" charset="-120"/>
              <a:ea typeface="微軟正黑體" panose="020B0604030504040204" pitchFamily="34" charset="-120"/>
              <a:cs typeface="Arial" pitchFamily="34" charset="0"/>
            </a:endParaRPr>
          </a:p>
          <a:p>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a:p>
            <a:r>
              <a:rPr lang="en-US" sz="1200" b="1" dirty="0">
                <a:solidFill>
                  <a:srgbClr val="BE1839"/>
                </a:solidFill>
                <a:latin typeface="微軟正黑體" panose="020B0604030504040204" pitchFamily="34" charset="-120"/>
                <a:ea typeface="微軟正黑體" panose="020B0604030504040204" pitchFamily="34" charset="-120"/>
                <a:cs typeface="Arial" pitchFamily="34" charset="0"/>
              </a:rPr>
              <a:t>Hardlines</a:t>
            </a:r>
            <a:r>
              <a:rPr lang="zh-TW" altLang="en-US" sz="1200" b="1" dirty="0">
                <a:solidFill>
                  <a:srgbClr val="BE1839"/>
                </a:solidFill>
                <a:latin typeface="微軟正黑體" panose="020B0604030504040204" pitchFamily="34" charset="-120"/>
                <a:ea typeface="微軟正黑體" panose="020B0604030504040204" pitchFamily="34" charset="-120"/>
                <a:cs typeface="Arial" pitchFamily="34" charset="0"/>
              </a:rPr>
              <a:t> 雜貨類產品</a:t>
            </a:r>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a:p>
            <a:r>
              <a:rPr lang="en-US" sz="1000" dirty="0">
                <a:solidFill>
                  <a:srgbClr val="6E6D5E"/>
                </a:solidFill>
                <a:latin typeface="微軟正黑體" panose="020B0604030504040204" pitchFamily="34" charset="-120"/>
                <a:ea typeface="微軟正黑體" panose="020B0604030504040204" pitchFamily="34" charset="-120"/>
                <a:cs typeface="Arial" pitchFamily="34" charset="0"/>
              </a:rPr>
              <a:t>Furniture, Jewelry &amp; Sunglasses, Tableware &amp; Kitchen,  Utensils, Bags &amp; Luggage, Bicycles, Lighters, Packaging, Seasonal Gifts &amp; Decorative Items, Protective Equipment</a:t>
            </a:r>
            <a:endParaRPr lang="en-US" sz="1000"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grpSp>
        <p:nvGrpSpPr>
          <p:cNvPr id="50" name="Group 129"/>
          <p:cNvGrpSpPr>
            <a:grpSpLocks noChangeAspect="1"/>
          </p:cNvGrpSpPr>
          <p:nvPr/>
        </p:nvGrpSpPr>
        <p:grpSpPr bwMode="auto">
          <a:xfrm>
            <a:off x="9566376" y="4939647"/>
            <a:ext cx="475200" cy="301368"/>
            <a:chOff x="1419225" y="4121150"/>
            <a:chExt cx="946150" cy="600075"/>
          </a:xfrm>
        </p:grpSpPr>
        <p:sp>
          <p:nvSpPr>
            <p:cNvPr id="51" name="Freeform 35"/>
            <p:cNvSpPr>
              <a:spLocks noChangeArrowheads="1"/>
            </p:cNvSpPr>
            <p:nvPr/>
          </p:nvSpPr>
          <p:spPr bwMode="auto">
            <a:xfrm>
              <a:off x="1765300" y="4121150"/>
              <a:ext cx="273050" cy="271463"/>
            </a:xfrm>
            <a:custGeom>
              <a:avLst/>
              <a:gdLst>
                <a:gd name="T0" fmla="*/ 192975 w 757"/>
                <a:gd name="T1" fmla="*/ 213292 h 756"/>
                <a:gd name="T2" fmla="*/ 211731 w 757"/>
                <a:gd name="T3" fmla="*/ 234478 h 756"/>
                <a:gd name="T4" fmla="*/ 48695 w 757"/>
                <a:gd name="T5" fmla="*/ 223347 h 756"/>
                <a:gd name="T6" fmla="*/ 48695 w 757"/>
                <a:gd name="T7" fmla="*/ 48476 h 756"/>
                <a:gd name="T8" fmla="*/ 224716 w 757"/>
                <a:gd name="T9" fmla="*/ 48476 h 756"/>
                <a:gd name="T10" fmla="*/ 235537 w 757"/>
                <a:gd name="T11" fmla="*/ 210420 h 756"/>
                <a:gd name="T12" fmla="*/ 214617 w 757"/>
                <a:gd name="T13" fmla="*/ 192107 h 756"/>
                <a:gd name="T14" fmla="*/ 204878 w 757"/>
                <a:gd name="T15" fmla="*/ 68225 h 756"/>
                <a:gd name="T16" fmla="*/ 68533 w 757"/>
                <a:gd name="T17" fmla="*/ 67866 h 756"/>
                <a:gd name="T18" fmla="*/ 68533 w 757"/>
                <a:gd name="T19" fmla="*/ 203597 h 756"/>
                <a:gd name="T20" fmla="*/ 192975 w 757"/>
                <a:gd name="T21" fmla="*/ 213292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535" y="594"/>
                  </a:moveTo>
                  <a:cubicBezTo>
                    <a:pt x="554" y="613"/>
                    <a:pt x="571" y="633"/>
                    <a:pt x="587" y="653"/>
                  </a:cubicBezTo>
                  <a:cubicBezTo>
                    <a:pt x="452" y="755"/>
                    <a:pt x="258" y="745"/>
                    <a:pt x="135" y="622"/>
                  </a:cubicBezTo>
                  <a:cubicBezTo>
                    <a:pt x="0" y="488"/>
                    <a:pt x="0" y="269"/>
                    <a:pt x="135" y="135"/>
                  </a:cubicBezTo>
                  <a:cubicBezTo>
                    <a:pt x="269" y="0"/>
                    <a:pt x="488" y="0"/>
                    <a:pt x="623" y="135"/>
                  </a:cubicBezTo>
                  <a:cubicBezTo>
                    <a:pt x="746" y="258"/>
                    <a:pt x="756" y="451"/>
                    <a:pt x="653" y="586"/>
                  </a:cubicBezTo>
                  <a:cubicBezTo>
                    <a:pt x="633" y="571"/>
                    <a:pt x="613" y="554"/>
                    <a:pt x="595" y="535"/>
                  </a:cubicBezTo>
                  <a:cubicBezTo>
                    <a:pt x="671" y="431"/>
                    <a:pt x="662" y="284"/>
                    <a:pt x="568" y="190"/>
                  </a:cubicBezTo>
                  <a:cubicBezTo>
                    <a:pt x="463" y="85"/>
                    <a:pt x="294" y="85"/>
                    <a:pt x="190" y="189"/>
                  </a:cubicBezTo>
                  <a:cubicBezTo>
                    <a:pt x="86" y="294"/>
                    <a:pt x="85" y="463"/>
                    <a:pt x="190" y="567"/>
                  </a:cubicBezTo>
                  <a:cubicBezTo>
                    <a:pt x="284" y="661"/>
                    <a:pt x="431" y="670"/>
                    <a:pt x="535" y="594"/>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2" name="Freeform 39"/>
            <p:cNvSpPr>
              <a:spLocks noChangeArrowheads="1"/>
            </p:cNvSpPr>
            <p:nvPr/>
          </p:nvSpPr>
          <p:spPr bwMode="auto">
            <a:xfrm>
              <a:off x="2092325" y="4121150"/>
              <a:ext cx="273050" cy="271463"/>
            </a:xfrm>
            <a:custGeom>
              <a:avLst/>
              <a:gdLst>
                <a:gd name="T0" fmla="*/ 58073 w 757"/>
                <a:gd name="T1" fmla="*/ 192107 h 756"/>
                <a:gd name="T2" fmla="*/ 37152 w 757"/>
                <a:gd name="T3" fmla="*/ 210420 h 756"/>
                <a:gd name="T4" fmla="*/ 48334 w 757"/>
                <a:gd name="T5" fmla="*/ 48476 h 756"/>
                <a:gd name="T6" fmla="*/ 223995 w 757"/>
                <a:gd name="T7" fmla="*/ 48476 h 756"/>
                <a:gd name="T8" fmla="*/ 223995 w 757"/>
                <a:gd name="T9" fmla="*/ 223347 h 756"/>
                <a:gd name="T10" fmla="*/ 60958 w 757"/>
                <a:gd name="T11" fmla="*/ 234478 h 756"/>
                <a:gd name="T12" fmla="*/ 79715 w 757"/>
                <a:gd name="T13" fmla="*/ 213292 h 756"/>
                <a:gd name="T14" fmla="*/ 204517 w 757"/>
                <a:gd name="T15" fmla="*/ 203597 h 756"/>
                <a:gd name="T16" fmla="*/ 204156 w 757"/>
                <a:gd name="T17" fmla="*/ 68225 h 756"/>
                <a:gd name="T18" fmla="*/ 68172 w 757"/>
                <a:gd name="T19" fmla="*/ 67866 h 756"/>
                <a:gd name="T20" fmla="*/ 58073 w 757"/>
                <a:gd name="T21" fmla="*/ 192107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161" y="535"/>
                  </a:moveTo>
                  <a:cubicBezTo>
                    <a:pt x="143" y="554"/>
                    <a:pt x="123" y="571"/>
                    <a:pt x="103" y="586"/>
                  </a:cubicBezTo>
                  <a:cubicBezTo>
                    <a:pt x="0" y="451"/>
                    <a:pt x="10" y="258"/>
                    <a:pt x="134" y="135"/>
                  </a:cubicBezTo>
                  <a:cubicBezTo>
                    <a:pt x="268" y="0"/>
                    <a:pt x="487" y="0"/>
                    <a:pt x="621" y="135"/>
                  </a:cubicBezTo>
                  <a:cubicBezTo>
                    <a:pt x="756" y="269"/>
                    <a:pt x="756" y="488"/>
                    <a:pt x="621" y="622"/>
                  </a:cubicBezTo>
                  <a:cubicBezTo>
                    <a:pt x="498" y="745"/>
                    <a:pt x="305" y="755"/>
                    <a:pt x="169" y="653"/>
                  </a:cubicBezTo>
                  <a:cubicBezTo>
                    <a:pt x="185" y="633"/>
                    <a:pt x="202" y="613"/>
                    <a:pt x="221" y="594"/>
                  </a:cubicBezTo>
                  <a:cubicBezTo>
                    <a:pt x="325" y="670"/>
                    <a:pt x="472" y="661"/>
                    <a:pt x="567" y="567"/>
                  </a:cubicBezTo>
                  <a:cubicBezTo>
                    <a:pt x="671" y="463"/>
                    <a:pt x="671" y="294"/>
                    <a:pt x="566" y="190"/>
                  </a:cubicBezTo>
                  <a:cubicBezTo>
                    <a:pt x="462" y="85"/>
                    <a:pt x="293" y="85"/>
                    <a:pt x="189" y="189"/>
                  </a:cubicBezTo>
                  <a:cubicBezTo>
                    <a:pt x="94" y="284"/>
                    <a:pt x="86" y="431"/>
                    <a:pt x="161" y="535"/>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3" name="Freeform 34"/>
            <p:cNvSpPr>
              <a:spLocks noChangeArrowheads="1"/>
            </p:cNvSpPr>
            <p:nvPr/>
          </p:nvSpPr>
          <p:spPr bwMode="auto">
            <a:xfrm>
              <a:off x="1976438" y="4332288"/>
              <a:ext cx="177800" cy="177800"/>
            </a:xfrm>
            <a:custGeom>
              <a:avLst/>
              <a:gdLst>
                <a:gd name="T0" fmla="*/ 177440 w 494"/>
                <a:gd name="T1" fmla="*/ 153375 h 495"/>
                <a:gd name="T2" fmla="*/ 164843 w 494"/>
                <a:gd name="T3" fmla="*/ 164510 h 495"/>
                <a:gd name="T4" fmla="*/ 153685 w 494"/>
                <a:gd name="T5" fmla="*/ 177441 h 495"/>
                <a:gd name="T6" fmla="*/ 88900 w 494"/>
                <a:gd name="T7" fmla="*/ 152657 h 495"/>
                <a:gd name="T8" fmla="*/ 23755 w 494"/>
                <a:gd name="T9" fmla="*/ 177441 h 495"/>
                <a:gd name="T10" fmla="*/ 12957 w 494"/>
                <a:gd name="T11" fmla="*/ 164510 h 495"/>
                <a:gd name="T12" fmla="*/ 0 w 494"/>
                <a:gd name="T13" fmla="*/ 153375 h 495"/>
                <a:gd name="T14" fmla="*/ 24474 w 494"/>
                <a:gd name="T15" fmla="*/ 88720 h 495"/>
                <a:gd name="T16" fmla="*/ 0 w 494"/>
                <a:gd name="T17" fmla="*/ 24066 h 495"/>
                <a:gd name="T18" fmla="*/ 12957 w 494"/>
                <a:gd name="T19" fmla="*/ 12931 h 495"/>
                <a:gd name="T20" fmla="*/ 23755 w 494"/>
                <a:gd name="T21" fmla="*/ 0 h 495"/>
                <a:gd name="T22" fmla="*/ 88900 w 494"/>
                <a:gd name="T23" fmla="*/ 24784 h 495"/>
                <a:gd name="T24" fmla="*/ 153685 w 494"/>
                <a:gd name="T25" fmla="*/ 0 h 495"/>
                <a:gd name="T26" fmla="*/ 164843 w 494"/>
                <a:gd name="T27" fmla="*/ 12931 h 495"/>
                <a:gd name="T28" fmla="*/ 177440 w 494"/>
                <a:gd name="T29" fmla="*/ 24066 h 495"/>
                <a:gd name="T30" fmla="*/ 152966 w 494"/>
                <a:gd name="T31" fmla="*/ 88720 h 495"/>
                <a:gd name="T32" fmla="*/ 177440 w 494"/>
                <a:gd name="T33" fmla="*/ 153375 h 495"/>
                <a:gd name="T34" fmla="*/ 88900 w 494"/>
                <a:gd name="T35" fmla="*/ 119611 h 495"/>
                <a:gd name="T36" fmla="*/ 122372 w 494"/>
                <a:gd name="T37" fmla="*/ 86206 h 495"/>
                <a:gd name="T38" fmla="*/ 88900 w 494"/>
                <a:gd name="T39" fmla="*/ 52801 h 495"/>
                <a:gd name="T40" fmla="*/ 55068 w 494"/>
                <a:gd name="T41" fmla="*/ 86206 h 495"/>
                <a:gd name="T42" fmla="*/ 88900 w 494"/>
                <a:gd name="T43" fmla="*/ 119611 h 4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4"/>
                <a:gd name="T67" fmla="*/ 0 h 495"/>
                <a:gd name="T68" fmla="*/ 494 w 494"/>
                <a:gd name="T69" fmla="*/ 495 h 49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4" h="495">
                  <a:moveTo>
                    <a:pt x="493" y="427"/>
                  </a:moveTo>
                  <a:cubicBezTo>
                    <a:pt x="481" y="436"/>
                    <a:pt x="469" y="447"/>
                    <a:pt x="458" y="458"/>
                  </a:cubicBezTo>
                  <a:cubicBezTo>
                    <a:pt x="446" y="469"/>
                    <a:pt x="436" y="481"/>
                    <a:pt x="427" y="494"/>
                  </a:cubicBezTo>
                  <a:cubicBezTo>
                    <a:pt x="372" y="452"/>
                    <a:pt x="311" y="425"/>
                    <a:pt x="247" y="425"/>
                  </a:cubicBezTo>
                  <a:cubicBezTo>
                    <a:pt x="183" y="425"/>
                    <a:pt x="122" y="452"/>
                    <a:pt x="66" y="494"/>
                  </a:cubicBezTo>
                  <a:cubicBezTo>
                    <a:pt x="57" y="481"/>
                    <a:pt x="47" y="469"/>
                    <a:pt x="36" y="458"/>
                  </a:cubicBezTo>
                  <a:cubicBezTo>
                    <a:pt x="24" y="447"/>
                    <a:pt x="12" y="437"/>
                    <a:pt x="0" y="427"/>
                  </a:cubicBezTo>
                  <a:cubicBezTo>
                    <a:pt x="41" y="372"/>
                    <a:pt x="68" y="311"/>
                    <a:pt x="68" y="247"/>
                  </a:cubicBezTo>
                  <a:cubicBezTo>
                    <a:pt x="68" y="183"/>
                    <a:pt x="41" y="122"/>
                    <a:pt x="0" y="67"/>
                  </a:cubicBezTo>
                  <a:cubicBezTo>
                    <a:pt x="12" y="58"/>
                    <a:pt x="24" y="48"/>
                    <a:pt x="36" y="36"/>
                  </a:cubicBezTo>
                  <a:cubicBezTo>
                    <a:pt x="47" y="25"/>
                    <a:pt x="57" y="13"/>
                    <a:pt x="66" y="0"/>
                  </a:cubicBezTo>
                  <a:cubicBezTo>
                    <a:pt x="122" y="42"/>
                    <a:pt x="183" y="69"/>
                    <a:pt x="247" y="69"/>
                  </a:cubicBezTo>
                  <a:cubicBezTo>
                    <a:pt x="311" y="69"/>
                    <a:pt x="371" y="42"/>
                    <a:pt x="427" y="0"/>
                  </a:cubicBezTo>
                  <a:cubicBezTo>
                    <a:pt x="436" y="13"/>
                    <a:pt x="446" y="25"/>
                    <a:pt x="458" y="36"/>
                  </a:cubicBezTo>
                  <a:cubicBezTo>
                    <a:pt x="469" y="48"/>
                    <a:pt x="481" y="58"/>
                    <a:pt x="493" y="67"/>
                  </a:cubicBezTo>
                  <a:cubicBezTo>
                    <a:pt x="452" y="122"/>
                    <a:pt x="425" y="183"/>
                    <a:pt x="425" y="247"/>
                  </a:cubicBezTo>
                  <a:cubicBezTo>
                    <a:pt x="425" y="311"/>
                    <a:pt x="452" y="372"/>
                    <a:pt x="493" y="427"/>
                  </a:cubicBezTo>
                  <a:close/>
                  <a:moveTo>
                    <a:pt x="247" y="333"/>
                  </a:moveTo>
                  <a:cubicBezTo>
                    <a:pt x="298" y="333"/>
                    <a:pt x="340" y="292"/>
                    <a:pt x="340" y="240"/>
                  </a:cubicBezTo>
                  <a:cubicBezTo>
                    <a:pt x="340" y="189"/>
                    <a:pt x="298" y="147"/>
                    <a:pt x="247" y="147"/>
                  </a:cubicBezTo>
                  <a:cubicBezTo>
                    <a:pt x="195" y="147"/>
                    <a:pt x="153" y="189"/>
                    <a:pt x="153" y="240"/>
                  </a:cubicBezTo>
                  <a:cubicBezTo>
                    <a:pt x="153" y="292"/>
                    <a:pt x="195" y="333"/>
                    <a:pt x="247" y="333"/>
                  </a:cubicBezTo>
                  <a:close/>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4" name="Freeform 36"/>
            <p:cNvSpPr>
              <a:spLocks noChangeArrowheads="1"/>
            </p:cNvSpPr>
            <p:nvPr/>
          </p:nvSpPr>
          <p:spPr bwMode="auto">
            <a:xfrm>
              <a:off x="1957388" y="4314825"/>
              <a:ext cx="42862" cy="42863"/>
            </a:xfrm>
            <a:custGeom>
              <a:avLst/>
              <a:gdLst>
                <a:gd name="T0" fmla="*/ 42502 w 119"/>
                <a:gd name="T1" fmla="*/ 18370 h 119"/>
                <a:gd name="T2" fmla="*/ 31696 w 119"/>
                <a:gd name="T3" fmla="*/ 31337 h 119"/>
                <a:gd name="T4" fmla="*/ 18730 w 119"/>
                <a:gd name="T5" fmla="*/ 42503 h 119"/>
                <a:gd name="T6" fmla="*/ 0 w 119"/>
                <a:gd name="T7" fmla="*/ 21251 h 119"/>
                <a:gd name="T8" fmla="*/ 11886 w 119"/>
                <a:gd name="T9" fmla="*/ 11526 h 119"/>
                <a:gd name="T10" fmla="*/ 21611 w 119"/>
                <a:gd name="T11" fmla="*/ 0 h 119"/>
                <a:gd name="T12" fmla="*/ 42502 w 119"/>
                <a:gd name="T13" fmla="*/ 18370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118" y="51"/>
                  </a:moveTo>
                  <a:cubicBezTo>
                    <a:pt x="109" y="64"/>
                    <a:pt x="99" y="76"/>
                    <a:pt x="88" y="87"/>
                  </a:cubicBezTo>
                  <a:cubicBezTo>
                    <a:pt x="76" y="99"/>
                    <a:pt x="64" y="109"/>
                    <a:pt x="52" y="118"/>
                  </a:cubicBezTo>
                  <a:cubicBezTo>
                    <a:pt x="36" y="98"/>
                    <a:pt x="19" y="78"/>
                    <a:pt x="0" y="59"/>
                  </a:cubicBezTo>
                  <a:cubicBezTo>
                    <a:pt x="12" y="51"/>
                    <a:pt x="23" y="42"/>
                    <a:pt x="33" y="32"/>
                  </a:cubicBezTo>
                  <a:cubicBezTo>
                    <a:pt x="43" y="22"/>
                    <a:pt x="52" y="11"/>
                    <a:pt x="60" y="0"/>
                  </a:cubicBezTo>
                  <a:cubicBezTo>
                    <a:pt x="78" y="19"/>
                    <a:pt x="98" y="36"/>
                    <a:pt x="118" y="51"/>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5" name="Freeform 37"/>
            <p:cNvSpPr>
              <a:spLocks noChangeArrowheads="1"/>
            </p:cNvSpPr>
            <p:nvPr/>
          </p:nvSpPr>
          <p:spPr bwMode="auto">
            <a:xfrm>
              <a:off x="2092325" y="4449763"/>
              <a:ext cx="273050" cy="271462"/>
            </a:xfrm>
            <a:custGeom>
              <a:avLst/>
              <a:gdLst>
                <a:gd name="T0" fmla="*/ 223995 w 757"/>
                <a:gd name="T1" fmla="*/ 47757 h 756"/>
                <a:gd name="T2" fmla="*/ 223995 w 757"/>
                <a:gd name="T3" fmla="*/ 222628 h 756"/>
                <a:gd name="T4" fmla="*/ 48334 w 757"/>
                <a:gd name="T5" fmla="*/ 222628 h 756"/>
                <a:gd name="T6" fmla="*/ 37152 w 757"/>
                <a:gd name="T7" fmla="*/ 60684 h 756"/>
                <a:gd name="T8" fmla="*/ 58073 w 757"/>
                <a:gd name="T9" fmla="*/ 78997 h 756"/>
                <a:gd name="T10" fmla="*/ 68172 w 757"/>
                <a:gd name="T11" fmla="*/ 202878 h 756"/>
                <a:gd name="T12" fmla="*/ 204156 w 757"/>
                <a:gd name="T13" fmla="*/ 203237 h 756"/>
                <a:gd name="T14" fmla="*/ 204156 w 757"/>
                <a:gd name="T15" fmla="*/ 67506 h 756"/>
                <a:gd name="T16" fmla="*/ 79715 w 757"/>
                <a:gd name="T17" fmla="*/ 57811 h 756"/>
                <a:gd name="T18" fmla="*/ 60958 w 757"/>
                <a:gd name="T19" fmla="*/ 36626 h 756"/>
                <a:gd name="T20" fmla="*/ 223995 w 757"/>
                <a:gd name="T21" fmla="*/ 47757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621" y="133"/>
                  </a:moveTo>
                  <a:cubicBezTo>
                    <a:pt x="756" y="267"/>
                    <a:pt x="756" y="486"/>
                    <a:pt x="621" y="620"/>
                  </a:cubicBezTo>
                  <a:cubicBezTo>
                    <a:pt x="487" y="755"/>
                    <a:pt x="268" y="755"/>
                    <a:pt x="134" y="620"/>
                  </a:cubicBezTo>
                  <a:cubicBezTo>
                    <a:pt x="10" y="497"/>
                    <a:pt x="0" y="304"/>
                    <a:pt x="103" y="169"/>
                  </a:cubicBezTo>
                  <a:cubicBezTo>
                    <a:pt x="123" y="184"/>
                    <a:pt x="143" y="201"/>
                    <a:pt x="161" y="220"/>
                  </a:cubicBezTo>
                  <a:cubicBezTo>
                    <a:pt x="86" y="324"/>
                    <a:pt x="94" y="472"/>
                    <a:pt x="189" y="565"/>
                  </a:cubicBezTo>
                  <a:cubicBezTo>
                    <a:pt x="293" y="670"/>
                    <a:pt x="462" y="670"/>
                    <a:pt x="566" y="566"/>
                  </a:cubicBezTo>
                  <a:cubicBezTo>
                    <a:pt x="671" y="461"/>
                    <a:pt x="671" y="292"/>
                    <a:pt x="566" y="188"/>
                  </a:cubicBezTo>
                  <a:cubicBezTo>
                    <a:pt x="472" y="94"/>
                    <a:pt x="325" y="85"/>
                    <a:pt x="221" y="161"/>
                  </a:cubicBezTo>
                  <a:cubicBezTo>
                    <a:pt x="202" y="142"/>
                    <a:pt x="185" y="122"/>
                    <a:pt x="169" y="102"/>
                  </a:cubicBezTo>
                  <a:cubicBezTo>
                    <a:pt x="305" y="0"/>
                    <a:pt x="498" y="10"/>
                    <a:pt x="621" y="133"/>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6" name="Freeform 38"/>
            <p:cNvSpPr>
              <a:spLocks noChangeArrowheads="1"/>
            </p:cNvSpPr>
            <p:nvPr/>
          </p:nvSpPr>
          <p:spPr bwMode="auto">
            <a:xfrm>
              <a:off x="2130425" y="4486275"/>
              <a:ext cx="42863" cy="42863"/>
            </a:xfrm>
            <a:custGeom>
              <a:avLst/>
              <a:gdLst>
                <a:gd name="T0" fmla="*/ 20891 w 119"/>
                <a:gd name="T1" fmla="*/ 42503 h 119"/>
                <a:gd name="T2" fmla="*/ 0 w 119"/>
                <a:gd name="T3" fmla="*/ 24133 h 119"/>
                <a:gd name="T4" fmla="*/ 11166 w 119"/>
                <a:gd name="T5" fmla="*/ 11166 h 119"/>
                <a:gd name="T6" fmla="*/ 23773 w 119"/>
                <a:gd name="T7" fmla="*/ 0 h 119"/>
                <a:gd name="T8" fmla="*/ 42503 w 119"/>
                <a:gd name="T9" fmla="*/ 21251 h 119"/>
                <a:gd name="T10" fmla="*/ 30977 w 119"/>
                <a:gd name="T11" fmla="*/ 30977 h 119"/>
                <a:gd name="T12" fmla="*/ 20891 w 119"/>
                <a:gd name="T13" fmla="*/ 42503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58" y="118"/>
                  </a:moveTo>
                  <a:cubicBezTo>
                    <a:pt x="40" y="99"/>
                    <a:pt x="20" y="82"/>
                    <a:pt x="0" y="67"/>
                  </a:cubicBezTo>
                  <a:cubicBezTo>
                    <a:pt x="9" y="54"/>
                    <a:pt x="19" y="42"/>
                    <a:pt x="31" y="31"/>
                  </a:cubicBezTo>
                  <a:cubicBezTo>
                    <a:pt x="42" y="20"/>
                    <a:pt x="54" y="9"/>
                    <a:pt x="66" y="0"/>
                  </a:cubicBezTo>
                  <a:cubicBezTo>
                    <a:pt x="82" y="20"/>
                    <a:pt x="99" y="40"/>
                    <a:pt x="118" y="59"/>
                  </a:cubicBezTo>
                  <a:cubicBezTo>
                    <a:pt x="107" y="67"/>
                    <a:pt x="96" y="76"/>
                    <a:pt x="86" y="86"/>
                  </a:cubicBezTo>
                  <a:cubicBezTo>
                    <a:pt x="75" y="96"/>
                    <a:pt x="67" y="107"/>
                    <a:pt x="58" y="11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7" name="Freeform 40"/>
            <p:cNvSpPr>
              <a:spLocks noChangeArrowheads="1"/>
            </p:cNvSpPr>
            <p:nvPr/>
          </p:nvSpPr>
          <p:spPr bwMode="auto">
            <a:xfrm>
              <a:off x="2130425" y="4314825"/>
              <a:ext cx="42863" cy="42863"/>
            </a:xfrm>
            <a:custGeom>
              <a:avLst/>
              <a:gdLst>
                <a:gd name="T0" fmla="*/ 23773 w 119"/>
                <a:gd name="T1" fmla="*/ 42503 h 119"/>
                <a:gd name="T2" fmla="*/ 11166 w 119"/>
                <a:gd name="T3" fmla="*/ 31337 h 119"/>
                <a:gd name="T4" fmla="*/ 0 w 119"/>
                <a:gd name="T5" fmla="*/ 18370 h 119"/>
                <a:gd name="T6" fmla="*/ 20891 w 119"/>
                <a:gd name="T7" fmla="*/ 0 h 119"/>
                <a:gd name="T8" fmla="*/ 30977 w 119"/>
                <a:gd name="T9" fmla="*/ 11526 h 119"/>
                <a:gd name="T10" fmla="*/ 42503 w 119"/>
                <a:gd name="T11" fmla="*/ 21251 h 119"/>
                <a:gd name="T12" fmla="*/ 23773 w 119"/>
                <a:gd name="T13" fmla="*/ 42503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66" y="118"/>
                  </a:moveTo>
                  <a:cubicBezTo>
                    <a:pt x="54" y="109"/>
                    <a:pt x="42" y="99"/>
                    <a:pt x="31" y="87"/>
                  </a:cubicBezTo>
                  <a:cubicBezTo>
                    <a:pt x="19" y="76"/>
                    <a:pt x="9" y="64"/>
                    <a:pt x="0" y="51"/>
                  </a:cubicBezTo>
                  <a:cubicBezTo>
                    <a:pt x="20" y="36"/>
                    <a:pt x="40" y="19"/>
                    <a:pt x="58" y="0"/>
                  </a:cubicBezTo>
                  <a:cubicBezTo>
                    <a:pt x="67" y="11"/>
                    <a:pt x="75" y="22"/>
                    <a:pt x="86" y="32"/>
                  </a:cubicBezTo>
                  <a:cubicBezTo>
                    <a:pt x="96" y="42"/>
                    <a:pt x="106" y="51"/>
                    <a:pt x="118" y="59"/>
                  </a:cubicBezTo>
                  <a:cubicBezTo>
                    <a:pt x="99" y="78"/>
                    <a:pt x="82" y="98"/>
                    <a:pt x="66" y="11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8" name="Freeform 41"/>
            <p:cNvSpPr>
              <a:spLocks noChangeArrowheads="1"/>
            </p:cNvSpPr>
            <p:nvPr/>
          </p:nvSpPr>
          <p:spPr bwMode="auto">
            <a:xfrm>
              <a:off x="1765300" y="4449763"/>
              <a:ext cx="273050" cy="271462"/>
            </a:xfrm>
            <a:custGeom>
              <a:avLst/>
              <a:gdLst>
                <a:gd name="T0" fmla="*/ 214617 w 757"/>
                <a:gd name="T1" fmla="*/ 78997 h 756"/>
                <a:gd name="T2" fmla="*/ 235537 w 757"/>
                <a:gd name="T3" fmla="*/ 60684 h 756"/>
                <a:gd name="T4" fmla="*/ 224716 w 757"/>
                <a:gd name="T5" fmla="*/ 222628 h 756"/>
                <a:gd name="T6" fmla="*/ 48695 w 757"/>
                <a:gd name="T7" fmla="*/ 222628 h 756"/>
                <a:gd name="T8" fmla="*/ 48695 w 757"/>
                <a:gd name="T9" fmla="*/ 47757 h 756"/>
                <a:gd name="T10" fmla="*/ 211731 w 757"/>
                <a:gd name="T11" fmla="*/ 36626 h 756"/>
                <a:gd name="T12" fmla="*/ 192975 w 757"/>
                <a:gd name="T13" fmla="*/ 57811 h 756"/>
                <a:gd name="T14" fmla="*/ 68533 w 757"/>
                <a:gd name="T15" fmla="*/ 67506 h 756"/>
                <a:gd name="T16" fmla="*/ 68533 w 757"/>
                <a:gd name="T17" fmla="*/ 202878 h 756"/>
                <a:gd name="T18" fmla="*/ 204878 w 757"/>
                <a:gd name="T19" fmla="*/ 202878 h 756"/>
                <a:gd name="T20" fmla="*/ 214617 w 757"/>
                <a:gd name="T21" fmla="*/ 78997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7"/>
                <a:gd name="T34" fmla="*/ 0 h 756"/>
                <a:gd name="T35" fmla="*/ 757 w 757"/>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7" h="756">
                  <a:moveTo>
                    <a:pt x="595" y="220"/>
                  </a:moveTo>
                  <a:cubicBezTo>
                    <a:pt x="613" y="201"/>
                    <a:pt x="633" y="184"/>
                    <a:pt x="653" y="169"/>
                  </a:cubicBezTo>
                  <a:cubicBezTo>
                    <a:pt x="756" y="304"/>
                    <a:pt x="746" y="497"/>
                    <a:pt x="623" y="620"/>
                  </a:cubicBezTo>
                  <a:cubicBezTo>
                    <a:pt x="488" y="755"/>
                    <a:pt x="269" y="755"/>
                    <a:pt x="135" y="620"/>
                  </a:cubicBezTo>
                  <a:cubicBezTo>
                    <a:pt x="0" y="486"/>
                    <a:pt x="0" y="267"/>
                    <a:pt x="135" y="133"/>
                  </a:cubicBezTo>
                  <a:cubicBezTo>
                    <a:pt x="258" y="10"/>
                    <a:pt x="452" y="0"/>
                    <a:pt x="587" y="102"/>
                  </a:cubicBezTo>
                  <a:cubicBezTo>
                    <a:pt x="571" y="122"/>
                    <a:pt x="554" y="142"/>
                    <a:pt x="535" y="161"/>
                  </a:cubicBezTo>
                  <a:cubicBezTo>
                    <a:pt x="431" y="85"/>
                    <a:pt x="284" y="94"/>
                    <a:pt x="190" y="188"/>
                  </a:cubicBezTo>
                  <a:cubicBezTo>
                    <a:pt x="85" y="292"/>
                    <a:pt x="85" y="461"/>
                    <a:pt x="190" y="565"/>
                  </a:cubicBezTo>
                  <a:cubicBezTo>
                    <a:pt x="294" y="670"/>
                    <a:pt x="463" y="670"/>
                    <a:pt x="568" y="565"/>
                  </a:cubicBezTo>
                  <a:cubicBezTo>
                    <a:pt x="662" y="471"/>
                    <a:pt x="671" y="324"/>
                    <a:pt x="595" y="220"/>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59" name="Freeform 42"/>
            <p:cNvSpPr>
              <a:spLocks noChangeArrowheads="1"/>
            </p:cNvSpPr>
            <p:nvPr/>
          </p:nvSpPr>
          <p:spPr bwMode="auto">
            <a:xfrm>
              <a:off x="1957388" y="4486275"/>
              <a:ext cx="42862" cy="42863"/>
            </a:xfrm>
            <a:custGeom>
              <a:avLst/>
              <a:gdLst>
                <a:gd name="T0" fmla="*/ 18730 w 119"/>
                <a:gd name="T1" fmla="*/ 0 h 119"/>
                <a:gd name="T2" fmla="*/ 31696 w 119"/>
                <a:gd name="T3" fmla="*/ 11166 h 119"/>
                <a:gd name="T4" fmla="*/ 42502 w 119"/>
                <a:gd name="T5" fmla="*/ 24133 h 119"/>
                <a:gd name="T6" fmla="*/ 21611 w 119"/>
                <a:gd name="T7" fmla="*/ 42503 h 119"/>
                <a:gd name="T8" fmla="*/ 11886 w 119"/>
                <a:gd name="T9" fmla="*/ 30977 h 119"/>
                <a:gd name="T10" fmla="*/ 0 w 119"/>
                <a:gd name="T11" fmla="*/ 21251 h 119"/>
                <a:gd name="T12" fmla="*/ 18730 w 119"/>
                <a:gd name="T13" fmla="*/ 0 h 119"/>
                <a:gd name="T14" fmla="*/ 0 60000 65536"/>
                <a:gd name="T15" fmla="*/ 0 60000 65536"/>
                <a:gd name="T16" fmla="*/ 0 60000 65536"/>
                <a:gd name="T17" fmla="*/ 0 60000 65536"/>
                <a:gd name="T18" fmla="*/ 0 60000 65536"/>
                <a:gd name="T19" fmla="*/ 0 60000 65536"/>
                <a:gd name="T20" fmla="*/ 0 60000 65536"/>
                <a:gd name="T21" fmla="*/ 0 w 119"/>
                <a:gd name="T22" fmla="*/ 0 h 119"/>
                <a:gd name="T23" fmla="*/ 119 w 119"/>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19">
                  <a:moveTo>
                    <a:pt x="52" y="0"/>
                  </a:moveTo>
                  <a:cubicBezTo>
                    <a:pt x="64" y="9"/>
                    <a:pt x="76" y="20"/>
                    <a:pt x="88" y="31"/>
                  </a:cubicBezTo>
                  <a:cubicBezTo>
                    <a:pt x="99" y="43"/>
                    <a:pt x="109" y="54"/>
                    <a:pt x="118" y="67"/>
                  </a:cubicBezTo>
                  <a:cubicBezTo>
                    <a:pt x="98" y="82"/>
                    <a:pt x="78" y="99"/>
                    <a:pt x="60" y="118"/>
                  </a:cubicBezTo>
                  <a:cubicBezTo>
                    <a:pt x="52" y="107"/>
                    <a:pt x="43" y="96"/>
                    <a:pt x="33" y="86"/>
                  </a:cubicBezTo>
                  <a:cubicBezTo>
                    <a:pt x="23" y="76"/>
                    <a:pt x="12" y="67"/>
                    <a:pt x="0" y="59"/>
                  </a:cubicBezTo>
                  <a:cubicBezTo>
                    <a:pt x="19" y="40"/>
                    <a:pt x="36" y="20"/>
                    <a:pt x="52" y="0"/>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0" name="Freeform 43"/>
            <p:cNvSpPr>
              <a:spLocks noChangeArrowheads="1"/>
            </p:cNvSpPr>
            <p:nvPr/>
          </p:nvSpPr>
          <p:spPr bwMode="auto">
            <a:xfrm>
              <a:off x="2032000" y="4386263"/>
              <a:ext cx="68263" cy="66675"/>
            </a:xfrm>
            <a:custGeom>
              <a:avLst/>
              <a:gdLst>
                <a:gd name="T0" fmla="*/ 67900 w 188"/>
                <a:gd name="T1" fmla="*/ 33159 h 187"/>
                <a:gd name="T2" fmla="*/ 63180 w 188"/>
                <a:gd name="T3" fmla="*/ 49917 h 187"/>
                <a:gd name="T4" fmla="*/ 50834 w 188"/>
                <a:gd name="T5" fmla="*/ 62040 h 187"/>
                <a:gd name="T6" fmla="*/ 34132 w 188"/>
                <a:gd name="T7" fmla="*/ 66318 h 187"/>
                <a:gd name="T8" fmla="*/ 17066 w 188"/>
                <a:gd name="T9" fmla="*/ 62040 h 187"/>
                <a:gd name="T10" fmla="*/ 4720 w 188"/>
                <a:gd name="T11" fmla="*/ 49917 h 187"/>
                <a:gd name="T12" fmla="*/ 0 w 188"/>
                <a:gd name="T13" fmla="*/ 33159 h 187"/>
                <a:gd name="T14" fmla="*/ 4720 w 188"/>
                <a:gd name="T15" fmla="*/ 16758 h 187"/>
                <a:gd name="T16" fmla="*/ 17066 w 188"/>
                <a:gd name="T17" fmla="*/ 4279 h 187"/>
                <a:gd name="T18" fmla="*/ 34132 w 188"/>
                <a:gd name="T19" fmla="*/ 0 h 187"/>
                <a:gd name="T20" fmla="*/ 50834 w 188"/>
                <a:gd name="T21" fmla="*/ 4279 h 187"/>
                <a:gd name="T22" fmla="*/ 63180 w 188"/>
                <a:gd name="T23" fmla="*/ 16758 h 187"/>
                <a:gd name="T24" fmla="*/ 67900 w 188"/>
                <a:gd name="T25" fmla="*/ 33159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8"/>
                <a:gd name="T40" fmla="*/ 0 h 187"/>
                <a:gd name="T41" fmla="*/ 188 w 188"/>
                <a:gd name="T42" fmla="*/ 187 h 1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8" h="187">
                  <a:moveTo>
                    <a:pt x="187" y="93"/>
                  </a:moveTo>
                  <a:cubicBezTo>
                    <a:pt x="187" y="110"/>
                    <a:pt x="182" y="125"/>
                    <a:pt x="174" y="140"/>
                  </a:cubicBezTo>
                  <a:cubicBezTo>
                    <a:pt x="165" y="155"/>
                    <a:pt x="155" y="165"/>
                    <a:pt x="140" y="174"/>
                  </a:cubicBezTo>
                  <a:cubicBezTo>
                    <a:pt x="125" y="183"/>
                    <a:pt x="111" y="186"/>
                    <a:pt x="94" y="186"/>
                  </a:cubicBezTo>
                  <a:cubicBezTo>
                    <a:pt x="76" y="186"/>
                    <a:pt x="62" y="183"/>
                    <a:pt x="47" y="174"/>
                  </a:cubicBezTo>
                  <a:cubicBezTo>
                    <a:pt x="32" y="165"/>
                    <a:pt x="21" y="155"/>
                    <a:pt x="13" y="140"/>
                  </a:cubicBezTo>
                  <a:cubicBezTo>
                    <a:pt x="4" y="125"/>
                    <a:pt x="0" y="110"/>
                    <a:pt x="0" y="93"/>
                  </a:cubicBezTo>
                  <a:cubicBezTo>
                    <a:pt x="0" y="76"/>
                    <a:pt x="4" y="62"/>
                    <a:pt x="13" y="47"/>
                  </a:cubicBezTo>
                  <a:cubicBezTo>
                    <a:pt x="21" y="33"/>
                    <a:pt x="32" y="21"/>
                    <a:pt x="47" y="12"/>
                  </a:cubicBezTo>
                  <a:cubicBezTo>
                    <a:pt x="62" y="4"/>
                    <a:pt x="76" y="0"/>
                    <a:pt x="94" y="0"/>
                  </a:cubicBezTo>
                  <a:cubicBezTo>
                    <a:pt x="111" y="0"/>
                    <a:pt x="125" y="4"/>
                    <a:pt x="140" y="12"/>
                  </a:cubicBezTo>
                  <a:cubicBezTo>
                    <a:pt x="155" y="21"/>
                    <a:pt x="165" y="33"/>
                    <a:pt x="174" y="47"/>
                  </a:cubicBezTo>
                  <a:cubicBezTo>
                    <a:pt x="182" y="62"/>
                    <a:pt x="187" y="76"/>
                    <a:pt x="187" y="93"/>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1" name="Freeform 44"/>
            <p:cNvSpPr>
              <a:spLocks noChangeArrowheads="1"/>
            </p:cNvSpPr>
            <p:nvPr/>
          </p:nvSpPr>
          <p:spPr bwMode="auto">
            <a:xfrm>
              <a:off x="2032000" y="4386263"/>
              <a:ext cx="68263" cy="66675"/>
            </a:xfrm>
            <a:custGeom>
              <a:avLst/>
              <a:gdLst>
                <a:gd name="T0" fmla="*/ 67900 w 188"/>
                <a:gd name="T1" fmla="*/ 33159 h 187"/>
                <a:gd name="T2" fmla="*/ 63180 w 188"/>
                <a:gd name="T3" fmla="*/ 49917 h 187"/>
                <a:gd name="T4" fmla="*/ 50834 w 188"/>
                <a:gd name="T5" fmla="*/ 62040 h 187"/>
                <a:gd name="T6" fmla="*/ 34132 w 188"/>
                <a:gd name="T7" fmla="*/ 66318 h 187"/>
                <a:gd name="T8" fmla="*/ 17066 w 188"/>
                <a:gd name="T9" fmla="*/ 62040 h 187"/>
                <a:gd name="T10" fmla="*/ 4720 w 188"/>
                <a:gd name="T11" fmla="*/ 49917 h 187"/>
                <a:gd name="T12" fmla="*/ 0 w 188"/>
                <a:gd name="T13" fmla="*/ 33159 h 187"/>
                <a:gd name="T14" fmla="*/ 4720 w 188"/>
                <a:gd name="T15" fmla="*/ 16758 h 187"/>
                <a:gd name="T16" fmla="*/ 17066 w 188"/>
                <a:gd name="T17" fmla="*/ 4279 h 187"/>
                <a:gd name="T18" fmla="*/ 34132 w 188"/>
                <a:gd name="T19" fmla="*/ 0 h 187"/>
                <a:gd name="T20" fmla="*/ 50834 w 188"/>
                <a:gd name="T21" fmla="*/ 4279 h 187"/>
                <a:gd name="T22" fmla="*/ 63180 w 188"/>
                <a:gd name="T23" fmla="*/ 16758 h 187"/>
                <a:gd name="T24" fmla="*/ 67900 w 188"/>
                <a:gd name="T25" fmla="*/ 33159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8"/>
                <a:gd name="T40" fmla="*/ 0 h 187"/>
                <a:gd name="T41" fmla="*/ 188 w 188"/>
                <a:gd name="T42" fmla="*/ 187 h 1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8" h="187">
                  <a:moveTo>
                    <a:pt x="187" y="93"/>
                  </a:moveTo>
                  <a:cubicBezTo>
                    <a:pt x="187" y="110"/>
                    <a:pt x="182" y="125"/>
                    <a:pt x="174" y="140"/>
                  </a:cubicBezTo>
                  <a:cubicBezTo>
                    <a:pt x="165" y="155"/>
                    <a:pt x="155" y="165"/>
                    <a:pt x="140" y="174"/>
                  </a:cubicBezTo>
                  <a:cubicBezTo>
                    <a:pt x="125" y="183"/>
                    <a:pt x="111" y="186"/>
                    <a:pt x="94" y="186"/>
                  </a:cubicBezTo>
                  <a:cubicBezTo>
                    <a:pt x="76" y="186"/>
                    <a:pt x="62" y="183"/>
                    <a:pt x="47" y="174"/>
                  </a:cubicBezTo>
                  <a:cubicBezTo>
                    <a:pt x="32" y="165"/>
                    <a:pt x="21" y="155"/>
                    <a:pt x="13" y="140"/>
                  </a:cubicBezTo>
                  <a:cubicBezTo>
                    <a:pt x="4" y="125"/>
                    <a:pt x="0" y="110"/>
                    <a:pt x="0" y="93"/>
                  </a:cubicBezTo>
                  <a:cubicBezTo>
                    <a:pt x="0" y="76"/>
                    <a:pt x="4" y="62"/>
                    <a:pt x="13" y="47"/>
                  </a:cubicBezTo>
                  <a:cubicBezTo>
                    <a:pt x="21" y="33"/>
                    <a:pt x="32" y="21"/>
                    <a:pt x="47" y="12"/>
                  </a:cubicBezTo>
                  <a:cubicBezTo>
                    <a:pt x="62" y="4"/>
                    <a:pt x="76" y="0"/>
                    <a:pt x="94" y="0"/>
                  </a:cubicBezTo>
                  <a:cubicBezTo>
                    <a:pt x="111" y="0"/>
                    <a:pt x="125" y="4"/>
                    <a:pt x="140" y="12"/>
                  </a:cubicBezTo>
                  <a:cubicBezTo>
                    <a:pt x="155" y="21"/>
                    <a:pt x="165" y="33"/>
                    <a:pt x="174" y="47"/>
                  </a:cubicBezTo>
                  <a:cubicBezTo>
                    <a:pt x="182" y="62"/>
                    <a:pt x="187" y="76"/>
                    <a:pt x="187" y="93"/>
                  </a:cubicBezTo>
                </a:path>
              </a:pathLst>
            </a:custGeom>
            <a:noFill/>
            <a:ln w="6350">
              <a:solidFill>
                <a:srgbClr val="FFFFFF"/>
              </a:solidFill>
              <a:miter lim="800000"/>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2" name="Freeform 45"/>
            <p:cNvSpPr>
              <a:spLocks noChangeArrowheads="1"/>
            </p:cNvSpPr>
            <p:nvPr/>
          </p:nvSpPr>
          <p:spPr bwMode="auto">
            <a:xfrm>
              <a:off x="2141538" y="4170363"/>
              <a:ext cx="176212" cy="176212"/>
            </a:xfrm>
            <a:custGeom>
              <a:avLst/>
              <a:gdLst>
                <a:gd name="T0" fmla="*/ 143420 w 489"/>
                <a:gd name="T1" fmla="*/ 71496 h 488"/>
                <a:gd name="T2" fmla="*/ 175852 w 489"/>
                <a:gd name="T3" fmla="*/ 100022 h 488"/>
                <a:gd name="T4" fmla="*/ 175852 w 489"/>
                <a:gd name="T5" fmla="*/ 104716 h 488"/>
                <a:gd name="T6" fmla="*/ 115673 w 489"/>
                <a:gd name="T7" fmla="*/ 98939 h 488"/>
                <a:gd name="T8" fmla="*/ 102340 w 489"/>
                <a:gd name="T9" fmla="*/ 114104 h 488"/>
                <a:gd name="T10" fmla="*/ 104502 w 489"/>
                <a:gd name="T11" fmla="*/ 143714 h 488"/>
                <a:gd name="T12" fmla="*/ 75674 w 489"/>
                <a:gd name="T13" fmla="*/ 175851 h 488"/>
                <a:gd name="T14" fmla="*/ 71350 w 489"/>
                <a:gd name="T15" fmla="*/ 175851 h 488"/>
                <a:gd name="T16" fmla="*/ 76755 w 489"/>
                <a:gd name="T17" fmla="*/ 115549 h 488"/>
                <a:gd name="T18" fmla="*/ 61620 w 489"/>
                <a:gd name="T19" fmla="*/ 102189 h 488"/>
                <a:gd name="T20" fmla="*/ 32432 w 489"/>
                <a:gd name="T21" fmla="*/ 104355 h 488"/>
                <a:gd name="T22" fmla="*/ 4324 w 489"/>
                <a:gd name="T23" fmla="*/ 89911 h 488"/>
                <a:gd name="T24" fmla="*/ 0 w 489"/>
                <a:gd name="T25" fmla="*/ 75468 h 488"/>
                <a:gd name="T26" fmla="*/ 0 w 489"/>
                <a:gd name="T27" fmla="*/ 71135 h 488"/>
                <a:gd name="T28" fmla="*/ 60179 w 489"/>
                <a:gd name="T29" fmla="*/ 76912 h 488"/>
                <a:gd name="T30" fmla="*/ 73512 w 489"/>
                <a:gd name="T31" fmla="*/ 61746 h 488"/>
                <a:gd name="T32" fmla="*/ 71710 w 489"/>
                <a:gd name="T33" fmla="*/ 32137 h 488"/>
                <a:gd name="T34" fmla="*/ 100178 w 489"/>
                <a:gd name="T35" fmla="*/ 0 h 488"/>
                <a:gd name="T36" fmla="*/ 104862 w 489"/>
                <a:gd name="T37" fmla="*/ 0 h 488"/>
                <a:gd name="T38" fmla="*/ 99097 w 489"/>
                <a:gd name="T39" fmla="*/ 59941 h 488"/>
                <a:gd name="T40" fmla="*/ 114232 w 489"/>
                <a:gd name="T41" fmla="*/ 73662 h 488"/>
                <a:gd name="T42" fmla="*/ 143420 w 489"/>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9"/>
                <a:gd name="T67" fmla="*/ 0 h 488"/>
                <a:gd name="T68" fmla="*/ 489 w 489"/>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9" h="488">
                  <a:moveTo>
                    <a:pt x="398" y="198"/>
                  </a:moveTo>
                  <a:cubicBezTo>
                    <a:pt x="487" y="198"/>
                    <a:pt x="488" y="277"/>
                    <a:pt x="488" y="277"/>
                  </a:cubicBezTo>
                  <a:lnTo>
                    <a:pt x="488" y="290"/>
                  </a:lnTo>
                  <a:lnTo>
                    <a:pt x="321" y="274"/>
                  </a:lnTo>
                  <a:cubicBezTo>
                    <a:pt x="314" y="292"/>
                    <a:pt x="301" y="307"/>
                    <a:pt x="284" y="316"/>
                  </a:cubicBezTo>
                  <a:cubicBezTo>
                    <a:pt x="287" y="335"/>
                    <a:pt x="290" y="363"/>
                    <a:pt x="290" y="398"/>
                  </a:cubicBezTo>
                  <a:cubicBezTo>
                    <a:pt x="290" y="486"/>
                    <a:pt x="211" y="487"/>
                    <a:pt x="210" y="487"/>
                  </a:cubicBezTo>
                  <a:lnTo>
                    <a:pt x="198" y="487"/>
                  </a:lnTo>
                  <a:lnTo>
                    <a:pt x="213" y="320"/>
                  </a:lnTo>
                  <a:cubicBezTo>
                    <a:pt x="196" y="313"/>
                    <a:pt x="181" y="300"/>
                    <a:pt x="171" y="283"/>
                  </a:cubicBezTo>
                  <a:cubicBezTo>
                    <a:pt x="146" y="287"/>
                    <a:pt x="118" y="289"/>
                    <a:pt x="90" y="289"/>
                  </a:cubicBezTo>
                  <a:cubicBezTo>
                    <a:pt x="44" y="289"/>
                    <a:pt x="22" y="267"/>
                    <a:pt x="12" y="249"/>
                  </a:cubicBezTo>
                  <a:cubicBezTo>
                    <a:pt x="1" y="230"/>
                    <a:pt x="0" y="210"/>
                    <a:pt x="0" y="209"/>
                  </a:cubicBezTo>
                  <a:lnTo>
                    <a:pt x="0" y="197"/>
                  </a:lnTo>
                  <a:lnTo>
                    <a:pt x="167" y="213"/>
                  </a:lnTo>
                  <a:cubicBezTo>
                    <a:pt x="174" y="195"/>
                    <a:pt x="188" y="180"/>
                    <a:pt x="204" y="171"/>
                  </a:cubicBezTo>
                  <a:cubicBezTo>
                    <a:pt x="201" y="145"/>
                    <a:pt x="199" y="117"/>
                    <a:pt x="199" y="89"/>
                  </a:cubicBezTo>
                  <a:cubicBezTo>
                    <a:pt x="199" y="1"/>
                    <a:pt x="277" y="0"/>
                    <a:pt x="278" y="0"/>
                  </a:cubicBezTo>
                  <a:lnTo>
                    <a:pt x="291" y="0"/>
                  </a:lnTo>
                  <a:lnTo>
                    <a:pt x="275" y="166"/>
                  </a:lnTo>
                  <a:cubicBezTo>
                    <a:pt x="293" y="174"/>
                    <a:pt x="308" y="187"/>
                    <a:pt x="317"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3" name="Freeform 46"/>
            <p:cNvSpPr>
              <a:spLocks noChangeArrowheads="1"/>
            </p:cNvSpPr>
            <p:nvPr/>
          </p:nvSpPr>
          <p:spPr bwMode="auto">
            <a:xfrm>
              <a:off x="1812925" y="4170363"/>
              <a:ext cx="176213" cy="176212"/>
            </a:xfrm>
            <a:custGeom>
              <a:avLst/>
              <a:gdLst>
                <a:gd name="T0" fmla="*/ 143715 w 488"/>
                <a:gd name="T1" fmla="*/ 71496 h 488"/>
                <a:gd name="T2" fmla="*/ 175852 w 488"/>
                <a:gd name="T3" fmla="*/ 100022 h 488"/>
                <a:gd name="T4" fmla="*/ 175852 w 488"/>
                <a:gd name="T5" fmla="*/ 104716 h 488"/>
                <a:gd name="T6" fmla="*/ 115911 w 488"/>
                <a:gd name="T7" fmla="*/ 98939 h 488"/>
                <a:gd name="T8" fmla="*/ 102550 w 488"/>
                <a:gd name="T9" fmla="*/ 114104 h 488"/>
                <a:gd name="T10" fmla="*/ 104356 w 488"/>
                <a:gd name="T11" fmla="*/ 143714 h 488"/>
                <a:gd name="T12" fmla="*/ 75829 w 488"/>
                <a:gd name="T13" fmla="*/ 175851 h 488"/>
                <a:gd name="T14" fmla="*/ 71135 w 488"/>
                <a:gd name="T15" fmla="*/ 175851 h 488"/>
                <a:gd name="T16" fmla="*/ 76913 w 488"/>
                <a:gd name="T17" fmla="*/ 115549 h 488"/>
                <a:gd name="T18" fmla="*/ 61747 w 488"/>
                <a:gd name="T19" fmla="*/ 102189 h 488"/>
                <a:gd name="T20" fmla="*/ 32137 w 488"/>
                <a:gd name="T21" fmla="*/ 104355 h 488"/>
                <a:gd name="T22" fmla="*/ 3972 w 488"/>
                <a:gd name="T23" fmla="*/ 89911 h 488"/>
                <a:gd name="T24" fmla="*/ 0 w 488"/>
                <a:gd name="T25" fmla="*/ 75468 h 488"/>
                <a:gd name="T26" fmla="*/ 0 w 488"/>
                <a:gd name="T27" fmla="*/ 71135 h 488"/>
                <a:gd name="T28" fmla="*/ 60302 w 488"/>
                <a:gd name="T29" fmla="*/ 76912 h 488"/>
                <a:gd name="T30" fmla="*/ 73663 w 488"/>
                <a:gd name="T31" fmla="*/ 61746 h 488"/>
                <a:gd name="T32" fmla="*/ 71496 w 488"/>
                <a:gd name="T33" fmla="*/ 32137 h 488"/>
                <a:gd name="T34" fmla="*/ 100384 w 488"/>
                <a:gd name="T35" fmla="*/ 0 h 488"/>
                <a:gd name="T36" fmla="*/ 104717 w 488"/>
                <a:gd name="T37" fmla="*/ 0 h 488"/>
                <a:gd name="T38" fmla="*/ 98939 w 488"/>
                <a:gd name="T39" fmla="*/ 59941 h 488"/>
                <a:gd name="T40" fmla="*/ 114105 w 488"/>
                <a:gd name="T41" fmla="*/ 73662 h 488"/>
                <a:gd name="T42" fmla="*/ 143715 w 488"/>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488"/>
                <a:gd name="T68" fmla="*/ 488 w 488"/>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488">
                  <a:moveTo>
                    <a:pt x="398" y="198"/>
                  </a:moveTo>
                  <a:cubicBezTo>
                    <a:pt x="486" y="198"/>
                    <a:pt x="487" y="277"/>
                    <a:pt x="487" y="277"/>
                  </a:cubicBezTo>
                  <a:lnTo>
                    <a:pt x="487" y="290"/>
                  </a:lnTo>
                  <a:lnTo>
                    <a:pt x="321" y="274"/>
                  </a:lnTo>
                  <a:cubicBezTo>
                    <a:pt x="314" y="292"/>
                    <a:pt x="300" y="307"/>
                    <a:pt x="284" y="316"/>
                  </a:cubicBezTo>
                  <a:cubicBezTo>
                    <a:pt x="286" y="335"/>
                    <a:pt x="289" y="363"/>
                    <a:pt x="289" y="398"/>
                  </a:cubicBezTo>
                  <a:cubicBezTo>
                    <a:pt x="289" y="486"/>
                    <a:pt x="210" y="487"/>
                    <a:pt x="210" y="487"/>
                  </a:cubicBezTo>
                  <a:lnTo>
                    <a:pt x="197" y="487"/>
                  </a:lnTo>
                  <a:lnTo>
                    <a:pt x="213" y="320"/>
                  </a:lnTo>
                  <a:cubicBezTo>
                    <a:pt x="195" y="313"/>
                    <a:pt x="180" y="300"/>
                    <a:pt x="171" y="283"/>
                  </a:cubicBezTo>
                  <a:cubicBezTo>
                    <a:pt x="145" y="287"/>
                    <a:pt x="118" y="289"/>
                    <a:pt x="89" y="289"/>
                  </a:cubicBezTo>
                  <a:cubicBezTo>
                    <a:pt x="44" y="289"/>
                    <a:pt x="22" y="267"/>
                    <a:pt x="11" y="249"/>
                  </a:cubicBezTo>
                  <a:cubicBezTo>
                    <a:pt x="0" y="230"/>
                    <a:pt x="0" y="210"/>
                    <a:pt x="0" y="209"/>
                  </a:cubicBezTo>
                  <a:lnTo>
                    <a:pt x="0" y="197"/>
                  </a:lnTo>
                  <a:lnTo>
                    <a:pt x="167" y="213"/>
                  </a:lnTo>
                  <a:cubicBezTo>
                    <a:pt x="174" y="195"/>
                    <a:pt x="187" y="180"/>
                    <a:pt x="204" y="171"/>
                  </a:cubicBezTo>
                  <a:cubicBezTo>
                    <a:pt x="200" y="145"/>
                    <a:pt x="198" y="117"/>
                    <a:pt x="198" y="89"/>
                  </a:cubicBezTo>
                  <a:cubicBezTo>
                    <a:pt x="198" y="1"/>
                    <a:pt x="277" y="0"/>
                    <a:pt x="278" y="0"/>
                  </a:cubicBezTo>
                  <a:lnTo>
                    <a:pt x="290" y="0"/>
                  </a:lnTo>
                  <a:lnTo>
                    <a:pt x="274" y="166"/>
                  </a:lnTo>
                  <a:cubicBezTo>
                    <a:pt x="292" y="174"/>
                    <a:pt x="307" y="187"/>
                    <a:pt x="316"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4" name="Freeform 47"/>
            <p:cNvSpPr>
              <a:spLocks noChangeArrowheads="1"/>
            </p:cNvSpPr>
            <p:nvPr/>
          </p:nvSpPr>
          <p:spPr bwMode="auto">
            <a:xfrm>
              <a:off x="2141538" y="4497388"/>
              <a:ext cx="176212" cy="176212"/>
            </a:xfrm>
            <a:custGeom>
              <a:avLst/>
              <a:gdLst>
                <a:gd name="T0" fmla="*/ 143420 w 489"/>
                <a:gd name="T1" fmla="*/ 71496 h 488"/>
                <a:gd name="T2" fmla="*/ 175852 w 489"/>
                <a:gd name="T3" fmla="*/ 100383 h 488"/>
                <a:gd name="T4" fmla="*/ 175852 w 489"/>
                <a:gd name="T5" fmla="*/ 104716 h 488"/>
                <a:gd name="T6" fmla="*/ 115673 w 489"/>
                <a:gd name="T7" fmla="*/ 98939 h 488"/>
                <a:gd name="T8" fmla="*/ 102340 w 489"/>
                <a:gd name="T9" fmla="*/ 114104 h 488"/>
                <a:gd name="T10" fmla="*/ 104502 w 489"/>
                <a:gd name="T11" fmla="*/ 143714 h 488"/>
                <a:gd name="T12" fmla="*/ 75674 w 489"/>
                <a:gd name="T13" fmla="*/ 175851 h 488"/>
                <a:gd name="T14" fmla="*/ 71350 w 489"/>
                <a:gd name="T15" fmla="*/ 175851 h 488"/>
                <a:gd name="T16" fmla="*/ 76755 w 489"/>
                <a:gd name="T17" fmla="*/ 115910 h 488"/>
                <a:gd name="T18" fmla="*/ 61620 w 489"/>
                <a:gd name="T19" fmla="*/ 102189 h 488"/>
                <a:gd name="T20" fmla="*/ 32432 w 489"/>
                <a:gd name="T21" fmla="*/ 104355 h 488"/>
                <a:gd name="T22" fmla="*/ 4324 w 489"/>
                <a:gd name="T23" fmla="*/ 89911 h 488"/>
                <a:gd name="T24" fmla="*/ 0 w 489"/>
                <a:gd name="T25" fmla="*/ 75829 h 488"/>
                <a:gd name="T26" fmla="*/ 0 w 489"/>
                <a:gd name="T27" fmla="*/ 71135 h 488"/>
                <a:gd name="T28" fmla="*/ 60179 w 489"/>
                <a:gd name="T29" fmla="*/ 76912 h 488"/>
                <a:gd name="T30" fmla="*/ 73512 w 489"/>
                <a:gd name="T31" fmla="*/ 61746 h 488"/>
                <a:gd name="T32" fmla="*/ 71710 w 489"/>
                <a:gd name="T33" fmla="*/ 32137 h 488"/>
                <a:gd name="T34" fmla="*/ 100178 w 489"/>
                <a:gd name="T35" fmla="*/ 0 h 488"/>
                <a:gd name="T36" fmla="*/ 104862 w 489"/>
                <a:gd name="T37" fmla="*/ 0 h 488"/>
                <a:gd name="T38" fmla="*/ 99097 w 489"/>
                <a:gd name="T39" fmla="*/ 60302 h 488"/>
                <a:gd name="T40" fmla="*/ 114232 w 489"/>
                <a:gd name="T41" fmla="*/ 73662 h 488"/>
                <a:gd name="T42" fmla="*/ 143420 w 489"/>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9"/>
                <a:gd name="T67" fmla="*/ 0 h 488"/>
                <a:gd name="T68" fmla="*/ 489 w 489"/>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9" h="488">
                  <a:moveTo>
                    <a:pt x="398" y="198"/>
                  </a:moveTo>
                  <a:cubicBezTo>
                    <a:pt x="487" y="198"/>
                    <a:pt x="488" y="277"/>
                    <a:pt x="488" y="278"/>
                  </a:cubicBezTo>
                  <a:lnTo>
                    <a:pt x="488" y="290"/>
                  </a:lnTo>
                  <a:lnTo>
                    <a:pt x="321" y="274"/>
                  </a:lnTo>
                  <a:cubicBezTo>
                    <a:pt x="314" y="292"/>
                    <a:pt x="301" y="307"/>
                    <a:pt x="284" y="316"/>
                  </a:cubicBezTo>
                  <a:cubicBezTo>
                    <a:pt x="287" y="336"/>
                    <a:pt x="290" y="364"/>
                    <a:pt x="290" y="398"/>
                  </a:cubicBezTo>
                  <a:cubicBezTo>
                    <a:pt x="290" y="486"/>
                    <a:pt x="211" y="487"/>
                    <a:pt x="210" y="487"/>
                  </a:cubicBezTo>
                  <a:lnTo>
                    <a:pt x="198" y="487"/>
                  </a:lnTo>
                  <a:lnTo>
                    <a:pt x="213" y="321"/>
                  </a:lnTo>
                  <a:cubicBezTo>
                    <a:pt x="196" y="313"/>
                    <a:pt x="181" y="300"/>
                    <a:pt x="171" y="283"/>
                  </a:cubicBezTo>
                  <a:cubicBezTo>
                    <a:pt x="146" y="287"/>
                    <a:pt x="118" y="289"/>
                    <a:pt x="90" y="289"/>
                  </a:cubicBezTo>
                  <a:cubicBezTo>
                    <a:pt x="44" y="289"/>
                    <a:pt x="22" y="267"/>
                    <a:pt x="12" y="249"/>
                  </a:cubicBezTo>
                  <a:cubicBezTo>
                    <a:pt x="1" y="230"/>
                    <a:pt x="0" y="210"/>
                    <a:pt x="0" y="210"/>
                  </a:cubicBezTo>
                  <a:lnTo>
                    <a:pt x="0" y="197"/>
                  </a:lnTo>
                  <a:lnTo>
                    <a:pt x="167" y="213"/>
                  </a:lnTo>
                  <a:cubicBezTo>
                    <a:pt x="174" y="195"/>
                    <a:pt x="188" y="180"/>
                    <a:pt x="204" y="171"/>
                  </a:cubicBezTo>
                  <a:cubicBezTo>
                    <a:pt x="201" y="145"/>
                    <a:pt x="199" y="118"/>
                    <a:pt x="199" y="89"/>
                  </a:cubicBezTo>
                  <a:cubicBezTo>
                    <a:pt x="199" y="1"/>
                    <a:pt x="277" y="0"/>
                    <a:pt x="278" y="0"/>
                  </a:cubicBezTo>
                  <a:lnTo>
                    <a:pt x="291" y="0"/>
                  </a:lnTo>
                  <a:lnTo>
                    <a:pt x="275" y="167"/>
                  </a:lnTo>
                  <a:cubicBezTo>
                    <a:pt x="293" y="174"/>
                    <a:pt x="308" y="187"/>
                    <a:pt x="317"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5" name="Freeform 48"/>
            <p:cNvSpPr>
              <a:spLocks noChangeArrowheads="1"/>
            </p:cNvSpPr>
            <p:nvPr/>
          </p:nvSpPr>
          <p:spPr bwMode="auto">
            <a:xfrm>
              <a:off x="1812925" y="4497388"/>
              <a:ext cx="176213" cy="176212"/>
            </a:xfrm>
            <a:custGeom>
              <a:avLst/>
              <a:gdLst>
                <a:gd name="T0" fmla="*/ 143715 w 488"/>
                <a:gd name="T1" fmla="*/ 71496 h 488"/>
                <a:gd name="T2" fmla="*/ 175852 w 488"/>
                <a:gd name="T3" fmla="*/ 100383 h 488"/>
                <a:gd name="T4" fmla="*/ 175852 w 488"/>
                <a:gd name="T5" fmla="*/ 104716 h 488"/>
                <a:gd name="T6" fmla="*/ 115911 w 488"/>
                <a:gd name="T7" fmla="*/ 98939 h 488"/>
                <a:gd name="T8" fmla="*/ 102550 w 488"/>
                <a:gd name="T9" fmla="*/ 114104 h 488"/>
                <a:gd name="T10" fmla="*/ 104356 w 488"/>
                <a:gd name="T11" fmla="*/ 143714 h 488"/>
                <a:gd name="T12" fmla="*/ 75829 w 488"/>
                <a:gd name="T13" fmla="*/ 175851 h 488"/>
                <a:gd name="T14" fmla="*/ 71135 w 488"/>
                <a:gd name="T15" fmla="*/ 175851 h 488"/>
                <a:gd name="T16" fmla="*/ 76913 w 488"/>
                <a:gd name="T17" fmla="*/ 115910 h 488"/>
                <a:gd name="T18" fmla="*/ 61747 w 488"/>
                <a:gd name="T19" fmla="*/ 102189 h 488"/>
                <a:gd name="T20" fmla="*/ 32137 w 488"/>
                <a:gd name="T21" fmla="*/ 104355 h 488"/>
                <a:gd name="T22" fmla="*/ 3972 w 488"/>
                <a:gd name="T23" fmla="*/ 89911 h 488"/>
                <a:gd name="T24" fmla="*/ 0 w 488"/>
                <a:gd name="T25" fmla="*/ 75829 h 488"/>
                <a:gd name="T26" fmla="*/ 0 w 488"/>
                <a:gd name="T27" fmla="*/ 71135 h 488"/>
                <a:gd name="T28" fmla="*/ 60302 w 488"/>
                <a:gd name="T29" fmla="*/ 76912 h 488"/>
                <a:gd name="T30" fmla="*/ 73663 w 488"/>
                <a:gd name="T31" fmla="*/ 61746 h 488"/>
                <a:gd name="T32" fmla="*/ 71496 w 488"/>
                <a:gd name="T33" fmla="*/ 32137 h 488"/>
                <a:gd name="T34" fmla="*/ 100384 w 488"/>
                <a:gd name="T35" fmla="*/ 0 h 488"/>
                <a:gd name="T36" fmla="*/ 104717 w 488"/>
                <a:gd name="T37" fmla="*/ 0 h 488"/>
                <a:gd name="T38" fmla="*/ 98939 w 488"/>
                <a:gd name="T39" fmla="*/ 60302 h 488"/>
                <a:gd name="T40" fmla="*/ 114105 w 488"/>
                <a:gd name="T41" fmla="*/ 73662 h 488"/>
                <a:gd name="T42" fmla="*/ 143715 w 488"/>
                <a:gd name="T43" fmla="*/ 71496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488"/>
                <a:gd name="T68" fmla="*/ 488 w 488"/>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488">
                  <a:moveTo>
                    <a:pt x="398" y="198"/>
                  </a:moveTo>
                  <a:cubicBezTo>
                    <a:pt x="486" y="198"/>
                    <a:pt x="487" y="277"/>
                    <a:pt x="487" y="278"/>
                  </a:cubicBezTo>
                  <a:lnTo>
                    <a:pt x="487" y="290"/>
                  </a:lnTo>
                  <a:lnTo>
                    <a:pt x="321" y="274"/>
                  </a:lnTo>
                  <a:cubicBezTo>
                    <a:pt x="314" y="292"/>
                    <a:pt x="300" y="307"/>
                    <a:pt x="284" y="316"/>
                  </a:cubicBezTo>
                  <a:cubicBezTo>
                    <a:pt x="286" y="336"/>
                    <a:pt x="289" y="364"/>
                    <a:pt x="289" y="398"/>
                  </a:cubicBezTo>
                  <a:cubicBezTo>
                    <a:pt x="289" y="486"/>
                    <a:pt x="210" y="487"/>
                    <a:pt x="210" y="487"/>
                  </a:cubicBezTo>
                  <a:lnTo>
                    <a:pt x="197" y="487"/>
                  </a:lnTo>
                  <a:lnTo>
                    <a:pt x="213" y="321"/>
                  </a:lnTo>
                  <a:cubicBezTo>
                    <a:pt x="195" y="313"/>
                    <a:pt x="180" y="300"/>
                    <a:pt x="171" y="283"/>
                  </a:cubicBezTo>
                  <a:cubicBezTo>
                    <a:pt x="145" y="287"/>
                    <a:pt x="118" y="289"/>
                    <a:pt x="89" y="289"/>
                  </a:cubicBezTo>
                  <a:cubicBezTo>
                    <a:pt x="44" y="289"/>
                    <a:pt x="22" y="267"/>
                    <a:pt x="11" y="249"/>
                  </a:cubicBezTo>
                  <a:cubicBezTo>
                    <a:pt x="0" y="230"/>
                    <a:pt x="0" y="210"/>
                    <a:pt x="0" y="210"/>
                  </a:cubicBezTo>
                  <a:lnTo>
                    <a:pt x="0" y="197"/>
                  </a:lnTo>
                  <a:lnTo>
                    <a:pt x="167" y="213"/>
                  </a:lnTo>
                  <a:cubicBezTo>
                    <a:pt x="174" y="195"/>
                    <a:pt x="187" y="180"/>
                    <a:pt x="204" y="171"/>
                  </a:cubicBezTo>
                  <a:cubicBezTo>
                    <a:pt x="200" y="145"/>
                    <a:pt x="198" y="118"/>
                    <a:pt x="198" y="89"/>
                  </a:cubicBezTo>
                  <a:cubicBezTo>
                    <a:pt x="198" y="1"/>
                    <a:pt x="277" y="0"/>
                    <a:pt x="278" y="0"/>
                  </a:cubicBezTo>
                  <a:lnTo>
                    <a:pt x="290" y="0"/>
                  </a:lnTo>
                  <a:lnTo>
                    <a:pt x="274" y="167"/>
                  </a:lnTo>
                  <a:cubicBezTo>
                    <a:pt x="292" y="174"/>
                    <a:pt x="307" y="187"/>
                    <a:pt x="316" y="204"/>
                  </a:cubicBezTo>
                  <a:cubicBezTo>
                    <a:pt x="336" y="201"/>
                    <a:pt x="364" y="198"/>
                    <a:pt x="398" y="198"/>
                  </a:cubicBez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6" name="Freeform 49"/>
            <p:cNvSpPr>
              <a:spLocks noChangeArrowheads="1"/>
            </p:cNvSpPr>
            <p:nvPr/>
          </p:nvSpPr>
          <p:spPr bwMode="auto">
            <a:xfrm>
              <a:off x="1489075" y="4576763"/>
              <a:ext cx="53975" cy="53975"/>
            </a:xfrm>
            <a:custGeom>
              <a:avLst/>
              <a:gdLst>
                <a:gd name="T0" fmla="*/ 35865 w 152"/>
                <a:gd name="T1" fmla="*/ 0 h 152"/>
                <a:gd name="T2" fmla="*/ 35865 w 152"/>
                <a:gd name="T3" fmla="*/ 17755 h 152"/>
                <a:gd name="T4" fmla="*/ 53620 w 152"/>
                <a:gd name="T5" fmla="*/ 17755 h 152"/>
                <a:gd name="T6" fmla="*/ 53620 w 152"/>
                <a:gd name="T7" fmla="*/ 35865 h 152"/>
                <a:gd name="T8" fmla="*/ 35865 w 152"/>
                <a:gd name="T9" fmla="*/ 35865 h 152"/>
                <a:gd name="T10" fmla="*/ 35865 w 152"/>
                <a:gd name="T11" fmla="*/ 53620 h 152"/>
                <a:gd name="T12" fmla="*/ 18110 w 152"/>
                <a:gd name="T13" fmla="*/ 53620 h 152"/>
                <a:gd name="T14" fmla="*/ 18110 w 152"/>
                <a:gd name="T15" fmla="*/ 35865 h 152"/>
                <a:gd name="T16" fmla="*/ 0 w 152"/>
                <a:gd name="T17" fmla="*/ 35865 h 152"/>
                <a:gd name="T18" fmla="*/ 0 w 152"/>
                <a:gd name="T19" fmla="*/ 17755 h 152"/>
                <a:gd name="T20" fmla="*/ 18110 w 152"/>
                <a:gd name="T21" fmla="*/ 17755 h 152"/>
                <a:gd name="T22" fmla="*/ 18110 w 152"/>
                <a:gd name="T23" fmla="*/ 0 h 152"/>
                <a:gd name="T24" fmla="*/ 35865 w 152"/>
                <a:gd name="T25" fmla="*/ 0 h 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2"/>
                <a:gd name="T40" fmla="*/ 0 h 152"/>
                <a:gd name="T41" fmla="*/ 152 w 152"/>
                <a:gd name="T42" fmla="*/ 152 h 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2" h="152">
                  <a:moveTo>
                    <a:pt x="101" y="0"/>
                  </a:moveTo>
                  <a:lnTo>
                    <a:pt x="101" y="50"/>
                  </a:lnTo>
                  <a:lnTo>
                    <a:pt x="151" y="50"/>
                  </a:lnTo>
                  <a:lnTo>
                    <a:pt x="151" y="101"/>
                  </a:lnTo>
                  <a:lnTo>
                    <a:pt x="101" y="101"/>
                  </a:lnTo>
                  <a:lnTo>
                    <a:pt x="101" y="151"/>
                  </a:lnTo>
                  <a:lnTo>
                    <a:pt x="51" y="151"/>
                  </a:lnTo>
                  <a:lnTo>
                    <a:pt x="51" y="101"/>
                  </a:lnTo>
                  <a:lnTo>
                    <a:pt x="0" y="101"/>
                  </a:lnTo>
                  <a:lnTo>
                    <a:pt x="0" y="50"/>
                  </a:lnTo>
                  <a:lnTo>
                    <a:pt x="51" y="50"/>
                  </a:lnTo>
                  <a:lnTo>
                    <a:pt x="51" y="0"/>
                  </a:lnTo>
                  <a:lnTo>
                    <a:pt x="101" y="0"/>
                  </a:lnTo>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7" name="Freeform 50"/>
            <p:cNvSpPr>
              <a:spLocks noChangeArrowheads="1"/>
            </p:cNvSpPr>
            <p:nvPr/>
          </p:nvSpPr>
          <p:spPr bwMode="auto">
            <a:xfrm>
              <a:off x="1501775" y="4341813"/>
              <a:ext cx="182563" cy="158750"/>
            </a:xfrm>
            <a:custGeom>
              <a:avLst/>
              <a:gdLst>
                <a:gd name="T0" fmla="*/ 38682 w 505"/>
                <a:gd name="T1" fmla="*/ 155166 h 443"/>
                <a:gd name="T2" fmla="*/ 25306 w 505"/>
                <a:gd name="T3" fmla="*/ 154808 h 443"/>
                <a:gd name="T4" fmla="*/ 0 w 505"/>
                <a:gd name="T5" fmla="*/ 94247 h 443"/>
                <a:gd name="T6" fmla="*/ 25306 w 505"/>
                <a:gd name="T7" fmla="*/ 33327 h 443"/>
                <a:gd name="T8" fmla="*/ 148219 w 505"/>
                <a:gd name="T9" fmla="*/ 33327 h 443"/>
                <a:gd name="T10" fmla="*/ 148219 w 505"/>
                <a:gd name="T11" fmla="*/ 155166 h 443"/>
                <a:gd name="T12" fmla="*/ 141712 w 505"/>
                <a:gd name="T13" fmla="*/ 157675 h 443"/>
                <a:gd name="T14" fmla="*/ 135205 w 505"/>
                <a:gd name="T15" fmla="*/ 155166 h 443"/>
                <a:gd name="T16" fmla="*/ 135205 w 505"/>
                <a:gd name="T17" fmla="*/ 141907 h 443"/>
                <a:gd name="T18" fmla="*/ 135205 w 505"/>
                <a:gd name="T19" fmla="*/ 46227 h 443"/>
                <a:gd name="T20" fmla="*/ 38682 w 505"/>
                <a:gd name="T21" fmla="*/ 46227 h 443"/>
                <a:gd name="T22" fmla="*/ 18437 w 505"/>
                <a:gd name="T23" fmla="*/ 94247 h 443"/>
                <a:gd name="T24" fmla="*/ 38682 w 505"/>
                <a:gd name="T25" fmla="*/ 141907 h 443"/>
                <a:gd name="T26" fmla="*/ 38682 w 505"/>
                <a:gd name="T27" fmla="*/ 155166 h 4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5"/>
                <a:gd name="T43" fmla="*/ 0 h 443"/>
                <a:gd name="T44" fmla="*/ 505 w 505"/>
                <a:gd name="T45" fmla="*/ 443 h 4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5" h="443">
                  <a:moveTo>
                    <a:pt x="107" y="433"/>
                  </a:moveTo>
                  <a:cubicBezTo>
                    <a:pt x="97" y="442"/>
                    <a:pt x="80" y="442"/>
                    <a:pt x="70" y="432"/>
                  </a:cubicBezTo>
                  <a:cubicBezTo>
                    <a:pt x="25" y="387"/>
                    <a:pt x="0" y="327"/>
                    <a:pt x="0" y="263"/>
                  </a:cubicBezTo>
                  <a:cubicBezTo>
                    <a:pt x="0" y="199"/>
                    <a:pt x="25" y="138"/>
                    <a:pt x="70" y="93"/>
                  </a:cubicBezTo>
                  <a:cubicBezTo>
                    <a:pt x="164" y="0"/>
                    <a:pt x="317" y="0"/>
                    <a:pt x="410" y="93"/>
                  </a:cubicBezTo>
                  <a:cubicBezTo>
                    <a:pt x="504" y="187"/>
                    <a:pt x="504" y="339"/>
                    <a:pt x="410" y="433"/>
                  </a:cubicBezTo>
                  <a:cubicBezTo>
                    <a:pt x="405" y="438"/>
                    <a:pt x="398" y="440"/>
                    <a:pt x="392" y="440"/>
                  </a:cubicBezTo>
                  <a:cubicBezTo>
                    <a:pt x="385" y="440"/>
                    <a:pt x="379" y="438"/>
                    <a:pt x="374" y="433"/>
                  </a:cubicBezTo>
                  <a:cubicBezTo>
                    <a:pt x="364" y="423"/>
                    <a:pt x="364" y="406"/>
                    <a:pt x="374" y="396"/>
                  </a:cubicBezTo>
                  <a:cubicBezTo>
                    <a:pt x="448" y="323"/>
                    <a:pt x="448" y="203"/>
                    <a:pt x="374" y="129"/>
                  </a:cubicBezTo>
                  <a:cubicBezTo>
                    <a:pt x="300" y="56"/>
                    <a:pt x="180" y="56"/>
                    <a:pt x="107" y="129"/>
                  </a:cubicBezTo>
                  <a:cubicBezTo>
                    <a:pt x="71" y="165"/>
                    <a:pt x="51" y="213"/>
                    <a:pt x="51" y="263"/>
                  </a:cubicBezTo>
                  <a:cubicBezTo>
                    <a:pt x="51" y="314"/>
                    <a:pt x="71" y="361"/>
                    <a:pt x="107" y="396"/>
                  </a:cubicBezTo>
                  <a:cubicBezTo>
                    <a:pt x="117" y="406"/>
                    <a:pt x="117" y="423"/>
                    <a:pt x="107" y="433"/>
                  </a:cubicBezTo>
                </a:path>
              </a:pathLst>
            </a:custGeom>
            <a:solidFill>
              <a:srgbClr val="5C8B76"/>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sp>
          <p:nvSpPr>
            <p:cNvPr id="68" name="Freeform 51"/>
            <p:cNvSpPr>
              <a:spLocks noChangeArrowheads="1"/>
            </p:cNvSpPr>
            <p:nvPr/>
          </p:nvSpPr>
          <p:spPr bwMode="auto">
            <a:xfrm>
              <a:off x="1419225" y="4405313"/>
              <a:ext cx="339725" cy="306387"/>
            </a:xfrm>
            <a:custGeom>
              <a:avLst/>
              <a:gdLst>
                <a:gd name="T0" fmla="*/ 325299 w 942"/>
                <a:gd name="T1" fmla="*/ 117952 h 852"/>
                <a:gd name="T2" fmla="*/ 339004 w 942"/>
                <a:gd name="T3" fmla="*/ 298116 h 852"/>
                <a:gd name="T4" fmla="*/ 336840 w 942"/>
                <a:gd name="T5" fmla="*/ 303870 h 852"/>
                <a:gd name="T6" fmla="*/ 332152 w 942"/>
                <a:gd name="T7" fmla="*/ 305668 h 852"/>
                <a:gd name="T8" fmla="*/ 330709 w 942"/>
                <a:gd name="T9" fmla="*/ 305308 h 852"/>
                <a:gd name="T10" fmla="*/ 169502 w 942"/>
                <a:gd name="T11" fmla="*/ 286249 h 852"/>
                <a:gd name="T12" fmla="*/ 8655 w 942"/>
                <a:gd name="T13" fmla="*/ 305308 h 852"/>
                <a:gd name="T14" fmla="*/ 2524 w 942"/>
                <a:gd name="T15" fmla="*/ 303870 h 852"/>
                <a:gd name="T16" fmla="*/ 361 w 942"/>
                <a:gd name="T17" fmla="*/ 298116 h 852"/>
                <a:gd name="T18" fmla="*/ 14065 w 942"/>
                <a:gd name="T19" fmla="*/ 117952 h 852"/>
                <a:gd name="T20" fmla="*/ 20917 w 942"/>
                <a:gd name="T21" fmla="*/ 111479 h 852"/>
                <a:gd name="T22" fmla="*/ 160486 w 942"/>
                <a:gd name="T23" fmla="*/ 111479 h 852"/>
                <a:gd name="T24" fmla="*/ 160486 w 942"/>
                <a:gd name="T25" fmla="*/ 61134 h 852"/>
                <a:gd name="T26" fmla="*/ 147503 w 942"/>
                <a:gd name="T27" fmla="*/ 53222 h 852"/>
                <a:gd name="T28" fmla="*/ 147503 w 942"/>
                <a:gd name="T29" fmla="*/ 9350 h 852"/>
                <a:gd name="T30" fmla="*/ 169502 w 942"/>
                <a:gd name="T31" fmla="*/ 0 h 852"/>
                <a:gd name="T32" fmla="*/ 191862 w 942"/>
                <a:gd name="T33" fmla="*/ 9350 h 852"/>
                <a:gd name="T34" fmla="*/ 200878 w 942"/>
                <a:gd name="T35" fmla="*/ 31286 h 852"/>
                <a:gd name="T36" fmla="*/ 191862 w 942"/>
                <a:gd name="T37" fmla="*/ 53222 h 852"/>
                <a:gd name="T38" fmla="*/ 178879 w 942"/>
                <a:gd name="T39" fmla="*/ 61134 h 852"/>
                <a:gd name="T40" fmla="*/ 178879 w 942"/>
                <a:gd name="T41" fmla="*/ 111479 h 852"/>
                <a:gd name="T42" fmla="*/ 318447 w 942"/>
                <a:gd name="T43" fmla="*/ 111479 h 852"/>
                <a:gd name="T44" fmla="*/ 325299 w 942"/>
                <a:gd name="T45" fmla="*/ 117952 h 852"/>
                <a:gd name="T46" fmla="*/ 97373 w 942"/>
                <a:gd name="T47" fmla="*/ 250648 h 852"/>
                <a:gd name="T48" fmla="*/ 148585 w 942"/>
                <a:gd name="T49" fmla="*/ 199223 h 852"/>
                <a:gd name="T50" fmla="*/ 97373 w 942"/>
                <a:gd name="T51" fmla="*/ 148159 h 852"/>
                <a:gd name="T52" fmla="*/ 46162 w 942"/>
                <a:gd name="T53" fmla="*/ 199223 h 852"/>
                <a:gd name="T54" fmla="*/ 97373 w 942"/>
                <a:gd name="T55" fmla="*/ 250648 h 852"/>
                <a:gd name="T56" fmla="*/ 169502 w 942"/>
                <a:gd name="T57" fmla="*/ 44232 h 852"/>
                <a:gd name="T58" fmla="*/ 178879 w 942"/>
                <a:gd name="T59" fmla="*/ 40276 h 852"/>
                <a:gd name="T60" fmla="*/ 182485 w 942"/>
                <a:gd name="T61" fmla="*/ 31286 h 852"/>
                <a:gd name="T62" fmla="*/ 178879 w 942"/>
                <a:gd name="T63" fmla="*/ 22296 h 852"/>
                <a:gd name="T64" fmla="*/ 169502 w 942"/>
                <a:gd name="T65" fmla="*/ 18340 h 852"/>
                <a:gd name="T66" fmla="*/ 160486 w 942"/>
                <a:gd name="T67" fmla="*/ 22296 h 852"/>
                <a:gd name="T68" fmla="*/ 160486 w 942"/>
                <a:gd name="T69" fmla="*/ 40276 h 852"/>
                <a:gd name="T70" fmla="*/ 169502 w 942"/>
                <a:gd name="T71" fmla="*/ 44232 h 852"/>
                <a:gd name="T72" fmla="*/ 248843 w 942"/>
                <a:gd name="T73" fmla="*/ 150317 h 852"/>
                <a:gd name="T74" fmla="*/ 230811 w 942"/>
                <a:gd name="T75" fmla="*/ 168297 h 852"/>
                <a:gd name="T76" fmla="*/ 248843 w 942"/>
                <a:gd name="T77" fmla="*/ 186278 h 852"/>
                <a:gd name="T78" fmla="*/ 266875 w 942"/>
                <a:gd name="T79" fmla="*/ 168297 h 852"/>
                <a:gd name="T80" fmla="*/ 248843 w 942"/>
                <a:gd name="T81" fmla="*/ 150317 h 852"/>
                <a:gd name="T82" fmla="*/ 217467 w 942"/>
                <a:gd name="T83" fmla="*/ 217204 h 852"/>
                <a:gd name="T84" fmla="*/ 235499 w 942"/>
                <a:gd name="T85" fmla="*/ 199223 h 852"/>
                <a:gd name="T86" fmla="*/ 217467 w 942"/>
                <a:gd name="T87" fmla="*/ 181603 h 852"/>
                <a:gd name="T88" fmla="*/ 199435 w 942"/>
                <a:gd name="T89" fmla="*/ 199223 h 852"/>
                <a:gd name="T90" fmla="*/ 217467 w 942"/>
                <a:gd name="T91" fmla="*/ 217204 h 852"/>
                <a:gd name="T92" fmla="*/ 248843 w 942"/>
                <a:gd name="T93" fmla="*/ 248490 h 852"/>
                <a:gd name="T94" fmla="*/ 266875 w 942"/>
                <a:gd name="T95" fmla="*/ 230509 h 852"/>
                <a:gd name="T96" fmla="*/ 248843 w 942"/>
                <a:gd name="T97" fmla="*/ 212529 h 852"/>
                <a:gd name="T98" fmla="*/ 230811 w 942"/>
                <a:gd name="T99" fmla="*/ 230509 h 852"/>
                <a:gd name="T100" fmla="*/ 248843 w 942"/>
                <a:gd name="T101" fmla="*/ 248490 h 852"/>
                <a:gd name="T102" fmla="*/ 279858 w 942"/>
                <a:gd name="T103" fmla="*/ 217204 h 852"/>
                <a:gd name="T104" fmla="*/ 297890 w 942"/>
                <a:gd name="T105" fmla="*/ 199223 h 852"/>
                <a:gd name="T106" fmla="*/ 279858 w 942"/>
                <a:gd name="T107" fmla="*/ 181603 h 852"/>
                <a:gd name="T108" fmla="*/ 261826 w 942"/>
                <a:gd name="T109" fmla="*/ 199223 h 852"/>
                <a:gd name="T110" fmla="*/ 279858 w 942"/>
                <a:gd name="T111" fmla="*/ 217204 h 8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42"/>
                <a:gd name="T169" fmla="*/ 0 h 852"/>
                <a:gd name="T170" fmla="*/ 942 w 942"/>
                <a:gd name="T171" fmla="*/ 852 h 85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42" h="852">
                  <a:moveTo>
                    <a:pt x="902" y="328"/>
                  </a:moveTo>
                  <a:lnTo>
                    <a:pt x="940" y="829"/>
                  </a:lnTo>
                  <a:cubicBezTo>
                    <a:pt x="941" y="835"/>
                    <a:pt x="938" y="841"/>
                    <a:pt x="934" y="845"/>
                  </a:cubicBezTo>
                  <a:cubicBezTo>
                    <a:pt x="930" y="848"/>
                    <a:pt x="926" y="850"/>
                    <a:pt x="921" y="850"/>
                  </a:cubicBezTo>
                  <a:cubicBezTo>
                    <a:pt x="920" y="850"/>
                    <a:pt x="918" y="850"/>
                    <a:pt x="917" y="849"/>
                  </a:cubicBezTo>
                  <a:cubicBezTo>
                    <a:pt x="914" y="849"/>
                    <a:pt x="668" y="796"/>
                    <a:pt x="470" y="796"/>
                  </a:cubicBezTo>
                  <a:cubicBezTo>
                    <a:pt x="273" y="796"/>
                    <a:pt x="26" y="849"/>
                    <a:pt x="24" y="849"/>
                  </a:cubicBezTo>
                  <a:cubicBezTo>
                    <a:pt x="18" y="851"/>
                    <a:pt x="11" y="849"/>
                    <a:pt x="7" y="845"/>
                  </a:cubicBezTo>
                  <a:cubicBezTo>
                    <a:pt x="2" y="841"/>
                    <a:pt x="0" y="835"/>
                    <a:pt x="1" y="829"/>
                  </a:cubicBezTo>
                  <a:lnTo>
                    <a:pt x="39" y="328"/>
                  </a:lnTo>
                  <a:cubicBezTo>
                    <a:pt x="40" y="318"/>
                    <a:pt x="48" y="310"/>
                    <a:pt x="58" y="310"/>
                  </a:cubicBezTo>
                  <a:lnTo>
                    <a:pt x="445" y="310"/>
                  </a:lnTo>
                  <a:lnTo>
                    <a:pt x="445" y="170"/>
                  </a:lnTo>
                  <a:cubicBezTo>
                    <a:pt x="431" y="166"/>
                    <a:pt x="419" y="158"/>
                    <a:pt x="409" y="148"/>
                  </a:cubicBezTo>
                  <a:cubicBezTo>
                    <a:pt x="375" y="114"/>
                    <a:pt x="375" y="59"/>
                    <a:pt x="409" y="26"/>
                  </a:cubicBezTo>
                  <a:cubicBezTo>
                    <a:pt x="425" y="9"/>
                    <a:pt x="446" y="0"/>
                    <a:pt x="470" y="0"/>
                  </a:cubicBezTo>
                  <a:cubicBezTo>
                    <a:pt x="493" y="0"/>
                    <a:pt x="515" y="9"/>
                    <a:pt x="532" y="26"/>
                  </a:cubicBezTo>
                  <a:cubicBezTo>
                    <a:pt x="548" y="42"/>
                    <a:pt x="557" y="64"/>
                    <a:pt x="557" y="87"/>
                  </a:cubicBezTo>
                  <a:cubicBezTo>
                    <a:pt x="557" y="110"/>
                    <a:pt x="548" y="132"/>
                    <a:pt x="532" y="148"/>
                  </a:cubicBezTo>
                  <a:cubicBezTo>
                    <a:pt x="522" y="158"/>
                    <a:pt x="509" y="166"/>
                    <a:pt x="496" y="170"/>
                  </a:cubicBezTo>
                  <a:lnTo>
                    <a:pt x="496" y="310"/>
                  </a:lnTo>
                  <a:lnTo>
                    <a:pt x="883" y="310"/>
                  </a:lnTo>
                  <a:cubicBezTo>
                    <a:pt x="893" y="310"/>
                    <a:pt x="901" y="318"/>
                    <a:pt x="902" y="328"/>
                  </a:cubicBezTo>
                  <a:close/>
                  <a:moveTo>
                    <a:pt x="270" y="697"/>
                  </a:moveTo>
                  <a:cubicBezTo>
                    <a:pt x="348" y="697"/>
                    <a:pt x="412" y="633"/>
                    <a:pt x="412" y="554"/>
                  </a:cubicBezTo>
                  <a:cubicBezTo>
                    <a:pt x="412" y="476"/>
                    <a:pt x="348" y="412"/>
                    <a:pt x="270" y="412"/>
                  </a:cubicBezTo>
                  <a:cubicBezTo>
                    <a:pt x="191" y="412"/>
                    <a:pt x="128" y="476"/>
                    <a:pt x="128" y="554"/>
                  </a:cubicBezTo>
                  <a:cubicBezTo>
                    <a:pt x="128" y="633"/>
                    <a:pt x="191" y="697"/>
                    <a:pt x="270" y="697"/>
                  </a:cubicBezTo>
                  <a:close/>
                  <a:moveTo>
                    <a:pt x="470" y="123"/>
                  </a:moveTo>
                  <a:cubicBezTo>
                    <a:pt x="479" y="123"/>
                    <a:pt x="489" y="119"/>
                    <a:pt x="496" y="112"/>
                  </a:cubicBezTo>
                  <a:cubicBezTo>
                    <a:pt x="502" y="105"/>
                    <a:pt x="506" y="97"/>
                    <a:pt x="506" y="87"/>
                  </a:cubicBezTo>
                  <a:cubicBezTo>
                    <a:pt x="506" y="78"/>
                    <a:pt x="502" y="68"/>
                    <a:pt x="496" y="62"/>
                  </a:cubicBezTo>
                  <a:cubicBezTo>
                    <a:pt x="489" y="55"/>
                    <a:pt x="479" y="51"/>
                    <a:pt x="470" y="51"/>
                  </a:cubicBezTo>
                  <a:cubicBezTo>
                    <a:pt x="460" y="51"/>
                    <a:pt x="452" y="55"/>
                    <a:pt x="445" y="62"/>
                  </a:cubicBezTo>
                  <a:cubicBezTo>
                    <a:pt x="431" y="75"/>
                    <a:pt x="431" y="98"/>
                    <a:pt x="445" y="112"/>
                  </a:cubicBezTo>
                  <a:cubicBezTo>
                    <a:pt x="452" y="119"/>
                    <a:pt x="460" y="123"/>
                    <a:pt x="470" y="123"/>
                  </a:cubicBezTo>
                  <a:close/>
                  <a:moveTo>
                    <a:pt x="690" y="418"/>
                  </a:moveTo>
                  <a:cubicBezTo>
                    <a:pt x="662" y="418"/>
                    <a:pt x="640" y="440"/>
                    <a:pt x="640" y="468"/>
                  </a:cubicBezTo>
                  <a:cubicBezTo>
                    <a:pt x="640" y="496"/>
                    <a:pt x="662" y="518"/>
                    <a:pt x="690" y="518"/>
                  </a:cubicBezTo>
                  <a:cubicBezTo>
                    <a:pt x="717" y="518"/>
                    <a:pt x="740" y="496"/>
                    <a:pt x="740" y="468"/>
                  </a:cubicBezTo>
                  <a:cubicBezTo>
                    <a:pt x="740" y="440"/>
                    <a:pt x="717" y="418"/>
                    <a:pt x="690" y="418"/>
                  </a:cubicBezTo>
                  <a:close/>
                  <a:moveTo>
                    <a:pt x="603" y="604"/>
                  </a:moveTo>
                  <a:cubicBezTo>
                    <a:pt x="631" y="604"/>
                    <a:pt x="653" y="582"/>
                    <a:pt x="653" y="554"/>
                  </a:cubicBezTo>
                  <a:cubicBezTo>
                    <a:pt x="653" y="527"/>
                    <a:pt x="631" y="505"/>
                    <a:pt x="603" y="505"/>
                  </a:cubicBezTo>
                  <a:cubicBezTo>
                    <a:pt x="575" y="505"/>
                    <a:pt x="553" y="527"/>
                    <a:pt x="553" y="554"/>
                  </a:cubicBezTo>
                  <a:cubicBezTo>
                    <a:pt x="553" y="582"/>
                    <a:pt x="575" y="604"/>
                    <a:pt x="603" y="604"/>
                  </a:cubicBezTo>
                  <a:close/>
                  <a:moveTo>
                    <a:pt x="690" y="691"/>
                  </a:moveTo>
                  <a:cubicBezTo>
                    <a:pt x="717" y="691"/>
                    <a:pt x="740" y="669"/>
                    <a:pt x="740" y="641"/>
                  </a:cubicBezTo>
                  <a:cubicBezTo>
                    <a:pt x="740" y="613"/>
                    <a:pt x="717" y="591"/>
                    <a:pt x="690" y="591"/>
                  </a:cubicBezTo>
                  <a:cubicBezTo>
                    <a:pt x="662" y="591"/>
                    <a:pt x="640" y="613"/>
                    <a:pt x="640" y="641"/>
                  </a:cubicBezTo>
                  <a:cubicBezTo>
                    <a:pt x="640" y="669"/>
                    <a:pt x="662" y="691"/>
                    <a:pt x="690" y="691"/>
                  </a:cubicBezTo>
                  <a:close/>
                  <a:moveTo>
                    <a:pt x="776" y="604"/>
                  </a:moveTo>
                  <a:cubicBezTo>
                    <a:pt x="804" y="604"/>
                    <a:pt x="826" y="582"/>
                    <a:pt x="826" y="554"/>
                  </a:cubicBezTo>
                  <a:cubicBezTo>
                    <a:pt x="826" y="527"/>
                    <a:pt x="804" y="505"/>
                    <a:pt x="776" y="505"/>
                  </a:cubicBezTo>
                  <a:cubicBezTo>
                    <a:pt x="749" y="505"/>
                    <a:pt x="726" y="527"/>
                    <a:pt x="726" y="554"/>
                  </a:cubicBezTo>
                  <a:cubicBezTo>
                    <a:pt x="726" y="582"/>
                    <a:pt x="749" y="604"/>
                    <a:pt x="776" y="604"/>
                  </a:cubicBezTo>
                  <a:close/>
                </a:path>
              </a:pathLst>
            </a:custGeom>
            <a:solidFill>
              <a:srgbClr val="BD1839"/>
            </a:solidFill>
            <a:ln w="9525">
              <a:noFill/>
              <a:bevel/>
              <a:headEnd/>
              <a:tailEnd/>
            </a:ln>
          </p:spPr>
          <p:txBody>
            <a:bodyPr wrap="none" anchor="ctr">
              <a:prstTxWarp prst="textNoShape">
                <a:avLst/>
              </a:prstTxWarp>
            </a:bodyPr>
            <a:lstStyle/>
            <a:p>
              <a:pPr algn="ctr" hangingPunct="0">
                <a:lnSpc>
                  <a:spcPct val="93000"/>
                </a:lnSpc>
                <a:buClr>
                  <a:srgbClr val="000000"/>
                </a:buClr>
                <a:buSzPct val="100000"/>
                <a:buNone/>
              </a:pPr>
              <a:endParaRPr lang="en-US">
                <a:solidFill>
                  <a:schemeClr val="accent2"/>
                </a:solidFill>
                <a:latin typeface="Arial" pitchFamily="34" charset="0"/>
                <a:ea typeface="SimSun" charset="-122"/>
                <a:cs typeface="Arial" pitchFamily="34" charset="0"/>
              </a:endParaRPr>
            </a:p>
          </p:txBody>
        </p:sp>
      </p:grpSp>
      <p:sp>
        <p:nvSpPr>
          <p:cNvPr id="69" name="Text Box 59"/>
          <p:cNvSpPr txBox="1">
            <a:spLocks noChangeAspect="1" noChangeArrowheads="1"/>
          </p:cNvSpPr>
          <p:nvPr/>
        </p:nvSpPr>
        <p:spPr bwMode="auto">
          <a:xfrm>
            <a:off x="2275406" y="4595075"/>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en-US" sz="1100" b="1" dirty="0">
                <a:solidFill>
                  <a:srgbClr val="FFFFFF"/>
                </a:solidFill>
                <a:latin typeface="Arial" pitchFamily="34" charset="0"/>
                <a:ea typeface="'ArialMT'" pitchFamily="32" charset="0"/>
                <a:cs typeface="Arial" pitchFamily="34" charset="0"/>
              </a:rPr>
              <a:t>Analytical Lab</a:t>
            </a:r>
          </a:p>
        </p:txBody>
      </p:sp>
      <p:sp>
        <p:nvSpPr>
          <p:cNvPr id="70" name="Freeform 12"/>
          <p:cNvSpPr>
            <a:spLocks noChangeArrowheads="1"/>
          </p:cNvSpPr>
          <p:nvPr/>
        </p:nvSpPr>
        <p:spPr bwMode="auto">
          <a:xfrm>
            <a:off x="9635138" y="3633969"/>
            <a:ext cx="293003" cy="289339"/>
          </a:xfrm>
          <a:custGeom>
            <a:avLst/>
            <a:gdLst>
              <a:gd name="T0" fmla="*/ 175 w 351"/>
              <a:gd name="T1" fmla="*/ 0 h 350"/>
              <a:gd name="T2" fmla="*/ 0 w 351"/>
              <a:gd name="T3" fmla="*/ 174 h 350"/>
              <a:gd name="T4" fmla="*/ 175 w 351"/>
              <a:gd name="T5" fmla="*/ 349 h 350"/>
              <a:gd name="T6" fmla="*/ 350 w 351"/>
              <a:gd name="T7" fmla="*/ 174 h 350"/>
              <a:gd name="T8" fmla="*/ 175 w 351"/>
              <a:gd name="T9" fmla="*/ 0 h 350"/>
              <a:gd name="T10" fmla="*/ 161 w 351"/>
              <a:gd name="T11" fmla="*/ 54 h 350"/>
              <a:gd name="T12" fmla="*/ 172 w 351"/>
              <a:gd name="T13" fmla="*/ 44 h 350"/>
              <a:gd name="T14" fmla="*/ 179 w 351"/>
              <a:gd name="T15" fmla="*/ 44 h 350"/>
              <a:gd name="T16" fmla="*/ 189 w 351"/>
              <a:gd name="T17" fmla="*/ 54 h 350"/>
              <a:gd name="T18" fmla="*/ 189 w 351"/>
              <a:gd name="T19" fmla="*/ 162 h 350"/>
              <a:gd name="T20" fmla="*/ 179 w 351"/>
              <a:gd name="T21" fmla="*/ 173 h 350"/>
              <a:gd name="T22" fmla="*/ 172 w 351"/>
              <a:gd name="T23" fmla="*/ 173 h 350"/>
              <a:gd name="T24" fmla="*/ 161 w 351"/>
              <a:gd name="T25" fmla="*/ 162 h 350"/>
              <a:gd name="T26" fmla="*/ 161 w 351"/>
              <a:gd name="T27" fmla="*/ 54 h 350"/>
              <a:gd name="T28" fmla="*/ 175 w 351"/>
              <a:gd name="T29" fmla="*/ 293 h 350"/>
              <a:gd name="T30" fmla="*/ 65 w 351"/>
              <a:gd name="T31" fmla="*/ 182 h 350"/>
              <a:gd name="T32" fmla="*/ 108 w 351"/>
              <a:gd name="T33" fmla="*/ 95 h 350"/>
              <a:gd name="T34" fmla="*/ 119 w 351"/>
              <a:gd name="T35" fmla="*/ 91 h 350"/>
              <a:gd name="T36" fmla="*/ 134 w 351"/>
              <a:gd name="T37" fmla="*/ 106 h 350"/>
              <a:gd name="T38" fmla="*/ 126 w 351"/>
              <a:gd name="T39" fmla="*/ 120 h 350"/>
              <a:gd name="T40" fmla="*/ 96 w 351"/>
              <a:gd name="T41" fmla="*/ 182 h 350"/>
              <a:gd name="T42" fmla="*/ 175 w 351"/>
              <a:gd name="T43" fmla="*/ 262 h 350"/>
              <a:gd name="T44" fmla="*/ 255 w 351"/>
              <a:gd name="T45" fmla="*/ 182 h 350"/>
              <a:gd name="T46" fmla="*/ 224 w 351"/>
              <a:gd name="T47" fmla="*/ 120 h 350"/>
              <a:gd name="T48" fmla="*/ 216 w 351"/>
              <a:gd name="T49" fmla="*/ 106 h 350"/>
              <a:gd name="T50" fmla="*/ 231 w 351"/>
              <a:gd name="T51" fmla="*/ 91 h 350"/>
              <a:gd name="T52" fmla="*/ 243 w 351"/>
              <a:gd name="T53" fmla="*/ 95 h 350"/>
              <a:gd name="T54" fmla="*/ 243 w 351"/>
              <a:gd name="T55" fmla="*/ 95 h 350"/>
              <a:gd name="T56" fmla="*/ 285 w 351"/>
              <a:gd name="T57" fmla="*/ 182 h 350"/>
              <a:gd name="T58" fmla="*/ 175 w 351"/>
              <a:gd name="T59" fmla="*/ 29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1" h="350">
                <a:moveTo>
                  <a:pt x="175" y="0"/>
                </a:moveTo>
                <a:cubicBezTo>
                  <a:pt x="79" y="0"/>
                  <a:pt x="0" y="78"/>
                  <a:pt x="0" y="174"/>
                </a:cubicBezTo>
                <a:cubicBezTo>
                  <a:pt x="0" y="271"/>
                  <a:pt x="79" y="349"/>
                  <a:pt x="175" y="349"/>
                </a:cubicBezTo>
                <a:cubicBezTo>
                  <a:pt x="271" y="349"/>
                  <a:pt x="350" y="271"/>
                  <a:pt x="350" y="174"/>
                </a:cubicBezTo>
                <a:cubicBezTo>
                  <a:pt x="350" y="78"/>
                  <a:pt x="271" y="0"/>
                  <a:pt x="175" y="0"/>
                </a:cubicBezTo>
                <a:close/>
                <a:moveTo>
                  <a:pt x="161" y="54"/>
                </a:moveTo>
                <a:cubicBezTo>
                  <a:pt x="161" y="48"/>
                  <a:pt x="166" y="44"/>
                  <a:pt x="172" y="44"/>
                </a:cubicBezTo>
                <a:lnTo>
                  <a:pt x="179" y="44"/>
                </a:lnTo>
                <a:cubicBezTo>
                  <a:pt x="184" y="44"/>
                  <a:pt x="189" y="48"/>
                  <a:pt x="189" y="54"/>
                </a:cubicBezTo>
                <a:lnTo>
                  <a:pt x="189" y="162"/>
                </a:lnTo>
                <a:cubicBezTo>
                  <a:pt x="189" y="168"/>
                  <a:pt x="184" y="173"/>
                  <a:pt x="179" y="173"/>
                </a:cubicBezTo>
                <a:lnTo>
                  <a:pt x="172" y="173"/>
                </a:lnTo>
                <a:cubicBezTo>
                  <a:pt x="166" y="173"/>
                  <a:pt x="161" y="168"/>
                  <a:pt x="161" y="162"/>
                </a:cubicBezTo>
                <a:lnTo>
                  <a:pt x="161" y="54"/>
                </a:lnTo>
                <a:close/>
                <a:moveTo>
                  <a:pt x="175" y="293"/>
                </a:moveTo>
                <a:cubicBezTo>
                  <a:pt x="114" y="293"/>
                  <a:pt x="65" y="243"/>
                  <a:pt x="65" y="182"/>
                </a:cubicBezTo>
                <a:cubicBezTo>
                  <a:pt x="65" y="147"/>
                  <a:pt x="82" y="116"/>
                  <a:pt x="108" y="95"/>
                </a:cubicBezTo>
                <a:cubicBezTo>
                  <a:pt x="110" y="92"/>
                  <a:pt x="114" y="91"/>
                  <a:pt x="119" y="91"/>
                </a:cubicBezTo>
                <a:cubicBezTo>
                  <a:pt x="127" y="91"/>
                  <a:pt x="134" y="97"/>
                  <a:pt x="134" y="106"/>
                </a:cubicBezTo>
                <a:cubicBezTo>
                  <a:pt x="134" y="112"/>
                  <a:pt x="131" y="117"/>
                  <a:pt x="126" y="120"/>
                </a:cubicBezTo>
                <a:cubicBezTo>
                  <a:pt x="108" y="134"/>
                  <a:pt x="96" y="157"/>
                  <a:pt x="96" y="182"/>
                </a:cubicBezTo>
                <a:cubicBezTo>
                  <a:pt x="96" y="226"/>
                  <a:pt x="131" y="262"/>
                  <a:pt x="175" y="262"/>
                </a:cubicBezTo>
                <a:cubicBezTo>
                  <a:pt x="219" y="262"/>
                  <a:pt x="255" y="226"/>
                  <a:pt x="255" y="182"/>
                </a:cubicBezTo>
                <a:cubicBezTo>
                  <a:pt x="255" y="157"/>
                  <a:pt x="243" y="135"/>
                  <a:pt x="224" y="120"/>
                </a:cubicBezTo>
                <a:cubicBezTo>
                  <a:pt x="219" y="117"/>
                  <a:pt x="216" y="112"/>
                  <a:pt x="216" y="106"/>
                </a:cubicBezTo>
                <a:cubicBezTo>
                  <a:pt x="216" y="97"/>
                  <a:pt x="223" y="91"/>
                  <a:pt x="231" y="91"/>
                </a:cubicBezTo>
                <a:cubicBezTo>
                  <a:pt x="236" y="91"/>
                  <a:pt x="240" y="92"/>
                  <a:pt x="243" y="95"/>
                </a:cubicBezTo>
                <a:lnTo>
                  <a:pt x="243" y="95"/>
                </a:lnTo>
                <a:cubicBezTo>
                  <a:pt x="269" y="116"/>
                  <a:pt x="285" y="147"/>
                  <a:pt x="285" y="182"/>
                </a:cubicBezTo>
                <a:cubicBezTo>
                  <a:pt x="285" y="243"/>
                  <a:pt x="236" y="293"/>
                  <a:pt x="175" y="293"/>
                </a:cubicBezTo>
                <a:close/>
              </a:path>
            </a:pathLst>
          </a:custGeom>
          <a:solidFill>
            <a:srgbClr val="BE1839"/>
          </a:solidFill>
          <a:ln>
            <a:noFill/>
          </a:ln>
          <a:effectLst/>
        </p:spPr>
        <p:txBody>
          <a:bodyPr wrap="none" anchor="ctr"/>
          <a:lstStyle/>
          <a:p>
            <a:pPr algn="ctr">
              <a:lnSpc>
                <a:spcPts val="700"/>
              </a:lnSpc>
            </a:pPr>
            <a:endParaRPr lang="ru-RU">
              <a:solidFill>
                <a:schemeClr val="tx1">
                  <a:lumMod val="75000"/>
                  <a:lumOff val="25000"/>
                </a:schemeClr>
              </a:solidFill>
              <a:latin typeface="Arial"/>
              <a:cs typeface="Arial"/>
            </a:endParaRPr>
          </a:p>
        </p:txBody>
      </p:sp>
      <p:sp>
        <p:nvSpPr>
          <p:cNvPr id="71" name="Text Box 59"/>
          <p:cNvSpPr txBox="1">
            <a:spLocks noChangeAspect="1" noChangeArrowheads="1"/>
          </p:cNvSpPr>
          <p:nvPr/>
        </p:nvSpPr>
        <p:spPr bwMode="auto">
          <a:xfrm>
            <a:off x="2085906" y="2209500"/>
            <a:ext cx="1463303" cy="526407"/>
          </a:xfrm>
          <a:prstGeom prst="rect">
            <a:avLst/>
          </a:prstGeom>
          <a:noFill/>
          <a:ln w="9525">
            <a:noFill/>
            <a:round/>
            <a:headEnd/>
            <a:tailEnd/>
          </a:ln>
        </p:spPr>
        <p:txBody>
          <a:bodyPr lIns="0" tIns="6173" rIns="0" bIns="0">
            <a:prstTxWarp prst="textNoShape">
              <a:avLst/>
            </a:prstTxWarp>
          </a:bodyPr>
          <a:lstStyle/>
          <a:p>
            <a:pPr>
              <a:spcAft>
                <a:spcPts val="200"/>
              </a:spcAft>
            </a:pPr>
            <a:r>
              <a:rPr lang="en-US" sz="1200" b="1" dirty="0">
                <a:solidFill>
                  <a:srgbClr val="53597D"/>
                </a:solidFill>
                <a:latin typeface="微軟正黑體" panose="020B0604030504040204" pitchFamily="34" charset="-120"/>
                <a:ea typeface="微軟正黑體" panose="020B0604030504040204" pitchFamily="34" charset="-120"/>
                <a:cs typeface="Arial" pitchFamily="34" charset="0"/>
              </a:rPr>
              <a:t>在台成立於1986年</a:t>
            </a:r>
          </a:p>
          <a:p>
            <a:pPr>
              <a:lnSpc>
                <a:spcPct val="100000"/>
              </a:lnSpc>
              <a:buNone/>
            </a:pPr>
            <a:endParaRPr lang="en-US" sz="1200"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sp>
        <p:nvSpPr>
          <p:cNvPr id="72" name="Text Box 59"/>
          <p:cNvSpPr txBox="1">
            <a:spLocks noChangeAspect="1" noChangeArrowheads="1"/>
          </p:cNvSpPr>
          <p:nvPr/>
        </p:nvSpPr>
        <p:spPr bwMode="auto">
          <a:xfrm>
            <a:off x="3752894" y="2193457"/>
            <a:ext cx="1463303" cy="526407"/>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設立於台北北投區</a:t>
            </a:r>
          </a:p>
        </p:txBody>
      </p:sp>
      <p:sp>
        <p:nvSpPr>
          <p:cNvPr id="73" name="Text Box 59"/>
          <p:cNvSpPr txBox="1">
            <a:spLocks noChangeAspect="1" noChangeArrowheads="1"/>
          </p:cNvSpPr>
          <p:nvPr/>
        </p:nvSpPr>
        <p:spPr bwMode="auto">
          <a:xfrm>
            <a:off x="5413983" y="2193456"/>
            <a:ext cx="1463303" cy="526407"/>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四大實驗室</a:t>
            </a:r>
            <a:r>
              <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rPr>
              <a:t>:</a:t>
            </a: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紡織品、雜貨、化學及微生物 </a:t>
            </a:r>
          </a:p>
        </p:txBody>
      </p:sp>
      <p:sp>
        <p:nvSpPr>
          <p:cNvPr id="74" name="Text Box 59"/>
          <p:cNvSpPr txBox="1">
            <a:spLocks noChangeAspect="1" noChangeArrowheads="1"/>
          </p:cNvSpPr>
          <p:nvPr/>
        </p:nvSpPr>
        <p:spPr bwMode="auto">
          <a:xfrm>
            <a:off x="7075449" y="2220133"/>
            <a:ext cx="1463303" cy="526407"/>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驗貨服務</a:t>
            </a:r>
            <a:r>
              <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rPr>
              <a:t>—</a:t>
            </a: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檢驗、稽核</a:t>
            </a:r>
            <a:r>
              <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rPr>
              <a:t>&amp;</a:t>
            </a: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評估</a:t>
            </a:r>
          </a:p>
        </p:txBody>
      </p:sp>
      <p:sp>
        <p:nvSpPr>
          <p:cNvPr id="75" name="Text Box 59"/>
          <p:cNvSpPr txBox="1">
            <a:spLocks noChangeAspect="1" noChangeArrowheads="1"/>
          </p:cNvSpPr>
          <p:nvPr/>
        </p:nvSpPr>
        <p:spPr bwMode="auto">
          <a:xfrm>
            <a:off x="8710506" y="2204767"/>
            <a:ext cx="1463303" cy="526407"/>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員工人數約</a:t>
            </a:r>
            <a:r>
              <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rPr>
              <a:t>200</a:t>
            </a: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人</a:t>
            </a:r>
          </a:p>
        </p:txBody>
      </p:sp>
      <p:sp>
        <p:nvSpPr>
          <p:cNvPr id="76" name="Freeform 36"/>
          <p:cNvSpPr>
            <a:spLocks noChangeArrowheads="1"/>
          </p:cNvSpPr>
          <p:nvPr/>
        </p:nvSpPr>
        <p:spPr bwMode="auto">
          <a:xfrm>
            <a:off x="2028826" y="6197204"/>
            <a:ext cx="1787287"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a:latin typeface="Arial" pitchFamily="34" charset="0"/>
              <a:cs typeface="Arial" pitchFamily="34" charset="0"/>
            </a:endParaRPr>
          </a:p>
        </p:txBody>
      </p:sp>
      <p:sp>
        <p:nvSpPr>
          <p:cNvPr id="77" name="Text Box 59"/>
          <p:cNvSpPr txBox="1">
            <a:spLocks noChangeAspect="1" noChangeArrowheads="1"/>
          </p:cNvSpPr>
          <p:nvPr/>
        </p:nvSpPr>
        <p:spPr bwMode="auto">
          <a:xfrm>
            <a:off x="2281275" y="6249249"/>
            <a:ext cx="1221388" cy="178907"/>
          </a:xfrm>
          <a:prstGeom prst="rect">
            <a:avLst/>
          </a:prstGeom>
          <a:noFill/>
          <a:ln w="9525">
            <a:noFill/>
            <a:round/>
            <a:headEnd/>
            <a:tailEnd/>
          </a:ln>
        </p:spPr>
        <p:txBody>
          <a:bodyPr lIns="0" tIns="6173" rIns="0" bIns="0" anchor="ctr">
            <a:prstTxWarp prst="textNoShape">
              <a:avLst/>
            </a:prstTxWarp>
          </a:bodyPr>
          <a:lstStyle/>
          <a:p>
            <a:pPr algn="ctr">
              <a:buNone/>
            </a:pPr>
            <a:r>
              <a:rPr lang="en-US" sz="1100" b="1" dirty="0">
                <a:solidFill>
                  <a:srgbClr val="FFFFFF"/>
                </a:solidFill>
                <a:ea typeface="'ArialMT'" pitchFamily="32" charset="0"/>
                <a:cs typeface="Arial" pitchFamily="34" charset="0"/>
              </a:rPr>
              <a:t>Toy</a:t>
            </a:r>
            <a:r>
              <a:rPr lang="en-US" sz="1100" b="1" dirty="0">
                <a:solidFill>
                  <a:srgbClr val="FFFFFF"/>
                </a:solidFill>
                <a:latin typeface="Arial" pitchFamily="34" charset="0"/>
                <a:ea typeface="'ArialMT'" pitchFamily="32" charset="0"/>
                <a:cs typeface="Arial" pitchFamily="34" charset="0"/>
              </a:rPr>
              <a:t> Lab</a:t>
            </a:r>
          </a:p>
        </p:txBody>
      </p:sp>
      <p:sp>
        <p:nvSpPr>
          <p:cNvPr id="78" name="Freeform 36"/>
          <p:cNvSpPr>
            <a:spLocks noChangeArrowheads="1"/>
          </p:cNvSpPr>
          <p:nvPr/>
        </p:nvSpPr>
        <p:spPr bwMode="auto">
          <a:xfrm>
            <a:off x="3929308" y="4546131"/>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a:latin typeface="Arial" pitchFamily="34" charset="0"/>
              <a:cs typeface="Arial" pitchFamily="34" charset="0"/>
            </a:endParaRPr>
          </a:p>
        </p:txBody>
      </p:sp>
      <p:sp>
        <p:nvSpPr>
          <p:cNvPr id="79" name="Text Box 59"/>
          <p:cNvSpPr txBox="1">
            <a:spLocks noChangeAspect="1" noChangeArrowheads="1"/>
          </p:cNvSpPr>
          <p:nvPr/>
        </p:nvSpPr>
        <p:spPr bwMode="auto">
          <a:xfrm>
            <a:off x="4064795" y="4576909"/>
            <a:ext cx="1540707" cy="224942"/>
          </a:xfrm>
          <a:prstGeom prst="rect">
            <a:avLst/>
          </a:prstGeom>
          <a:noFill/>
          <a:ln w="9525">
            <a:noFill/>
            <a:round/>
            <a:headEnd/>
            <a:tailEnd/>
          </a:ln>
        </p:spPr>
        <p:txBody>
          <a:bodyPr lIns="0" tIns="6173" rIns="0" bIns="0" anchor="ctr">
            <a:prstTxWarp prst="textNoShape">
              <a:avLst/>
            </a:prstTxWarp>
          </a:bodyPr>
          <a:lstStyle/>
          <a:p>
            <a:pPr algn="ctr">
              <a:buFontTx/>
              <a:buNone/>
            </a:pPr>
            <a:r>
              <a:rPr lang="en-US" altLang="zh-TW" sz="1100" b="1" dirty="0">
                <a:solidFill>
                  <a:schemeClr val="bg1"/>
                </a:solidFill>
                <a:ea typeface="新細明體" pitchFamily="18" charset="-120"/>
              </a:rPr>
              <a:t>Microbiological</a:t>
            </a:r>
            <a:r>
              <a:rPr lang="en-US" altLang="zh-CN" sz="1100" b="1" dirty="0">
                <a:solidFill>
                  <a:schemeClr val="bg1"/>
                </a:solidFill>
                <a:ea typeface="新細明體" pitchFamily="18" charset="-120"/>
              </a:rPr>
              <a:t> Lab</a:t>
            </a:r>
            <a:endParaRPr lang="zh-CN" altLang="en-US" sz="1100" b="1" dirty="0">
              <a:solidFill>
                <a:schemeClr val="bg1"/>
              </a:solidFill>
              <a:ea typeface="新細明體" pitchFamily="18" charset="-120"/>
            </a:endParaRPr>
          </a:p>
        </p:txBody>
      </p:sp>
      <p:sp>
        <p:nvSpPr>
          <p:cNvPr id="80" name="Freeform 36"/>
          <p:cNvSpPr>
            <a:spLocks noChangeArrowheads="1"/>
          </p:cNvSpPr>
          <p:nvPr/>
        </p:nvSpPr>
        <p:spPr bwMode="auto">
          <a:xfrm>
            <a:off x="3911839" y="6195452"/>
            <a:ext cx="1821258"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a:latin typeface="Arial" pitchFamily="34" charset="0"/>
              <a:cs typeface="Arial" pitchFamily="34" charset="0"/>
            </a:endParaRPr>
          </a:p>
        </p:txBody>
      </p:sp>
      <p:sp>
        <p:nvSpPr>
          <p:cNvPr id="81" name="Text Box 59"/>
          <p:cNvSpPr txBox="1">
            <a:spLocks noChangeAspect="1" noChangeArrowheads="1"/>
          </p:cNvSpPr>
          <p:nvPr/>
        </p:nvSpPr>
        <p:spPr bwMode="auto">
          <a:xfrm>
            <a:off x="4047326" y="6226230"/>
            <a:ext cx="1540707" cy="224942"/>
          </a:xfrm>
          <a:prstGeom prst="rect">
            <a:avLst/>
          </a:prstGeom>
          <a:noFill/>
          <a:ln w="9525">
            <a:noFill/>
            <a:round/>
            <a:headEnd/>
            <a:tailEnd/>
          </a:ln>
        </p:spPr>
        <p:txBody>
          <a:bodyPr lIns="0" tIns="6173" rIns="0" bIns="0" anchor="ctr">
            <a:prstTxWarp prst="textNoShape">
              <a:avLst/>
            </a:prstTxWarp>
          </a:bodyPr>
          <a:lstStyle/>
          <a:p>
            <a:pPr algn="ctr">
              <a:buFontTx/>
              <a:buNone/>
            </a:pPr>
            <a:r>
              <a:rPr lang="en-US" altLang="zh-CN" sz="1100" b="1" dirty="0">
                <a:solidFill>
                  <a:schemeClr val="bg1"/>
                </a:solidFill>
                <a:ea typeface="新細明體" pitchFamily="18" charset="-120"/>
              </a:rPr>
              <a:t>Physical Testing Lab</a:t>
            </a:r>
            <a:endParaRPr lang="zh-CN" altLang="en-US" sz="1100" b="1" dirty="0">
              <a:solidFill>
                <a:schemeClr val="bg1"/>
              </a:solidFill>
              <a:ea typeface="新細明體" pitchFamily="18" charset="-120"/>
            </a:endParaRPr>
          </a:p>
        </p:txBody>
      </p:sp>
    </p:spTree>
    <p:extLst>
      <p:ext uri="{BB962C8B-B14F-4D97-AF65-F5344CB8AC3E}">
        <p14:creationId xmlns:p14="http://schemas.microsoft.com/office/powerpoint/2010/main" val="4243411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7</a:t>
            </a:fld>
            <a:endParaRPr lang="en-GB" dirty="0"/>
          </a:p>
        </p:txBody>
      </p:sp>
      <p:sp>
        <p:nvSpPr>
          <p:cNvPr id="4" name="標題 3"/>
          <p:cNvSpPr>
            <a:spLocks noGrp="1"/>
          </p:cNvSpPr>
          <p:nvPr>
            <p:ph type="title"/>
          </p:nvPr>
        </p:nvSpPr>
        <p:spPr/>
        <p:txBody>
          <a:bodyPr/>
          <a:lstStyle/>
          <a:p>
            <a:r>
              <a:rPr lang="en-US" altLang="zh-TW" dirty="0"/>
              <a:t>Our Services – </a:t>
            </a:r>
            <a:r>
              <a:rPr lang="zh-TW" altLang="en-US" dirty="0">
                <a:latin typeface="微軟正黑體" panose="020B0604030504040204" pitchFamily="34" charset="-120"/>
              </a:rPr>
              <a:t>我們的服務</a:t>
            </a:r>
            <a:endParaRPr lang="zh-TW" altLang="en-US" dirty="0"/>
          </a:p>
        </p:txBody>
      </p:sp>
      <p:pic>
        <p:nvPicPr>
          <p:cNvPr id="5" name="Picture 105"/>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95741" y="5782883"/>
            <a:ext cx="8157600" cy="362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6" name="表格 5"/>
          <p:cNvGraphicFramePr>
            <a:graphicFrameLocks noGrp="1"/>
          </p:cNvGraphicFramePr>
          <p:nvPr>
            <p:extLst>
              <p:ext uri="{D42A27DB-BD31-4B8C-83A1-F6EECF244321}">
                <p14:modId xmlns:p14="http://schemas.microsoft.com/office/powerpoint/2010/main" val="475107204"/>
              </p:ext>
            </p:extLst>
          </p:nvPr>
        </p:nvGraphicFramePr>
        <p:xfrm>
          <a:off x="1996983" y="1191941"/>
          <a:ext cx="8134350" cy="4572000"/>
        </p:xfrm>
        <a:graphic>
          <a:graphicData uri="http://schemas.openxmlformats.org/drawingml/2006/table">
            <a:tbl>
              <a:tblPr firstRow="1" bandRow="1">
                <a:tableStyleId>{5DA37D80-6434-44D0-A028-1B22A696006F}</a:tableStyleId>
              </a:tblPr>
              <a:tblGrid>
                <a:gridCol w="1517751">
                  <a:extLst>
                    <a:ext uri="{9D8B030D-6E8A-4147-A177-3AD203B41FA5}">
                      <a16:colId xmlns:a16="http://schemas.microsoft.com/office/drawing/2014/main" val="20000"/>
                    </a:ext>
                  </a:extLst>
                </a:gridCol>
                <a:gridCol w="6616599">
                  <a:extLst>
                    <a:ext uri="{9D8B030D-6E8A-4147-A177-3AD203B41FA5}">
                      <a16:colId xmlns:a16="http://schemas.microsoft.com/office/drawing/2014/main" val="20001"/>
                    </a:ext>
                  </a:extLst>
                </a:gridCol>
              </a:tblGrid>
              <a:tr h="250614">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AATCC</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tcPr>
                </a:tc>
                <a:tc>
                  <a:txBody>
                    <a:bodyPr/>
                    <a:lstStyle/>
                    <a:p>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American Association of Textile Chemists and Colorists</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ASTM</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tcPr>
                </a:tc>
                <a:tc>
                  <a:txBody>
                    <a:bodyPr/>
                    <a:lstStyle/>
                    <a:p>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American Society for Testing and Materials</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FTC </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TW" sz="1400" b="1" dirty="0">
                          <a:solidFill>
                            <a:schemeClr val="bg2">
                              <a:lumMod val="50000"/>
                            </a:schemeClr>
                          </a:solidFill>
                          <a:latin typeface="微軟正黑體" panose="020B0604030504040204" pitchFamily="34" charset="-120"/>
                          <a:ea typeface="微軟正黑體" panose="020B0604030504040204" pitchFamily="34" charset="-120"/>
                        </a:rPr>
                        <a:t>Federal Trade Commission </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CPSC</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TW" sz="1400" b="1" dirty="0">
                          <a:solidFill>
                            <a:schemeClr val="bg2">
                              <a:lumMod val="50000"/>
                            </a:schemeClr>
                          </a:solidFill>
                          <a:latin typeface="微軟正黑體" panose="020B0604030504040204" pitchFamily="34" charset="-120"/>
                          <a:ea typeface="微軟正黑體" panose="020B0604030504040204" pitchFamily="34" charset="-120"/>
                        </a:rPr>
                        <a:t>Consumer Product Safety Commission</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CA65</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TW" sz="1400" b="1" dirty="0">
                          <a:solidFill>
                            <a:schemeClr val="bg2">
                              <a:lumMod val="50000"/>
                            </a:schemeClr>
                          </a:solidFill>
                          <a:latin typeface="微軟正黑體" panose="020B0604030504040204" pitchFamily="34" charset="-120"/>
                          <a:ea typeface="微軟正黑體" panose="020B0604030504040204" pitchFamily="34" charset="-120"/>
                        </a:rPr>
                        <a:t>California Proposition 65</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BS </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British Standards Institu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DIN</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Deutsches Institut Fur Normung</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ISO</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International Organization for Standardization </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JIS </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Japanese Industrial Standards </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AS </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Australian Standar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CNS</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TW" sz="1400" b="1" dirty="0">
                          <a:solidFill>
                            <a:schemeClr val="bg2">
                              <a:lumMod val="50000"/>
                            </a:schemeClr>
                          </a:solidFill>
                          <a:latin typeface="微軟正黑體" panose="020B0604030504040204" pitchFamily="34" charset="-120"/>
                          <a:ea typeface="微軟正黑體" panose="020B0604030504040204" pitchFamily="34" charset="-120"/>
                        </a:rPr>
                        <a:t>Chinese National Standards</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BVCPS </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In-house test method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302880">
                <a:tc>
                  <a:txBody>
                    <a:bodyPr/>
                    <a:lstStyle/>
                    <a:p>
                      <a:r>
                        <a:rPr lang="en-GB" altLang="zh-TW" sz="1400" b="1" kern="1200" dirty="0">
                          <a:solidFill>
                            <a:srgbClr val="C9314B"/>
                          </a:solidFill>
                          <a:latin typeface="微軟正黑體" panose="020B0604030504040204" pitchFamily="34" charset="-120"/>
                          <a:ea typeface="微軟正黑體" panose="020B0604030504040204" pitchFamily="34" charset="-120"/>
                          <a:cs typeface="Arial"/>
                        </a:rPr>
                        <a:t>GB </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altLang="zh-TW" sz="1400" b="1" dirty="0">
                          <a:solidFill>
                            <a:schemeClr val="bg2">
                              <a:lumMod val="50000"/>
                            </a:schemeClr>
                          </a:solidFill>
                          <a:latin typeface="微軟正黑體" panose="020B0604030504040204" pitchFamily="34" charset="-120"/>
                          <a:ea typeface="微軟正黑體" panose="020B0604030504040204" pitchFamily="34" charset="-120"/>
                        </a:rPr>
                        <a:t>China National Standards</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302880">
                <a:tc>
                  <a:txBody>
                    <a:bodyPr/>
                    <a:lstStyle/>
                    <a:p>
                      <a:r>
                        <a:rPr lang="en-US" altLang="zh-TW" sz="1400" b="1" kern="1200" dirty="0">
                          <a:solidFill>
                            <a:srgbClr val="C9314B"/>
                          </a:solidFill>
                          <a:latin typeface="微軟正黑體" panose="020B0604030504040204" pitchFamily="34" charset="-120"/>
                          <a:ea typeface="微軟正黑體" panose="020B0604030504040204" pitchFamily="34" charset="-120"/>
                          <a:cs typeface="Arial"/>
                        </a:rPr>
                        <a:t>RoHS</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TW" sz="1400" b="1" dirty="0">
                          <a:solidFill>
                            <a:schemeClr val="bg2">
                              <a:lumMod val="50000"/>
                            </a:schemeClr>
                          </a:solidFill>
                          <a:latin typeface="微軟正黑體" panose="020B0604030504040204" pitchFamily="34" charset="-120"/>
                          <a:ea typeface="微軟正黑體" panose="020B0604030504040204" pitchFamily="34" charset="-120"/>
                        </a:rPr>
                        <a:t>European Commission</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302880">
                <a:tc>
                  <a:txBody>
                    <a:bodyPr/>
                    <a:lstStyle/>
                    <a:p>
                      <a:r>
                        <a:rPr lang="en-US" altLang="zh-TW" sz="1400" b="1" kern="1200" dirty="0">
                          <a:solidFill>
                            <a:srgbClr val="C9314B"/>
                          </a:solidFill>
                          <a:latin typeface="微軟正黑體" panose="020B0604030504040204" pitchFamily="34" charset="-120"/>
                          <a:ea typeface="微軟正黑體" panose="020B0604030504040204" pitchFamily="34" charset="-120"/>
                          <a:cs typeface="Arial"/>
                        </a:rPr>
                        <a:t>REACH</a:t>
                      </a:r>
                      <a:endParaRPr lang="zh-TW" altLang="en-US" sz="1400" b="1" kern="1200" dirty="0">
                        <a:solidFill>
                          <a:srgbClr val="C9314B"/>
                        </a:solidFill>
                        <a:latin typeface="微軟正黑體" panose="020B0604030504040204" pitchFamily="34" charset="-120"/>
                        <a:ea typeface="微軟正黑體" panose="020B0604030504040204" pitchFamily="34" charset="-120"/>
                        <a:cs typeface="Arial"/>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TW" sz="1400" b="1" dirty="0">
                          <a:solidFill>
                            <a:schemeClr val="bg2">
                              <a:lumMod val="50000"/>
                            </a:schemeClr>
                          </a:solidFill>
                          <a:latin typeface="微軟正黑體" panose="020B0604030504040204" pitchFamily="34" charset="-120"/>
                          <a:ea typeface="微軟正黑體" panose="020B0604030504040204" pitchFamily="34" charset="-120"/>
                        </a:rPr>
                        <a:t>ECHA-European Chemicals Agency</a:t>
                      </a:r>
                      <a:endParaRPr lang="zh-TW" altLang="en-US" sz="1400" b="1" dirty="0">
                        <a:solidFill>
                          <a:schemeClr val="bg2">
                            <a:lumMod val="50000"/>
                          </a:schemeClr>
                        </a:solidFill>
                        <a:latin typeface="微軟正黑體" panose="020B0604030504040204" pitchFamily="34" charset="-120"/>
                        <a:ea typeface="微軟正黑體" panose="020B0604030504040204" pitchFamily="34" charset="-12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cxnSp>
        <p:nvCxnSpPr>
          <p:cNvPr id="7" name="Straight Connector 61"/>
          <p:cNvCxnSpPr/>
          <p:nvPr/>
        </p:nvCxnSpPr>
        <p:spPr>
          <a:xfrm>
            <a:off x="2012322" y="1089000"/>
            <a:ext cx="0" cy="4752000"/>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61"/>
          <p:cNvCxnSpPr/>
          <p:nvPr/>
        </p:nvCxnSpPr>
        <p:spPr>
          <a:xfrm>
            <a:off x="10115912" y="1094126"/>
            <a:ext cx="0" cy="4788000"/>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9" name="Straight Connector 61"/>
          <p:cNvCxnSpPr/>
          <p:nvPr/>
        </p:nvCxnSpPr>
        <p:spPr>
          <a:xfrm>
            <a:off x="2012322" y="1089000"/>
            <a:ext cx="8129644" cy="0"/>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sp>
        <p:nvSpPr>
          <p:cNvPr id="10" name="文字方塊 9"/>
          <p:cNvSpPr txBox="1"/>
          <p:nvPr/>
        </p:nvSpPr>
        <p:spPr>
          <a:xfrm>
            <a:off x="3544182" y="5809636"/>
            <a:ext cx="5039832" cy="323165"/>
          </a:xfrm>
          <a:prstGeom prst="rect">
            <a:avLst/>
          </a:prstGeom>
          <a:noFill/>
        </p:spPr>
        <p:txBody>
          <a:bodyPr wrap="square" rtlCol="0">
            <a:spAutoFit/>
          </a:bodyPr>
          <a:lstStyle/>
          <a:p>
            <a:pPr algn="ctr">
              <a:buNone/>
            </a:pPr>
            <a:r>
              <a:rPr lang="en-GB" altLang="fr-FR"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rPr>
              <a:t>Test </a:t>
            </a:r>
            <a:r>
              <a:rPr lang="en-US" altLang="zh-TW"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rPr>
              <a:t>M</a:t>
            </a:r>
            <a:r>
              <a:rPr lang="fr-FR" altLang="fr-FR"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rPr>
              <a:t>ethods </a:t>
            </a:r>
            <a:r>
              <a:rPr lang="fr-FR" altLang="zh-TW"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rPr>
              <a:t>and </a:t>
            </a:r>
            <a:r>
              <a:rPr lang="en-US" altLang="zh-TW"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rPr>
              <a:t>S</a:t>
            </a:r>
            <a:r>
              <a:rPr lang="fr-FR" altLang="zh-TW"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rPr>
              <a:t>tandards</a:t>
            </a:r>
            <a:r>
              <a:rPr lang="zh-TW" altLang="en-US"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rPr>
              <a:t> 測試方法及標準</a:t>
            </a:r>
            <a:endParaRPr lang="fr-FR" altLang="fr-FR" sz="1500" b="1" dirty="0">
              <a:solidFill>
                <a:schemeClr val="bg1"/>
              </a:solidFill>
              <a:latin typeface="微軟正黑體" panose="020B0604030504040204" pitchFamily="34" charset="-120"/>
              <a:ea typeface="微軟正黑體" panose="020B0604030504040204" pitchFamily="34" charset="-120"/>
              <a:cs typeface="Verdana" panose="020B0604030504040204" pitchFamily="34" charset="0"/>
            </a:endParaRPr>
          </a:p>
        </p:txBody>
      </p:sp>
    </p:spTree>
    <p:extLst>
      <p:ext uri="{BB962C8B-B14F-4D97-AF65-F5344CB8AC3E}">
        <p14:creationId xmlns:p14="http://schemas.microsoft.com/office/powerpoint/2010/main" val="4218591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7322322" y="2362603"/>
            <a:ext cx="5073678" cy="886397"/>
          </a:xfrm>
        </p:spPr>
        <p:txBody>
          <a:bodyPr/>
          <a:lstStyle/>
          <a:p>
            <a:r>
              <a:rPr lang="en-US" altLang="zh-TW" sz="2600" cap="none" dirty="0">
                <a:solidFill>
                  <a:srgbClr val="867D76"/>
                </a:solidFill>
                <a:latin typeface="微軟正黑體" panose="020B0604030504040204" pitchFamily="34" charset="-120"/>
              </a:rPr>
              <a:t>Recruitment</a:t>
            </a:r>
            <a:r>
              <a:rPr lang="zh-TW" altLang="en-US" sz="2600" cap="none" dirty="0">
                <a:solidFill>
                  <a:srgbClr val="867D76"/>
                </a:solidFill>
                <a:latin typeface="微軟正黑體" panose="020B0604030504040204" pitchFamily="34" charset="-120"/>
              </a:rPr>
              <a:t>＆</a:t>
            </a:r>
            <a:r>
              <a:rPr lang="en-US" altLang="zh-TW" sz="2600" cap="none" dirty="0">
                <a:solidFill>
                  <a:srgbClr val="867D76"/>
                </a:solidFill>
                <a:latin typeface="微軟正黑體" panose="020B0604030504040204" pitchFamily="34" charset="-120"/>
              </a:rPr>
              <a:t>Benefit </a:t>
            </a:r>
            <a:endParaRPr lang="zh-TW" altLang="en-US" sz="2600" dirty="0">
              <a:solidFill>
                <a:srgbClr val="867D76"/>
              </a:solidFill>
            </a:endParaRPr>
          </a:p>
        </p:txBody>
      </p:sp>
      <p:sp>
        <p:nvSpPr>
          <p:cNvPr id="4" name="文字版面配置區 3"/>
          <p:cNvSpPr>
            <a:spLocks noGrp="1"/>
          </p:cNvSpPr>
          <p:nvPr>
            <p:ph type="body" idx="1"/>
          </p:nvPr>
        </p:nvSpPr>
        <p:spPr>
          <a:xfrm>
            <a:off x="7331579" y="3483766"/>
            <a:ext cx="4487300" cy="999262"/>
          </a:xfrm>
        </p:spPr>
        <p:txBody>
          <a:bodyPr>
            <a:normAutofit/>
          </a:bodyPr>
          <a:lstStyle/>
          <a:p>
            <a:r>
              <a:rPr lang="zh-TW" altLang="en-US" sz="2800" b="1" dirty="0">
                <a:solidFill>
                  <a:srgbClr val="CC023B"/>
                </a:solidFill>
              </a:rPr>
              <a:t> 職缺與福利</a:t>
            </a:r>
          </a:p>
        </p:txBody>
      </p:sp>
      <p:sp>
        <p:nvSpPr>
          <p:cNvPr id="5" name="投影片編號版面配置區 4"/>
          <p:cNvSpPr>
            <a:spLocks noGrp="1"/>
          </p:cNvSpPr>
          <p:nvPr>
            <p:ph type="sldNum" sz="quarter" idx="10"/>
          </p:nvPr>
        </p:nvSpPr>
        <p:spPr/>
        <p:txBody>
          <a:bodyPr/>
          <a:lstStyle/>
          <a:p>
            <a:r>
              <a:rPr lang="en-GB"/>
              <a:t>Slide / </a:t>
            </a:r>
            <a:fld id="{3EA6A558-C4CA-4506-B5EC-E793D5AE9532}" type="slidenum">
              <a:rPr lang="en-GB" smtClean="0"/>
              <a:pPr/>
              <a:t>18</a:t>
            </a:fld>
            <a:endParaRPr lang="en-GB" dirty="0"/>
          </a:p>
        </p:txBody>
      </p:sp>
      <p:sp>
        <p:nvSpPr>
          <p:cNvPr id="6" name="文字版面配置區 5"/>
          <p:cNvSpPr>
            <a:spLocks noGrp="1"/>
          </p:cNvSpPr>
          <p:nvPr>
            <p:ph type="body" sz="quarter" idx="12"/>
          </p:nvPr>
        </p:nvSpPr>
        <p:spPr/>
        <p:txBody>
          <a:bodyPr/>
          <a:lstStyle/>
          <a:p>
            <a:r>
              <a:rPr lang="en-US" altLang="zh-TW" dirty="0"/>
              <a:t>04</a:t>
            </a:r>
            <a:endParaRPr lang="zh-TW" altLang="en-US" dirty="0"/>
          </a:p>
        </p:txBody>
      </p:sp>
      <p:pic>
        <p:nvPicPr>
          <p:cNvPr id="8" name="圖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97248" y="180393"/>
            <a:ext cx="719999" cy="892173"/>
          </a:xfrm>
          <a:prstGeom prst="rect">
            <a:avLst/>
          </a:prstGeom>
        </p:spPr>
      </p:pic>
      <p:pic>
        <p:nvPicPr>
          <p:cNvPr id="11" name="圖片版面配置區 10" descr="一張含有 牆, 室內, 地板, 室內設計 的圖片&#10;&#10;自動產生的描述">
            <a:extLst>
              <a:ext uri="{FF2B5EF4-FFF2-40B4-BE49-F238E27FC236}">
                <a16:creationId xmlns:a16="http://schemas.microsoft.com/office/drawing/2014/main" id="{941EDE33-9CAE-600B-2392-08D5D4E644D5}"/>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6343" r="16343"/>
          <a:stretch>
            <a:fillRect/>
          </a:stretch>
        </p:blipFill>
        <p:spPr/>
      </p:pic>
    </p:spTree>
    <p:extLst>
      <p:ext uri="{BB962C8B-B14F-4D97-AF65-F5344CB8AC3E}">
        <p14:creationId xmlns:p14="http://schemas.microsoft.com/office/powerpoint/2010/main" val="8139290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19</a:t>
            </a:fld>
            <a:endParaRPr lang="en-GB" dirty="0"/>
          </a:p>
        </p:txBody>
      </p:sp>
      <p:sp>
        <p:nvSpPr>
          <p:cNvPr id="4" name="標題 3"/>
          <p:cNvSpPr>
            <a:spLocks noGrp="1"/>
          </p:cNvSpPr>
          <p:nvPr>
            <p:ph type="title"/>
          </p:nvPr>
        </p:nvSpPr>
        <p:spPr/>
        <p:txBody>
          <a:bodyPr/>
          <a:lstStyle/>
          <a:p>
            <a:r>
              <a:rPr lang="en-US" altLang="zh-TW" dirty="0"/>
              <a:t>Benefit </a:t>
            </a:r>
            <a:r>
              <a:rPr lang="zh-TW" altLang="en-US" dirty="0"/>
              <a:t>公司福利與環境</a:t>
            </a:r>
            <a:br>
              <a:rPr lang="zh-TW" altLang="en-US" dirty="0">
                <a:solidFill>
                  <a:schemeClr val="hlink"/>
                </a:solidFill>
                <a:latin typeface="微軟正黑體" panose="020B0604030504040204" pitchFamily="34" charset="-120"/>
              </a:rPr>
            </a:br>
            <a:endParaRPr lang="zh-TW" altLang="en-US" dirty="0"/>
          </a:p>
        </p:txBody>
      </p:sp>
      <p:grpSp>
        <p:nvGrpSpPr>
          <p:cNvPr id="39" name="Group 60"/>
          <p:cNvGrpSpPr/>
          <p:nvPr/>
        </p:nvGrpSpPr>
        <p:grpSpPr>
          <a:xfrm>
            <a:off x="2863580" y="2347939"/>
            <a:ext cx="6626087" cy="1354774"/>
            <a:chOff x="509588" y="1372014"/>
            <a:chExt cx="6626087" cy="1179512"/>
          </a:xfrm>
        </p:grpSpPr>
        <p:cxnSp>
          <p:nvCxnSpPr>
            <p:cNvPr id="40" name="Straight Connector 61"/>
            <p:cNvCxnSpPr/>
            <p:nvPr/>
          </p:nvCxnSpPr>
          <p:spPr>
            <a:xfrm>
              <a:off x="509588"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1" name="Straight Connector 62"/>
            <p:cNvCxnSpPr/>
            <p:nvPr/>
          </p:nvCxnSpPr>
          <p:spPr>
            <a:xfrm>
              <a:off x="2166110"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2" name="Straight Connector 63"/>
            <p:cNvCxnSpPr/>
            <p:nvPr/>
          </p:nvCxnSpPr>
          <p:spPr>
            <a:xfrm>
              <a:off x="3822632"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3" name="Straight Connector 64"/>
            <p:cNvCxnSpPr/>
            <p:nvPr/>
          </p:nvCxnSpPr>
          <p:spPr>
            <a:xfrm>
              <a:off x="5479154"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cxnSp>
          <p:nvCxnSpPr>
            <p:cNvPr id="44" name="Straight Connector 65"/>
            <p:cNvCxnSpPr/>
            <p:nvPr/>
          </p:nvCxnSpPr>
          <p:spPr>
            <a:xfrm>
              <a:off x="7135675" y="1372014"/>
              <a:ext cx="0" cy="1179512"/>
            </a:xfrm>
            <a:prstGeom prst="line">
              <a:avLst/>
            </a:prstGeom>
            <a:ln w="25400" cap="rnd" cmpd="sng">
              <a:solidFill>
                <a:srgbClr val="BD1839"/>
              </a:solidFill>
              <a:prstDash val="sysDot"/>
              <a:round/>
            </a:ln>
            <a:effectLst/>
          </p:spPr>
          <p:style>
            <a:lnRef idx="2">
              <a:schemeClr val="accent1"/>
            </a:lnRef>
            <a:fillRef idx="0">
              <a:schemeClr val="accent1"/>
            </a:fillRef>
            <a:effectRef idx="1">
              <a:schemeClr val="accent1"/>
            </a:effectRef>
            <a:fontRef idx="minor">
              <a:schemeClr val="tx1"/>
            </a:fontRef>
          </p:style>
        </p:cxnSp>
      </p:grpSp>
      <p:sp>
        <p:nvSpPr>
          <p:cNvPr id="45" name="Text Box 59"/>
          <p:cNvSpPr txBox="1">
            <a:spLocks noChangeAspect="1" noChangeArrowheads="1"/>
          </p:cNvSpPr>
          <p:nvPr/>
        </p:nvSpPr>
        <p:spPr bwMode="auto">
          <a:xfrm>
            <a:off x="3940473" y="1366724"/>
            <a:ext cx="1554550" cy="690138"/>
          </a:xfrm>
          <a:prstGeom prst="rect">
            <a:avLst/>
          </a:prstGeom>
          <a:noFill/>
          <a:ln w="9525">
            <a:noFill/>
            <a:round/>
            <a:headEnd/>
            <a:tailEnd/>
          </a:ln>
        </p:spPr>
        <p:txBody>
          <a:bodyPr lIns="0" tIns="6173" rIns="0" bIns="0">
            <a:prstTxWarp prst="textNoShape">
              <a:avLst/>
            </a:prstTxWarp>
          </a:bodyPr>
          <a:lstStyle/>
          <a:p>
            <a:pPr>
              <a:spcAft>
                <a:spcPts val="200"/>
              </a:spcAft>
            </a:pPr>
            <a:endParaRPr lang="en-US" sz="1200" b="1"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grpSp>
        <p:nvGrpSpPr>
          <p:cNvPr id="2" name="群組 1">
            <a:extLst>
              <a:ext uri="{FF2B5EF4-FFF2-40B4-BE49-F238E27FC236}">
                <a16:creationId xmlns:a16="http://schemas.microsoft.com/office/drawing/2014/main" id="{749D69D0-A69F-35ED-D024-B97D13F4934E}"/>
              </a:ext>
            </a:extLst>
          </p:cNvPr>
          <p:cNvGrpSpPr/>
          <p:nvPr/>
        </p:nvGrpSpPr>
        <p:grpSpPr>
          <a:xfrm>
            <a:off x="2903243" y="1629000"/>
            <a:ext cx="1463303" cy="315582"/>
            <a:chOff x="1970809" y="2947127"/>
            <a:chExt cx="1793156" cy="274117"/>
          </a:xfrm>
        </p:grpSpPr>
        <p:sp>
          <p:nvSpPr>
            <p:cNvPr id="9" name="Freeform 36"/>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69" name="Text Box 59"/>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薪資獎金</a:t>
              </a:r>
              <a:endParaRPr lang="en-US" sz="1600" b="1" dirty="0">
                <a:solidFill>
                  <a:srgbClr val="FFFFFF"/>
                </a:solidFill>
                <a:latin typeface="Arial" pitchFamily="34" charset="0"/>
                <a:ea typeface="'ArialMT'" pitchFamily="32" charset="0"/>
                <a:cs typeface="Arial" pitchFamily="34" charset="0"/>
              </a:endParaRPr>
            </a:p>
          </p:txBody>
        </p:sp>
      </p:grpSp>
      <p:sp>
        <p:nvSpPr>
          <p:cNvPr id="71" name="Text Box 59"/>
          <p:cNvSpPr txBox="1">
            <a:spLocks noChangeAspect="1" noChangeArrowheads="1"/>
          </p:cNvSpPr>
          <p:nvPr/>
        </p:nvSpPr>
        <p:spPr bwMode="auto">
          <a:xfrm>
            <a:off x="3006415" y="2382480"/>
            <a:ext cx="1463303" cy="1186651"/>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保障年薪</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績效獎金</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三節禮金禮品</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人才推薦獎金</a:t>
            </a:r>
            <a:endParaRPr lang="en-US"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lnSpc>
                <a:spcPct val="100000"/>
              </a:lnSpc>
              <a:buNone/>
            </a:pPr>
            <a:endParaRPr lang="en-US" sz="1200"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sp>
        <p:nvSpPr>
          <p:cNvPr id="81" name="Text Box 59"/>
          <p:cNvSpPr txBox="1">
            <a:spLocks noChangeAspect="1" noChangeArrowheads="1"/>
          </p:cNvSpPr>
          <p:nvPr/>
        </p:nvSpPr>
        <p:spPr bwMode="auto">
          <a:xfrm>
            <a:off x="4047326" y="6226230"/>
            <a:ext cx="1540707" cy="224942"/>
          </a:xfrm>
          <a:prstGeom prst="rect">
            <a:avLst/>
          </a:prstGeom>
          <a:noFill/>
          <a:ln w="9525">
            <a:noFill/>
            <a:round/>
            <a:headEnd/>
            <a:tailEnd/>
          </a:ln>
        </p:spPr>
        <p:txBody>
          <a:bodyPr lIns="0" tIns="6173" rIns="0" bIns="0" anchor="ctr">
            <a:prstTxWarp prst="textNoShape">
              <a:avLst/>
            </a:prstTxWarp>
          </a:bodyPr>
          <a:lstStyle/>
          <a:p>
            <a:pPr algn="ctr">
              <a:buFontTx/>
              <a:buNone/>
            </a:pPr>
            <a:r>
              <a:rPr lang="en-US" altLang="zh-CN" sz="1100" b="1" dirty="0">
                <a:solidFill>
                  <a:schemeClr val="bg1"/>
                </a:solidFill>
                <a:ea typeface="新細明體" pitchFamily="18" charset="-120"/>
              </a:rPr>
              <a:t>Physical Testing Lab</a:t>
            </a:r>
            <a:endParaRPr lang="zh-CN" altLang="en-US" sz="1100" b="1" dirty="0">
              <a:solidFill>
                <a:schemeClr val="bg1"/>
              </a:solidFill>
              <a:ea typeface="新細明體" pitchFamily="18" charset="-120"/>
            </a:endParaRPr>
          </a:p>
        </p:txBody>
      </p:sp>
      <p:grpSp>
        <p:nvGrpSpPr>
          <p:cNvPr id="82" name="群組 81">
            <a:extLst>
              <a:ext uri="{FF2B5EF4-FFF2-40B4-BE49-F238E27FC236}">
                <a16:creationId xmlns:a16="http://schemas.microsoft.com/office/drawing/2014/main" id="{53AA9736-B367-43B5-D883-08AB3F7549FF}"/>
              </a:ext>
            </a:extLst>
          </p:cNvPr>
          <p:cNvGrpSpPr/>
          <p:nvPr/>
        </p:nvGrpSpPr>
        <p:grpSpPr>
          <a:xfrm>
            <a:off x="4712987" y="1629000"/>
            <a:ext cx="1263107" cy="315582"/>
            <a:chOff x="1970809" y="2947127"/>
            <a:chExt cx="1793156" cy="274117"/>
          </a:xfrm>
        </p:grpSpPr>
        <p:sp>
          <p:nvSpPr>
            <p:cNvPr id="83" name="Freeform 36">
              <a:extLst>
                <a:ext uri="{FF2B5EF4-FFF2-40B4-BE49-F238E27FC236}">
                  <a16:creationId xmlns:a16="http://schemas.microsoft.com/office/drawing/2014/main" id="{DA65BF85-7BAB-1FD2-8831-C62624008051}"/>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84" name="Text Box 59">
              <a:extLst>
                <a:ext uri="{FF2B5EF4-FFF2-40B4-BE49-F238E27FC236}">
                  <a16:creationId xmlns:a16="http://schemas.microsoft.com/office/drawing/2014/main" id="{6A9E857C-B7A6-1D2E-A2EB-5ABBF5BD478D}"/>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生活照護</a:t>
              </a:r>
              <a:endParaRPr lang="en-US" sz="1600" b="1" dirty="0">
                <a:solidFill>
                  <a:srgbClr val="FFFFFF"/>
                </a:solidFill>
                <a:latin typeface="Arial" pitchFamily="34" charset="0"/>
                <a:ea typeface="'ArialMT'" pitchFamily="32" charset="0"/>
                <a:cs typeface="Arial" pitchFamily="34" charset="0"/>
              </a:endParaRPr>
            </a:p>
          </p:txBody>
        </p:sp>
      </p:grpSp>
      <p:sp>
        <p:nvSpPr>
          <p:cNvPr id="85" name="Text Box 59">
            <a:extLst>
              <a:ext uri="{FF2B5EF4-FFF2-40B4-BE49-F238E27FC236}">
                <a16:creationId xmlns:a16="http://schemas.microsoft.com/office/drawing/2014/main" id="{05BFBE8B-2EF1-DBCA-3D87-EEEC4334713C}"/>
              </a:ext>
            </a:extLst>
          </p:cNvPr>
          <p:cNvSpPr txBox="1">
            <a:spLocks noChangeAspect="1" noChangeArrowheads="1"/>
          </p:cNvSpPr>
          <p:nvPr/>
        </p:nvSpPr>
        <p:spPr bwMode="auto">
          <a:xfrm>
            <a:off x="4738219" y="2382479"/>
            <a:ext cx="1463303" cy="1186651"/>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婚喪喜慶津貼</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團保、海外旅平險</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每年健康檢查</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眷屬健康檢查</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定期職護關懷</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特約優惠</a:t>
            </a:r>
            <a:endParaRPr lang="en-US"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lnSpc>
                <a:spcPct val="100000"/>
              </a:lnSpc>
              <a:buNone/>
            </a:pPr>
            <a:endParaRPr lang="en-US" sz="1200"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grpSp>
        <p:nvGrpSpPr>
          <p:cNvPr id="86" name="群組 85">
            <a:extLst>
              <a:ext uri="{FF2B5EF4-FFF2-40B4-BE49-F238E27FC236}">
                <a16:creationId xmlns:a16="http://schemas.microsoft.com/office/drawing/2014/main" id="{15F4D2B3-39BA-620B-1E0F-A0B3CD14FA51}"/>
              </a:ext>
            </a:extLst>
          </p:cNvPr>
          <p:cNvGrpSpPr/>
          <p:nvPr/>
        </p:nvGrpSpPr>
        <p:grpSpPr>
          <a:xfrm>
            <a:off x="6333398" y="1644839"/>
            <a:ext cx="1263107" cy="315582"/>
            <a:chOff x="1970809" y="2947127"/>
            <a:chExt cx="1793156" cy="274117"/>
          </a:xfrm>
        </p:grpSpPr>
        <p:sp>
          <p:nvSpPr>
            <p:cNvPr id="87" name="Freeform 36">
              <a:extLst>
                <a:ext uri="{FF2B5EF4-FFF2-40B4-BE49-F238E27FC236}">
                  <a16:creationId xmlns:a16="http://schemas.microsoft.com/office/drawing/2014/main" id="{A63FBF8C-94CD-70D7-315C-8E2C7F403F24}"/>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88" name="Text Box 59">
              <a:extLst>
                <a:ext uri="{FF2B5EF4-FFF2-40B4-BE49-F238E27FC236}">
                  <a16:creationId xmlns:a16="http://schemas.microsoft.com/office/drawing/2014/main" id="{4D05BC84-6AFC-F412-8387-6B7C9D93BAA4}"/>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多元福利</a:t>
              </a:r>
              <a:endParaRPr lang="en-US" sz="1600" b="1" dirty="0">
                <a:solidFill>
                  <a:srgbClr val="FFFFFF"/>
                </a:solidFill>
                <a:latin typeface="Arial" pitchFamily="34" charset="0"/>
                <a:ea typeface="'ArialMT'" pitchFamily="32" charset="0"/>
                <a:cs typeface="Arial" pitchFamily="34" charset="0"/>
              </a:endParaRPr>
            </a:p>
          </p:txBody>
        </p:sp>
      </p:grpSp>
      <p:sp>
        <p:nvSpPr>
          <p:cNvPr id="89" name="Text Box 59">
            <a:extLst>
              <a:ext uri="{FF2B5EF4-FFF2-40B4-BE49-F238E27FC236}">
                <a16:creationId xmlns:a16="http://schemas.microsoft.com/office/drawing/2014/main" id="{7A4ED7BC-FEE5-6990-1615-6FCC444D07B7}"/>
              </a:ext>
            </a:extLst>
          </p:cNvPr>
          <p:cNvSpPr txBox="1">
            <a:spLocks noChangeAspect="1" noChangeArrowheads="1"/>
          </p:cNvSpPr>
          <p:nvPr/>
        </p:nvSpPr>
        <p:spPr bwMode="auto">
          <a:xfrm>
            <a:off x="6417572" y="2382478"/>
            <a:ext cx="1463303" cy="1186651"/>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節日活動、禮卷</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福委會活動</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員工旅遊補助</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公益活動</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公司聚餐</a:t>
            </a:r>
            <a:endParaRPr lang="en-US" sz="1200"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grpSp>
        <p:nvGrpSpPr>
          <p:cNvPr id="90" name="群組 89">
            <a:extLst>
              <a:ext uri="{FF2B5EF4-FFF2-40B4-BE49-F238E27FC236}">
                <a16:creationId xmlns:a16="http://schemas.microsoft.com/office/drawing/2014/main" id="{2BAF0191-B4FA-66E3-89BF-8F24845B8E92}"/>
              </a:ext>
            </a:extLst>
          </p:cNvPr>
          <p:cNvGrpSpPr/>
          <p:nvPr/>
        </p:nvGrpSpPr>
        <p:grpSpPr>
          <a:xfrm>
            <a:off x="7953809" y="1629000"/>
            <a:ext cx="1263107" cy="315582"/>
            <a:chOff x="1970809" y="2947127"/>
            <a:chExt cx="1793156" cy="274117"/>
          </a:xfrm>
        </p:grpSpPr>
        <p:sp>
          <p:nvSpPr>
            <p:cNvPr id="91" name="Freeform 36">
              <a:extLst>
                <a:ext uri="{FF2B5EF4-FFF2-40B4-BE49-F238E27FC236}">
                  <a16:creationId xmlns:a16="http://schemas.microsoft.com/office/drawing/2014/main" id="{864170FA-1580-AD50-34BC-5B8161BB0FC5}"/>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92" name="Text Box 59">
              <a:extLst>
                <a:ext uri="{FF2B5EF4-FFF2-40B4-BE49-F238E27FC236}">
                  <a16:creationId xmlns:a16="http://schemas.microsoft.com/office/drawing/2014/main" id="{C8321700-1B0B-5B46-6A0D-A38887ED9D38}"/>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舒適職場</a:t>
              </a:r>
              <a:endParaRPr lang="en-US" sz="1600" b="1" dirty="0">
                <a:solidFill>
                  <a:srgbClr val="FFFFFF"/>
                </a:solidFill>
                <a:latin typeface="Arial" pitchFamily="34" charset="0"/>
                <a:ea typeface="'ArialMT'" pitchFamily="32" charset="0"/>
                <a:cs typeface="Arial" pitchFamily="34" charset="0"/>
              </a:endParaRPr>
            </a:p>
          </p:txBody>
        </p:sp>
      </p:grpSp>
      <p:sp>
        <p:nvSpPr>
          <p:cNvPr id="93" name="Text Box 59">
            <a:extLst>
              <a:ext uri="{FF2B5EF4-FFF2-40B4-BE49-F238E27FC236}">
                <a16:creationId xmlns:a16="http://schemas.microsoft.com/office/drawing/2014/main" id="{4A557C2E-5DDE-5DF2-F83F-35F880225699}"/>
              </a:ext>
            </a:extLst>
          </p:cNvPr>
          <p:cNvSpPr txBox="1">
            <a:spLocks noChangeAspect="1" noChangeArrowheads="1"/>
          </p:cNvSpPr>
          <p:nvPr/>
        </p:nvSpPr>
        <p:spPr bwMode="auto">
          <a:xfrm>
            <a:off x="8052697" y="2382478"/>
            <a:ext cx="1463303" cy="1186651"/>
          </a:xfrm>
          <a:prstGeom prst="rect">
            <a:avLst/>
          </a:prstGeom>
          <a:noFill/>
          <a:ln w="9525">
            <a:noFill/>
            <a:round/>
            <a:headEnd/>
            <a:tailEnd/>
          </a:ln>
        </p:spPr>
        <p:txBody>
          <a:bodyPr lIns="0" tIns="6173" rIns="0" bIns="0">
            <a:prstTxWarp prst="textNoShape">
              <a:avLst/>
            </a:prstTxWarp>
          </a:bodyPr>
          <a:lstStyle/>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補班日免出勤</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飲料機</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定期提供零食點心</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交誼休閒空間</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免費機車停車位</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a:p>
            <a:pPr>
              <a:spcAft>
                <a:spcPts val="200"/>
              </a:spcAft>
            </a:pPr>
            <a:r>
              <a:rPr lang="zh-TW" altLang="en-US" sz="1200" b="1" dirty="0">
                <a:solidFill>
                  <a:srgbClr val="53597D"/>
                </a:solidFill>
                <a:latin typeface="微軟正黑體" panose="020B0604030504040204" pitchFamily="34" charset="-120"/>
                <a:ea typeface="微軟正黑體" panose="020B0604030504040204" pitchFamily="34" charset="-120"/>
                <a:cs typeface="Arial" pitchFamily="34" charset="0"/>
              </a:rPr>
              <a:t>大樓租賃汽車停車位</a:t>
            </a:r>
            <a:endParaRPr lang="en-US" altLang="zh-TW" sz="1200" b="1" dirty="0">
              <a:solidFill>
                <a:srgbClr val="53597D"/>
              </a:solidFill>
              <a:latin typeface="微軟正黑體" panose="020B0604030504040204" pitchFamily="34" charset="-120"/>
              <a:ea typeface="微軟正黑體" panose="020B0604030504040204" pitchFamily="34" charset="-120"/>
              <a:cs typeface="Arial" pitchFamily="34" charset="0"/>
            </a:endParaRPr>
          </a:p>
        </p:txBody>
      </p:sp>
      <p:pic>
        <p:nvPicPr>
          <p:cNvPr id="95" name="圖片 94">
            <a:extLst>
              <a:ext uri="{FF2B5EF4-FFF2-40B4-BE49-F238E27FC236}">
                <a16:creationId xmlns:a16="http://schemas.microsoft.com/office/drawing/2014/main" id="{D084DDF6-F12D-D404-2155-10418DCFF9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1329" y="4418405"/>
            <a:ext cx="2243249" cy="1495499"/>
          </a:xfrm>
          <a:prstGeom prst="rect">
            <a:avLst/>
          </a:prstGeom>
        </p:spPr>
      </p:pic>
      <p:pic>
        <p:nvPicPr>
          <p:cNvPr id="97" name="圖片 96" descr="一張含有 牆, 室內, 室內設計, 地板 的圖片&#10;&#10;自動產生的描述">
            <a:extLst>
              <a:ext uri="{FF2B5EF4-FFF2-40B4-BE49-F238E27FC236}">
                <a16:creationId xmlns:a16="http://schemas.microsoft.com/office/drawing/2014/main" id="{31B3B740-2AD9-C676-38BC-E37ED2CC7F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1329" y="4418405"/>
            <a:ext cx="2243249" cy="1495499"/>
          </a:xfrm>
          <a:prstGeom prst="rect">
            <a:avLst/>
          </a:prstGeom>
        </p:spPr>
      </p:pic>
      <p:pic>
        <p:nvPicPr>
          <p:cNvPr id="99" name="圖片 98" descr="一張含有 牆, 室內, 地板, 室內設計 的圖片&#10;&#10;自動產生的描述">
            <a:extLst>
              <a:ext uri="{FF2B5EF4-FFF2-40B4-BE49-F238E27FC236}">
                <a16:creationId xmlns:a16="http://schemas.microsoft.com/office/drawing/2014/main" id="{5D0C4035-E6BA-07B7-36C6-D108E229F0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76000" y="4418405"/>
            <a:ext cx="2243249" cy="1495499"/>
          </a:xfrm>
          <a:prstGeom prst="rect">
            <a:avLst/>
          </a:prstGeom>
        </p:spPr>
      </p:pic>
      <p:pic>
        <p:nvPicPr>
          <p:cNvPr id="101" name="圖片 100">
            <a:extLst>
              <a:ext uri="{FF2B5EF4-FFF2-40B4-BE49-F238E27FC236}">
                <a16:creationId xmlns:a16="http://schemas.microsoft.com/office/drawing/2014/main" id="{B26E30A9-3DD4-71D4-F7E1-308DB97F47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1329" y="4418404"/>
            <a:ext cx="2243249" cy="1495499"/>
          </a:xfrm>
          <a:prstGeom prst="rect">
            <a:avLst/>
          </a:prstGeom>
        </p:spPr>
      </p:pic>
    </p:spTree>
    <p:extLst>
      <p:ext uri="{BB962C8B-B14F-4D97-AF65-F5344CB8AC3E}">
        <p14:creationId xmlns:p14="http://schemas.microsoft.com/office/powerpoint/2010/main" val="524883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7322322" y="2349000"/>
            <a:ext cx="4487300" cy="886397"/>
          </a:xfrm>
        </p:spPr>
        <p:txBody>
          <a:bodyPr/>
          <a:lstStyle/>
          <a:p>
            <a:r>
              <a:rPr lang="en-US" altLang="zh-TW" sz="2800" cap="none" dirty="0">
                <a:solidFill>
                  <a:srgbClr val="867D76"/>
                </a:solidFill>
                <a:latin typeface="微軟正黑體" panose="020B0604030504040204" pitchFamily="34" charset="-120"/>
              </a:rPr>
              <a:t>Bureau Veritas</a:t>
            </a:r>
            <a:endParaRPr lang="zh-TW" altLang="en-US" sz="2800" dirty="0">
              <a:solidFill>
                <a:srgbClr val="867D76"/>
              </a:solidFill>
            </a:endParaRPr>
          </a:p>
        </p:txBody>
      </p:sp>
      <p:sp>
        <p:nvSpPr>
          <p:cNvPr id="4" name="文字版面配置區 3"/>
          <p:cNvSpPr>
            <a:spLocks noGrp="1"/>
          </p:cNvSpPr>
          <p:nvPr>
            <p:ph type="body" idx="1"/>
          </p:nvPr>
        </p:nvSpPr>
        <p:spPr>
          <a:xfrm>
            <a:off x="7322322" y="3529965"/>
            <a:ext cx="4487300" cy="999262"/>
          </a:xfrm>
        </p:spPr>
        <p:txBody>
          <a:bodyPr>
            <a:normAutofit/>
          </a:bodyPr>
          <a:lstStyle/>
          <a:p>
            <a:r>
              <a:rPr lang="zh-TW" altLang="en-US" sz="2800" b="1" dirty="0">
                <a:solidFill>
                  <a:srgbClr val="CC023B"/>
                </a:solidFill>
              </a:rPr>
              <a:t> 關於必維集團</a:t>
            </a:r>
          </a:p>
        </p:txBody>
      </p:sp>
      <p:sp>
        <p:nvSpPr>
          <p:cNvPr id="5" name="投影片編號版面配置區 4"/>
          <p:cNvSpPr>
            <a:spLocks noGrp="1"/>
          </p:cNvSpPr>
          <p:nvPr>
            <p:ph type="sldNum" sz="quarter" idx="10"/>
          </p:nvPr>
        </p:nvSpPr>
        <p:spPr/>
        <p:txBody>
          <a:bodyPr/>
          <a:lstStyle/>
          <a:p>
            <a:r>
              <a:rPr lang="en-GB"/>
              <a:t>Slide / </a:t>
            </a:r>
            <a:fld id="{3EA6A558-C4CA-4506-B5EC-E793D5AE9532}" type="slidenum">
              <a:rPr lang="en-GB" smtClean="0"/>
              <a:pPr/>
              <a:t>2</a:t>
            </a:fld>
            <a:endParaRPr lang="en-GB" dirty="0"/>
          </a:p>
        </p:txBody>
      </p:sp>
      <p:sp>
        <p:nvSpPr>
          <p:cNvPr id="6" name="文字版面配置區 5"/>
          <p:cNvSpPr>
            <a:spLocks noGrp="1"/>
          </p:cNvSpPr>
          <p:nvPr>
            <p:ph type="body" sz="quarter" idx="12"/>
          </p:nvPr>
        </p:nvSpPr>
        <p:spPr/>
        <p:txBody>
          <a:bodyPr/>
          <a:lstStyle/>
          <a:p>
            <a:endParaRPr lang="zh-TW" altLang="en-US"/>
          </a:p>
        </p:txBody>
      </p:sp>
      <p:pic>
        <p:nvPicPr>
          <p:cNvPr id="8" name="圖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97248" y="180393"/>
            <a:ext cx="719999" cy="892173"/>
          </a:xfrm>
          <a:prstGeom prst="rect">
            <a:avLst/>
          </a:prstGeom>
        </p:spPr>
      </p:pic>
      <p:pic>
        <p:nvPicPr>
          <p:cNvPr id="16" name="圖片版面配置區 15"/>
          <p:cNvPicPr>
            <a:picLocks noGrp="1" noChangeAspect="1"/>
          </p:cNvPicPr>
          <p:nvPr>
            <p:ph type="pic" sz="quarter" idx="11"/>
          </p:nvPr>
        </p:nvPicPr>
        <p:blipFill rotWithShape="1">
          <a:blip r:embed="rId4" cstate="email">
            <a:extLst>
              <a:ext uri="{28A0092B-C50C-407E-A947-70E740481C1C}">
                <a14:useLocalDpi xmlns:a14="http://schemas.microsoft.com/office/drawing/2010/main"/>
              </a:ext>
            </a:extLst>
          </a:blip>
          <a:srcRect t="-131"/>
          <a:stretch/>
        </p:blipFill>
        <p:spPr/>
      </p:pic>
    </p:spTree>
    <p:extLst>
      <p:ext uri="{BB962C8B-B14F-4D97-AF65-F5344CB8AC3E}">
        <p14:creationId xmlns:p14="http://schemas.microsoft.com/office/powerpoint/2010/main" val="34904739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圖片 8" descr="一張含有 文字, 天際線, 塔, 天空 的圖片&#10;&#10;自動產生的描述">
            <a:extLst>
              <a:ext uri="{FF2B5EF4-FFF2-40B4-BE49-F238E27FC236}">
                <a16:creationId xmlns:a16="http://schemas.microsoft.com/office/drawing/2014/main" id="{86AEA72C-43A6-40D9-B372-A48A594328D4}"/>
              </a:ext>
            </a:extLst>
          </p:cNvPr>
          <p:cNvPicPr>
            <a:picLocks noChangeAspect="1"/>
          </p:cNvPicPr>
          <p:nvPr/>
        </p:nvPicPr>
        <p:blipFill>
          <a:blip r:embed="rId3">
            <a:alphaModFix amt="70000"/>
            <a:extLst>
              <a:ext uri="{28A0092B-C50C-407E-A947-70E740481C1C}">
                <a14:useLocalDpi xmlns:a14="http://schemas.microsoft.com/office/drawing/2010/main" val="0"/>
              </a:ext>
            </a:extLst>
          </a:blip>
          <a:stretch>
            <a:fillRect/>
          </a:stretch>
        </p:blipFill>
        <p:spPr>
          <a:xfrm>
            <a:off x="0" y="-34200"/>
            <a:ext cx="12192000" cy="6858000"/>
          </a:xfrm>
          <a:prstGeom prst="rect">
            <a:avLst/>
          </a:prstGeom>
        </p:spPr>
      </p:pic>
      <p:sp>
        <p:nvSpPr>
          <p:cNvPr id="4" name="標題 3"/>
          <p:cNvSpPr>
            <a:spLocks noGrp="1"/>
          </p:cNvSpPr>
          <p:nvPr>
            <p:ph type="title"/>
          </p:nvPr>
        </p:nvSpPr>
        <p:spPr>
          <a:xfrm>
            <a:off x="336000" y="138756"/>
            <a:ext cx="11520000" cy="1125821"/>
          </a:xfrm>
        </p:spPr>
        <p:txBody>
          <a:bodyPr/>
          <a:lstStyle/>
          <a:p>
            <a:r>
              <a:rPr lang="en-US" altLang="zh-TW" dirty="0">
                <a:solidFill>
                  <a:schemeClr val="bg1"/>
                </a:solidFill>
              </a:rPr>
              <a:t>Position</a:t>
            </a:r>
            <a:r>
              <a:rPr lang="zh-TW" altLang="en-US" dirty="0">
                <a:solidFill>
                  <a:schemeClr val="bg1"/>
                </a:solidFill>
              </a:rPr>
              <a:t>招募職缺</a:t>
            </a:r>
          </a:p>
        </p:txBody>
      </p:sp>
      <p:sp>
        <p:nvSpPr>
          <p:cNvPr id="2" name="矩形: 圓角 1">
            <a:extLst>
              <a:ext uri="{FF2B5EF4-FFF2-40B4-BE49-F238E27FC236}">
                <a16:creationId xmlns:a16="http://schemas.microsoft.com/office/drawing/2014/main" id="{C1C43063-E6F2-0C5B-BCA5-9740BF7904EF}"/>
              </a:ext>
            </a:extLst>
          </p:cNvPr>
          <p:cNvSpPr/>
          <p:nvPr/>
        </p:nvSpPr>
        <p:spPr>
          <a:xfrm>
            <a:off x="5161594" y="985104"/>
            <a:ext cx="1980000" cy="72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dirty="0"/>
              <a:t>化學分析工程師</a:t>
            </a:r>
            <a:r>
              <a:rPr lang="en-US" altLang="zh-TW" dirty="0"/>
              <a:t>/</a:t>
            </a:r>
            <a:r>
              <a:rPr lang="zh-TW" altLang="en-US" dirty="0"/>
              <a:t>助理</a:t>
            </a:r>
          </a:p>
        </p:txBody>
      </p:sp>
      <p:sp>
        <p:nvSpPr>
          <p:cNvPr id="17" name="矩形: 圓角 16">
            <a:extLst>
              <a:ext uri="{FF2B5EF4-FFF2-40B4-BE49-F238E27FC236}">
                <a16:creationId xmlns:a16="http://schemas.microsoft.com/office/drawing/2014/main" id="{9D12FBD7-F5ED-776A-47EE-21C3538FE772}"/>
              </a:ext>
            </a:extLst>
          </p:cNvPr>
          <p:cNvSpPr/>
          <p:nvPr/>
        </p:nvSpPr>
        <p:spPr>
          <a:xfrm>
            <a:off x="1570326" y="1705104"/>
            <a:ext cx="1980000" cy="72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dirty="0"/>
              <a:t>微生物測試</a:t>
            </a:r>
            <a:endParaRPr lang="en-US" altLang="zh-TW" dirty="0"/>
          </a:p>
          <a:p>
            <a:pPr algn="ctr"/>
            <a:r>
              <a:rPr lang="zh-TW" altLang="en-US" dirty="0"/>
              <a:t>助理工程師</a:t>
            </a:r>
          </a:p>
        </p:txBody>
      </p:sp>
      <p:sp>
        <p:nvSpPr>
          <p:cNvPr id="19" name="矩形: 圓角 18">
            <a:extLst>
              <a:ext uri="{FF2B5EF4-FFF2-40B4-BE49-F238E27FC236}">
                <a16:creationId xmlns:a16="http://schemas.microsoft.com/office/drawing/2014/main" id="{FBB9A280-C49E-732C-322F-B9D1210F0D88}"/>
              </a:ext>
            </a:extLst>
          </p:cNvPr>
          <p:cNvSpPr/>
          <p:nvPr/>
        </p:nvSpPr>
        <p:spPr>
          <a:xfrm>
            <a:off x="7356000" y="5211758"/>
            <a:ext cx="1980000" cy="72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dirty="0"/>
              <a:t>業務專員</a:t>
            </a:r>
          </a:p>
        </p:txBody>
      </p:sp>
      <p:sp>
        <p:nvSpPr>
          <p:cNvPr id="21" name="矩形: 圓角 20">
            <a:extLst>
              <a:ext uri="{FF2B5EF4-FFF2-40B4-BE49-F238E27FC236}">
                <a16:creationId xmlns:a16="http://schemas.microsoft.com/office/drawing/2014/main" id="{21DF5FA6-C783-C5D9-9284-3BEFD1F00639}"/>
              </a:ext>
            </a:extLst>
          </p:cNvPr>
          <p:cNvSpPr/>
          <p:nvPr/>
        </p:nvSpPr>
        <p:spPr>
          <a:xfrm>
            <a:off x="8796000" y="1471752"/>
            <a:ext cx="1980000" cy="72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dirty="0"/>
              <a:t>客服專員</a:t>
            </a:r>
          </a:p>
        </p:txBody>
      </p:sp>
      <p:sp>
        <p:nvSpPr>
          <p:cNvPr id="27" name="矩形: 圓角 26">
            <a:extLst>
              <a:ext uri="{FF2B5EF4-FFF2-40B4-BE49-F238E27FC236}">
                <a16:creationId xmlns:a16="http://schemas.microsoft.com/office/drawing/2014/main" id="{4B4557DF-7DC8-236F-CBD0-77D5F443F46B}"/>
              </a:ext>
            </a:extLst>
          </p:cNvPr>
          <p:cNvSpPr/>
          <p:nvPr/>
        </p:nvSpPr>
        <p:spPr>
          <a:xfrm>
            <a:off x="876000" y="3461948"/>
            <a:ext cx="1980000" cy="72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t>Coordinator</a:t>
            </a:r>
            <a:endParaRPr lang="zh-TW" altLang="en-US" dirty="0"/>
          </a:p>
        </p:txBody>
      </p:sp>
      <p:sp>
        <p:nvSpPr>
          <p:cNvPr id="28" name="矩形: 圓角 27">
            <a:extLst>
              <a:ext uri="{FF2B5EF4-FFF2-40B4-BE49-F238E27FC236}">
                <a16:creationId xmlns:a16="http://schemas.microsoft.com/office/drawing/2014/main" id="{1E968254-EBFF-39E7-DCBF-EBD61F9A77F4}"/>
              </a:ext>
            </a:extLst>
          </p:cNvPr>
          <p:cNvSpPr/>
          <p:nvPr/>
        </p:nvSpPr>
        <p:spPr>
          <a:xfrm>
            <a:off x="3581084" y="5229000"/>
            <a:ext cx="1980000" cy="72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t>Technical Specialist</a:t>
            </a:r>
            <a:endParaRPr lang="zh-TW" altLang="en-US" dirty="0"/>
          </a:p>
        </p:txBody>
      </p:sp>
      <p:sp>
        <p:nvSpPr>
          <p:cNvPr id="3" name="矩形: 圓角 2">
            <a:extLst>
              <a:ext uri="{FF2B5EF4-FFF2-40B4-BE49-F238E27FC236}">
                <a16:creationId xmlns:a16="http://schemas.microsoft.com/office/drawing/2014/main" id="{810C3323-9B5A-2B84-A742-5A402064AF02}"/>
              </a:ext>
            </a:extLst>
          </p:cNvPr>
          <p:cNvSpPr/>
          <p:nvPr/>
        </p:nvSpPr>
        <p:spPr>
          <a:xfrm>
            <a:off x="9336000" y="3427776"/>
            <a:ext cx="1980000" cy="72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dirty="0"/>
              <a:t>雜貨部報告組人員</a:t>
            </a:r>
          </a:p>
        </p:txBody>
      </p:sp>
    </p:spTree>
    <p:extLst>
      <p:ext uri="{BB962C8B-B14F-4D97-AF65-F5344CB8AC3E}">
        <p14:creationId xmlns:p14="http://schemas.microsoft.com/office/powerpoint/2010/main" val="615003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a:extLst>
              <a:ext uri="{FF2B5EF4-FFF2-40B4-BE49-F238E27FC236}">
                <a16:creationId xmlns:a16="http://schemas.microsoft.com/office/drawing/2014/main" id="{9A7CCC33-AC04-E804-A652-17B19E5C8CB8}"/>
              </a:ext>
            </a:extLst>
          </p:cNvPr>
          <p:cNvSpPr>
            <a:spLocks noGrp="1"/>
          </p:cNvSpPr>
          <p:nvPr>
            <p:ph type="ftr" sz="quarter" idx="11"/>
          </p:nvPr>
        </p:nvSpPr>
        <p:spPr/>
        <p:txBody>
          <a:bodyPr/>
          <a:lstStyle/>
          <a:p>
            <a:r>
              <a:rPr lang="en-GB"/>
              <a:t>CPS INTRODUCTION – NOVEMBER 2018</a:t>
            </a:r>
            <a:endParaRPr lang="en-GB" dirty="0"/>
          </a:p>
        </p:txBody>
      </p:sp>
      <p:sp>
        <p:nvSpPr>
          <p:cNvPr id="3" name="投影片編號版面配置區 2">
            <a:extLst>
              <a:ext uri="{FF2B5EF4-FFF2-40B4-BE49-F238E27FC236}">
                <a16:creationId xmlns:a16="http://schemas.microsoft.com/office/drawing/2014/main" id="{9D7184CE-3487-28B1-9709-35071441A036}"/>
              </a:ext>
            </a:extLst>
          </p:cNvPr>
          <p:cNvSpPr>
            <a:spLocks noGrp="1"/>
          </p:cNvSpPr>
          <p:nvPr>
            <p:ph type="sldNum" sz="quarter" idx="12"/>
          </p:nvPr>
        </p:nvSpPr>
        <p:spPr/>
        <p:txBody>
          <a:bodyPr/>
          <a:lstStyle/>
          <a:p>
            <a:r>
              <a:rPr lang="en-GB"/>
              <a:t>Slide / </a:t>
            </a:r>
            <a:fld id="{3EA6A558-C4CA-4506-B5EC-E793D5AE9532}" type="slidenum">
              <a:rPr lang="en-GB" smtClean="0"/>
              <a:pPr/>
              <a:t>21</a:t>
            </a:fld>
            <a:endParaRPr lang="en-GB" dirty="0"/>
          </a:p>
        </p:txBody>
      </p:sp>
      <p:sp>
        <p:nvSpPr>
          <p:cNvPr id="4" name="標題 3">
            <a:extLst>
              <a:ext uri="{FF2B5EF4-FFF2-40B4-BE49-F238E27FC236}">
                <a16:creationId xmlns:a16="http://schemas.microsoft.com/office/drawing/2014/main" id="{0E5A8EE3-8A50-C676-7686-A341558FC811}"/>
              </a:ext>
            </a:extLst>
          </p:cNvPr>
          <p:cNvSpPr>
            <a:spLocks noGrp="1"/>
          </p:cNvSpPr>
          <p:nvPr>
            <p:ph type="title"/>
          </p:nvPr>
        </p:nvSpPr>
        <p:spPr/>
        <p:txBody>
          <a:bodyPr/>
          <a:lstStyle/>
          <a:p>
            <a:r>
              <a:rPr lang="zh-TW" altLang="en-US" dirty="0"/>
              <a:t>微生物測試助理工程師</a:t>
            </a:r>
          </a:p>
        </p:txBody>
      </p:sp>
      <p:sp>
        <p:nvSpPr>
          <p:cNvPr id="6" name="文字方塊 5">
            <a:extLst>
              <a:ext uri="{FF2B5EF4-FFF2-40B4-BE49-F238E27FC236}">
                <a16:creationId xmlns:a16="http://schemas.microsoft.com/office/drawing/2014/main" id="{DF8AD22A-A0F8-8411-F0FD-C0E43E309578}"/>
              </a:ext>
            </a:extLst>
          </p:cNvPr>
          <p:cNvSpPr txBox="1"/>
          <p:nvPr/>
        </p:nvSpPr>
        <p:spPr>
          <a:xfrm>
            <a:off x="1273564" y="2169000"/>
            <a:ext cx="6262436" cy="1200329"/>
          </a:xfrm>
          <a:prstGeom prst="rect">
            <a:avLst/>
          </a:prstGeom>
          <a:noFill/>
        </p:spPr>
        <p:txBody>
          <a:bodyPr wrap="square">
            <a:spAutoFit/>
          </a:bodyPr>
          <a:lstStyle/>
          <a:p>
            <a:r>
              <a:rPr lang="en-US" altLang="zh-TW" dirty="0"/>
              <a:t>1. </a:t>
            </a:r>
            <a:r>
              <a:rPr lang="zh-TW" altLang="en-US" dirty="0"/>
              <a:t>每日微生物測試執行</a:t>
            </a:r>
            <a:endParaRPr lang="en-US" altLang="zh-TW" dirty="0"/>
          </a:p>
          <a:p>
            <a:r>
              <a:rPr lang="en-US" altLang="zh-TW" dirty="0"/>
              <a:t>2. </a:t>
            </a:r>
            <a:r>
              <a:rPr lang="zh-TW" altLang="en-US" dirty="0"/>
              <a:t>每日實驗室品管項目執行</a:t>
            </a:r>
            <a:endParaRPr lang="en-US" altLang="zh-TW" dirty="0"/>
          </a:p>
          <a:p>
            <a:r>
              <a:rPr lang="en-US" altLang="zh-TW" dirty="0"/>
              <a:t>3. </a:t>
            </a:r>
            <a:r>
              <a:rPr lang="zh-TW" altLang="en-US" dirty="0"/>
              <a:t>協助測試方法開發</a:t>
            </a:r>
          </a:p>
          <a:p>
            <a:r>
              <a:rPr lang="en-US" altLang="zh-TW" dirty="0"/>
              <a:t>4. </a:t>
            </a:r>
            <a:r>
              <a:rPr lang="zh-TW" altLang="en-US" dirty="0"/>
              <a:t>其它主管交辦事項</a:t>
            </a:r>
          </a:p>
        </p:txBody>
      </p:sp>
      <p:grpSp>
        <p:nvGrpSpPr>
          <p:cNvPr id="7" name="群組 6">
            <a:extLst>
              <a:ext uri="{FF2B5EF4-FFF2-40B4-BE49-F238E27FC236}">
                <a16:creationId xmlns:a16="http://schemas.microsoft.com/office/drawing/2014/main" id="{862D832F-BEF2-B5AC-42D9-3B9AF43352F7}"/>
              </a:ext>
            </a:extLst>
          </p:cNvPr>
          <p:cNvGrpSpPr/>
          <p:nvPr/>
        </p:nvGrpSpPr>
        <p:grpSpPr>
          <a:xfrm>
            <a:off x="1271969" y="1688918"/>
            <a:ext cx="1463303" cy="315582"/>
            <a:chOff x="1970809" y="2947127"/>
            <a:chExt cx="1793156" cy="274117"/>
          </a:xfrm>
        </p:grpSpPr>
        <p:sp>
          <p:nvSpPr>
            <p:cNvPr id="8" name="Freeform 36">
              <a:extLst>
                <a:ext uri="{FF2B5EF4-FFF2-40B4-BE49-F238E27FC236}">
                  <a16:creationId xmlns:a16="http://schemas.microsoft.com/office/drawing/2014/main" id="{77FDBC95-8FB7-2D99-C3AB-F5616C162B82}"/>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9" name="Text Box 59">
              <a:extLst>
                <a:ext uri="{FF2B5EF4-FFF2-40B4-BE49-F238E27FC236}">
                  <a16:creationId xmlns:a16="http://schemas.microsoft.com/office/drawing/2014/main" id="{455D8E49-C83C-78D6-00F0-B8DCB9CEC8FC}"/>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工作內容</a:t>
              </a:r>
              <a:endParaRPr lang="en-US" sz="1600" b="1" dirty="0">
                <a:solidFill>
                  <a:srgbClr val="FFFFFF"/>
                </a:solidFill>
                <a:latin typeface="Arial" pitchFamily="34" charset="0"/>
                <a:ea typeface="'ArialMT'" pitchFamily="32" charset="0"/>
                <a:cs typeface="Arial" pitchFamily="34" charset="0"/>
              </a:endParaRPr>
            </a:p>
          </p:txBody>
        </p:sp>
      </p:grpSp>
      <p:sp>
        <p:nvSpPr>
          <p:cNvPr id="11" name="文字方塊 10">
            <a:extLst>
              <a:ext uri="{FF2B5EF4-FFF2-40B4-BE49-F238E27FC236}">
                <a16:creationId xmlns:a16="http://schemas.microsoft.com/office/drawing/2014/main" id="{0069E0C1-9FC3-7815-30BF-95429D715D69}"/>
              </a:ext>
            </a:extLst>
          </p:cNvPr>
          <p:cNvSpPr txBox="1"/>
          <p:nvPr/>
        </p:nvSpPr>
        <p:spPr>
          <a:xfrm>
            <a:off x="1273564" y="4235242"/>
            <a:ext cx="6262436" cy="646331"/>
          </a:xfrm>
          <a:prstGeom prst="rect">
            <a:avLst/>
          </a:prstGeom>
          <a:noFill/>
        </p:spPr>
        <p:txBody>
          <a:bodyPr wrap="square">
            <a:spAutoFit/>
          </a:bodyPr>
          <a:lstStyle/>
          <a:p>
            <a:r>
              <a:rPr lang="en-US" altLang="zh-TW" dirty="0"/>
              <a:t>1. </a:t>
            </a:r>
            <a:r>
              <a:rPr lang="zh-TW" altLang="en-US" dirty="0"/>
              <a:t>修習過微生物學</a:t>
            </a:r>
            <a:r>
              <a:rPr lang="en-US" altLang="zh-TW" dirty="0"/>
              <a:t>/</a:t>
            </a:r>
            <a:r>
              <a:rPr lang="zh-TW" altLang="en-US" dirty="0"/>
              <a:t>微生物實驗</a:t>
            </a:r>
          </a:p>
          <a:p>
            <a:r>
              <a:rPr lang="en-US" altLang="zh-TW" dirty="0"/>
              <a:t>2. </a:t>
            </a:r>
            <a:r>
              <a:rPr lang="zh-TW" altLang="en-US" dirty="0"/>
              <a:t>或實務執行過微生物相關實驗</a:t>
            </a:r>
          </a:p>
        </p:txBody>
      </p:sp>
      <p:grpSp>
        <p:nvGrpSpPr>
          <p:cNvPr id="12" name="群組 11">
            <a:extLst>
              <a:ext uri="{FF2B5EF4-FFF2-40B4-BE49-F238E27FC236}">
                <a16:creationId xmlns:a16="http://schemas.microsoft.com/office/drawing/2014/main" id="{BD8A4FD6-5F16-311B-DC81-F66469562CB2}"/>
              </a:ext>
            </a:extLst>
          </p:cNvPr>
          <p:cNvGrpSpPr/>
          <p:nvPr/>
        </p:nvGrpSpPr>
        <p:grpSpPr>
          <a:xfrm>
            <a:off x="1271969" y="3864843"/>
            <a:ext cx="1263107" cy="315582"/>
            <a:chOff x="1970809" y="2947127"/>
            <a:chExt cx="1793156" cy="274117"/>
          </a:xfrm>
        </p:grpSpPr>
        <p:sp>
          <p:nvSpPr>
            <p:cNvPr id="13" name="Freeform 36">
              <a:extLst>
                <a:ext uri="{FF2B5EF4-FFF2-40B4-BE49-F238E27FC236}">
                  <a16:creationId xmlns:a16="http://schemas.microsoft.com/office/drawing/2014/main" id="{F77A08F6-4F55-73C4-3C71-750F5DB43D25}"/>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dirty="0">
                <a:latin typeface="Arial" pitchFamily="34" charset="0"/>
                <a:cs typeface="Arial" pitchFamily="34" charset="0"/>
              </a:endParaRPr>
            </a:p>
          </p:txBody>
        </p:sp>
        <p:sp>
          <p:nvSpPr>
            <p:cNvPr id="14" name="Text Box 59">
              <a:extLst>
                <a:ext uri="{FF2B5EF4-FFF2-40B4-BE49-F238E27FC236}">
                  <a16:creationId xmlns:a16="http://schemas.microsoft.com/office/drawing/2014/main" id="{AB1A6595-3E21-3B72-49BB-28D4E50C642E}"/>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其他</a:t>
              </a:r>
              <a:endParaRPr lang="en-US" sz="1600" b="1" dirty="0">
                <a:solidFill>
                  <a:srgbClr val="FFFFFF"/>
                </a:solidFill>
                <a:latin typeface="Arial" pitchFamily="34" charset="0"/>
                <a:ea typeface="'ArialMT'" pitchFamily="32" charset="0"/>
                <a:cs typeface="Arial" pitchFamily="34" charset="0"/>
              </a:endParaRPr>
            </a:p>
          </p:txBody>
        </p:sp>
      </p:grpSp>
    </p:spTree>
    <p:extLst>
      <p:ext uri="{BB962C8B-B14F-4D97-AF65-F5344CB8AC3E}">
        <p14:creationId xmlns:p14="http://schemas.microsoft.com/office/powerpoint/2010/main" val="34085296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22</a:t>
            </a:fld>
            <a:endParaRPr lang="en-GB" dirty="0"/>
          </a:p>
        </p:txBody>
      </p:sp>
      <p:sp>
        <p:nvSpPr>
          <p:cNvPr id="4" name="標題 3"/>
          <p:cNvSpPr>
            <a:spLocks noGrp="1"/>
          </p:cNvSpPr>
          <p:nvPr>
            <p:ph type="title"/>
          </p:nvPr>
        </p:nvSpPr>
        <p:spPr/>
        <p:txBody>
          <a:bodyPr/>
          <a:lstStyle/>
          <a:p>
            <a:r>
              <a:rPr lang="zh-TW" altLang="en-US" dirty="0"/>
              <a:t>化學分析工程師</a:t>
            </a:r>
            <a:r>
              <a:rPr lang="en-US" altLang="zh-TW" dirty="0"/>
              <a:t>/</a:t>
            </a:r>
            <a:r>
              <a:rPr lang="zh-TW" altLang="en-US" dirty="0"/>
              <a:t>助理</a:t>
            </a:r>
            <a:br>
              <a:rPr lang="zh-TW" altLang="en-US" dirty="0">
                <a:solidFill>
                  <a:schemeClr val="hlink"/>
                </a:solidFill>
                <a:latin typeface="微軟正黑體" panose="020B0604030504040204" pitchFamily="34" charset="-120"/>
              </a:rPr>
            </a:br>
            <a:endParaRPr lang="zh-TW" altLang="en-US" dirty="0"/>
          </a:p>
        </p:txBody>
      </p:sp>
      <p:grpSp>
        <p:nvGrpSpPr>
          <p:cNvPr id="2" name="群組 1">
            <a:extLst>
              <a:ext uri="{FF2B5EF4-FFF2-40B4-BE49-F238E27FC236}">
                <a16:creationId xmlns:a16="http://schemas.microsoft.com/office/drawing/2014/main" id="{749D69D0-A69F-35ED-D024-B97D13F4934E}"/>
              </a:ext>
            </a:extLst>
          </p:cNvPr>
          <p:cNvGrpSpPr/>
          <p:nvPr/>
        </p:nvGrpSpPr>
        <p:grpSpPr>
          <a:xfrm>
            <a:off x="1271969" y="1688918"/>
            <a:ext cx="1463303" cy="315582"/>
            <a:chOff x="1970809" y="2947127"/>
            <a:chExt cx="1793156" cy="274117"/>
          </a:xfrm>
        </p:grpSpPr>
        <p:sp>
          <p:nvSpPr>
            <p:cNvPr id="9" name="Freeform 36"/>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69" name="Text Box 59"/>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工作內容</a:t>
              </a:r>
              <a:endParaRPr lang="en-US" sz="1600" b="1" dirty="0">
                <a:solidFill>
                  <a:srgbClr val="FFFFFF"/>
                </a:solidFill>
                <a:latin typeface="Arial" pitchFamily="34" charset="0"/>
                <a:ea typeface="'ArialMT'" pitchFamily="32" charset="0"/>
                <a:cs typeface="Arial" pitchFamily="34" charset="0"/>
              </a:endParaRPr>
            </a:p>
          </p:txBody>
        </p:sp>
      </p:grpSp>
      <p:sp>
        <p:nvSpPr>
          <p:cNvPr id="81" name="Text Box 59"/>
          <p:cNvSpPr txBox="1">
            <a:spLocks noChangeAspect="1" noChangeArrowheads="1"/>
          </p:cNvSpPr>
          <p:nvPr/>
        </p:nvSpPr>
        <p:spPr bwMode="auto">
          <a:xfrm>
            <a:off x="4047326" y="6226230"/>
            <a:ext cx="1540707" cy="224942"/>
          </a:xfrm>
          <a:prstGeom prst="rect">
            <a:avLst/>
          </a:prstGeom>
          <a:noFill/>
          <a:ln w="9525">
            <a:noFill/>
            <a:round/>
            <a:headEnd/>
            <a:tailEnd/>
          </a:ln>
        </p:spPr>
        <p:txBody>
          <a:bodyPr lIns="0" tIns="6173" rIns="0" bIns="0" anchor="ctr">
            <a:prstTxWarp prst="textNoShape">
              <a:avLst/>
            </a:prstTxWarp>
          </a:bodyPr>
          <a:lstStyle/>
          <a:p>
            <a:pPr algn="ctr">
              <a:buFontTx/>
              <a:buNone/>
            </a:pPr>
            <a:r>
              <a:rPr lang="en-US" altLang="zh-CN" sz="1100" b="1" dirty="0">
                <a:solidFill>
                  <a:schemeClr val="bg1"/>
                </a:solidFill>
                <a:ea typeface="新細明體" pitchFamily="18" charset="-120"/>
              </a:rPr>
              <a:t>Physical Testing Lab</a:t>
            </a:r>
            <a:endParaRPr lang="zh-CN" altLang="en-US" sz="1100" b="1" dirty="0">
              <a:solidFill>
                <a:schemeClr val="bg1"/>
              </a:solidFill>
              <a:ea typeface="新細明體" pitchFamily="18" charset="-120"/>
            </a:endParaRPr>
          </a:p>
        </p:txBody>
      </p:sp>
      <p:grpSp>
        <p:nvGrpSpPr>
          <p:cNvPr id="82" name="群組 81">
            <a:extLst>
              <a:ext uri="{FF2B5EF4-FFF2-40B4-BE49-F238E27FC236}">
                <a16:creationId xmlns:a16="http://schemas.microsoft.com/office/drawing/2014/main" id="{53AA9736-B367-43B5-D883-08AB3F7549FF}"/>
              </a:ext>
            </a:extLst>
          </p:cNvPr>
          <p:cNvGrpSpPr/>
          <p:nvPr/>
        </p:nvGrpSpPr>
        <p:grpSpPr>
          <a:xfrm>
            <a:off x="1302158" y="3991865"/>
            <a:ext cx="1263107" cy="315582"/>
            <a:chOff x="1970809" y="2947127"/>
            <a:chExt cx="1793156" cy="274117"/>
          </a:xfrm>
        </p:grpSpPr>
        <p:sp>
          <p:nvSpPr>
            <p:cNvPr id="83" name="Freeform 36">
              <a:extLst>
                <a:ext uri="{FF2B5EF4-FFF2-40B4-BE49-F238E27FC236}">
                  <a16:creationId xmlns:a16="http://schemas.microsoft.com/office/drawing/2014/main" id="{DA65BF85-7BAB-1FD2-8831-C62624008051}"/>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dirty="0">
                <a:latin typeface="Arial" pitchFamily="34" charset="0"/>
                <a:cs typeface="Arial" pitchFamily="34" charset="0"/>
              </a:endParaRPr>
            </a:p>
          </p:txBody>
        </p:sp>
        <p:sp>
          <p:nvSpPr>
            <p:cNvPr id="84" name="Text Box 59">
              <a:extLst>
                <a:ext uri="{FF2B5EF4-FFF2-40B4-BE49-F238E27FC236}">
                  <a16:creationId xmlns:a16="http://schemas.microsoft.com/office/drawing/2014/main" id="{6A9E857C-B7A6-1D2E-A2EB-5ABBF5BD478D}"/>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其他</a:t>
              </a:r>
              <a:endParaRPr lang="en-US" sz="1600" b="1" dirty="0">
                <a:solidFill>
                  <a:srgbClr val="FFFFFF"/>
                </a:solidFill>
                <a:latin typeface="Arial" pitchFamily="34" charset="0"/>
                <a:ea typeface="'ArialMT'" pitchFamily="32" charset="0"/>
                <a:cs typeface="Arial" pitchFamily="34" charset="0"/>
              </a:endParaRPr>
            </a:p>
          </p:txBody>
        </p:sp>
      </p:grpSp>
      <p:sp>
        <p:nvSpPr>
          <p:cNvPr id="6" name="文字方塊 5">
            <a:extLst>
              <a:ext uri="{FF2B5EF4-FFF2-40B4-BE49-F238E27FC236}">
                <a16:creationId xmlns:a16="http://schemas.microsoft.com/office/drawing/2014/main" id="{65270BAA-C2BC-FE0A-24BD-D4F59C86D815}"/>
              </a:ext>
            </a:extLst>
          </p:cNvPr>
          <p:cNvSpPr txBox="1"/>
          <p:nvPr/>
        </p:nvSpPr>
        <p:spPr>
          <a:xfrm>
            <a:off x="1252273" y="2228671"/>
            <a:ext cx="2880000" cy="1200329"/>
          </a:xfrm>
          <a:prstGeom prst="rect">
            <a:avLst/>
          </a:prstGeom>
          <a:noFill/>
        </p:spPr>
        <p:txBody>
          <a:bodyPr wrap="square">
            <a:spAutoFit/>
          </a:bodyPr>
          <a:lstStyle/>
          <a:p>
            <a:r>
              <a:rPr lang="en-US" altLang="zh-TW" dirty="0"/>
              <a:t>1.</a:t>
            </a:r>
            <a:r>
              <a:rPr lang="zh-TW" altLang="en-US" dirty="0"/>
              <a:t>有機或無機實驗</a:t>
            </a:r>
          </a:p>
          <a:p>
            <a:r>
              <a:rPr lang="en-US" altLang="zh-TW" dirty="0"/>
              <a:t>2.</a:t>
            </a:r>
            <a:r>
              <a:rPr lang="zh-TW" altLang="en-US" dirty="0"/>
              <a:t>例行分析及儀器維護</a:t>
            </a:r>
          </a:p>
          <a:p>
            <a:r>
              <a:rPr lang="en-US" altLang="zh-TW" dirty="0"/>
              <a:t>3.</a:t>
            </a:r>
            <a:r>
              <a:rPr lang="zh-TW" altLang="en-US" dirty="0"/>
              <a:t>例行工作紀錄</a:t>
            </a:r>
          </a:p>
          <a:p>
            <a:r>
              <a:rPr lang="en-US" altLang="zh-TW" dirty="0"/>
              <a:t>4.</a:t>
            </a:r>
            <a:r>
              <a:rPr lang="zh-TW" altLang="en-US" dirty="0"/>
              <a:t>協助方法開發</a:t>
            </a:r>
            <a:endParaRPr lang="en-US" altLang="zh-TW" dirty="0"/>
          </a:p>
        </p:txBody>
      </p:sp>
      <p:sp>
        <p:nvSpPr>
          <p:cNvPr id="8" name="文字方塊 7">
            <a:extLst>
              <a:ext uri="{FF2B5EF4-FFF2-40B4-BE49-F238E27FC236}">
                <a16:creationId xmlns:a16="http://schemas.microsoft.com/office/drawing/2014/main" id="{31DB7D75-C4BB-6066-15C3-A81642F56967}"/>
              </a:ext>
            </a:extLst>
          </p:cNvPr>
          <p:cNvSpPr txBox="1"/>
          <p:nvPr/>
        </p:nvSpPr>
        <p:spPr>
          <a:xfrm>
            <a:off x="1252273" y="4542956"/>
            <a:ext cx="6262436" cy="369332"/>
          </a:xfrm>
          <a:prstGeom prst="rect">
            <a:avLst/>
          </a:prstGeom>
          <a:noFill/>
        </p:spPr>
        <p:txBody>
          <a:bodyPr wrap="square">
            <a:spAutoFit/>
          </a:bodyPr>
          <a:lstStyle/>
          <a:p>
            <a:r>
              <a:rPr lang="en-US" altLang="zh-TW" dirty="0"/>
              <a:t>1.</a:t>
            </a:r>
            <a:r>
              <a:rPr lang="zh-TW" altLang="en-US" dirty="0"/>
              <a:t>熟悉</a:t>
            </a:r>
            <a:r>
              <a:rPr lang="en-US" altLang="zh-TW" dirty="0"/>
              <a:t>,</a:t>
            </a:r>
            <a:r>
              <a:rPr lang="zh-TW" altLang="en-US" dirty="0"/>
              <a:t>萃取</a:t>
            </a:r>
            <a:r>
              <a:rPr lang="en-US" altLang="zh-TW" dirty="0"/>
              <a:t>/GCMS/HPLC </a:t>
            </a:r>
            <a:r>
              <a:rPr lang="zh-TW" altLang="en-US" dirty="0"/>
              <a:t>等儀器分析者尤佳</a:t>
            </a:r>
          </a:p>
        </p:txBody>
      </p:sp>
    </p:spTree>
    <p:extLst>
      <p:ext uri="{BB962C8B-B14F-4D97-AF65-F5344CB8AC3E}">
        <p14:creationId xmlns:p14="http://schemas.microsoft.com/office/powerpoint/2010/main" val="4157576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a:extLst>
              <a:ext uri="{FF2B5EF4-FFF2-40B4-BE49-F238E27FC236}">
                <a16:creationId xmlns:a16="http://schemas.microsoft.com/office/drawing/2014/main" id="{9A7CCC33-AC04-E804-A652-17B19E5C8CB8}"/>
              </a:ext>
            </a:extLst>
          </p:cNvPr>
          <p:cNvSpPr>
            <a:spLocks noGrp="1"/>
          </p:cNvSpPr>
          <p:nvPr>
            <p:ph type="ftr" sz="quarter" idx="11"/>
          </p:nvPr>
        </p:nvSpPr>
        <p:spPr/>
        <p:txBody>
          <a:bodyPr/>
          <a:lstStyle/>
          <a:p>
            <a:r>
              <a:rPr lang="en-GB"/>
              <a:t>CPS INTRODUCTION – NOVEMBER 2018</a:t>
            </a:r>
            <a:endParaRPr lang="en-GB" dirty="0"/>
          </a:p>
        </p:txBody>
      </p:sp>
      <p:sp>
        <p:nvSpPr>
          <p:cNvPr id="3" name="投影片編號版面配置區 2">
            <a:extLst>
              <a:ext uri="{FF2B5EF4-FFF2-40B4-BE49-F238E27FC236}">
                <a16:creationId xmlns:a16="http://schemas.microsoft.com/office/drawing/2014/main" id="{9D7184CE-3487-28B1-9709-35071441A036}"/>
              </a:ext>
            </a:extLst>
          </p:cNvPr>
          <p:cNvSpPr>
            <a:spLocks noGrp="1"/>
          </p:cNvSpPr>
          <p:nvPr>
            <p:ph type="sldNum" sz="quarter" idx="12"/>
          </p:nvPr>
        </p:nvSpPr>
        <p:spPr/>
        <p:txBody>
          <a:bodyPr/>
          <a:lstStyle/>
          <a:p>
            <a:r>
              <a:rPr lang="en-GB"/>
              <a:t>Slide / </a:t>
            </a:r>
            <a:fld id="{3EA6A558-C4CA-4506-B5EC-E793D5AE9532}" type="slidenum">
              <a:rPr lang="en-GB" smtClean="0"/>
              <a:pPr/>
              <a:t>23</a:t>
            </a:fld>
            <a:endParaRPr lang="en-GB" dirty="0"/>
          </a:p>
        </p:txBody>
      </p:sp>
      <p:sp>
        <p:nvSpPr>
          <p:cNvPr id="4" name="標題 3">
            <a:extLst>
              <a:ext uri="{FF2B5EF4-FFF2-40B4-BE49-F238E27FC236}">
                <a16:creationId xmlns:a16="http://schemas.microsoft.com/office/drawing/2014/main" id="{0E5A8EE3-8A50-C676-7686-A341558FC811}"/>
              </a:ext>
            </a:extLst>
          </p:cNvPr>
          <p:cNvSpPr>
            <a:spLocks noGrp="1"/>
          </p:cNvSpPr>
          <p:nvPr>
            <p:ph type="title"/>
          </p:nvPr>
        </p:nvSpPr>
        <p:spPr/>
        <p:txBody>
          <a:bodyPr/>
          <a:lstStyle/>
          <a:p>
            <a:r>
              <a:rPr lang="zh-TW" altLang="en-US" dirty="0"/>
              <a:t>客服專員</a:t>
            </a:r>
          </a:p>
        </p:txBody>
      </p:sp>
      <p:sp>
        <p:nvSpPr>
          <p:cNvPr id="6" name="文字方塊 5">
            <a:extLst>
              <a:ext uri="{FF2B5EF4-FFF2-40B4-BE49-F238E27FC236}">
                <a16:creationId xmlns:a16="http://schemas.microsoft.com/office/drawing/2014/main" id="{DF8AD22A-A0F8-8411-F0FD-C0E43E309578}"/>
              </a:ext>
            </a:extLst>
          </p:cNvPr>
          <p:cNvSpPr txBox="1"/>
          <p:nvPr/>
        </p:nvSpPr>
        <p:spPr>
          <a:xfrm>
            <a:off x="1271968" y="2055700"/>
            <a:ext cx="6984031" cy="1477328"/>
          </a:xfrm>
          <a:prstGeom prst="rect">
            <a:avLst/>
          </a:prstGeom>
          <a:noFill/>
        </p:spPr>
        <p:txBody>
          <a:bodyPr wrap="square">
            <a:spAutoFit/>
          </a:bodyPr>
          <a:lstStyle/>
          <a:p>
            <a:r>
              <a:rPr lang="en-US" altLang="zh-TW" dirty="0"/>
              <a:t>1.</a:t>
            </a:r>
            <a:r>
              <a:rPr lang="zh-TW" altLang="en-US" dirty="0"/>
              <a:t> 回覆與報價</a:t>
            </a:r>
            <a:r>
              <a:rPr lang="en-US" altLang="zh-TW" dirty="0"/>
              <a:t>:</a:t>
            </a:r>
            <a:r>
              <a:rPr lang="zh-TW" altLang="en-US" dirty="0"/>
              <a:t>測試請求、樣品需求、報告狀態和價格相關的詢問。</a:t>
            </a:r>
          </a:p>
          <a:p>
            <a:r>
              <a:rPr lang="en-US" altLang="zh-TW" dirty="0"/>
              <a:t>2. </a:t>
            </a:r>
            <a:r>
              <a:rPr lang="zh-TW" altLang="en-US" dirty="0"/>
              <a:t>擔任客戶與實驗室之間的溝通橋樑。</a:t>
            </a:r>
          </a:p>
          <a:p>
            <a:r>
              <a:rPr lang="en-US" altLang="zh-TW" dirty="0"/>
              <a:t>3. </a:t>
            </a:r>
            <a:r>
              <a:rPr lang="zh-TW" altLang="en-US" dirty="0"/>
              <a:t>協助研討會</a:t>
            </a:r>
            <a:r>
              <a:rPr lang="en-US" altLang="zh-TW" dirty="0"/>
              <a:t>/</a:t>
            </a:r>
            <a:r>
              <a:rPr lang="zh-TW" altLang="en-US" dirty="0"/>
              <a:t>培訓活動。</a:t>
            </a:r>
          </a:p>
          <a:p>
            <a:r>
              <a:rPr lang="en-US" altLang="zh-TW" dirty="0"/>
              <a:t>4. </a:t>
            </a:r>
            <a:r>
              <a:rPr lang="zh-TW" altLang="en-US" dirty="0"/>
              <a:t>收集新潛在供應商的業務資訊以促進業務發展。</a:t>
            </a:r>
          </a:p>
          <a:p>
            <a:r>
              <a:rPr lang="en-US" altLang="zh-TW" dirty="0"/>
              <a:t>5. </a:t>
            </a:r>
            <a:r>
              <a:rPr lang="zh-TW" altLang="en-US" dirty="0"/>
              <a:t>在同事請假時擔任代理。</a:t>
            </a:r>
          </a:p>
        </p:txBody>
      </p:sp>
      <p:grpSp>
        <p:nvGrpSpPr>
          <p:cNvPr id="7" name="群組 6">
            <a:extLst>
              <a:ext uri="{FF2B5EF4-FFF2-40B4-BE49-F238E27FC236}">
                <a16:creationId xmlns:a16="http://schemas.microsoft.com/office/drawing/2014/main" id="{862D832F-BEF2-B5AC-42D9-3B9AF43352F7}"/>
              </a:ext>
            </a:extLst>
          </p:cNvPr>
          <p:cNvGrpSpPr/>
          <p:nvPr/>
        </p:nvGrpSpPr>
        <p:grpSpPr>
          <a:xfrm>
            <a:off x="1271969" y="1688918"/>
            <a:ext cx="1463303" cy="315582"/>
            <a:chOff x="1970809" y="2947127"/>
            <a:chExt cx="1793156" cy="274117"/>
          </a:xfrm>
        </p:grpSpPr>
        <p:sp>
          <p:nvSpPr>
            <p:cNvPr id="8" name="Freeform 36">
              <a:extLst>
                <a:ext uri="{FF2B5EF4-FFF2-40B4-BE49-F238E27FC236}">
                  <a16:creationId xmlns:a16="http://schemas.microsoft.com/office/drawing/2014/main" id="{77FDBC95-8FB7-2D99-C3AB-F5616C162B82}"/>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9" name="Text Box 59">
              <a:extLst>
                <a:ext uri="{FF2B5EF4-FFF2-40B4-BE49-F238E27FC236}">
                  <a16:creationId xmlns:a16="http://schemas.microsoft.com/office/drawing/2014/main" id="{455D8E49-C83C-78D6-00F0-B8DCB9CEC8FC}"/>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工作內容</a:t>
              </a:r>
              <a:endParaRPr lang="en-US" sz="1600" b="1" dirty="0">
                <a:solidFill>
                  <a:srgbClr val="FFFFFF"/>
                </a:solidFill>
                <a:latin typeface="Arial" pitchFamily="34" charset="0"/>
                <a:ea typeface="'ArialMT'" pitchFamily="32" charset="0"/>
                <a:cs typeface="Arial" pitchFamily="34" charset="0"/>
              </a:endParaRPr>
            </a:p>
          </p:txBody>
        </p:sp>
      </p:grpSp>
      <p:sp>
        <p:nvSpPr>
          <p:cNvPr id="11" name="文字方塊 10">
            <a:extLst>
              <a:ext uri="{FF2B5EF4-FFF2-40B4-BE49-F238E27FC236}">
                <a16:creationId xmlns:a16="http://schemas.microsoft.com/office/drawing/2014/main" id="{0069E0C1-9FC3-7815-30BF-95429D715D69}"/>
              </a:ext>
            </a:extLst>
          </p:cNvPr>
          <p:cNvSpPr txBox="1"/>
          <p:nvPr/>
        </p:nvSpPr>
        <p:spPr>
          <a:xfrm>
            <a:off x="1271968" y="4468754"/>
            <a:ext cx="6262436" cy="369332"/>
          </a:xfrm>
          <a:prstGeom prst="rect">
            <a:avLst/>
          </a:prstGeom>
          <a:noFill/>
        </p:spPr>
        <p:txBody>
          <a:bodyPr wrap="square">
            <a:spAutoFit/>
          </a:bodyPr>
          <a:lstStyle/>
          <a:p>
            <a:r>
              <a:rPr lang="en-US" altLang="zh-TW" dirty="0"/>
              <a:t>1.</a:t>
            </a:r>
            <a:r>
              <a:rPr lang="zh-TW" altLang="en-US" b="0" i="0" dirty="0">
                <a:solidFill>
                  <a:srgbClr val="292929"/>
                </a:solidFill>
                <a:effectLst/>
                <a:latin typeface="PingFangTC"/>
              </a:rPr>
              <a:t>清晰的口頭表達和良好的電話應答和聽取方式</a:t>
            </a:r>
            <a:endParaRPr lang="zh-TW" altLang="en-US" dirty="0"/>
          </a:p>
        </p:txBody>
      </p:sp>
      <p:grpSp>
        <p:nvGrpSpPr>
          <p:cNvPr id="12" name="群組 11">
            <a:extLst>
              <a:ext uri="{FF2B5EF4-FFF2-40B4-BE49-F238E27FC236}">
                <a16:creationId xmlns:a16="http://schemas.microsoft.com/office/drawing/2014/main" id="{BD8A4FD6-5F16-311B-DC81-F66469562CB2}"/>
              </a:ext>
            </a:extLst>
          </p:cNvPr>
          <p:cNvGrpSpPr/>
          <p:nvPr/>
        </p:nvGrpSpPr>
        <p:grpSpPr>
          <a:xfrm>
            <a:off x="1271969" y="4027766"/>
            <a:ext cx="1263107" cy="315582"/>
            <a:chOff x="1970809" y="2947127"/>
            <a:chExt cx="1793156" cy="274117"/>
          </a:xfrm>
        </p:grpSpPr>
        <p:sp>
          <p:nvSpPr>
            <p:cNvPr id="13" name="Freeform 36">
              <a:extLst>
                <a:ext uri="{FF2B5EF4-FFF2-40B4-BE49-F238E27FC236}">
                  <a16:creationId xmlns:a16="http://schemas.microsoft.com/office/drawing/2014/main" id="{F77A08F6-4F55-73C4-3C71-750F5DB43D25}"/>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dirty="0">
                <a:latin typeface="Arial" pitchFamily="34" charset="0"/>
                <a:cs typeface="Arial" pitchFamily="34" charset="0"/>
              </a:endParaRPr>
            </a:p>
          </p:txBody>
        </p:sp>
        <p:sp>
          <p:nvSpPr>
            <p:cNvPr id="14" name="Text Box 59">
              <a:extLst>
                <a:ext uri="{FF2B5EF4-FFF2-40B4-BE49-F238E27FC236}">
                  <a16:creationId xmlns:a16="http://schemas.microsoft.com/office/drawing/2014/main" id="{AB1A6595-3E21-3B72-49BB-28D4E50C642E}"/>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其他</a:t>
              </a:r>
              <a:endParaRPr lang="en-US" sz="1600" b="1" dirty="0">
                <a:solidFill>
                  <a:srgbClr val="FFFFFF"/>
                </a:solidFill>
                <a:latin typeface="Arial" pitchFamily="34" charset="0"/>
                <a:ea typeface="'ArialMT'" pitchFamily="32" charset="0"/>
                <a:cs typeface="Arial" pitchFamily="34" charset="0"/>
              </a:endParaRPr>
            </a:p>
          </p:txBody>
        </p:sp>
      </p:grpSp>
    </p:spTree>
    <p:extLst>
      <p:ext uri="{BB962C8B-B14F-4D97-AF65-F5344CB8AC3E}">
        <p14:creationId xmlns:p14="http://schemas.microsoft.com/office/powerpoint/2010/main" val="5342873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a:extLst>
              <a:ext uri="{FF2B5EF4-FFF2-40B4-BE49-F238E27FC236}">
                <a16:creationId xmlns:a16="http://schemas.microsoft.com/office/drawing/2014/main" id="{9A7CCC33-AC04-E804-A652-17B19E5C8CB8}"/>
              </a:ext>
            </a:extLst>
          </p:cNvPr>
          <p:cNvSpPr>
            <a:spLocks noGrp="1"/>
          </p:cNvSpPr>
          <p:nvPr>
            <p:ph type="ftr" sz="quarter" idx="11"/>
          </p:nvPr>
        </p:nvSpPr>
        <p:spPr/>
        <p:txBody>
          <a:bodyPr/>
          <a:lstStyle/>
          <a:p>
            <a:r>
              <a:rPr lang="en-GB"/>
              <a:t>CPS INTRODUCTION – NOVEMBER 2018</a:t>
            </a:r>
            <a:endParaRPr lang="en-GB" dirty="0"/>
          </a:p>
        </p:txBody>
      </p:sp>
      <p:sp>
        <p:nvSpPr>
          <p:cNvPr id="3" name="投影片編號版面配置區 2">
            <a:extLst>
              <a:ext uri="{FF2B5EF4-FFF2-40B4-BE49-F238E27FC236}">
                <a16:creationId xmlns:a16="http://schemas.microsoft.com/office/drawing/2014/main" id="{9D7184CE-3487-28B1-9709-35071441A036}"/>
              </a:ext>
            </a:extLst>
          </p:cNvPr>
          <p:cNvSpPr>
            <a:spLocks noGrp="1"/>
          </p:cNvSpPr>
          <p:nvPr>
            <p:ph type="sldNum" sz="quarter" idx="12"/>
          </p:nvPr>
        </p:nvSpPr>
        <p:spPr/>
        <p:txBody>
          <a:bodyPr/>
          <a:lstStyle/>
          <a:p>
            <a:r>
              <a:rPr lang="en-GB"/>
              <a:t>Slide / </a:t>
            </a:r>
            <a:fld id="{3EA6A558-C4CA-4506-B5EC-E793D5AE9532}" type="slidenum">
              <a:rPr lang="en-GB" smtClean="0"/>
              <a:pPr/>
              <a:t>24</a:t>
            </a:fld>
            <a:endParaRPr lang="en-GB" dirty="0"/>
          </a:p>
        </p:txBody>
      </p:sp>
      <p:sp>
        <p:nvSpPr>
          <p:cNvPr id="4" name="標題 3">
            <a:extLst>
              <a:ext uri="{FF2B5EF4-FFF2-40B4-BE49-F238E27FC236}">
                <a16:creationId xmlns:a16="http://schemas.microsoft.com/office/drawing/2014/main" id="{0E5A8EE3-8A50-C676-7686-A341558FC811}"/>
              </a:ext>
            </a:extLst>
          </p:cNvPr>
          <p:cNvSpPr>
            <a:spLocks noGrp="1"/>
          </p:cNvSpPr>
          <p:nvPr>
            <p:ph type="title"/>
          </p:nvPr>
        </p:nvSpPr>
        <p:spPr/>
        <p:txBody>
          <a:bodyPr/>
          <a:lstStyle/>
          <a:p>
            <a:r>
              <a:rPr lang="en-US" altLang="zh-TW" dirty="0"/>
              <a:t>Coordinator</a:t>
            </a:r>
          </a:p>
        </p:txBody>
      </p:sp>
      <p:sp>
        <p:nvSpPr>
          <p:cNvPr id="6" name="文字方塊 5">
            <a:extLst>
              <a:ext uri="{FF2B5EF4-FFF2-40B4-BE49-F238E27FC236}">
                <a16:creationId xmlns:a16="http://schemas.microsoft.com/office/drawing/2014/main" id="{DF8AD22A-A0F8-8411-F0FD-C0E43E309578}"/>
              </a:ext>
            </a:extLst>
          </p:cNvPr>
          <p:cNvSpPr txBox="1"/>
          <p:nvPr/>
        </p:nvSpPr>
        <p:spPr>
          <a:xfrm>
            <a:off x="1271968" y="2055700"/>
            <a:ext cx="8424032" cy="1754326"/>
          </a:xfrm>
          <a:prstGeom prst="rect">
            <a:avLst/>
          </a:prstGeom>
          <a:noFill/>
        </p:spPr>
        <p:txBody>
          <a:bodyPr wrap="square">
            <a:spAutoFit/>
          </a:bodyPr>
          <a:lstStyle/>
          <a:p>
            <a:pPr marL="342900" indent="-342900">
              <a:buFont typeface="+mj-lt"/>
              <a:buAutoNum type="arabicPeriod"/>
            </a:pPr>
            <a:r>
              <a:rPr lang="en-US" altLang="zh-TW" dirty="0"/>
              <a:t>Collects the information from the potential client;</a:t>
            </a:r>
          </a:p>
          <a:p>
            <a:pPr marL="342900" indent="-342900">
              <a:buFont typeface="+mj-lt"/>
              <a:buAutoNum type="arabicPeriod"/>
            </a:pPr>
            <a:r>
              <a:rPr lang="en-US" altLang="zh-TW" dirty="0"/>
              <a:t>Feedback to the potential clients for their enquiries;</a:t>
            </a:r>
          </a:p>
          <a:p>
            <a:pPr marL="342900" indent="-342900">
              <a:buFont typeface="+mj-lt"/>
              <a:buAutoNum type="arabicPeriod"/>
            </a:pPr>
            <a:r>
              <a:rPr lang="en-US" altLang="zh-TW" dirty="0"/>
              <a:t>Send the certification report within timeframe to the certification applicant.</a:t>
            </a:r>
          </a:p>
          <a:p>
            <a:pPr marL="342900" indent="-342900">
              <a:buFont typeface="+mj-lt"/>
              <a:buAutoNum type="arabicPeriod"/>
            </a:pPr>
            <a:r>
              <a:rPr lang="en-US" altLang="zh-TW" dirty="0"/>
              <a:t>Coordinate the certification activities.</a:t>
            </a:r>
          </a:p>
          <a:p>
            <a:pPr marL="342900" indent="-342900">
              <a:buFont typeface="+mj-lt"/>
              <a:buAutoNum type="arabicPeriod"/>
            </a:pPr>
            <a:r>
              <a:rPr lang="en-US" altLang="zh-TW" dirty="0"/>
              <a:t>Coordinate and update the certification administration records, then save them in  MS Teams in a  timely and orderly manner .</a:t>
            </a:r>
            <a:endParaRPr lang="zh-TW" altLang="en-US" dirty="0"/>
          </a:p>
        </p:txBody>
      </p:sp>
      <p:grpSp>
        <p:nvGrpSpPr>
          <p:cNvPr id="7" name="群組 6">
            <a:extLst>
              <a:ext uri="{FF2B5EF4-FFF2-40B4-BE49-F238E27FC236}">
                <a16:creationId xmlns:a16="http://schemas.microsoft.com/office/drawing/2014/main" id="{862D832F-BEF2-B5AC-42D9-3B9AF43352F7}"/>
              </a:ext>
            </a:extLst>
          </p:cNvPr>
          <p:cNvGrpSpPr/>
          <p:nvPr/>
        </p:nvGrpSpPr>
        <p:grpSpPr>
          <a:xfrm>
            <a:off x="1271969" y="1688918"/>
            <a:ext cx="1463303" cy="315582"/>
            <a:chOff x="1970809" y="2947127"/>
            <a:chExt cx="1793156" cy="274117"/>
          </a:xfrm>
        </p:grpSpPr>
        <p:sp>
          <p:nvSpPr>
            <p:cNvPr id="8" name="Freeform 36">
              <a:extLst>
                <a:ext uri="{FF2B5EF4-FFF2-40B4-BE49-F238E27FC236}">
                  <a16:creationId xmlns:a16="http://schemas.microsoft.com/office/drawing/2014/main" id="{77FDBC95-8FB7-2D99-C3AB-F5616C162B82}"/>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9" name="Text Box 59">
              <a:extLst>
                <a:ext uri="{FF2B5EF4-FFF2-40B4-BE49-F238E27FC236}">
                  <a16:creationId xmlns:a16="http://schemas.microsoft.com/office/drawing/2014/main" id="{455D8E49-C83C-78D6-00F0-B8DCB9CEC8FC}"/>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工作內容</a:t>
              </a:r>
              <a:endParaRPr lang="en-US" sz="1600" b="1" dirty="0">
                <a:solidFill>
                  <a:srgbClr val="FFFFFF"/>
                </a:solidFill>
                <a:latin typeface="Arial" pitchFamily="34" charset="0"/>
                <a:ea typeface="'ArialMT'" pitchFamily="32" charset="0"/>
                <a:cs typeface="Arial" pitchFamily="34" charset="0"/>
              </a:endParaRPr>
            </a:p>
          </p:txBody>
        </p:sp>
      </p:grpSp>
      <p:sp>
        <p:nvSpPr>
          <p:cNvPr id="11" name="文字方塊 10">
            <a:extLst>
              <a:ext uri="{FF2B5EF4-FFF2-40B4-BE49-F238E27FC236}">
                <a16:creationId xmlns:a16="http://schemas.microsoft.com/office/drawing/2014/main" id="{0069E0C1-9FC3-7815-30BF-95429D715D69}"/>
              </a:ext>
            </a:extLst>
          </p:cNvPr>
          <p:cNvSpPr txBox="1"/>
          <p:nvPr/>
        </p:nvSpPr>
        <p:spPr>
          <a:xfrm>
            <a:off x="1236000" y="4550824"/>
            <a:ext cx="8452106" cy="1200329"/>
          </a:xfrm>
          <a:prstGeom prst="rect">
            <a:avLst/>
          </a:prstGeom>
          <a:noFill/>
        </p:spPr>
        <p:txBody>
          <a:bodyPr wrap="square">
            <a:spAutoFit/>
          </a:bodyPr>
          <a:lstStyle/>
          <a:p>
            <a:pPr marL="342900" indent="-342900">
              <a:buFont typeface="+mj-lt"/>
              <a:buAutoNum type="arabicPeriod"/>
            </a:pPr>
            <a:r>
              <a:rPr lang="en-US" altLang="zh-TW" dirty="0"/>
              <a:t>Computer Skill : Word, Excel, Power Point and outlook</a:t>
            </a:r>
          </a:p>
          <a:p>
            <a:pPr marL="342900" indent="-342900">
              <a:buFont typeface="+mj-lt"/>
              <a:buAutoNum type="arabicPeriod"/>
            </a:pPr>
            <a:r>
              <a:rPr lang="en-US" altLang="zh-TW" dirty="0"/>
              <a:t>Language Skill: Chinese and English. Good in reading, writing, listening.</a:t>
            </a:r>
          </a:p>
          <a:p>
            <a:pPr marL="342900" indent="-342900">
              <a:buFont typeface="+mj-lt"/>
              <a:buAutoNum type="arabicPeriod"/>
            </a:pPr>
            <a:r>
              <a:rPr lang="en-US" altLang="zh-TW" dirty="0"/>
              <a:t>Communication skill: Clear verbal communication &amp; good telephone answering &amp; listening manner.</a:t>
            </a:r>
            <a:endParaRPr lang="zh-TW" altLang="en-US" dirty="0"/>
          </a:p>
        </p:txBody>
      </p:sp>
      <p:grpSp>
        <p:nvGrpSpPr>
          <p:cNvPr id="12" name="群組 11">
            <a:extLst>
              <a:ext uri="{FF2B5EF4-FFF2-40B4-BE49-F238E27FC236}">
                <a16:creationId xmlns:a16="http://schemas.microsoft.com/office/drawing/2014/main" id="{BD8A4FD6-5F16-311B-DC81-F66469562CB2}"/>
              </a:ext>
            </a:extLst>
          </p:cNvPr>
          <p:cNvGrpSpPr/>
          <p:nvPr/>
        </p:nvGrpSpPr>
        <p:grpSpPr>
          <a:xfrm>
            <a:off x="1271969" y="4027766"/>
            <a:ext cx="1263107" cy="315582"/>
            <a:chOff x="1970809" y="2947127"/>
            <a:chExt cx="1793156" cy="274117"/>
          </a:xfrm>
        </p:grpSpPr>
        <p:sp>
          <p:nvSpPr>
            <p:cNvPr id="13" name="Freeform 36">
              <a:extLst>
                <a:ext uri="{FF2B5EF4-FFF2-40B4-BE49-F238E27FC236}">
                  <a16:creationId xmlns:a16="http://schemas.microsoft.com/office/drawing/2014/main" id="{F77A08F6-4F55-73C4-3C71-750F5DB43D25}"/>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dirty="0">
                <a:latin typeface="Arial" pitchFamily="34" charset="0"/>
                <a:cs typeface="Arial" pitchFamily="34" charset="0"/>
              </a:endParaRPr>
            </a:p>
          </p:txBody>
        </p:sp>
        <p:sp>
          <p:nvSpPr>
            <p:cNvPr id="14" name="Text Box 59">
              <a:extLst>
                <a:ext uri="{FF2B5EF4-FFF2-40B4-BE49-F238E27FC236}">
                  <a16:creationId xmlns:a16="http://schemas.microsoft.com/office/drawing/2014/main" id="{AB1A6595-3E21-3B72-49BB-28D4E50C642E}"/>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其他</a:t>
              </a:r>
              <a:endParaRPr lang="en-US" sz="1600" b="1" dirty="0">
                <a:solidFill>
                  <a:srgbClr val="FFFFFF"/>
                </a:solidFill>
                <a:latin typeface="Arial" pitchFamily="34" charset="0"/>
                <a:ea typeface="'ArialMT'" pitchFamily="32" charset="0"/>
                <a:cs typeface="Arial" pitchFamily="34" charset="0"/>
              </a:endParaRPr>
            </a:p>
          </p:txBody>
        </p:sp>
      </p:grpSp>
    </p:spTree>
    <p:extLst>
      <p:ext uri="{BB962C8B-B14F-4D97-AF65-F5344CB8AC3E}">
        <p14:creationId xmlns:p14="http://schemas.microsoft.com/office/powerpoint/2010/main" val="42557613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a:extLst>
              <a:ext uri="{FF2B5EF4-FFF2-40B4-BE49-F238E27FC236}">
                <a16:creationId xmlns:a16="http://schemas.microsoft.com/office/drawing/2014/main" id="{9A7CCC33-AC04-E804-A652-17B19E5C8CB8}"/>
              </a:ext>
            </a:extLst>
          </p:cNvPr>
          <p:cNvSpPr>
            <a:spLocks noGrp="1"/>
          </p:cNvSpPr>
          <p:nvPr>
            <p:ph type="ftr" sz="quarter" idx="11"/>
          </p:nvPr>
        </p:nvSpPr>
        <p:spPr/>
        <p:txBody>
          <a:bodyPr/>
          <a:lstStyle/>
          <a:p>
            <a:r>
              <a:rPr lang="en-GB"/>
              <a:t>CPS INTRODUCTION – NOVEMBER 2018</a:t>
            </a:r>
            <a:endParaRPr lang="en-GB" dirty="0"/>
          </a:p>
        </p:txBody>
      </p:sp>
      <p:sp>
        <p:nvSpPr>
          <p:cNvPr id="3" name="投影片編號版面配置區 2">
            <a:extLst>
              <a:ext uri="{FF2B5EF4-FFF2-40B4-BE49-F238E27FC236}">
                <a16:creationId xmlns:a16="http://schemas.microsoft.com/office/drawing/2014/main" id="{9D7184CE-3487-28B1-9709-35071441A036}"/>
              </a:ext>
            </a:extLst>
          </p:cNvPr>
          <p:cNvSpPr>
            <a:spLocks noGrp="1"/>
          </p:cNvSpPr>
          <p:nvPr>
            <p:ph type="sldNum" sz="quarter" idx="12"/>
          </p:nvPr>
        </p:nvSpPr>
        <p:spPr/>
        <p:txBody>
          <a:bodyPr/>
          <a:lstStyle/>
          <a:p>
            <a:r>
              <a:rPr lang="en-GB"/>
              <a:t>Slide / </a:t>
            </a:r>
            <a:fld id="{3EA6A558-C4CA-4506-B5EC-E793D5AE9532}" type="slidenum">
              <a:rPr lang="en-GB" smtClean="0"/>
              <a:pPr/>
              <a:t>25</a:t>
            </a:fld>
            <a:endParaRPr lang="en-GB" dirty="0"/>
          </a:p>
        </p:txBody>
      </p:sp>
      <p:sp>
        <p:nvSpPr>
          <p:cNvPr id="4" name="標題 3">
            <a:extLst>
              <a:ext uri="{FF2B5EF4-FFF2-40B4-BE49-F238E27FC236}">
                <a16:creationId xmlns:a16="http://schemas.microsoft.com/office/drawing/2014/main" id="{0E5A8EE3-8A50-C676-7686-A341558FC811}"/>
              </a:ext>
            </a:extLst>
          </p:cNvPr>
          <p:cNvSpPr>
            <a:spLocks noGrp="1"/>
          </p:cNvSpPr>
          <p:nvPr>
            <p:ph type="title"/>
          </p:nvPr>
        </p:nvSpPr>
        <p:spPr/>
        <p:txBody>
          <a:bodyPr/>
          <a:lstStyle/>
          <a:p>
            <a:r>
              <a:rPr lang="en-US" altLang="zh-TW" dirty="0"/>
              <a:t>Technical Specialist</a:t>
            </a:r>
          </a:p>
        </p:txBody>
      </p:sp>
      <p:sp>
        <p:nvSpPr>
          <p:cNvPr id="6" name="文字方塊 5">
            <a:extLst>
              <a:ext uri="{FF2B5EF4-FFF2-40B4-BE49-F238E27FC236}">
                <a16:creationId xmlns:a16="http://schemas.microsoft.com/office/drawing/2014/main" id="{DF8AD22A-A0F8-8411-F0FD-C0E43E309578}"/>
              </a:ext>
            </a:extLst>
          </p:cNvPr>
          <p:cNvSpPr txBox="1"/>
          <p:nvPr/>
        </p:nvSpPr>
        <p:spPr>
          <a:xfrm>
            <a:off x="1271968" y="2055700"/>
            <a:ext cx="8424032" cy="1200329"/>
          </a:xfrm>
          <a:prstGeom prst="rect">
            <a:avLst/>
          </a:prstGeom>
          <a:noFill/>
        </p:spPr>
        <p:txBody>
          <a:bodyPr wrap="square">
            <a:spAutoFit/>
          </a:bodyPr>
          <a:lstStyle/>
          <a:p>
            <a:pPr marL="342900" indent="-342900">
              <a:buFont typeface="+mj-lt"/>
              <a:buAutoNum type="arabicPeriod"/>
            </a:pPr>
            <a:r>
              <a:rPr lang="en-US" altLang="zh-TW" dirty="0"/>
              <a:t>Conduct certification application review to ensure only proper application can be accepted.</a:t>
            </a:r>
          </a:p>
          <a:p>
            <a:pPr marL="342900" indent="-342900">
              <a:buFont typeface="+mj-lt"/>
              <a:buAutoNum type="arabicPeriod"/>
            </a:pPr>
            <a:r>
              <a:rPr lang="en-US" altLang="zh-TW" dirty="0"/>
              <a:t>Issue Certificate based on Certification Decision Maker's decision.</a:t>
            </a:r>
          </a:p>
          <a:p>
            <a:pPr marL="342900" indent="-342900">
              <a:buFont typeface="+mj-lt"/>
              <a:buAutoNum type="arabicPeriod"/>
            </a:pPr>
            <a:r>
              <a:rPr lang="en-US" altLang="zh-TW" dirty="0"/>
              <a:t>Review certification reports to ensure the report quality .</a:t>
            </a:r>
            <a:endParaRPr lang="zh-TW" altLang="en-US" dirty="0"/>
          </a:p>
        </p:txBody>
      </p:sp>
      <p:grpSp>
        <p:nvGrpSpPr>
          <p:cNvPr id="7" name="群組 6">
            <a:extLst>
              <a:ext uri="{FF2B5EF4-FFF2-40B4-BE49-F238E27FC236}">
                <a16:creationId xmlns:a16="http://schemas.microsoft.com/office/drawing/2014/main" id="{862D832F-BEF2-B5AC-42D9-3B9AF43352F7}"/>
              </a:ext>
            </a:extLst>
          </p:cNvPr>
          <p:cNvGrpSpPr/>
          <p:nvPr/>
        </p:nvGrpSpPr>
        <p:grpSpPr>
          <a:xfrm>
            <a:off x="1271969" y="1688918"/>
            <a:ext cx="1463303" cy="315582"/>
            <a:chOff x="1970809" y="2947127"/>
            <a:chExt cx="1793156" cy="274117"/>
          </a:xfrm>
        </p:grpSpPr>
        <p:sp>
          <p:nvSpPr>
            <p:cNvPr id="8" name="Freeform 36">
              <a:extLst>
                <a:ext uri="{FF2B5EF4-FFF2-40B4-BE49-F238E27FC236}">
                  <a16:creationId xmlns:a16="http://schemas.microsoft.com/office/drawing/2014/main" id="{77FDBC95-8FB7-2D99-C3AB-F5616C162B82}"/>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9" name="Text Box 59">
              <a:extLst>
                <a:ext uri="{FF2B5EF4-FFF2-40B4-BE49-F238E27FC236}">
                  <a16:creationId xmlns:a16="http://schemas.microsoft.com/office/drawing/2014/main" id="{455D8E49-C83C-78D6-00F0-B8DCB9CEC8FC}"/>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工作內容</a:t>
              </a:r>
              <a:endParaRPr lang="en-US" sz="1600" b="1" dirty="0">
                <a:solidFill>
                  <a:srgbClr val="FFFFFF"/>
                </a:solidFill>
                <a:latin typeface="Arial" pitchFamily="34" charset="0"/>
                <a:ea typeface="'ArialMT'" pitchFamily="32" charset="0"/>
                <a:cs typeface="Arial" pitchFamily="34" charset="0"/>
              </a:endParaRPr>
            </a:p>
          </p:txBody>
        </p:sp>
      </p:grpSp>
      <p:sp>
        <p:nvSpPr>
          <p:cNvPr id="11" name="文字方塊 10">
            <a:extLst>
              <a:ext uri="{FF2B5EF4-FFF2-40B4-BE49-F238E27FC236}">
                <a16:creationId xmlns:a16="http://schemas.microsoft.com/office/drawing/2014/main" id="{0069E0C1-9FC3-7815-30BF-95429D715D69}"/>
              </a:ext>
            </a:extLst>
          </p:cNvPr>
          <p:cNvSpPr txBox="1"/>
          <p:nvPr/>
        </p:nvSpPr>
        <p:spPr>
          <a:xfrm>
            <a:off x="1236000" y="4550824"/>
            <a:ext cx="8452106" cy="1200329"/>
          </a:xfrm>
          <a:prstGeom prst="rect">
            <a:avLst/>
          </a:prstGeom>
          <a:noFill/>
        </p:spPr>
        <p:txBody>
          <a:bodyPr wrap="square">
            <a:spAutoFit/>
          </a:bodyPr>
          <a:lstStyle/>
          <a:p>
            <a:pPr marL="342900" indent="-342900">
              <a:buFont typeface="+mj-lt"/>
              <a:buAutoNum type="arabicPeriod"/>
            </a:pPr>
            <a:r>
              <a:rPr lang="en-US" altLang="zh-TW" dirty="0"/>
              <a:t>Computer Skill : Word, Excel, Power Point and outlook</a:t>
            </a:r>
          </a:p>
          <a:p>
            <a:pPr marL="342900" indent="-342900">
              <a:buFont typeface="+mj-lt"/>
              <a:buAutoNum type="arabicPeriod"/>
            </a:pPr>
            <a:r>
              <a:rPr lang="en-US" altLang="zh-TW" dirty="0"/>
              <a:t>Language Skill: Chinese and English. Good in reading, writing, listening.</a:t>
            </a:r>
          </a:p>
          <a:p>
            <a:pPr marL="342900" indent="-342900">
              <a:buFont typeface="+mj-lt"/>
              <a:buAutoNum type="arabicPeriod"/>
            </a:pPr>
            <a:r>
              <a:rPr lang="en-US" altLang="zh-TW" dirty="0"/>
              <a:t>Communication skill: Clear verbal communication &amp; good telephone answering &amp; listening manner.</a:t>
            </a:r>
            <a:endParaRPr lang="zh-TW" altLang="en-US" dirty="0"/>
          </a:p>
        </p:txBody>
      </p:sp>
      <p:grpSp>
        <p:nvGrpSpPr>
          <p:cNvPr id="12" name="群組 11">
            <a:extLst>
              <a:ext uri="{FF2B5EF4-FFF2-40B4-BE49-F238E27FC236}">
                <a16:creationId xmlns:a16="http://schemas.microsoft.com/office/drawing/2014/main" id="{BD8A4FD6-5F16-311B-DC81-F66469562CB2}"/>
              </a:ext>
            </a:extLst>
          </p:cNvPr>
          <p:cNvGrpSpPr/>
          <p:nvPr/>
        </p:nvGrpSpPr>
        <p:grpSpPr>
          <a:xfrm>
            <a:off x="1271969" y="4027766"/>
            <a:ext cx="1263107" cy="315582"/>
            <a:chOff x="1970809" y="2947127"/>
            <a:chExt cx="1793156" cy="274117"/>
          </a:xfrm>
        </p:grpSpPr>
        <p:sp>
          <p:nvSpPr>
            <p:cNvPr id="13" name="Freeform 36">
              <a:extLst>
                <a:ext uri="{FF2B5EF4-FFF2-40B4-BE49-F238E27FC236}">
                  <a16:creationId xmlns:a16="http://schemas.microsoft.com/office/drawing/2014/main" id="{F77A08F6-4F55-73C4-3C71-750F5DB43D25}"/>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dirty="0">
                <a:latin typeface="Arial" pitchFamily="34" charset="0"/>
                <a:cs typeface="Arial" pitchFamily="34" charset="0"/>
              </a:endParaRPr>
            </a:p>
          </p:txBody>
        </p:sp>
        <p:sp>
          <p:nvSpPr>
            <p:cNvPr id="14" name="Text Box 59">
              <a:extLst>
                <a:ext uri="{FF2B5EF4-FFF2-40B4-BE49-F238E27FC236}">
                  <a16:creationId xmlns:a16="http://schemas.microsoft.com/office/drawing/2014/main" id="{AB1A6595-3E21-3B72-49BB-28D4E50C642E}"/>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其他</a:t>
              </a:r>
              <a:endParaRPr lang="en-US" sz="1600" b="1" dirty="0">
                <a:solidFill>
                  <a:srgbClr val="FFFFFF"/>
                </a:solidFill>
                <a:latin typeface="Arial" pitchFamily="34" charset="0"/>
                <a:ea typeface="'ArialMT'" pitchFamily="32" charset="0"/>
                <a:cs typeface="Arial" pitchFamily="34" charset="0"/>
              </a:endParaRPr>
            </a:p>
          </p:txBody>
        </p:sp>
      </p:grpSp>
    </p:spTree>
    <p:extLst>
      <p:ext uri="{BB962C8B-B14F-4D97-AF65-F5344CB8AC3E}">
        <p14:creationId xmlns:p14="http://schemas.microsoft.com/office/powerpoint/2010/main" val="30082635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a:extLst>
              <a:ext uri="{FF2B5EF4-FFF2-40B4-BE49-F238E27FC236}">
                <a16:creationId xmlns:a16="http://schemas.microsoft.com/office/drawing/2014/main" id="{9A7CCC33-AC04-E804-A652-17B19E5C8CB8}"/>
              </a:ext>
            </a:extLst>
          </p:cNvPr>
          <p:cNvSpPr>
            <a:spLocks noGrp="1"/>
          </p:cNvSpPr>
          <p:nvPr>
            <p:ph type="ftr" sz="quarter" idx="11"/>
          </p:nvPr>
        </p:nvSpPr>
        <p:spPr/>
        <p:txBody>
          <a:bodyPr/>
          <a:lstStyle/>
          <a:p>
            <a:r>
              <a:rPr lang="en-GB"/>
              <a:t>CPS INTRODUCTION – NOVEMBER 2018</a:t>
            </a:r>
            <a:endParaRPr lang="en-GB" dirty="0"/>
          </a:p>
        </p:txBody>
      </p:sp>
      <p:sp>
        <p:nvSpPr>
          <p:cNvPr id="3" name="投影片編號版面配置區 2">
            <a:extLst>
              <a:ext uri="{FF2B5EF4-FFF2-40B4-BE49-F238E27FC236}">
                <a16:creationId xmlns:a16="http://schemas.microsoft.com/office/drawing/2014/main" id="{9D7184CE-3487-28B1-9709-35071441A036}"/>
              </a:ext>
            </a:extLst>
          </p:cNvPr>
          <p:cNvSpPr>
            <a:spLocks noGrp="1"/>
          </p:cNvSpPr>
          <p:nvPr>
            <p:ph type="sldNum" sz="quarter" idx="12"/>
          </p:nvPr>
        </p:nvSpPr>
        <p:spPr/>
        <p:txBody>
          <a:bodyPr/>
          <a:lstStyle/>
          <a:p>
            <a:r>
              <a:rPr lang="en-GB"/>
              <a:t>Slide / </a:t>
            </a:r>
            <a:fld id="{3EA6A558-C4CA-4506-B5EC-E793D5AE9532}" type="slidenum">
              <a:rPr lang="en-GB" smtClean="0"/>
              <a:pPr/>
              <a:t>26</a:t>
            </a:fld>
            <a:endParaRPr lang="en-GB" dirty="0"/>
          </a:p>
        </p:txBody>
      </p:sp>
      <p:sp>
        <p:nvSpPr>
          <p:cNvPr id="4" name="標題 3">
            <a:extLst>
              <a:ext uri="{FF2B5EF4-FFF2-40B4-BE49-F238E27FC236}">
                <a16:creationId xmlns:a16="http://schemas.microsoft.com/office/drawing/2014/main" id="{0E5A8EE3-8A50-C676-7686-A341558FC811}"/>
              </a:ext>
            </a:extLst>
          </p:cNvPr>
          <p:cNvSpPr>
            <a:spLocks noGrp="1"/>
          </p:cNvSpPr>
          <p:nvPr>
            <p:ph type="title"/>
          </p:nvPr>
        </p:nvSpPr>
        <p:spPr/>
        <p:txBody>
          <a:bodyPr/>
          <a:lstStyle/>
          <a:p>
            <a:r>
              <a:rPr lang="zh-TW" altLang="en-US" dirty="0"/>
              <a:t>業務專員</a:t>
            </a:r>
            <a:endParaRPr lang="en-US" altLang="zh-TW" dirty="0"/>
          </a:p>
        </p:txBody>
      </p:sp>
      <p:sp>
        <p:nvSpPr>
          <p:cNvPr id="6" name="文字方塊 5">
            <a:extLst>
              <a:ext uri="{FF2B5EF4-FFF2-40B4-BE49-F238E27FC236}">
                <a16:creationId xmlns:a16="http://schemas.microsoft.com/office/drawing/2014/main" id="{DF8AD22A-A0F8-8411-F0FD-C0E43E309578}"/>
              </a:ext>
            </a:extLst>
          </p:cNvPr>
          <p:cNvSpPr txBox="1"/>
          <p:nvPr/>
        </p:nvSpPr>
        <p:spPr>
          <a:xfrm>
            <a:off x="1271968" y="2055700"/>
            <a:ext cx="8424032" cy="1477328"/>
          </a:xfrm>
          <a:prstGeom prst="rect">
            <a:avLst/>
          </a:prstGeom>
          <a:noFill/>
        </p:spPr>
        <p:txBody>
          <a:bodyPr wrap="square">
            <a:spAutoFit/>
          </a:bodyPr>
          <a:lstStyle/>
          <a:p>
            <a:pPr marL="342900" indent="-342900">
              <a:buFont typeface="+mj-lt"/>
              <a:buAutoNum type="arabicPeriod"/>
            </a:pPr>
            <a:r>
              <a:rPr lang="zh-TW" altLang="en-US" dirty="0"/>
              <a:t>行銷與業務策略拓展與客戶關係維護</a:t>
            </a:r>
          </a:p>
          <a:p>
            <a:pPr marL="342900" indent="-342900">
              <a:buFont typeface="+mj-lt"/>
              <a:buAutoNum type="arabicPeriod"/>
            </a:pPr>
            <a:r>
              <a:rPr lang="zh-TW" altLang="en-US" dirty="0"/>
              <a:t>市場調查分析</a:t>
            </a:r>
          </a:p>
          <a:p>
            <a:pPr marL="342900" indent="-342900">
              <a:buFont typeface="+mj-lt"/>
              <a:buAutoNum type="arabicPeriod"/>
            </a:pPr>
            <a:r>
              <a:rPr lang="zh-TW" altLang="en-US" dirty="0"/>
              <a:t>客戶、新市場業務開發與新產品</a:t>
            </a:r>
            <a:r>
              <a:rPr lang="en-US" altLang="zh-TW" dirty="0"/>
              <a:t>(</a:t>
            </a:r>
            <a:r>
              <a:rPr lang="zh-TW" altLang="en-US" dirty="0"/>
              <a:t>測試項目</a:t>
            </a:r>
            <a:r>
              <a:rPr lang="en-US" altLang="zh-TW" dirty="0"/>
              <a:t>)</a:t>
            </a:r>
            <a:r>
              <a:rPr lang="zh-TW" altLang="en-US" dirty="0"/>
              <a:t>推廣</a:t>
            </a:r>
          </a:p>
          <a:p>
            <a:pPr marL="342900" indent="-342900">
              <a:buFont typeface="+mj-lt"/>
              <a:buAutoNum type="arabicPeriod"/>
            </a:pPr>
            <a:r>
              <a:rPr lang="zh-TW" altLang="en-US" dirty="0"/>
              <a:t>與客服團隊合作</a:t>
            </a:r>
          </a:p>
          <a:p>
            <a:pPr marL="342900" indent="-342900">
              <a:buFont typeface="+mj-lt"/>
              <a:buAutoNum type="arabicPeriod"/>
            </a:pPr>
            <a:r>
              <a:rPr lang="zh-TW" altLang="en-US" dirty="0"/>
              <a:t>行政事務協助與其他主管交辦事項</a:t>
            </a:r>
          </a:p>
        </p:txBody>
      </p:sp>
      <p:grpSp>
        <p:nvGrpSpPr>
          <p:cNvPr id="7" name="群組 6">
            <a:extLst>
              <a:ext uri="{FF2B5EF4-FFF2-40B4-BE49-F238E27FC236}">
                <a16:creationId xmlns:a16="http://schemas.microsoft.com/office/drawing/2014/main" id="{862D832F-BEF2-B5AC-42D9-3B9AF43352F7}"/>
              </a:ext>
            </a:extLst>
          </p:cNvPr>
          <p:cNvGrpSpPr/>
          <p:nvPr/>
        </p:nvGrpSpPr>
        <p:grpSpPr>
          <a:xfrm>
            <a:off x="1271969" y="1688918"/>
            <a:ext cx="1463303" cy="315582"/>
            <a:chOff x="1970809" y="2947127"/>
            <a:chExt cx="1793156" cy="274117"/>
          </a:xfrm>
        </p:grpSpPr>
        <p:sp>
          <p:nvSpPr>
            <p:cNvPr id="8" name="Freeform 36">
              <a:extLst>
                <a:ext uri="{FF2B5EF4-FFF2-40B4-BE49-F238E27FC236}">
                  <a16:creationId xmlns:a16="http://schemas.microsoft.com/office/drawing/2014/main" id="{77FDBC95-8FB7-2D99-C3AB-F5616C162B82}"/>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9" name="Text Box 59">
              <a:extLst>
                <a:ext uri="{FF2B5EF4-FFF2-40B4-BE49-F238E27FC236}">
                  <a16:creationId xmlns:a16="http://schemas.microsoft.com/office/drawing/2014/main" id="{455D8E49-C83C-78D6-00F0-B8DCB9CEC8FC}"/>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工作內容</a:t>
              </a:r>
              <a:endParaRPr lang="en-US" sz="1600" b="1" dirty="0">
                <a:solidFill>
                  <a:srgbClr val="FFFFFF"/>
                </a:solidFill>
                <a:latin typeface="Arial" pitchFamily="34" charset="0"/>
                <a:ea typeface="'ArialMT'" pitchFamily="32" charset="0"/>
                <a:cs typeface="Arial" pitchFamily="34" charset="0"/>
              </a:endParaRPr>
            </a:p>
          </p:txBody>
        </p:sp>
      </p:grpSp>
      <p:sp>
        <p:nvSpPr>
          <p:cNvPr id="11" name="文字方塊 10">
            <a:extLst>
              <a:ext uri="{FF2B5EF4-FFF2-40B4-BE49-F238E27FC236}">
                <a16:creationId xmlns:a16="http://schemas.microsoft.com/office/drawing/2014/main" id="{0069E0C1-9FC3-7815-30BF-95429D715D69}"/>
              </a:ext>
            </a:extLst>
          </p:cNvPr>
          <p:cNvSpPr txBox="1"/>
          <p:nvPr/>
        </p:nvSpPr>
        <p:spPr>
          <a:xfrm>
            <a:off x="1236000" y="4550824"/>
            <a:ext cx="8452106" cy="923330"/>
          </a:xfrm>
          <a:prstGeom prst="rect">
            <a:avLst/>
          </a:prstGeom>
          <a:noFill/>
        </p:spPr>
        <p:txBody>
          <a:bodyPr wrap="square">
            <a:spAutoFit/>
          </a:bodyPr>
          <a:lstStyle/>
          <a:p>
            <a:pPr marL="342900" indent="-342900">
              <a:buFont typeface="+mj-lt"/>
              <a:buAutoNum type="arabicPeriod"/>
            </a:pPr>
            <a:r>
              <a:rPr lang="zh-TW" altLang="en-US" dirty="0"/>
              <a:t>對檢測業有興趣</a:t>
            </a:r>
            <a:endParaRPr lang="en-US" altLang="zh-TW" dirty="0"/>
          </a:p>
          <a:p>
            <a:pPr marL="342900" indent="-342900">
              <a:buFont typeface="+mj-lt"/>
              <a:buAutoNum type="arabicPeriod"/>
            </a:pPr>
            <a:r>
              <a:rPr lang="zh-TW" altLang="en-US" dirty="0"/>
              <a:t>對於業務發發工作有興趣</a:t>
            </a:r>
          </a:p>
          <a:p>
            <a:pPr marL="342900" indent="-342900">
              <a:buFont typeface="+mj-lt"/>
              <a:buAutoNum type="arabicPeriod"/>
            </a:pPr>
            <a:r>
              <a:rPr lang="zh-TW" altLang="en-US" dirty="0"/>
              <a:t>樂於學習新事務、團隊合作、跨部門溝通</a:t>
            </a:r>
            <a:endParaRPr lang="en-US" altLang="zh-TW" dirty="0"/>
          </a:p>
        </p:txBody>
      </p:sp>
      <p:grpSp>
        <p:nvGrpSpPr>
          <p:cNvPr id="12" name="群組 11">
            <a:extLst>
              <a:ext uri="{FF2B5EF4-FFF2-40B4-BE49-F238E27FC236}">
                <a16:creationId xmlns:a16="http://schemas.microsoft.com/office/drawing/2014/main" id="{BD8A4FD6-5F16-311B-DC81-F66469562CB2}"/>
              </a:ext>
            </a:extLst>
          </p:cNvPr>
          <p:cNvGrpSpPr/>
          <p:nvPr/>
        </p:nvGrpSpPr>
        <p:grpSpPr>
          <a:xfrm>
            <a:off x="1271969" y="4027766"/>
            <a:ext cx="1263107" cy="315582"/>
            <a:chOff x="1970809" y="2947127"/>
            <a:chExt cx="1793156" cy="274117"/>
          </a:xfrm>
        </p:grpSpPr>
        <p:sp>
          <p:nvSpPr>
            <p:cNvPr id="13" name="Freeform 36">
              <a:extLst>
                <a:ext uri="{FF2B5EF4-FFF2-40B4-BE49-F238E27FC236}">
                  <a16:creationId xmlns:a16="http://schemas.microsoft.com/office/drawing/2014/main" id="{F77A08F6-4F55-73C4-3C71-750F5DB43D25}"/>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dirty="0">
                <a:latin typeface="Arial" pitchFamily="34" charset="0"/>
                <a:cs typeface="Arial" pitchFamily="34" charset="0"/>
              </a:endParaRPr>
            </a:p>
          </p:txBody>
        </p:sp>
        <p:sp>
          <p:nvSpPr>
            <p:cNvPr id="14" name="Text Box 59">
              <a:extLst>
                <a:ext uri="{FF2B5EF4-FFF2-40B4-BE49-F238E27FC236}">
                  <a16:creationId xmlns:a16="http://schemas.microsoft.com/office/drawing/2014/main" id="{AB1A6595-3E21-3B72-49BB-28D4E50C642E}"/>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其他</a:t>
              </a:r>
              <a:endParaRPr lang="en-US" sz="1600" b="1" dirty="0">
                <a:solidFill>
                  <a:srgbClr val="FFFFFF"/>
                </a:solidFill>
                <a:latin typeface="Arial" pitchFamily="34" charset="0"/>
                <a:ea typeface="'ArialMT'" pitchFamily="32" charset="0"/>
                <a:cs typeface="Arial" pitchFamily="34" charset="0"/>
              </a:endParaRPr>
            </a:p>
          </p:txBody>
        </p:sp>
      </p:grpSp>
    </p:spTree>
    <p:extLst>
      <p:ext uri="{BB962C8B-B14F-4D97-AF65-F5344CB8AC3E}">
        <p14:creationId xmlns:p14="http://schemas.microsoft.com/office/powerpoint/2010/main" val="25395968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a:extLst>
              <a:ext uri="{FF2B5EF4-FFF2-40B4-BE49-F238E27FC236}">
                <a16:creationId xmlns:a16="http://schemas.microsoft.com/office/drawing/2014/main" id="{9A7CCC33-AC04-E804-A652-17B19E5C8CB8}"/>
              </a:ext>
            </a:extLst>
          </p:cNvPr>
          <p:cNvSpPr>
            <a:spLocks noGrp="1"/>
          </p:cNvSpPr>
          <p:nvPr>
            <p:ph type="ftr" sz="quarter" idx="11"/>
          </p:nvPr>
        </p:nvSpPr>
        <p:spPr/>
        <p:txBody>
          <a:bodyPr/>
          <a:lstStyle/>
          <a:p>
            <a:r>
              <a:rPr lang="en-GB"/>
              <a:t>CPS INTRODUCTION – NOVEMBER 2018</a:t>
            </a:r>
            <a:endParaRPr lang="en-GB" dirty="0"/>
          </a:p>
        </p:txBody>
      </p:sp>
      <p:sp>
        <p:nvSpPr>
          <p:cNvPr id="3" name="投影片編號版面配置區 2">
            <a:extLst>
              <a:ext uri="{FF2B5EF4-FFF2-40B4-BE49-F238E27FC236}">
                <a16:creationId xmlns:a16="http://schemas.microsoft.com/office/drawing/2014/main" id="{9D7184CE-3487-28B1-9709-35071441A036}"/>
              </a:ext>
            </a:extLst>
          </p:cNvPr>
          <p:cNvSpPr>
            <a:spLocks noGrp="1"/>
          </p:cNvSpPr>
          <p:nvPr>
            <p:ph type="sldNum" sz="quarter" idx="12"/>
          </p:nvPr>
        </p:nvSpPr>
        <p:spPr/>
        <p:txBody>
          <a:bodyPr/>
          <a:lstStyle/>
          <a:p>
            <a:r>
              <a:rPr lang="en-GB"/>
              <a:t>Slide / </a:t>
            </a:r>
            <a:fld id="{3EA6A558-C4CA-4506-B5EC-E793D5AE9532}" type="slidenum">
              <a:rPr lang="en-GB" smtClean="0"/>
              <a:pPr/>
              <a:t>27</a:t>
            </a:fld>
            <a:endParaRPr lang="en-GB" dirty="0"/>
          </a:p>
        </p:txBody>
      </p:sp>
      <p:sp>
        <p:nvSpPr>
          <p:cNvPr id="4" name="標題 3">
            <a:extLst>
              <a:ext uri="{FF2B5EF4-FFF2-40B4-BE49-F238E27FC236}">
                <a16:creationId xmlns:a16="http://schemas.microsoft.com/office/drawing/2014/main" id="{0E5A8EE3-8A50-C676-7686-A341558FC811}"/>
              </a:ext>
            </a:extLst>
          </p:cNvPr>
          <p:cNvSpPr>
            <a:spLocks noGrp="1"/>
          </p:cNvSpPr>
          <p:nvPr>
            <p:ph type="title"/>
          </p:nvPr>
        </p:nvSpPr>
        <p:spPr/>
        <p:txBody>
          <a:bodyPr/>
          <a:lstStyle/>
          <a:p>
            <a:r>
              <a:rPr lang="zh-TW" altLang="en-US" dirty="0"/>
              <a:t>雜貨部報告組人員</a:t>
            </a:r>
            <a:endParaRPr lang="en-US" altLang="zh-TW" dirty="0"/>
          </a:p>
        </p:txBody>
      </p:sp>
      <p:sp>
        <p:nvSpPr>
          <p:cNvPr id="6" name="文字方塊 5">
            <a:extLst>
              <a:ext uri="{FF2B5EF4-FFF2-40B4-BE49-F238E27FC236}">
                <a16:creationId xmlns:a16="http://schemas.microsoft.com/office/drawing/2014/main" id="{DF8AD22A-A0F8-8411-F0FD-C0E43E309578}"/>
              </a:ext>
            </a:extLst>
          </p:cNvPr>
          <p:cNvSpPr txBox="1"/>
          <p:nvPr/>
        </p:nvSpPr>
        <p:spPr>
          <a:xfrm>
            <a:off x="1271968" y="2055700"/>
            <a:ext cx="8424032" cy="1754326"/>
          </a:xfrm>
          <a:prstGeom prst="rect">
            <a:avLst/>
          </a:prstGeom>
          <a:noFill/>
        </p:spPr>
        <p:txBody>
          <a:bodyPr wrap="square">
            <a:spAutoFit/>
          </a:bodyPr>
          <a:lstStyle/>
          <a:p>
            <a:pPr marL="342900" indent="-342900">
              <a:buFont typeface="+mj-lt"/>
              <a:buAutoNum type="arabicPeriod"/>
            </a:pPr>
            <a:r>
              <a:rPr lang="zh-TW" altLang="en-US" dirty="0"/>
              <a:t>依各廠家的格式要求繕打報告文件並核對繕打內容。</a:t>
            </a:r>
          </a:p>
          <a:p>
            <a:pPr marL="342900" indent="-342900">
              <a:buFont typeface="+mj-lt"/>
              <a:buAutoNum type="arabicPeriod"/>
            </a:pPr>
            <a:r>
              <a:rPr lang="zh-TW" altLang="en-US" dirty="0"/>
              <a:t>須保持報告系統的資料準確性並在備註地方清楚寫下該件的歷史資料。</a:t>
            </a:r>
          </a:p>
          <a:p>
            <a:pPr marL="342900" indent="-342900">
              <a:buFont typeface="+mj-lt"/>
              <a:buAutoNum type="arabicPeriod"/>
            </a:pPr>
            <a:r>
              <a:rPr lang="zh-TW" altLang="en-US" dirty="0"/>
              <a:t>完成其他主管所指派之工作事項。</a:t>
            </a:r>
          </a:p>
          <a:p>
            <a:pPr marL="342900" indent="-342900">
              <a:buFont typeface="+mj-lt"/>
              <a:buAutoNum type="arabicPeriod"/>
            </a:pPr>
            <a:r>
              <a:rPr lang="zh-TW" altLang="en-US" dirty="0"/>
              <a:t>職務上英打為主要使用方式</a:t>
            </a:r>
            <a:endParaRPr lang="en-US" altLang="zh-TW" dirty="0"/>
          </a:p>
          <a:p>
            <a:pPr marL="342900" indent="-342900">
              <a:buFont typeface="+mj-lt"/>
              <a:buAutoNum type="arabicPeriod"/>
            </a:pPr>
            <a:r>
              <a:rPr lang="zh-TW" altLang="en-US" dirty="0"/>
              <a:t>視工作表現，有機會擴展職能接觸工程師測試領域</a:t>
            </a:r>
            <a:endParaRPr lang="en-US" altLang="zh-TW" dirty="0"/>
          </a:p>
          <a:p>
            <a:pPr marL="342900" indent="-342900">
              <a:buFont typeface="+mj-lt"/>
              <a:buAutoNum type="arabicPeriod"/>
            </a:pPr>
            <a:endParaRPr lang="zh-TW" altLang="en-US" dirty="0"/>
          </a:p>
        </p:txBody>
      </p:sp>
      <p:grpSp>
        <p:nvGrpSpPr>
          <p:cNvPr id="7" name="群組 6">
            <a:extLst>
              <a:ext uri="{FF2B5EF4-FFF2-40B4-BE49-F238E27FC236}">
                <a16:creationId xmlns:a16="http://schemas.microsoft.com/office/drawing/2014/main" id="{862D832F-BEF2-B5AC-42D9-3B9AF43352F7}"/>
              </a:ext>
            </a:extLst>
          </p:cNvPr>
          <p:cNvGrpSpPr/>
          <p:nvPr/>
        </p:nvGrpSpPr>
        <p:grpSpPr>
          <a:xfrm>
            <a:off x="1271969" y="1688918"/>
            <a:ext cx="1463303" cy="315582"/>
            <a:chOff x="1970809" y="2947127"/>
            <a:chExt cx="1793156" cy="274117"/>
          </a:xfrm>
        </p:grpSpPr>
        <p:sp>
          <p:nvSpPr>
            <p:cNvPr id="8" name="Freeform 36">
              <a:extLst>
                <a:ext uri="{FF2B5EF4-FFF2-40B4-BE49-F238E27FC236}">
                  <a16:creationId xmlns:a16="http://schemas.microsoft.com/office/drawing/2014/main" id="{77FDBC95-8FB7-2D99-C3AB-F5616C162B82}"/>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a:latin typeface="Arial" pitchFamily="34" charset="0"/>
                <a:cs typeface="Arial" pitchFamily="34" charset="0"/>
              </a:endParaRPr>
            </a:p>
          </p:txBody>
        </p:sp>
        <p:sp>
          <p:nvSpPr>
            <p:cNvPr id="9" name="Text Box 59">
              <a:extLst>
                <a:ext uri="{FF2B5EF4-FFF2-40B4-BE49-F238E27FC236}">
                  <a16:creationId xmlns:a16="http://schemas.microsoft.com/office/drawing/2014/main" id="{455D8E49-C83C-78D6-00F0-B8DCB9CEC8FC}"/>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工作內容</a:t>
              </a:r>
              <a:endParaRPr lang="en-US" sz="1600" b="1" dirty="0">
                <a:solidFill>
                  <a:srgbClr val="FFFFFF"/>
                </a:solidFill>
                <a:latin typeface="Arial" pitchFamily="34" charset="0"/>
                <a:ea typeface="'ArialMT'" pitchFamily="32" charset="0"/>
                <a:cs typeface="Arial" pitchFamily="34" charset="0"/>
              </a:endParaRPr>
            </a:p>
          </p:txBody>
        </p:sp>
      </p:grpSp>
      <p:grpSp>
        <p:nvGrpSpPr>
          <p:cNvPr id="5" name="群組 4">
            <a:extLst>
              <a:ext uri="{FF2B5EF4-FFF2-40B4-BE49-F238E27FC236}">
                <a16:creationId xmlns:a16="http://schemas.microsoft.com/office/drawing/2014/main" id="{FE41FF66-1BDD-26CD-2543-6D65A2BEBF22}"/>
              </a:ext>
            </a:extLst>
          </p:cNvPr>
          <p:cNvGrpSpPr/>
          <p:nvPr/>
        </p:nvGrpSpPr>
        <p:grpSpPr>
          <a:xfrm>
            <a:off x="1271969" y="4027766"/>
            <a:ext cx="1263107" cy="315582"/>
            <a:chOff x="1970809" y="2947127"/>
            <a:chExt cx="1793156" cy="274117"/>
          </a:xfrm>
        </p:grpSpPr>
        <p:sp>
          <p:nvSpPr>
            <p:cNvPr id="10" name="Freeform 36">
              <a:extLst>
                <a:ext uri="{FF2B5EF4-FFF2-40B4-BE49-F238E27FC236}">
                  <a16:creationId xmlns:a16="http://schemas.microsoft.com/office/drawing/2014/main" id="{232E18F4-2EAB-0F89-8A93-B1168A25523F}"/>
                </a:ext>
              </a:extLst>
            </p:cNvPr>
            <p:cNvSpPr>
              <a:spLocks noChangeArrowheads="1"/>
            </p:cNvSpPr>
            <p:nvPr/>
          </p:nvSpPr>
          <p:spPr bwMode="auto">
            <a:xfrm>
              <a:off x="1970809" y="2947127"/>
              <a:ext cx="1793156" cy="274117"/>
            </a:xfrm>
            <a:custGeom>
              <a:avLst/>
              <a:gdLst>
                <a:gd name="T0" fmla="*/ 1803 w 3607"/>
                <a:gd name="T1" fmla="*/ 518 h 519"/>
                <a:gd name="T2" fmla="*/ 0 w 3607"/>
                <a:gd name="T3" fmla="*/ 518 h 519"/>
                <a:gd name="T4" fmla="*/ 0 w 3607"/>
                <a:gd name="T5" fmla="*/ 0 h 519"/>
                <a:gd name="T6" fmla="*/ 3606 w 3607"/>
                <a:gd name="T7" fmla="*/ 0 h 519"/>
                <a:gd name="T8" fmla="*/ 3606 w 3607"/>
                <a:gd name="T9" fmla="*/ 518 h 519"/>
                <a:gd name="T10" fmla="*/ 1803 w 3607"/>
                <a:gd name="T11" fmla="*/ 518 h 519"/>
              </a:gdLst>
              <a:ahLst/>
              <a:cxnLst>
                <a:cxn ang="0">
                  <a:pos x="T0" y="T1"/>
                </a:cxn>
                <a:cxn ang="0">
                  <a:pos x="T2" y="T3"/>
                </a:cxn>
                <a:cxn ang="0">
                  <a:pos x="T4" y="T5"/>
                </a:cxn>
                <a:cxn ang="0">
                  <a:pos x="T6" y="T7"/>
                </a:cxn>
                <a:cxn ang="0">
                  <a:pos x="T8" y="T9"/>
                </a:cxn>
                <a:cxn ang="0">
                  <a:pos x="T10" y="T11"/>
                </a:cxn>
              </a:cxnLst>
              <a:rect l="0" t="0" r="r" b="b"/>
              <a:pathLst>
                <a:path w="3607" h="519">
                  <a:moveTo>
                    <a:pt x="1803" y="518"/>
                  </a:moveTo>
                  <a:lnTo>
                    <a:pt x="0" y="518"/>
                  </a:lnTo>
                  <a:lnTo>
                    <a:pt x="0" y="0"/>
                  </a:lnTo>
                  <a:lnTo>
                    <a:pt x="3606" y="0"/>
                  </a:lnTo>
                  <a:lnTo>
                    <a:pt x="3606" y="518"/>
                  </a:lnTo>
                  <a:lnTo>
                    <a:pt x="1803" y="518"/>
                  </a:lnTo>
                </a:path>
              </a:pathLst>
            </a:custGeom>
            <a:solidFill>
              <a:srgbClr val="BD1839"/>
            </a:solidFill>
            <a:ln>
              <a:noFill/>
            </a:ln>
            <a:effectLst/>
          </p:spPr>
          <p:txBody>
            <a:bodyPr wrap="none" anchor="ctr"/>
            <a:lstStyle/>
            <a:p>
              <a:pPr>
                <a:buNone/>
              </a:pPr>
              <a:endParaRPr lang="ru-RU" sz="2800" dirty="0">
                <a:latin typeface="Arial" pitchFamily="34" charset="0"/>
                <a:cs typeface="Arial" pitchFamily="34" charset="0"/>
              </a:endParaRPr>
            </a:p>
          </p:txBody>
        </p:sp>
        <p:sp>
          <p:nvSpPr>
            <p:cNvPr id="15" name="Text Box 59">
              <a:extLst>
                <a:ext uri="{FF2B5EF4-FFF2-40B4-BE49-F238E27FC236}">
                  <a16:creationId xmlns:a16="http://schemas.microsoft.com/office/drawing/2014/main" id="{BE69146F-AA2E-C03C-FF08-B677CDBE9054}"/>
                </a:ext>
              </a:extLst>
            </p:cNvPr>
            <p:cNvSpPr txBox="1">
              <a:spLocks noChangeAspect="1" noChangeArrowheads="1"/>
            </p:cNvSpPr>
            <p:nvPr/>
          </p:nvSpPr>
          <p:spPr bwMode="auto">
            <a:xfrm>
              <a:off x="2223259" y="2999172"/>
              <a:ext cx="1225399" cy="178907"/>
            </a:xfrm>
            <a:prstGeom prst="rect">
              <a:avLst/>
            </a:prstGeom>
            <a:noFill/>
            <a:ln w="9525">
              <a:noFill/>
              <a:round/>
              <a:headEnd/>
              <a:tailEnd/>
            </a:ln>
          </p:spPr>
          <p:txBody>
            <a:bodyPr lIns="0" tIns="6173" rIns="0" bIns="0" anchor="ctr">
              <a:prstTxWarp prst="textNoShape">
                <a:avLst/>
              </a:prstTxWarp>
            </a:bodyPr>
            <a:lstStyle/>
            <a:p>
              <a:pPr algn="ctr">
                <a:buNone/>
              </a:pPr>
              <a:r>
                <a:rPr lang="zh-TW" altLang="en-US" sz="1600" b="1" dirty="0">
                  <a:solidFill>
                    <a:srgbClr val="FFFFFF"/>
                  </a:solidFill>
                  <a:latin typeface="Arial" pitchFamily="34" charset="0"/>
                  <a:ea typeface="'ArialMT'" pitchFamily="32" charset="0"/>
                  <a:cs typeface="Arial" pitchFamily="34" charset="0"/>
                </a:rPr>
                <a:t>其他</a:t>
              </a:r>
              <a:endParaRPr lang="en-US" sz="1600" b="1" dirty="0">
                <a:solidFill>
                  <a:srgbClr val="FFFFFF"/>
                </a:solidFill>
                <a:latin typeface="Arial" pitchFamily="34" charset="0"/>
                <a:ea typeface="'ArialMT'" pitchFamily="32" charset="0"/>
                <a:cs typeface="Arial" pitchFamily="34" charset="0"/>
              </a:endParaRPr>
            </a:p>
          </p:txBody>
        </p:sp>
      </p:grpSp>
      <p:sp>
        <p:nvSpPr>
          <p:cNvPr id="17" name="文字方塊 16">
            <a:extLst>
              <a:ext uri="{FF2B5EF4-FFF2-40B4-BE49-F238E27FC236}">
                <a16:creationId xmlns:a16="http://schemas.microsoft.com/office/drawing/2014/main" id="{B7CD3B4A-3025-5F06-0AD9-9AFE883139A7}"/>
              </a:ext>
            </a:extLst>
          </p:cNvPr>
          <p:cNvSpPr txBox="1"/>
          <p:nvPr/>
        </p:nvSpPr>
        <p:spPr>
          <a:xfrm>
            <a:off x="1402396" y="4493361"/>
            <a:ext cx="6262436" cy="646331"/>
          </a:xfrm>
          <a:prstGeom prst="rect">
            <a:avLst/>
          </a:prstGeom>
          <a:noFill/>
        </p:spPr>
        <p:txBody>
          <a:bodyPr wrap="square">
            <a:spAutoFit/>
          </a:bodyPr>
          <a:lstStyle/>
          <a:p>
            <a:r>
              <a:rPr lang="zh-TW" altLang="en-US" dirty="0"/>
              <a:t>中文打字</a:t>
            </a:r>
            <a:r>
              <a:rPr lang="en-US" altLang="zh-TW" dirty="0"/>
              <a:t>20~50</a:t>
            </a:r>
          </a:p>
          <a:p>
            <a:r>
              <a:rPr lang="zh-TW" altLang="en-US" dirty="0"/>
              <a:t>英文打字</a:t>
            </a:r>
            <a:r>
              <a:rPr lang="en-US" altLang="zh-TW" dirty="0"/>
              <a:t>20~50</a:t>
            </a:r>
            <a:endParaRPr lang="zh-TW" altLang="en-US" dirty="0"/>
          </a:p>
        </p:txBody>
      </p:sp>
    </p:spTree>
    <p:extLst>
      <p:ext uri="{BB962C8B-B14F-4D97-AF65-F5344CB8AC3E}">
        <p14:creationId xmlns:p14="http://schemas.microsoft.com/office/powerpoint/2010/main" val="27848961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5603DD93-C79D-45B7-9B15-7BC5D1161A69}"/>
              </a:ext>
            </a:extLst>
          </p:cNvPr>
          <p:cNvSpPr txBox="1">
            <a:spLocks/>
          </p:cNvSpPr>
          <p:nvPr/>
        </p:nvSpPr>
        <p:spPr>
          <a:xfrm>
            <a:off x="2496000" y="2714255"/>
            <a:ext cx="7200000" cy="1318090"/>
          </a:xfrm>
          <a:prstGeom prst="rect">
            <a:avLst/>
          </a:prstGeom>
        </p:spPr>
        <p:txBody>
          <a:bodyPr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0" dirty="0">
                <a:solidFill>
                  <a:schemeClr val="accent1"/>
                </a:solidFill>
              </a:rPr>
              <a:t>Thank you</a:t>
            </a:r>
          </a:p>
        </p:txBody>
      </p:sp>
      <p:pic>
        <p:nvPicPr>
          <p:cNvPr id="4" name="Image 5">
            <a:extLst>
              <a:ext uri="{FF2B5EF4-FFF2-40B4-BE49-F238E27FC236}">
                <a16:creationId xmlns:a16="http://schemas.microsoft.com/office/drawing/2014/main" id="{B1501DFB-7386-4005-9C07-2337696746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00664" y="1042816"/>
            <a:ext cx="990672" cy="1226938"/>
          </a:xfrm>
          <a:prstGeom prst="rect">
            <a:avLst/>
          </a:prstGeom>
        </p:spPr>
      </p:pic>
      <p:sp>
        <p:nvSpPr>
          <p:cNvPr id="6" name="Rectangle 14">
            <a:extLst>
              <a:ext uri="{FF2B5EF4-FFF2-40B4-BE49-F238E27FC236}">
                <a16:creationId xmlns:a16="http://schemas.microsoft.com/office/drawing/2014/main" id="{63C0E182-7A18-4864-909C-836E475C9F81}"/>
              </a:ext>
            </a:extLst>
          </p:cNvPr>
          <p:cNvSpPr/>
          <p:nvPr/>
        </p:nvSpPr>
        <p:spPr>
          <a:xfrm>
            <a:off x="5816172" y="4123158"/>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53F7CCAD-C57D-450A-B33B-0EDC36E1A244}"/>
              </a:ext>
            </a:extLst>
          </p:cNvPr>
          <p:cNvSpPr>
            <a:spLocks noGrp="1"/>
          </p:cNvSpPr>
          <p:nvPr>
            <p:ph type="sldNum" sz="quarter" idx="10"/>
          </p:nvPr>
        </p:nvSpPr>
        <p:spPr/>
        <p:txBody>
          <a:bodyPr/>
          <a:lstStyle/>
          <a:p>
            <a:r>
              <a:rPr lang="fr-FR">
                <a:solidFill>
                  <a:prstClr val="white"/>
                </a:solidFill>
              </a:rPr>
              <a:t>Slide / </a:t>
            </a:r>
            <a:fld id="{3EA6A558-C4CA-4506-B5EC-E793D5AE9532}" type="slidenum">
              <a:rPr lang="fr-FR" smtClean="0">
                <a:solidFill>
                  <a:prstClr val="white"/>
                </a:solidFill>
              </a:rPr>
              <a:pPr/>
              <a:t>3</a:t>
            </a:fld>
            <a:endParaRPr lang="fr-FR" dirty="0">
              <a:solidFill>
                <a:prstClr val="white"/>
              </a:solidFill>
            </a:endParaRPr>
          </a:p>
        </p:txBody>
      </p:sp>
      <p:sp>
        <p:nvSpPr>
          <p:cNvPr id="7" name="Rectangle 6">
            <a:extLst>
              <a:ext uri="{FF2B5EF4-FFF2-40B4-BE49-F238E27FC236}">
                <a16:creationId xmlns:a16="http://schemas.microsoft.com/office/drawing/2014/main" id="{1951615C-9750-4E9E-A2AE-1E576F65A2AF}"/>
              </a:ext>
            </a:extLst>
          </p:cNvPr>
          <p:cNvSpPr/>
          <p:nvPr/>
        </p:nvSpPr>
        <p:spPr>
          <a:xfrm>
            <a:off x="2619022" y="1449000"/>
            <a:ext cx="6953956" cy="4690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prstClr val="white"/>
              </a:solidFill>
            </a:endParaRPr>
          </a:p>
        </p:txBody>
      </p:sp>
      <p:sp>
        <p:nvSpPr>
          <p:cNvPr id="15" name="Freeform 9">
            <a:extLst>
              <a:ext uri="{FF2B5EF4-FFF2-40B4-BE49-F238E27FC236}">
                <a16:creationId xmlns:a16="http://schemas.microsoft.com/office/drawing/2014/main" id="{CE2B47B9-D57F-422A-A71A-F2239401890D}"/>
              </a:ext>
            </a:extLst>
          </p:cNvPr>
          <p:cNvSpPr>
            <a:spLocks noEditPoints="1"/>
          </p:cNvSpPr>
          <p:nvPr/>
        </p:nvSpPr>
        <p:spPr bwMode="auto">
          <a:xfrm>
            <a:off x="5794780" y="1629000"/>
            <a:ext cx="602440" cy="895352"/>
          </a:xfrm>
          <a:custGeom>
            <a:avLst/>
            <a:gdLst>
              <a:gd name="T0" fmla="*/ 44 w 281"/>
              <a:gd name="T1" fmla="*/ 306 h 419"/>
              <a:gd name="T2" fmla="*/ 62 w 281"/>
              <a:gd name="T3" fmla="*/ 290 h 419"/>
              <a:gd name="T4" fmla="*/ 85 w 281"/>
              <a:gd name="T5" fmla="*/ 290 h 419"/>
              <a:gd name="T6" fmla="*/ 103 w 281"/>
              <a:gd name="T7" fmla="*/ 306 h 419"/>
              <a:gd name="T8" fmla="*/ 85 w 281"/>
              <a:gd name="T9" fmla="*/ 290 h 419"/>
              <a:gd name="T10" fmla="*/ 141 w 281"/>
              <a:gd name="T11" fmla="*/ 123 h 419"/>
              <a:gd name="T12" fmla="*/ 141 w 281"/>
              <a:gd name="T13" fmla="*/ 119 h 419"/>
              <a:gd name="T14" fmla="*/ 39 w 281"/>
              <a:gd name="T15" fmla="*/ 121 h 419"/>
              <a:gd name="T16" fmla="*/ 246 w 281"/>
              <a:gd name="T17" fmla="*/ 162 h 419"/>
              <a:gd name="T18" fmla="*/ 39 w 281"/>
              <a:gd name="T19" fmla="*/ 164 h 419"/>
              <a:gd name="T20" fmla="*/ 246 w 281"/>
              <a:gd name="T21" fmla="*/ 166 h 419"/>
              <a:gd name="T22" fmla="*/ 246 w 281"/>
              <a:gd name="T23" fmla="*/ 162 h 419"/>
              <a:gd name="T24" fmla="*/ 42 w 281"/>
              <a:gd name="T25" fmla="*/ 205 h 419"/>
              <a:gd name="T26" fmla="*/ 42 w 281"/>
              <a:gd name="T27" fmla="*/ 209 h 419"/>
              <a:gd name="T28" fmla="*/ 243 w 281"/>
              <a:gd name="T29" fmla="*/ 207 h 419"/>
              <a:gd name="T30" fmla="*/ 50 w 281"/>
              <a:gd name="T31" fmla="*/ 252 h 419"/>
              <a:gd name="T32" fmla="*/ 50 w 281"/>
              <a:gd name="T33" fmla="*/ 248 h 419"/>
              <a:gd name="T34" fmla="*/ 39 w 281"/>
              <a:gd name="T35" fmla="*/ 250 h 419"/>
              <a:gd name="T36" fmla="*/ 50 w 281"/>
              <a:gd name="T37" fmla="*/ 252 h 419"/>
              <a:gd name="T38" fmla="*/ 81 w 281"/>
              <a:gd name="T39" fmla="*/ 248 h 419"/>
              <a:gd name="T40" fmla="*/ 64 w 281"/>
              <a:gd name="T41" fmla="*/ 250 h 419"/>
              <a:gd name="T42" fmla="*/ 81 w 281"/>
              <a:gd name="T43" fmla="*/ 252 h 419"/>
              <a:gd name="T44" fmla="*/ 112 w 281"/>
              <a:gd name="T45" fmla="*/ 248 h 419"/>
              <a:gd name="T46" fmla="*/ 94 w 281"/>
              <a:gd name="T47" fmla="*/ 250 h 419"/>
              <a:gd name="T48" fmla="*/ 112 w 281"/>
              <a:gd name="T49" fmla="*/ 252 h 419"/>
              <a:gd name="T50" fmla="*/ 112 w 281"/>
              <a:gd name="T51" fmla="*/ 248 h 419"/>
              <a:gd name="T52" fmla="*/ 127 w 281"/>
              <a:gd name="T53" fmla="*/ 248 h 419"/>
              <a:gd name="T54" fmla="*/ 127 w 281"/>
              <a:gd name="T55" fmla="*/ 252 h 419"/>
              <a:gd name="T56" fmla="*/ 138 w 281"/>
              <a:gd name="T57" fmla="*/ 250 h 419"/>
              <a:gd name="T58" fmla="*/ 279 w 281"/>
              <a:gd name="T59" fmla="*/ 89 h 419"/>
              <a:gd name="T60" fmla="*/ 194 w 281"/>
              <a:gd name="T61" fmla="*/ 3 h 419"/>
              <a:gd name="T62" fmla="*/ 189 w 281"/>
              <a:gd name="T63" fmla="*/ 0 h 419"/>
              <a:gd name="T64" fmla="*/ 0 w 281"/>
              <a:gd name="T65" fmla="*/ 4 h 419"/>
              <a:gd name="T66" fmla="*/ 5 w 281"/>
              <a:gd name="T67" fmla="*/ 351 h 419"/>
              <a:gd name="T68" fmla="*/ 132 w 281"/>
              <a:gd name="T69" fmla="*/ 401 h 419"/>
              <a:gd name="T70" fmla="*/ 168 w 281"/>
              <a:gd name="T71" fmla="*/ 418 h 419"/>
              <a:gd name="T72" fmla="*/ 170 w 281"/>
              <a:gd name="T73" fmla="*/ 418 h 419"/>
              <a:gd name="T74" fmla="*/ 200 w 281"/>
              <a:gd name="T75" fmla="*/ 354 h 419"/>
              <a:gd name="T76" fmla="*/ 231 w 281"/>
              <a:gd name="T77" fmla="*/ 419 h 419"/>
              <a:gd name="T78" fmla="*/ 233 w 281"/>
              <a:gd name="T79" fmla="*/ 419 h 419"/>
              <a:gd name="T80" fmla="*/ 269 w 281"/>
              <a:gd name="T81" fmla="*/ 402 h 419"/>
              <a:gd name="T82" fmla="*/ 276 w 281"/>
              <a:gd name="T83" fmla="*/ 351 h 419"/>
              <a:gd name="T84" fmla="*/ 281 w 281"/>
              <a:gd name="T85" fmla="*/ 92 h 419"/>
              <a:gd name="T86" fmla="*/ 194 w 281"/>
              <a:gd name="T87" fmla="*/ 16 h 419"/>
              <a:gd name="T88" fmla="*/ 194 w 281"/>
              <a:gd name="T89" fmla="*/ 87 h 419"/>
              <a:gd name="T90" fmla="*/ 168 w 281"/>
              <a:gd name="T91" fmla="*/ 413 h 419"/>
              <a:gd name="T92" fmla="*/ 172 w 281"/>
              <a:gd name="T93" fmla="*/ 327 h 419"/>
              <a:gd name="T94" fmla="*/ 200 w 281"/>
              <a:gd name="T95" fmla="*/ 344 h 419"/>
              <a:gd name="T96" fmla="*/ 167 w 281"/>
              <a:gd name="T97" fmla="*/ 286 h 419"/>
              <a:gd name="T98" fmla="*/ 239 w 281"/>
              <a:gd name="T99" fmla="*/ 286 h 419"/>
              <a:gd name="T100" fmla="*/ 167 w 281"/>
              <a:gd name="T101" fmla="*/ 286 h 419"/>
              <a:gd name="T102" fmla="*/ 233 w 281"/>
              <a:gd name="T103" fmla="*/ 414 h 419"/>
              <a:gd name="T104" fmla="*/ 209 w 281"/>
              <a:gd name="T105" fmla="*/ 337 h 419"/>
              <a:gd name="T106" fmla="*/ 230 w 281"/>
              <a:gd name="T107" fmla="*/ 329 h 419"/>
              <a:gd name="T108" fmla="*/ 272 w 281"/>
              <a:gd name="T109" fmla="*/ 343 h 419"/>
              <a:gd name="T110" fmla="*/ 234 w 281"/>
              <a:gd name="T111" fmla="*/ 327 h 419"/>
              <a:gd name="T112" fmla="*/ 203 w 281"/>
              <a:gd name="T113" fmla="*/ 236 h 419"/>
              <a:gd name="T114" fmla="*/ 168 w 281"/>
              <a:gd name="T115" fmla="*/ 324 h 419"/>
              <a:gd name="T116" fmla="*/ 9 w 281"/>
              <a:gd name="T117" fmla="*/ 343 h 419"/>
              <a:gd name="T118" fmla="*/ 187 w 281"/>
              <a:gd name="T119" fmla="*/ 8 h 419"/>
              <a:gd name="T120" fmla="*/ 190 w 281"/>
              <a:gd name="T121" fmla="*/ 89 h 419"/>
              <a:gd name="T122" fmla="*/ 270 w 281"/>
              <a:gd name="T123" fmla="*/ 91 h 419"/>
              <a:gd name="T124" fmla="*/ 272 w 281"/>
              <a:gd name="T125" fmla="*/ 343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 h="419">
                <a:moveTo>
                  <a:pt x="44" y="290"/>
                </a:moveTo>
                <a:cubicBezTo>
                  <a:pt x="39" y="294"/>
                  <a:pt x="39" y="302"/>
                  <a:pt x="44" y="306"/>
                </a:cubicBezTo>
                <a:cubicBezTo>
                  <a:pt x="49" y="311"/>
                  <a:pt x="57" y="311"/>
                  <a:pt x="62" y="306"/>
                </a:cubicBezTo>
                <a:cubicBezTo>
                  <a:pt x="67" y="302"/>
                  <a:pt x="67" y="294"/>
                  <a:pt x="62" y="290"/>
                </a:cubicBezTo>
                <a:cubicBezTo>
                  <a:pt x="57" y="285"/>
                  <a:pt x="49" y="285"/>
                  <a:pt x="44" y="290"/>
                </a:cubicBezTo>
                <a:close/>
                <a:moveTo>
                  <a:pt x="85" y="290"/>
                </a:moveTo>
                <a:cubicBezTo>
                  <a:pt x="80" y="294"/>
                  <a:pt x="80" y="302"/>
                  <a:pt x="85" y="306"/>
                </a:cubicBezTo>
                <a:cubicBezTo>
                  <a:pt x="90" y="311"/>
                  <a:pt x="98" y="311"/>
                  <a:pt x="103" y="306"/>
                </a:cubicBezTo>
                <a:cubicBezTo>
                  <a:pt x="108" y="302"/>
                  <a:pt x="108" y="294"/>
                  <a:pt x="103" y="290"/>
                </a:cubicBezTo>
                <a:cubicBezTo>
                  <a:pt x="98" y="285"/>
                  <a:pt x="90" y="285"/>
                  <a:pt x="85" y="290"/>
                </a:cubicBezTo>
                <a:close/>
                <a:moveTo>
                  <a:pt x="42" y="123"/>
                </a:moveTo>
                <a:cubicBezTo>
                  <a:pt x="141" y="123"/>
                  <a:pt x="141" y="123"/>
                  <a:pt x="141" y="123"/>
                </a:cubicBezTo>
                <a:cubicBezTo>
                  <a:pt x="143" y="123"/>
                  <a:pt x="144" y="122"/>
                  <a:pt x="144" y="121"/>
                </a:cubicBezTo>
                <a:cubicBezTo>
                  <a:pt x="144" y="120"/>
                  <a:pt x="143" y="119"/>
                  <a:pt x="141" y="119"/>
                </a:cubicBezTo>
                <a:cubicBezTo>
                  <a:pt x="42" y="119"/>
                  <a:pt x="42" y="119"/>
                  <a:pt x="42" y="119"/>
                </a:cubicBezTo>
                <a:cubicBezTo>
                  <a:pt x="40" y="119"/>
                  <a:pt x="39" y="120"/>
                  <a:pt x="39" y="121"/>
                </a:cubicBezTo>
                <a:cubicBezTo>
                  <a:pt x="39" y="122"/>
                  <a:pt x="40" y="123"/>
                  <a:pt x="42" y="123"/>
                </a:cubicBezTo>
                <a:close/>
                <a:moveTo>
                  <a:pt x="246" y="162"/>
                </a:moveTo>
                <a:cubicBezTo>
                  <a:pt x="42" y="162"/>
                  <a:pt x="42" y="162"/>
                  <a:pt x="42" y="162"/>
                </a:cubicBezTo>
                <a:cubicBezTo>
                  <a:pt x="40" y="162"/>
                  <a:pt x="39" y="163"/>
                  <a:pt x="39" y="164"/>
                </a:cubicBezTo>
                <a:cubicBezTo>
                  <a:pt x="39" y="165"/>
                  <a:pt x="40" y="166"/>
                  <a:pt x="42" y="166"/>
                </a:cubicBezTo>
                <a:cubicBezTo>
                  <a:pt x="246" y="166"/>
                  <a:pt x="246" y="166"/>
                  <a:pt x="246" y="166"/>
                </a:cubicBezTo>
                <a:cubicBezTo>
                  <a:pt x="247" y="166"/>
                  <a:pt x="248" y="165"/>
                  <a:pt x="248" y="164"/>
                </a:cubicBezTo>
                <a:cubicBezTo>
                  <a:pt x="248" y="163"/>
                  <a:pt x="247" y="162"/>
                  <a:pt x="246" y="162"/>
                </a:cubicBezTo>
                <a:close/>
                <a:moveTo>
                  <a:pt x="241" y="205"/>
                </a:moveTo>
                <a:cubicBezTo>
                  <a:pt x="42" y="205"/>
                  <a:pt x="42" y="205"/>
                  <a:pt x="42" y="205"/>
                </a:cubicBezTo>
                <a:cubicBezTo>
                  <a:pt x="40" y="205"/>
                  <a:pt x="39" y="206"/>
                  <a:pt x="39" y="207"/>
                </a:cubicBezTo>
                <a:cubicBezTo>
                  <a:pt x="39" y="208"/>
                  <a:pt x="40" y="209"/>
                  <a:pt x="42" y="209"/>
                </a:cubicBezTo>
                <a:cubicBezTo>
                  <a:pt x="241" y="209"/>
                  <a:pt x="241" y="209"/>
                  <a:pt x="241" y="209"/>
                </a:cubicBezTo>
                <a:cubicBezTo>
                  <a:pt x="242" y="209"/>
                  <a:pt x="243" y="208"/>
                  <a:pt x="243" y="207"/>
                </a:cubicBezTo>
                <a:cubicBezTo>
                  <a:pt x="243" y="206"/>
                  <a:pt x="242" y="205"/>
                  <a:pt x="241" y="205"/>
                </a:cubicBezTo>
                <a:close/>
                <a:moveTo>
                  <a:pt x="50" y="252"/>
                </a:moveTo>
                <a:cubicBezTo>
                  <a:pt x="52" y="252"/>
                  <a:pt x="53" y="251"/>
                  <a:pt x="53" y="250"/>
                </a:cubicBezTo>
                <a:cubicBezTo>
                  <a:pt x="53" y="249"/>
                  <a:pt x="52" y="248"/>
                  <a:pt x="50" y="248"/>
                </a:cubicBezTo>
                <a:cubicBezTo>
                  <a:pt x="42" y="248"/>
                  <a:pt x="42" y="248"/>
                  <a:pt x="42" y="248"/>
                </a:cubicBezTo>
                <a:cubicBezTo>
                  <a:pt x="40" y="248"/>
                  <a:pt x="39" y="249"/>
                  <a:pt x="39" y="250"/>
                </a:cubicBezTo>
                <a:cubicBezTo>
                  <a:pt x="39" y="251"/>
                  <a:pt x="40" y="252"/>
                  <a:pt x="42" y="252"/>
                </a:cubicBezTo>
                <a:lnTo>
                  <a:pt x="50" y="252"/>
                </a:lnTo>
                <a:close/>
                <a:moveTo>
                  <a:pt x="83" y="250"/>
                </a:moveTo>
                <a:cubicBezTo>
                  <a:pt x="83" y="249"/>
                  <a:pt x="82" y="248"/>
                  <a:pt x="81" y="248"/>
                </a:cubicBezTo>
                <a:cubicBezTo>
                  <a:pt x="66" y="248"/>
                  <a:pt x="66" y="248"/>
                  <a:pt x="66" y="248"/>
                </a:cubicBezTo>
                <a:cubicBezTo>
                  <a:pt x="64" y="248"/>
                  <a:pt x="64" y="249"/>
                  <a:pt x="64" y="250"/>
                </a:cubicBezTo>
                <a:cubicBezTo>
                  <a:pt x="64" y="251"/>
                  <a:pt x="64" y="252"/>
                  <a:pt x="66" y="252"/>
                </a:cubicBezTo>
                <a:cubicBezTo>
                  <a:pt x="81" y="252"/>
                  <a:pt x="81" y="252"/>
                  <a:pt x="81" y="252"/>
                </a:cubicBezTo>
                <a:cubicBezTo>
                  <a:pt x="82" y="252"/>
                  <a:pt x="83" y="251"/>
                  <a:pt x="83" y="250"/>
                </a:cubicBezTo>
                <a:close/>
                <a:moveTo>
                  <a:pt x="112" y="248"/>
                </a:moveTo>
                <a:cubicBezTo>
                  <a:pt x="96" y="248"/>
                  <a:pt x="96" y="248"/>
                  <a:pt x="96" y="248"/>
                </a:cubicBezTo>
                <a:cubicBezTo>
                  <a:pt x="95" y="248"/>
                  <a:pt x="94" y="249"/>
                  <a:pt x="94" y="250"/>
                </a:cubicBezTo>
                <a:cubicBezTo>
                  <a:pt x="94" y="251"/>
                  <a:pt x="95" y="252"/>
                  <a:pt x="96" y="252"/>
                </a:cubicBezTo>
                <a:cubicBezTo>
                  <a:pt x="112" y="252"/>
                  <a:pt x="112" y="252"/>
                  <a:pt x="112" y="252"/>
                </a:cubicBezTo>
                <a:cubicBezTo>
                  <a:pt x="113" y="252"/>
                  <a:pt x="114" y="251"/>
                  <a:pt x="114" y="250"/>
                </a:cubicBezTo>
                <a:cubicBezTo>
                  <a:pt x="114" y="249"/>
                  <a:pt x="113" y="248"/>
                  <a:pt x="112" y="248"/>
                </a:cubicBezTo>
                <a:close/>
                <a:moveTo>
                  <a:pt x="136" y="248"/>
                </a:moveTo>
                <a:cubicBezTo>
                  <a:pt x="127" y="248"/>
                  <a:pt x="127" y="248"/>
                  <a:pt x="127" y="248"/>
                </a:cubicBezTo>
                <a:cubicBezTo>
                  <a:pt x="126" y="248"/>
                  <a:pt x="125" y="249"/>
                  <a:pt x="125" y="250"/>
                </a:cubicBezTo>
                <a:cubicBezTo>
                  <a:pt x="125" y="251"/>
                  <a:pt x="126" y="252"/>
                  <a:pt x="127" y="252"/>
                </a:cubicBezTo>
                <a:cubicBezTo>
                  <a:pt x="136" y="252"/>
                  <a:pt x="136" y="252"/>
                  <a:pt x="136" y="252"/>
                </a:cubicBezTo>
                <a:cubicBezTo>
                  <a:pt x="137" y="252"/>
                  <a:pt x="138" y="251"/>
                  <a:pt x="138" y="250"/>
                </a:cubicBezTo>
                <a:cubicBezTo>
                  <a:pt x="138" y="249"/>
                  <a:pt x="137" y="248"/>
                  <a:pt x="136" y="248"/>
                </a:cubicBezTo>
                <a:close/>
                <a:moveTo>
                  <a:pt x="279" y="89"/>
                </a:moveTo>
                <a:cubicBezTo>
                  <a:pt x="194" y="3"/>
                  <a:pt x="194" y="3"/>
                  <a:pt x="194" y="3"/>
                </a:cubicBezTo>
                <a:cubicBezTo>
                  <a:pt x="194" y="3"/>
                  <a:pt x="194" y="3"/>
                  <a:pt x="194" y="3"/>
                </a:cubicBezTo>
                <a:cubicBezTo>
                  <a:pt x="192" y="1"/>
                  <a:pt x="192" y="1"/>
                  <a:pt x="192" y="1"/>
                </a:cubicBezTo>
                <a:cubicBezTo>
                  <a:pt x="191" y="0"/>
                  <a:pt x="190" y="0"/>
                  <a:pt x="189" y="0"/>
                </a:cubicBezTo>
                <a:cubicBezTo>
                  <a:pt x="5" y="0"/>
                  <a:pt x="5" y="0"/>
                  <a:pt x="5" y="0"/>
                </a:cubicBezTo>
                <a:cubicBezTo>
                  <a:pt x="2" y="0"/>
                  <a:pt x="0" y="2"/>
                  <a:pt x="0" y="4"/>
                </a:cubicBezTo>
                <a:cubicBezTo>
                  <a:pt x="0" y="347"/>
                  <a:pt x="0" y="347"/>
                  <a:pt x="0" y="347"/>
                </a:cubicBezTo>
                <a:cubicBezTo>
                  <a:pt x="0" y="349"/>
                  <a:pt x="2" y="351"/>
                  <a:pt x="5" y="351"/>
                </a:cubicBezTo>
                <a:cubicBezTo>
                  <a:pt x="155" y="351"/>
                  <a:pt x="155" y="351"/>
                  <a:pt x="155" y="351"/>
                </a:cubicBezTo>
                <a:cubicBezTo>
                  <a:pt x="132" y="401"/>
                  <a:pt x="132" y="401"/>
                  <a:pt x="132" y="401"/>
                </a:cubicBezTo>
                <a:cubicBezTo>
                  <a:pt x="132" y="402"/>
                  <a:pt x="132" y="403"/>
                  <a:pt x="133" y="404"/>
                </a:cubicBezTo>
                <a:cubicBezTo>
                  <a:pt x="168" y="418"/>
                  <a:pt x="168" y="418"/>
                  <a:pt x="168" y="418"/>
                </a:cubicBezTo>
                <a:cubicBezTo>
                  <a:pt x="169" y="418"/>
                  <a:pt x="169" y="418"/>
                  <a:pt x="169" y="418"/>
                </a:cubicBezTo>
                <a:cubicBezTo>
                  <a:pt x="170" y="418"/>
                  <a:pt x="170" y="418"/>
                  <a:pt x="170" y="418"/>
                </a:cubicBezTo>
                <a:cubicBezTo>
                  <a:pt x="171" y="417"/>
                  <a:pt x="171" y="417"/>
                  <a:pt x="171" y="417"/>
                </a:cubicBezTo>
                <a:cubicBezTo>
                  <a:pt x="200" y="354"/>
                  <a:pt x="200" y="354"/>
                  <a:pt x="200" y="354"/>
                </a:cubicBezTo>
                <a:cubicBezTo>
                  <a:pt x="230" y="418"/>
                  <a:pt x="230" y="418"/>
                  <a:pt x="230" y="418"/>
                </a:cubicBezTo>
                <a:cubicBezTo>
                  <a:pt x="231" y="419"/>
                  <a:pt x="231" y="419"/>
                  <a:pt x="231" y="419"/>
                </a:cubicBezTo>
                <a:cubicBezTo>
                  <a:pt x="232" y="419"/>
                  <a:pt x="232" y="419"/>
                  <a:pt x="232" y="419"/>
                </a:cubicBezTo>
                <a:cubicBezTo>
                  <a:pt x="233" y="419"/>
                  <a:pt x="233" y="419"/>
                  <a:pt x="233" y="419"/>
                </a:cubicBezTo>
                <a:cubicBezTo>
                  <a:pt x="268" y="405"/>
                  <a:pt x="268" y="405"/>
                  <a:pt x="268" y="405"/>
                </a:cubicBezTo>
                <a:cubicBezTo>
                  <a:pt x="269" y="404"/>
                  <a:pt x="269" y="403"/>
                  <a:pt x="269" y="402"/>
                </a:cubicBezTo>
                <a:cubicBezTo>
                  <a:pt x="245" y="351"/>
                  <a:pt x="245" y="351"/>
                  <a:pt x="245" y="351"/>
                </a:cubicBezTo>
                <a:cubicBezTo>
                  <a:pt x="276" y="351"/>
                  <a:pt x="276" y="351"/>
                  <a:pt x="276" y="351"/>
                </a:cubicBezTo>
                <a:cubicBezTo>
                  <a:pt x="279" y="351"/>
                  <a:pt x="281" y="349"/>
                  <a:pt x="281" y="347"/>
                </a:cubicBezTo>
                <a:cubicBezTo>
                  <a:pt x="281" y="92"/>
                  <a:pt x="281" y="92"/>
                  <a:pt x="281" y="92"/>
                </a:cubicBezTo>
                <a:cubicBezTo>
                  <a:pt x="281" y="91"/>
                  <a:pt x="280" y="90"/>
                  <a:pt x="279" y="89"/>
                </a:cubicBezTo>
                <a:close/>
                <a:moveTo>
                  <a:pt x="194" y="16"/>
                </a:moveTo>
                <a:cubicBezTo>
                  <a:pt x="266" y="87"/>
                  <a:pt x="266" y="87"/>
                  <a:pt x="266" y="87"/>
                </a:cubicBezTo>
                <a:cubicBezTo>
                  <a:pt x="194" y="87"/>
                  <a:pt x="194" y="87"/>
                  <a:pt x="194" y="87"/>
                </a:cubicBezTo>
                <a:lnTo>
                  <a:pt x="194" y="16"/>
                </a:lnTo>
                <a:close/>
                <a:moveTo>
                  <a:pt x="168" y="413"/>
                </a:moveTo>
                <a:cubicBezTo>
                  <a:pt x="137" y="401"/>
                  <a:pt x="137" y="401"/>
                  <a:pt x="137" y="401"/>
                </a:cubicBezTo>
                <a:cubicBezTo>
                  <a:pt x="172" y="327"/>
                  <a:pt x="172" y="327"/>
                  <a:pt x="172" y="327"/>
                </a:cubicBezTo>
                <a:cubicBezTo>
                  <a:pt x="180" y="332"/>
                  <a:pt x="192" y="336"/>
                  <a:pt x="203" y="336"/>
                </a:cubicBezTo>
                <a:cubicBezTo>
                  <a:pt x="200" y="344"/>
                  <a:pt x="200" y="344"/>
                  <a:pt x="200" y="344"/>
                </a:cubicBezTo>
                <a:lnTo>
                  <a:pt x="168" y="413"/>
                </a:lnTo>
                <a:close/>
                <a:moveTo>
                  <a:pt x="167" y="286"/>
                </a:moveTo>
                <a:cubicBezTo>
                  <a:pt x="167" y="268"/>
                  <a:pt x="183" y="253"/>
                  <a:pt x="203" y="253"/>
                </a:cubicBezTo>
                <a:cubicBezTo>
                  <a:pt x="223" y="253"/>
                  <a:pt x="239" y="268"/>
                  <a:pt x="239" y="286"/>
                </a:cubicBezTo>
                <a:cubicBezTo>
                  <a:pt x="239" y="305"/>
                  <a:pt x="223" y="319"/>
                  <a:pt x="203" y="319"/>
                </a:cubicBezTo>
                <a:cubicBezTo>
                  <a:pt x="183" y="319"/>
                  <a:pt x="167" y="305"/>
                  <a:pt x="167" y="286"/>
                </a:cubicBezTo>
                <a:close/>
                <a:moveTo>
                  <a:pt x="264" y="402"/>
                </a:moveTo>
                <a:cubicBezTo>
                  <a:pt x="233" y="414"/>
                  <a:pt x="233" y="414"/>
                  <a:pt x="233" y="414"/>
                </a:cubicBezTo>
                <a:cubicBezTo>
                  <a:pt x="203" y="349"/>
                  <a:pt x="203" y="349"/>
                  <a:pt x="203" y="349"/>
                </a:cubicBezTo>
                <a:cubicBezTo>
                  <a:pt x="209" y="337"/>
                  <a:pt x="209" y="337"/>
                  <a:pt x="209" y="337"/>
                </a:cubicBezTo>
                <a:cubicBezTo>
                  <a:pt x="209" y="336"/>
                  <a:pt x="209" y="336"/>
                  <a:pt x="209" y="336"/>
                </a:cubicBezTo>
                <a:cubicBezTo>
                  <a:pt x="217" y="335"/>
                  <a:pt x="224" y="333"/>
                  <a:pt x="230" y="329"/>
                </a:cubicBezTo>
                <a:lnTo>
                  <a:pt x="264" y="402"/>
                </a:lnTo>
                <a:close/>
                <a:moveTo>
                  <a:pt x="272" y="343"/>
                </a:moveTo>
                <a:cubicBezTo>
                  <a:pt x="241" y="343"/>
                  <a:pt x="241" y="343"/>
                  <a:pt x="241" y="343"/>
                </a:cubicBezTo>
                <a:cubicBezTo>
                  <a:pt x="234" y="327"/>
                  <a:pt x="234" y="327"/>
                  <a:pt x="234" y="327"/>
                </a:cubicBezTo>
                <a:cubicBezTo>
                  <a:pt x="247" y="318"/>
                  <a:pt x="256" y="303"/>
                  <a:pt x="256" y="286"/>
                </a:cubicBezTo>
                <a:cubicBezTo>
                  <a:pt x="256" y="259"/>
                  <a:pt x="232" y="236"/>
                  <a:pt x="203" y="236"/>
                </a:cubicBezTo>
                <a:cubicBezTo>
                  <a:pt x="174" y="236"/>
                  <a:pt x="150" y="259"/>
                  <a:pt x="150" y="286"/>
                </a:cubicBezTo>
                <a:cubicBezTo>
                  <a:pt x="150" y="301"/>
                  <a:pt x="157" y="315"/>
                  <a:pt x="168" y="324"/>
                </a:cubicBezTo>
                <a:cubicBezTo>
                  <a:pt x="159" y="343"/>
                  <a:pt x="159" y="343"/>
                  <a:pt x="159" y="343"/>
                </a:cubicBezTo>
                <a:cubicBezTo>
                  <a:pt x="9" y="343"/>
                  <a:pt x="9" y="343"/>
                  <a:pt x="9" y="343"/>
                </a:cubicBezTo>
                <a:cubicBezTo>
                  <a:pt x="9" y="8"/>
                  <a:pt x="9" y="8"/>
                  <a:pt x="9" y="8"/>
                </a:cubicBezTo>
                <a:cubicBezTo>
                  <a:pt x="187" y="8"/>
                  <a:pt x="187" y="8"/>
                  <a:pt x="187" y="8"/>
                </a:cubicBezTo>
                <a:cubicBezTo>
                  <a:pt x="190" y="11"/>
                  <a:pt x="190" y="11"/>
                  <a:pt x="190" y="11"/>
                </a:cubicBezTo>
                <a:cubicBezTo>
                  <a:pt x="190" y="89"/>
                  <a:pt x="190" y="89"/>
                  <a:pt x="190" y="89"/>
                </a:cubicBezTo>
                <a:cubicBezTo>
                  <a:pt x="190" y="90"/>
                  <a:pt x="191" y="91"/>
                  <a:pt x="192" y="91"/>
                </a:cubicBezTo>
                <a:cubicBezTo>
                  <a:pt x="270" y="91"/>
                  <a:pt x="270" y="91"/>
                  <a:pt x="270" y="91"/>
                </a:cubicBezTo>
                <a:cubicBezTo>
                  <a:pt x="272" y="93"/>
                  <a:pt x="272" y="93"/>
                  <a:pt x="272" y="93"/>
                </a:cubicBezTo>
                <a:lnTo>
                  <a:pt x="272" y="3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23" name="ZoneTexte 22">
            <a:extLst>
              <a:ext uri="{FF2B5EF4-FFF2-40B4-BE49-F238E27FC236}">
                <a16:creationId xmlns:a16="http://schemas.microsoft.com/office/drawing/2014/main" id="{F6B9A587-EA80-4D74-A8D9-58398886FA58}"/>
              </a:ext>
            </a:extLst>
          </p:cNvPr>
          <p:cNvSpPr txBox="1"/>
          <p:nvPr/>
        </p:nvSpPr>
        <p:spPr>
          <a:xfrm>
            <a:off x="2557511" y="2704352"/>
            <a:ext cx="7076978" cy="1738938"/>
          </a:xfrm>
          <a:prstGeom prst="rect">
            <a:avLst/>
          </a:prstGeom>
          <a:noFill/>
        </p:spPr>
        <p:txBody>
          <a:bodyPr wrap="square" rtlCol="0">
            <a:spAutoFit/>
          </a:bodyPr>
          <a:lstStyle/>
          <a:p>
            <a:pPr algn="ctr"/>
            <a:r>
              <a:rPr lang="en-US" b="1" cap="all" dirty="0">
                <a:solidFill>
                  <a:srgbClr val="333333"/>
                </a:solidFill>
              </a:rPr>
              <a:t>A Business to Business to Society company, contributing to transforming the world</a:t>
            </a:r>
            <a:r>
              <a:rPr lang="zh-TW" altLang="en-US" b="1" cap="all" dirty="0">
                <a:solidFill>
                  <a:srgbClr val="333333"/>
                </a:solidFill>
              </a:rPr>
              <a:t> </a:t>
            </a:r>
            <a:r>
              <a:rPr lang="en-US" b="1" cap="all" dirty="0">
                <a:solidFill>
                  <a:srgbClr val="333333"/>
                </a:solidFill>
              </a:rPr>
              <a:t>we live in</a:t>
            </a:r>
          </a:p>
          <a:p>
            <a:pPr algn="ctr"/>
            <a:endParaRPr lang="en-US" altLang="zh-TW" sz="1100" b="1" cap="all" dirty="0">
              <a:solidFill>
                <a:srgbClr val="333333"/>
              </a:solidFill>
            </a:endParaRPr>
          </a:p>
          <a:p>
            <a:pPr algn="ctr"/>
            <a:r>
              <a:rPr lang="zh-TW" altLang="en-US" sz="2000" b="1" cap="all" dirty="0">
                <a:solidFill>
                  <a:srgbClr val="333333"/>
                </a:solidFill>
              </a:rPr>
              <a:t>從企業對企業到影響整個社會環境的商業合作，</a:t>
            </a:r>
            <a:endParaRPr lang="en-US" altLang="zh-TW" sz="2000" b="1" cap="all" dirty="0">
              <a:solidFill>
                <a:srgbClr val="333333"/>
              </a:solidFill>
            </a:endParaRPr>
          </a:p>
          <a:p>
            <a:pPr algn="ctr"/>
            <a:r>
              <a:rPr lang="zh-TW" altLang="en-US" sz="2000" b="1" cap="all" dirty="0">
                <a:solidFill>
                  <a:srgbClr val="333333"/>
                </a:solidFill>
              </a:rPr>
              <a:t>進而對我們所生所長的世界做出貢獻</a:t>
            </a:r>
            <a:endParaRPr lang="en-US" altLang="zh-TW" sz="2000" b="1" cap="all" dirty="0">
              <a:solidFill>
                <a:srgbClr val="333333"/>
              </a:solidFill>
            </a:endParaRPr>
          </a:p>
          <a:p>
            <a:pPr algn="ctr"/>
            <a:endParaRPr lang="en-US" altLang="zh-TW" sz="2000" b="1" cap="all" dirty="0">
              <a:solidFill>
                <a:srgbClr val="333333"/>
              </a:solidFill>
            </a:endParaRPr>
          </a:p>
        </p:txBody>
      </p:sp>
      <p:sp>
        <p:nvSpPr>
          <p:cNvPr id="24" name="Rectangle 23">
            <a:extLst>
              <a:ext uri="{FF2B5EF4-FFF2-40B4-BE49-F238E27FC236}">
                <a16:creationId xmlns:a16="http://schemas.microsoft.com/office/drawing/2014/main" id="{70A0342C-9A27-4DA8-9203-66D6028FFECC}"/>
              </a:ext>
            </a:extLst>
          </p:cNvPr>
          <p:cNvSpPr/>
          <p:nvPr/>
        </p:nvSpPr>
        <p:spPr>
          <a:xfrm>
            <a:off x="3048000" y="4329000"/>
            <a:ext cx="6096000" cy="1477328"/>
          </a:xfrm>
          <a:prstGeom prst="rect">
            <a:avLst/>
          </a:prstGeom>
        </p:spPr>
        <p:txBody>
          <a:bodyPr>
            <a:spAutoFit/>
          </a:bodyPr>
          <a:lstStyle/>
          <a:p>
            <a:pPr algn="ctr">
              <a:defRPr/>
            </a:pPr>
            <a:r>
              <a:rPr lang="fr-FR" sz="1600" dirty="0">
                <a:solidFill>
                  <a:srgbClr val="333333"/>
                </a:solidFill>
              </a:rPr>
              <a:t>Bureau Veritas’ mission </a:t>
            </a:r>
            <a:r>
              <a:rPr lang="fr-FR" sz="1600" dirty="0" err="1">
                <a:solidFill>
                  <a:srgbClr val="333333"/>
                </a:solidFill>
              </a:rPr>
              <a:t>is</a:t>
            </a:r>
            <a:r>
              <a:rPr lang="fr-FR" sz="1600" dirty="0">
                <a:solidFill>
                  <a:srgbClr val="333333"/>
                </a:solidFill>
              </a:rPr>
              <a:t> to </a:t>
            </a:r>
            <a:r>
              <a:rPr lang="fr-FR" sz="1600" dirty="0" err="1">
                <a:solidFill>
                  <a:srgbClr val="333333"/>
                </a:solidFill>
              </a:rPr>
              <a:t>reduce</a:t>
            </a:r>
            <a:r>
              <a:rPr lang="fr-FR" sz="1600" dirty="0">
                <a:solidFill>
                  <a:srgbClr val="333333"/>
                </a:solidFill>
              </a:rPr>
              <a:t> </a:t>
            </a:r>
            <a:r>
              <a:rPr lang="fr-FR" sz="1600" dirty="0" err="1">
                <a:solidFill>
                  <a:srgbClr val="333333"/>
                </a:solidFill>
              </a:rPr>
              <a:t>risk</a:t>
            </a:r>
            <a:r>
              <a:rPr lang="fr-FR" sz="1600" dirty="0">
                <a:solidFill>
                  <a:srgbClr val="333333"/>
                </a:solidFill>
              </a:rPr>
              <a:t>,</a:t>
            </a:r>
            <a:br>
              <a:rPr lang="fr-FR" sz="1600" dirty="0">
                <a:solidFill>
                  <a:srgbClr val="333333"/>
                </a:solidFill>
              </a:rPr>
            </a:br>
            <a:r>
              <a:rPr lang="fr-FR" sz="1600" dirty="0" err="1">
                <a:solidFill>
                  <a:srgbClr val="333333"/>
                </a:solidFill>
              </a:rPr>
              <a:t>improve</a:t>
            </a:r>
            <a:r>
              <a:rPr lang="fr-FR" sz="1600" dirty="0">
                <a:solidFill>
                  <a:srgbClr val="333333"/>
                </a:solidFill>
              </a:rPr>
              <a:t> clients’ performance and help </a:t>
            </a:r>
            <a:r>
              <a:rPr lang="fr-FR" sz="1600" dirty="0" err="1">
                <a:solidFill>
                  <a:srgbClr val="333333"/>
                </a:solidFill>
              </a:rPr>
              <a:t>them</a:t>
            </a:r>
            <a:r>
              <a:rPr lang="fr-FR" sz="1600" dirty="0">
                <a:solidFill>
                  <a:srgbClr val="333333"/>
                </a:solidFill>
              </a:rPr>
              <a:t> to </a:t>
            </a:r>
            <a:r>
              <a:rPr lang="fr-FR" sz="1600" dirty="0" err="1">
                <a:solidFill>
                  <a:srgbClr val="333333"/>
                </a:solidFill>
              </a:rPr>
              <a:t>innovate</a:t>
            </a:r>
            <a:br>
              <a:rPr lang="fr-FR" sz="1600" dirty="0">
                <a:solidFill>
                  <a:srgbClr val="333333"/>
                </a:solidFill>
              </a:rPr>
            </a:br>
            <a:r>
              <a:rPr lang="fr-FR" sz="1600" dirty="0">
                <a:solidFill>
                  <a:srgbClr val="333333"/>
                </a:solidFill>
              </a:rPr>
              <a:t>to </a:t>
            </a:r>
            <a:r>
              <a:rPr lang="fr-FR" sz="1600" dirty="0" err="1">
                <a:solidFill>
                  <a:srgbClr val="333333"/>
                </a:solidFill>
              </a:rPr>
              <a:t>meet</a:t>
            </a:r>
            <a:r>
              <a:rPr lang="fr-FR" sz="1600" dirty="0">
                <a:solidFill>
                  <a:srgbClr val="333333"/>
                </a:solidFill>
              </a:rPr>
              <a:t> </a:t>
            </a:r>
            <a:r>
              <a:rPr lang="fr-FR" sz="1600" dirty="0" err="1">
                <a:solidFill>
                  <a:srgbClr val="333333"/>
                </a:solidFill>
              </a:rPr>
              <a:t>society’s</a:t>
            </a:r>
            <a:r>
              <a:rPr lang="fr-FR" sz="1600" dirty="0">
                <a:solidFill>
                  <a:srgbClr val="333333"/>
                </a:solidFill>
              </a:rPr>
              <a:t> challenges </a:t>
            </a:r>
            <a:r>
              <a:rPr lang="fr-FR" sz="1600" dirty="0" err="1">
                <a:solidFill>
                  <a:srgbClr val="333333"/>
                </a:solidFill>
              </a:rPr>
              <a:t>with</a:t>
            </a:r>
            <a:r>
              <a:rPr lang="fr-FR" sz="1600" dirty="0">
                <a:solidFill>
                  <a:srgbClr val="333333"/>
                </a:solidFill>
              </a:rPr>
              <a:t> confidence</a:t>
            </a:r>
          </a:p>
          <a:p>
            <a:pPr algn="ctr">
              <a:defRPr/>
            </a:pPr>
            <a:endParaRPr lang="fr-FR" sz="1000" dirty="0">
              <a:solidFill>
                <a:srgbClr val="333333"/>
              </a:solidFill>
            </a:endParaRPr>
          </a:p>
          <a:p>
            <a:pPr algn="ctr">
              <a:defRPr/>
            </a:pPr>
            <a:r>
              <a:rPr lang="zh-TW" altLang="en-US" sz="1600" dirty="0">
                <a:solidFill>
                  <a:srgbClr val="333333"/>
                </a:solidFill>
              </a:rPr>
              <a:t>我們的使命是協助客戶降低風險</a:t>
            </a:r>
            <a:r>
              <a:rPr lang="en-US" altLang="zh-TW" sz="1600" dirty="0">
                <a:solidFill>
                  <a:srgbClr val="333333"/>
                </a:solidFill>
              </a:rPr>
              <a:t>,</a:t>
            </a:r>
            <a:r>
              <a:rPr lang="zh-TW" altLang="en-US" sz="1600" dirty="0">
                <a:solidFill>
                  <a:srgbClr val="333333"/>
                </a:solidFill>
              </a:rPr>
              <a:t> 提升客戶的銷售成效</a:t>
            </a:r>
            <a:r>
              <a:rPr lang="en-US" altLang="zh-TW" sz="1600" dirty="0">
                <a:solidFill>
                  <a:srgbClr val="333333"/>
                </a:solidFill>
              </a:rPr>
              <a:t>,</a:t>
            </a:r>
            <a:r>
              <a:rPr lang="zh-TW" altLang="en-US" sz="1600" dirty="0">
                <a:solidFill>
                  <a:srgbClr val="333333"/>
                </a:solidFill>
              </a:rPr>
              <a:t> </a:t>
            </a:r>
            <a:endParaRPr lang="en-US" altLang="zh-TW" sz="1600" dirty="0">
              <a:solidFill>
                <a:srgbClr val="333333"/>
              </a:solidFill>
            </a:endParaRPr>
          </a:p>
          <a:p>
            <a:pPr algn="ctr">
              <a:defRPr/>
            </a:pPr>
            <a:r>
              <a:rPr lang="zh-TW" altLang="en-US" sz="1600" dirty="0">
                <a:solidFill>
                  <a:srgbClr val="333333"/>
                </a:solidFill>
              </a:rPr>
              <a:t>並幫助他們創新，信心十足的迎接來自社會環境的挑戰</a:t>
            </a:r>
            <a:endParaRPr lang="fr-FR" sz="1600" dirty="0">
              <a:solidFill>
                <a:srgbClr val="333333"/>
              </a:solidFill>
            </a:endParaRPr>
          </a:p>
        </p:txBody>
      </p:sp>
      <p:sp>
        <p:nvSpPr>
          <p:cNvPr id="25" name="Rectangle 24">
            <a:extLst>
              <a:ext uri="{FF2B5EF4-FFF2-40B4-BE49-F238E27FC236}">
                <a16:creationId xmlns:a16="http://schemas.microsoft.com/office/drawing/2014/main" id="{83B744DC-7EED-458D-9219-EE8C2B004ABB}"/>
              </a:ext>
            </a:extLst>
          </p:cNvPr>
          <p:cNvSpPr/>
          <p:nvPr/>
        </p:nvSpPr>
        <p:spPr>
          <a:xfrm>
            <a:off x="5816172" y="41490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Titre 3">
            <a:extLst>
              <a:ext uri="{FF2B5EF4-FFF2-40B4-BE49-F238E27FC236}">
                <a16:creationId xmlns:a16="http://schemas.microsoft.com/office/drawing/2014/main" id="{F17B8422-4441-4C04-9A22-84160ABD1172}"/>
              </a:ext>
            </a:extLst>
          </p:cNvPr>
          <p:cNvSpPr txBox="1">
            <a:spLocks/>
          </p:cNvSpPr>
          <p:nvPr/>
        </p:nvSpPr>
        <p:spPr>
          <a:xfrm>
            <a:off x="336000" y="244005"/>
            <a:ext cx="11520000" cy="1384995"/>
          </a:xfrm>
          <a:prstGeom prst="rect">
            <a:avLst/>
          </a:prstGeom>
        </p:spPr>
        <p:txBody>
          <a:bodyPr/>
          <a:lstStyle>
            <a:lvl1pPr algn="l" defTabSz="914400" rtl="0" eaLnBrk="1" latinLnBrk="0" hangingPunct="1">
              <a:lnSpc>
                <a:spcPct val="90000"/>
              </a:lnSpc>
              <a:spcBef>
                <a:spcPct val="0"/>
              </a:spcBef>
              <a:buNone/>
              <a:defRPr sz="2800" b="1" kern="1200" cap="all" baseline="0">
                <a:solidFill>
                  <a:schemeClr val="tx1"/>
                </a:solidFill>
                <a:latin typeface="+mj-lt"/>
                <a:ea typeface="+mj-ea"/>
                <a:cs typeface="+mj-cs"/>
              </a:defRPr>
            </a:lvl1pPr>
          </a:lstStyle>
          <a:p>
            <a:pPr algn="ctr"/>
            <a:r>
              <a:rPr lang="en-US" sz="4000" dirty="0">
                <a:solidFill>
                  <a:srgbClr val="CC023B"/>
                </a:solidFill>
                <a:latin typeface="Microsoft JhengHei UI" panose="020B0604030504040204" pitchFamily="34" charset="-120"/>
                <a:ea typeface="Microsoft JhengHei UI" panose="020B0604030504040204" pitchFamily="34" charset="-120"/>
              </a:rPr>
              <a:t>SHAPING A WORLD OF TRUST</a:t>
            </a:r>
            <a:endParaRPr lang="fr-FR" sz="4000" dirty="0">
              <a:solidFill>
                <a:srgbClr val="CC023B"/>
              </a:solidFill>
              <a:latin typeface="Microsoft JhengHei UI" panose="020B0604030504040204" pitchFamily="34" charset="-120"/>
              <a:ea typeface="Microsoft JhengHei UI" panose="020B0604030504040204" pitchFamily="34" charset="-120"/>
            </a:endParaRPr>
          </a:p>
          <a:p>
            <a:pPr algn="ctr"/>
            <a:r>
              <a:rPr lang="zh-CN" altLang="en-US" sz="3600" dirty="0">
                <a:solidFill>
                  <a:srgbClr val="CC023B"/>
                </a:solidFill>
                <a:latin typeface="Microsoft JhengHei UI" panose="020B0604030504040204" pitchFamily="34" charset="-120"/>
                <a:ea typeface="Microsoft JhengHei UI" panose="020B0604030504040204" pitchFamily="34" charset="-120"/>
              </a:rPr>
              <a:t>塑造一个信任的世界</a:t>
            </a:r>
          </a:p>
          <a:p>
            <a:pPr algn="ctr"/>
            <a:endParaRPr lang="fr-FR" sz="4800" dirty="0">
              <a:solidFill>
                <a:srgbClr val="CC023B"/>
              </a:solidFill>
              <a:latin typeface="Microsoft JhengHei UI" panose="020B0604030504040204" pitchFamily="34" charset="-120"/>
              <a:ea typeface="Microsoft JhengHei UI" panose="020B0604030504040204" pitchFamily="34" charset="-120"/>
            </a:endParaRPr>
          </a:p>
        </p:txBody>
      </p:sp>
    </p:spTree>
    <p:extLst>
      <p:ext uri="{BB962C8B-B14F-4D97-AF65-F5344CB8AC3E}">
        <p14:creationId xmlns:p14="http://schemas.microsoft.com/office/powerpoint/2010/main" val="1996469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5F9C0411-4698-4523-861F-5B0062C69DAA}"/>
              </a:ext>
            </a:extLst>
          </p:cNvPr>
          <p:cNvSpPr/>
          <p:nvPr/>
        </p:nvSpPr>
        <p:spPr>
          <a:xfrm>
            <a:off x="12484" y="24361"/>
            <a:ext cx="12192000" cy="6858000"/>
          </a:xfrm>
          <a:prstGeom prst="rect">
            <a:avLst/>
          </a:prstGeom>
          <a:solidFill>
            <a:schemeClr val="bg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prstClr val="white"/>
              </a:solidFill>
            </a:endParaRPr>
          </a:p>
        </p:txBody>
      </p:sp>
      <p:sp>
        <p:nvSpPr>
          <p:cNvPr id="32" name="Arc 31">
            <a:extLst>
              <a:ext uri="{FF2B5EF4-FFF2-40B4-BE49-F238E27FC236}">
                <a16:creationId xmlns:a16="http://schemas.microsoft.com/office/drawing/2014/main" id="{416C31A8-01D5-456B-BBB2-59AB7688C4E5}"/>
              </a:ext>
            </a:extLst>
          </p:cNvPr>
          <p:cNvSpPr/>
          <p:nvPr/>
        </p:nvSpPr>
        <p:spPr>
          <a:xfrm>
            <a:off x="3771900" y="4533900"/>
            <a:ext cx="4648200" cy="4648200"/>
          </a:xfrm>
          <a:prstGeom prst="arc">
            <a:avLst>
              <a:gd name="adj1" fmla="val 11625753"/>
              <a:gd name="adj2" fmla="val 13647451"/>
            </a:avLst>
          </a:prstGeom>
          <a:ln w="35560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333333"/>
              </a:solidFill>
            </a:endParaRPr>
          </a:p>
        </p:txBody>
      </p:sp>
      <p:sp>
        <p:nvSpPr>
          <p:cNvPr id="27" name="ZoneTexte 26">
            <a:extLst>
              <a:ext uri="{FF2B5EF4-FFF2-40B4-BE49-F238E27FC236}">
                <a16:creationId xmlns:a16="http://schemas.microsoft.com/office/drawing/2014/main" id="{442642EB-B1CF-402A-A9D5-38B48E964850}"/>
              </a:ext>
            </a:extLst>
          </p:cNvPr>
          <p:cNvSpPr txBox="1"/>
          <p:nvPr/>
        </p:nvSpPr>
        <p:spPr>
          <a:xfrm>
            <a:off x="3810000" y="4572000"/>
            <a:ext cx="4572000" cy="4572000"/>
          </a:xfrm>
          <a:prstGeom prst="rect">
            <a:avLst/>
          </a:prstGeom>
          <a:noFill/>
        </p:spPr>
        <p:txBody>
          <a:bodyPr wrap="none" lIns="0" tIns="0" rIns="0" bIns="0" rtlCol="0">
            <a:prstTxWarp prst="textArchUp">
              <a:avLst>
                <a:gd name="adj" fmla="val 11816008"/>
              </a:avLst>
            </a:prstTxWarp>
            <a:spAutoFit/>
          </a:bodyPr>
          <a:lstStyle/>
          <a:p>
            <a:r>
              <a:rPr lang="fr-FR" sz="1600" dirty="0">
                <a:solidFill>
                  <a:prstClr val="white"/>
                </a:solidFill>
              </a:rPr>
              <a:t>EXPERTISE</a:t>
            </a:r>
          </a:p>
        </p:txBody>
      </p:sp>
      <p:grpSp>
        <p:nvGrpSpPr>
          <p:cNvPr id="8" name="Groupe 7">
            <a:extLst>
              <a:ext uri="{FF2B5EF4-FFF2-40B4-BE49-F238E27FC236}">
                <a16:creationId xmlns:a16="http://schemas.microsoft.com/office/drawing/2014/main" id="{1B965E75-8DCA-4090-95D6-84653347E946}"/>
              </a:ext>
            </a:extLst>
          </p:cNvPr>
          <p:cNvGrpSpPr/>
          <p:nvPr/>
        </p:nvGrpSpPr>
        <p:grpSpPr>
          <a:xfrm rot="1002215">
            <a:off x="3450117" y="4212117"/>
            <a:ext cx="5291766" cy="5291766"/>
            <a:chOff x="3581400" y="4343400"/>
            <a:chExt cx="5029200" cy="5029200"/>
          </a:xfrm>
        </p:grpSpPr>
        <p:sp>
          <p:nvSpPr>
            <p:cNvPr id="33" name="Arc 32">
              <a:extLst>
                <a:ext uri="{FF2B5EF4-FFF2-40B4-BE49-F238E27FC236}">
                  <a16:creationId xmlns:a16="http://schemas.microsoft.com/office/drawing/2014/main" id="{C858B0D2-3205-4DCA-B5D6-2043450F1E05}"/>
                </a:ext>
              </a:extLst>
            </p:cNvPr>
            <p:cNvSpPr/>
            <p:nvPr/>
          </p:nvSpPr>
          <p:spPr>
            <a:xfrm>
              <a:off x="3581400" y="4343400"/>
              <a:ext cx="5029200" cy="5029200"/>
            </a:xfrm>
            <a:prstGeom prst="arc">
              <a:avLst>
                <a:gd name="adj1" fmla="val 15175803"/>
                <a:gd name="adj2" fmla="val 17241945"/>
              </a:avLst>
            </a:prstGeom>
            <a:ln w="3556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333333"/>
                </a:solidFill>
              </a:endParaRPr>
            </a:p>
          </p:txBody>
        </p:sp>
        <p:sp>
          <p:nvSpPr>
            <p:cNvPr id="28" name="ZoneTexte 27">
              <a:extLst>
                <a:ext uri="{FF2B5EF4-FFF2-40B4-BE49-F238E27FC236}">
                  <a16:creationId xmlns:a16="http://schemas.microsoft.com/office/drawing/2014/main" id="{106729E9-DC53-48F6-9250-0E468B8793A8}"/>
                </a:ext>
              </a:extLst>
            </p:cNvPr>
            <p:cNvSpPr txBox="1"/>
            <p:nvPr/>
          </p:nvSpPr>
          <p:spPr>
            <a:xfrm>
              <a:off x="3625851" y="4387852"/>
              <a:ext cx="4940300" cy="4940300"/>
            </a:xfrm>
            <a:prstGeom prst="rect">
              <a:avLst/>
            </a:prstGeom>
            <a:noFill/>
          </p:spPr>
          <p:txBody>
            <a:bodyPr wrap="none" lIns="0" tIns="0" rIns="0" bIns="0" rtlCol="0">
              <a:prstTxWarp prst="textArchUp">
                <a:avLst>
                  <a:gd name="adj" fmla="val 15030881"/>
                </a:avLst>
              </a:prstTxWarp>
              <a:spAutoFit/>
            </a:bodyPr>
            <a:lstStyle/>
            <a:p>
              <a:pPr algn="ctr"/>
              <a:r>
                <a:rPr lang="fr-FR" sz="1600" dirty="0">
                  <a:solidFill>
                    <a:prstClr val="white"/>
                  </a:solidFill>
                </a:rPr>
                <a:t>IMPARTIALITY</a:t>
              </a:r>
            </a:p>
          </p:txBody>
        </p:sp>
        <p:sp>
          <p:nvSpPr>
            <p:cNvPr id="26" name="Arc 25">
              <a:extLst>
                <a:ext uri="{FF2B5EF4-FFF2-40B4-BE49-F238E27FC236}">
                  <a16:creationId xmlns:a16="http://schemas.microsoft.com/office/drawing/2014/main" id="{419A61DD-3168-4C15-B8A5-4C39F4EDECFC}"/>
                </a:ext>
              </a:extLst>
            </p:cNvPr>
            <p:cNvSpPr/>
            <p:nvPr/>
          </p:nvSpPr>
          <p:spPr>
            <a:xfrm>
              <a:off x="3771900" y="4533900"/>
              <a:ext cx="4648200" cy="4648200"/>
            </a:xfrm>
            <a:prstGeom prst="arc">
              <a:avLst>
                <a:gd name="adj1" fmla="val 13788583"/>
                <a:gd name="adj2" fmla="val 17948432"/>
              </a:avLst>
            </a:prstGeom>
            <a:ln w="6985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333333"/>
                </a:solidFill>
              </a:endParaRPr>
            </a:p>
          </p:txBody>
        </p:sp>
      </p:grpSp>
      <p:sp>
        <p:nvSpPr>
          <p:cNvPr id="34" name="Arc 33">
            <a:extLst>
              <a:ext uri="{FF2B5EF4-FFF2-40B4-BE49-F238E27FC236}">
                <a16:creationId xmlns:a16="http://schemas.microsoft.com/office/drawing/2014/main" id="{A06FEC56-6212-4434-9555-5750F7A7B3B6}"/>
              </a:ext>
            </a:extLst>
          </p:cNvPr>
          <p:cNvSpPr/>
          <p:nvPr/>
        </p:nvSpPr>
        <p:spPr>
          <a:xfrm>
            <a:off x="3943350" y="4705350"/>
            <a:ext cx="4305300" cy="4305300"/>
          </a:xfrm>
          <a:prstGeom prst="arc">
            <a:avLst>
              <a:gd name="adj1" fmla="val 18785681"/>
              <a:gd name="adj2" fmla="val 20840548"/>
            </a:avLst>
          </a:prstGeom>
          <a:ln w="3556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333333"/>
              </a:solidFill>
            </a:endParaRPr>
          </a:p>
        </p:txBody>
      </p:sp>
      <p:sp>
        <p:nvSpPr>
          <p:cNvPr id="29" name="ZoneTexte 28">
            <a:extLst>
              <a:ext uri="{FF2B5EF4-FFF2-40B4-BE49-F238E27FC236}">
                <a16:creationId xmlns:a16="http://schemas.microsoft.com/office/drawing/2014/main" id="{1FD46F8B-6EFB-4E98-8F3C-95B580976696}"/>
              </a:ext>
            </a:extLst>
          </p:cNvPr>
          <p:cNvSpPr txBox="1"/>
          <p:nvPr/>
        </p:nvSpPr>
        <p:spPr>
          <a:xfrm rot="3648837">
            <a:off x="3975221" y="4737221"/>
            <a:ext cx="4241558" cy="4241558"/>
          </a:xfrm>
          <a:prstGeom prst="rect">
            <a:avLst/>
          </a:prstGeom>
          <a:noFill/>
        </p:spPr>
        <p:txBody>
          <a:bodyPr wrap="none" lIns="0" tIns="0" rIns="0" bIns="0" rtlCol="0">
            <a:prstTxWarp prst="textArchUp">
              <a:avLst>
                <a:gd name="adj" fmla="val 15235135"/>
              </a:avLst>
            </a:prstTxWarp>
            <a:spAutoFit/>
          </a:bodyPr>
          <a:lstStyle/>
          <a:p>
            <a:pPr algn="ctr"/>
            <a:r>
              <a:rPr lang="fr-FR" sz="1600" dirty="0">
                <a:solidFill>
                  <a:prstClr val="white"/>
                </a:solidFill>
              </a:rPr>
              <a:t>INTEGRITY</a:t>
            </a:r>
          </a:p>
        </p:txBody>
      </p:sp>
      <p:sp>
        <p:nvSpPr>
          <p:cNvPr id="4" name="Titre 3">
            <a:extLst>
              <a:ext uri="{FF2B5EF4-FFF2-40B4-BE49-F238E27FC236}">
                <a16:creationId xmlns:a16="http://schemas.microsoft.com/office/drawing/2014/main" id="{F17B8422-4441-4C04-9A22-84160ABD1172}"/>
              </a:ext>
            </a:extLst>
          </p:cNvPr>
          <p:cNvSpPr>
            <a:spLocks noGrp="1"/>
          </p:cNvSpPr>
          <p:nvPr>
            <p:ph type="title"/>
          </p:nvPr>
        </p:nvSpPr>
        <p:spPr>
          <a:xfrm>
            <a:off x="336000" y="189000"/>
            <a:ext cx="11520000" cy="1357295"/>
          </a:xfrm>
        </p:spPr>
        <p:txBody>
          <a:bodyPr/>
          <a:lstStyle/>
          <a:p>
            <a:r>
              <a:rPr lang="en-US" dirty="0"/>
              <a:t>A leader</a:t>
            </a:r>
            <a:br>
              <a:rPr lang="en-US" dirty="0"/>
            </a:br>
            <a:r>
              <a:rPr lang="en-US" dirty="0">
                <a:solidFill>
                  <a:schemeClr val="tx1"/>
                </a:solidFill>
              </a:rPr>
              <a:t>of the TEST, INSPECTION and CERTIFICATION market</a:t>
            </a:r>
            <a:br>
              <a:rPr lang="en-US" dirty="0">
                <a:solidFill>
                  <a:schemeClr val="tx1"/>
                </a:solidFill>
              </a:rPr>
            </a:br>
            <a:r>
              <a:rPr lang="zh-TW" altLang="en-US" sz="1400" dirty="0">
                <a:solidFill>
                  <a:schemeClr val="tx1"/>
                </a:solidFill>
              </a:rPr>
              <a:t> </a:t>
            </a:r>
            <a:br>
              <a:rPr lang="en-US" altLang="zh-TW" dirty="0">
                <a:solidFill>
                  <a:schemeClr val="tx1"/>
                </a:solidFill>
              </a:rPr>
            </a:br>
            <a:r>
              <a:rPr lang="zh-TW" altLang="en-US" dirty="0">
                <a:solidFill>
                  <a:schemeClr val="tx1"/>
                </a:solidFill>
              </a:rPr>
              <a:t>檢驗測試、稽核、認證產業的領導者</a:t>
            </a:r>
            <a:endParaRPr lang="fr-FR" sz="4000" dirty="0">
              <a:solidFill>
                <a:schemeClr val="tx1"/>
              </a:solidFill>
            </a:endParaRPr>
          </a:p>
        </p:txBody>
      </p:sp>
      <p:sp>
        <p:nvSpPr>
          <p:cNvPr id="3" name="Espace réservé du numéro de diapositive 2">
            <a:extLst>
              <a:ext uri="{FF2B5EF4-FFF2-40B4-BE49-F238E27FC236}">
                <a16:creationId xmlns:a16="http://schemas.microsoft.com/office/drawing/2014/main" id="{1C5D7BEA-65B2-40F8-A896-FB12FA92ACDE}"/>
              </a:ext>
            </a:extLst>
          </p:cNvPr>
          <p:cNvSpPr>
            <a:spLocks noGrp="1"/>
          </p:cNvSpPr>
          <p:nvPr>
            <p:ph type="sldNum" sz="quarter" idx="10"/>
          </p:nvPr>
        </p:nvSpPr>
        <p:spPr/>
        <p:txBody>
          <a:bodyPr/>
          <a:lstStyle/>
          <a:p>
            <a:r>
              <a:rPr lang="fr-FR" dirty="0">
                <a:solidFill>
                  <a:srgbClr val="333333">
                    <a:tint val="75000"/>
                  </a:srgbClr>
                </a:solidFill>
              </a:rPr>
              <a:t>Slide / </a:t>
            </a:r>
            <a:fld id="{3EA6A558-C4CA-4506-B5EC-E793D5AE9532}" type="slidenum">
              <a:rPr lang="fr-FR" smtClean="0">
                <a:solidFill>
                  <a:srgbClr val="333333">
                    <a:tint val="75000"/>
                  </a:srgbClr>
                </a:solidFill>
              </a:rPr>
              <a:pPr/>
              <a:t>4</a:t>
            </a:fld>
            <a:endParaRPr lang="fr-FR" dirty="0">
              <a:solidFill>
                <a:srgbClr val="333333">
                  <a:tint val="75000"/>
                </a:srgbClr>
              </a:solidFill>
            </a:endParaRPr>
          </a:p>
        </p:txBody>
      </p:sp>
      <p:sp>
        <p:nvSpPr>
          <p:cNvPr id="5" name="Rectangle 4">
            <a:extLst>
              <a:ext uri="{FF2B5EF4-FFF2-40B4-BE49-F238E27FC236}">
                <a16:creationId xmlns:a16="http://schemas.microsoft.com/office/drawing/2014/main" id="{63109434-EA2B-45E7-8BD3-3D9449E32CC4}"/>
              </a:ext>
            </a:extLst>
          </p:cNvPr>
          <p:cNvSpPr/>
          <p:nvPr/>
        </p:nvSpPr>
        <p:spPr>
          <a:xfrm>
            <a:off x="5794312" y="16290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ZoneTexte 8">
            <a:extLst>
              <a:ext uri="{FF2B5EF4-FFF2-40B4-BE49-F238E27FC236}">
                <a16:creationId xmlns:a16="http://schemas.microsoft.com/office/drawing/2014/main" id="{443506B3-5A66-40A4-9FD1-1E58AC3795EC}"/>
              </a:ext>
            </a:extLst>
          </p:cNvPr>
          <p:cNvSpPr txBox="1"/>
          <p:nvPr/>
        </p:nvSpPr>
        <p:spPr>
          <a:xfrm>
            <a:off x="257571" y="4677743"/>
            <a:ext cx="1172117" cy="646331"/>
          </a:xfrm>
          <a:prstGeom prst="rect">
            <a:avLst/>
          </a:prstGeom>
          <a:noFill/>
        </p:spPr>
        <p:txBody>
          <a:bodyPr wrap="none" rtlCol="0">
            <a:spAutoFit/>
          </a:bodyPr>
          <a:lstStyle/>
          <a:p>
            <a:pPr algn="r"/>
            <a:r>
              <a:rPr lang="fr-FR" b="1" dirty="0">
                <a:solidFill>
                  <a:srgbClr val="CC023B"/>
                </a:solidFill>
              </a:rPr>
              <a:t>MARKET</a:t>
            </a:r>
            <a:br>
              <a:rPr lang="fr-FR" dirty="0">
                <a:solidFill>
                  <a:prstClr val="white"/>
                </a:solidFill>
              </a:rPr>
            </a:br>
            <a:r>
              <a:rPr lang="fr-FR" dirty="0" err="1">
                <a:solidFill>
                  <a:srgbClr val="333333"/>
                </a:solidFill>
              </a:rPr>
              <a:t>access</a:t>
            </a:r>
            <a:endParaRPr lang="fr-FR" dirty="0">
              <a:solidFill>
                <a:srgbClr val="333333"/>
              </a:solidFill>
            </a:endParaRPr>
          </a:p>
        </p:txBody>
      </p:sp>
      <p:sp>
        <p:nvSpPr>
          <p:cNvPr id="10" name="ZoneTexte 9">
            <a:extLst>
              <a:ext uri="{FF2B5EF4-FFF2-40B4-BE49-F238E27FC236}">
                <a16:creationId xmlns:a16="http://schemas.microsoft.com/office/drawing/2014/main" id="{51C6B962-931E-4080-BCDA-0E5BCD287A3E}"/>
              </a:ext>
            </a:extLst>
          </p:cNvPr>
          <p:cNvSpPr txBox="1"/>
          <p:nvPr/>
        </p:nvSpPr>
        <p:spPr>
          <a:xfrm>
            <a:off x="945077" y="3233387"/>
            <a:ext cx="1531188" cy="646331"/>
          </a:xfrm>
          <a:prstGeom prst="rect">
            <a:avLst/>
          </a:prstGeom>
          <a:noFill/>
        </p:spPr>
        <p:txBody>
          <a:bodyPr wrap="none" rtlCol="0">
            <a:spAutoFit/>
          </a:bodyPr>
          <a:lstStyle/>
          <a:p>
            <a:pPr algn="r"/>
            <a:r>
              <a:rPr lang="fr-FR" b="1" dirty="0">
                <a:solidFill>
                  <a:srgbClr val="CC023B"/>
                </a:solidFill>
              </a:rPr>
              <a:t>SAFETY </a:t>
            </a:r>
            <a:br>
              <a:rPr lang="fr-FR" dirty="0">
                <a:solidFill>
                  <a:prstClr val="white"/>
                </a:solidFill>
              </a:rPr>
            </a:br>
            <a:r>
              <a:rPr lang="fr-FR" dirty="0">
                <a:solidFill>
                  <a:srgbClr val="333333"/>
                </a:solidFill>
              </a:rPr>
              <a:t>and </a:t>
            </a:r>
            <a:r>
              <a:rPr lang="fr-FR" dirty="0" err="1">
                <a:solidFill>
                  <a:srgbClr val="333333"/>
                </a:solidFill>
              </a:rPr>
              <a:t>reliability</a:t>
            </a:r>
            <a:endParaRPr lang="fr-FR" dirty="0">
              <a:solidFill>
                <a:srgbClr val="333333"/>
              </a:solidFill>
            </a:endParaRPr>
          </a:p>
        </p:txBody>
      </p:sp>
      <p:sp>
        <p:nvSpPr>
          <p:cNvPr id="11" name="ZoneTexte 10">
            <a:extLst>
              <a:ext uri="{FF2B5EF4-FFF2-40B4-BE49-F238E27FC236}">
                <a16:creationId xmlns:a16="http://schemas.microsoft.com/office/drawing/2014/main" id="{D20D3A1B-FA58-4AB4-9071-2D12C80DA2CC}"/>
              </a:ext>
            </a:extLst>
          </p:cNvPr>
          <p:cNvSpPr txBox="1"/>
          <p:nvPr/>
        </p:nvSpPr>
        <p:spPr>
          <a:xfrm>
            <a:off x="3700956" y="2056085"/>
            <a:ext cx="877163" cy="646331"/>
          </a:xfrm>
          <a:prstGeom prst="rect">
            <a:avLst/>
          </a:prstGeom>
          <a:noFill/>
        </p:spPr>
        <p:txBody>
          <a:bodyPr wrap="none" rtlCol="0">
            <a:spAutoFit/>
          </a:bodyPr>
          <a:lstStyle/>
          <a:p>
            <a:pPr algn="r"/>
            <a:r>
              <a:rPr lang="fr-FR" b="1" dirty="0">
                <a:solidFill>
                  <a:srgbClr val="CC023B"/>
                </a:solidFill>
              </a:rPr>
              <a:t>COST</a:t>
            </a:r>
            <a:br>
              <a:rPr lang="fr-FR" dirty="0">
                <a:solidFill>
                  <a:srgbClr val="F6C274"/>
                </a:solidFill>
              </a:rPr>
            </a:br>
            <a:r>
              <a:rPr lang="fr-FR" dirty="0">
                <a:solidFill>
                  <a:srgbClr val="333333"/>
                </a:solidFill>
              </a:rPr>
              <a:t>control</a:t>
            </a:r>
          </a:p>
        </p:txBody>
      </p:sp>
      <p:sp>
        <p:nvSpPr>
          <p:cNvPr id="12" name="ZoneTexte 11">
            <a:extLst>
              <a:ext uri="{FF2B5EF4-FFF2-40B4-BE49-F238E27FC236}">
                <a16:creationId xmlns:a16="http://schemas.microsoft.com/office/drawing/2014/main" id="{D3805E42-F0C7-439F-AA83-ACE77FBCB17E}"/>
              </a:ext>
            </a:extLst>
          </p:cNvPr>
          <p:cNvSpPr txBox="1"/>
          <p:nvPr/>
        </p:nvSpPr>
        <p:spPr>
          <a:xfrm>
            <a:off x="7598845" y="2056085"/>
            <a:ext cx="1210588" cy="646331"/>
          </a:xfrm>
          <a:prstGeom prst="rect">
            <a:avLst/>
          </a:prstGeom>
          <a:noFill/>
        </p:spPr>
        <p:txBody>
          <a:bodyPr wrap="none" rtlCol="0">
            <a:spAutoFit/>
          </a:bodyPr>
          <a:lstStyle/>
          <a:p>
            <a:r>
              <a:rPr lang="fr-FR" b="1" dirty="0">
                <a:solidFill>
                  <a:srgbClr val="CC023B"/>
                </a:solidFill>
              </a:rPr>
              <a:t>BRAND</a:t>
            </a:r>
            <a:br>
              <a:rPr lang="fr-FR" dirty="0">
                <a:solidFill>
                  <a:prstClr val="white"/>
                </a:solidFill>
              </a:rPr>
            </a:br>
            <a:r>
              <a:rPr lang="fr-FR" dirty="0" err="1">
                <a:solidFill>
                  <a:srgbClr val="333333"/>
                </a:solidFill>
              </a:rPr>
              <a:t>reputation</a:t>
            </a:r>
            <a:endParaRPr lang="fr-FR" dirty="0">
              <a:solidFill>
                <a:srgbClr val="333333"/>
              </a:solidFill>
            </a:endParaRPr>
          </a:p>
        </p:txBody>
      </p:sp>
      <p:sp>
        <p:nvSpPr>
          <p:cNvPr id="13" name="ZoneTexte 12">
            <a:extLst>
              <a:ext uri="{FF2B5EF4-FFF2-40B4-BE49-F238E27FC236}">
                <a16:creationId xmlns:a16="http://schemas.microsoft.com/office/drawing/2014/main" id="{22F43551-5509-4BE7-90F9-73105D49F492}"/>
              </a:ext>
            </a:extLst>
          </p:cNvPr>
          <p:cNvSpPr txBox="1"/>
          <p:nvPr/>
        </p:nvSpPr>
        <p:spPr>
          <a:xfrm>
            <a:off x="9792450" y="3233387"/>
            <a:ext cx="1210588" cy="646331"/>
          </a:xfrm>
          <a:prstGeom prst="rect">
            <a:avLst/>
          </a:prstGeom>
          <a:noFill/>
        </p:spPr>
        <p:txBody>
          <a:bodyPr wrap="none" rtlCol="0">
            <a:spAutoFit/>
          </a:bodyPr>
          <a:lstStyle/>
          <a:p>
            <a:r>
              <a:rPr lang="fr-FR" b="1" dirty="0">
                <a:solidFill>
                  <a:srgbClr val="CC023B"/>
                </a:solidFill>
              </a:rPr>
              <a:t>TRADE</a:t>
            </a:r>
            <a:br>
              <a:rPr lang="fr-FR" dirty="0">
                <a:solidFill>
                  <a:prstClr val="white"/>
                </a:solidFill>
              </a:rPr>
            </a:br>
            <a:r>
              <a:rPr lang="fr-FR" dirty="0">
                <a:solidFill>
                  <a:srgbClr val="333333"/>
                </a:solidFill>
              </a:rPr>
              <a:t>facilitation</a:t>
            </a:r>
          </a:p>
        </p:txBody>
      </p:sp>
      <p:sp>
        <p:nvSpPr>
          <p:cNvPr id="14" name="ZoneTexte 13">
            <a:extLst>
              <a:ext uri="{FF2B5EF4-FFF2-40B4-BE49-F238E27FC236}">
                <a16:creationId xmlns:a16="http://schemas.microsoft.com/office/drawing/2014/main" id="{244E5ED4-681B-4B86-857D-D56E398162A0}"/>
              </a:ext>
            </a:extLst>
          </p:cNvPr>
          <p:cNvSpPr txBox="1"/>
          <p:nvPr/>
        </p:nvSpPr>
        <p:spPr>
          <a:xfrm>
            <a:off x="10627422" y="4677743"/>
            <a:ext cx="1223412" cy="646331"/>
          </a:xfrm>
          <a:prstGeom prst="rect">
            <a:avLst/>
          </a:prstGeom>
          <a:noFill/>
        </p:spPr>
        <p:txBody>
          <a:bodyPr wrap="none" rtlCol="0">
            <a:spAutoFit/>
          </a:bodyPr>
          <a:lstStyle/>
          <a:p>
            <a:r>
              <a:rPr lang="fr-FR" b="1" dirty="0">
                <a:solidFill>
                  <a:srgbClr val="CC023B"/>
                </a:solidFill>
              </a:rPr>
              <a:t>LICENSE</a:t>
            </a:r>
            <a:br>
              <a:rPr lang="fr-FR" dirty="0">
                <a:solidFill>
                  <a:prstClr val="white"/>
                </a:solidFill>
              </a:rPr>
            </a:br>
            <a:r>
              <a:rPr lang="fr-FR" dirty="0">
                <a:solidFill>
                  <a:srgbClr val="333333"/>
                </a:solidFill>
              </a:rPr>
              <a:t>to </a:t>
            </a:r>
            <a:r>
              <a:rPr lang="fr-FR" dirty="0" err="1">
                <a:solidFill>
                  <a:srgbClr val="333333"/>
                </a:solidFill>
              </a:rPr>
              <a:t>operate</a:t>
            </a:r>
            <a:endParaRPr lang="fr-FR" dirty="0">
              <a:solidFill>
                <a:srgbClr val="333333"/>
              </a:solidFill>
            </a:endParaRPr>
          </a:p>
        </p:txBody>
      </p:sp>
      <p:sp>
        <p:nvSpPr>
          <p:cNvPr id="15" name="Arc 14">
            <a:extLst>
              <a:ext uri="{FF2B5EF4-FFF2-40B4-BE49-F238E27FC236}">
                <a16:creationId xmlns:a16="http://schemas.microsoft.com/office/drawing/2014/main" id="{20ED6CCB-0918-418A-A016-47EE2639E771}"/>
              </a:ext>
            </a:extLst>
          </p:cNvPr>
          <p:cNvSpPr/>
          <p:nvPr/>
        </p:nvSpPr>
        <p:spPr>
          <a:xfrm>
            <a:off x="2638424" y="3400425"/>
            <a:ext cx="6915152" cy="6915152"/>
          </a:xfrm>
          <a:prstGeom prst="arc">
            <a:avLst>
              <a:gd name="adj1" fmla="val 10787129"/>
              <a:gd name="adj2" fmla="val 1308"/>
            </a:avLst>
          </a:prstGeom>
          <a:ln w="1238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rgbClr val="333333"/>
              </a:solidFill>
            </a:endParaRPr>
          </a:p>
        </p:txBody>
      </p:sp>
      <p:sp>
        <p:nvSpPr>
          <p:cNvPr id="23" name="Rectangle 22">
            <a:extLst>
              <a:ext uri="{FF2B5EF4-FFF2-40B4-BE49-F238E27FC236}">
                <a16:creationId xmlns:a16="http://schemas.microsoft.com/office/drawing/2014/main" id="{42477734-D34E-4ADC-AB54-6F40E13A4896}"/>
              </a:ext>
            </a:extLst>
          </p:cNvPr>
          <p:cNvSpPr/>
          <p:nvPr/>
        </p:nvSpPr>
        <p:spPr>
          <a:xfrm>
            <a:off x="11101388" y="6781801"/>
            <a:ext cx="1090612"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4" name="Arc 23">
            <a:extLst>
              <a:ext uri="{FF2B5EF4-FFF2-40B4-BE49-F238E27FC236}">
                <a16:creationId xmlns:a16="http://schemas.microsoft.com/office/drawing/2014/main" id="{AA90CD63-9AA5-4468-9D5A-1709ACADA913}"/>
              </a:ext>
            </a:extLst>
          </p:cNvPr>
          <p:cNvSpPr/>
          <p:nvPr/>
        </p:nvSpPr>
        <p:spPr>
          <a:xfrm>
            <a:off x="3949700" y="4711700"/>
            <a:ext cx="4292600" cy="4292600"/>
          </a:xfrm>
          <a:prstGeom prst="arc">
            <a:avLst>
              <a:gd name="adj1" fmla="val 10800000"/>
              <a:gd name="adj2" fmla="val 16380659"/>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333333"/>
              </a:solidFill>
            </a:endParaRPr>
          </a:p>
        </p:txBody>
      </p:sp>
      <p:sp>
        <p:nvSpPr>
          <p:cNvPr id="25" name="Arc 24">
            <a:extLst>
              <a:ext uri="{FF2B5EF4-FFF2-40B4-BE49-F238E27FC236}">
                <a16:creationId xmlns:a16="http://schemas.microsoft.com/office/drawing/2014/main" id="{589C5C00-A3AD-448B-9903-C1A47D2592C8}"/>
              </a:ext>
            </a:extLst>
          </p:cNvPr>
          <p:cNvSpPr/>
          <p:nvPr/>
        </p:nvSpPr>
        <p:spPr>
          <a:xfrm>
            <a:off x="4114800" y="4876800"/>
            <a:ext cx="3962400" cy="3962400"/>
          </a:xfrm>
          <a:prstGeom prst="arc">
            <a:avLst>
              <a:gd name="adj1" fmla="val 13683288"/>
              <a:gd name="adj2" fmla="val 21592368"/>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333333"/>
              </a:solidFill>
            </a:endParaRPr>
          </a:p>
        </p:txBody>
      </p:sp>
      <p:grpSp>
        <p:nvGrpSpPr>
          <p:cNvPr id="2" name="Group 4">
            <a:extLst>
              <a:ext uri="{FF2B5EF4-FFF2-40B4-BE49-F238E27FC236}">
                <a16:creationId xmlns:a16="http://schemas.microsoft.com/office/drawing/2014/main" id="{BFDCFF64-DA8A-4DD0-82A7-39BF77F8A48E}"/>
              </a:ext>
            </a:extLst>
          </p:cNvPr>
          <p:cNvGrpSpPr>
            <a:grpSpLocks noChangeAspect="1"/>
          </p:cNvGrpSpPr>
          <p:nvPr/>
        </p:nvGrpSpPr>
        <p:grpSpPr bwMode="auto">
          <a:xfrm>
            <a:off x="6791170" y="2149669"/>
            <a:ext cx="800100" cy="749300"/>
            <a:chOff x="1096" y="3279"/>
            <a:chExt cx="504" cy="472"/>
          </a:xfrm>
          <a:solidFill>
            <a:schemeClr val="tx1"/>
          </a:solidFill>
        </p:grpSpPr>
        <p:sp>
          <p:nvSpPr>
            <p:cNvPr id="16" name="Oval 5">
              <a:extLst>
                <a:ext uri="{FF2B5EF4-FFF2-40B4-BE49-F238E27FC236}">
                  <a16:creationId xmlns:a16="http://schemas.microsoft.com/office/drawing/2014/main" id="{06C77A77-1AD0-4C3B-B68D-7B951FB6EC13}"/>
                </a:ext>
              </a:extLst>
            </p:cNvPr>
            <p:cNvSpPr>
              <a:spLocks noChangeArrowheads="1"/>
            </p:cNvSpPr>
            <p:nvPr/>
          </p:nvSpPr>
          <p:spPr bwMode="auto">
            <a:xfrm>
              <a:off x="1315" y="3500"/>
              <a:ext cx="37" cy="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30" name="Oval 6">
              <a:extLst>
                <a:ext uri="{FF2B5EF4-FFF2-40B4-BE49-F238E27FC236}">
                  <a16:creationId xmlns:a16="http://schemas.microsoft.com/office/drawing/2014/main" id="{F318851A-4A93-4C2C-BD16-FD87F7E729FE}"/>
                </a:ext>
              </a:extLst>
            </p:cNvPr>
            <p:cNvSpPr>
              <a:spLocks noChangeArrowheads="1"/>
            </p:cNvSpPr>
            <p:nvPr/>
          </p:nvSpPr>
          <p:spPr bwMode="auto">
            <a:xfrm>
              <a:off x="1273" y="3542"/>
              <a:ext cx="39" cy="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31" name="Freeform 7">
              <a:extLst>
                <a:ext uri="{FF2B5EF4-FFF2-40B4-BE49-F238E27FC236}">
                  <a16:creationId xmlns:a16="http://schemas.microsoft.com/office/drawing/2014/main" id="{E2D88130-4BF9-4837-A1EA-32A6D575EABD}"/>
                </a:ext>
              </a:extLst>
            </p:cNvPr>
            <p:cNvSpPr>
              <a:spLocks noEditPoints="1"/>
            </p:cNvSpPr>
            <p:nvPr/>
          </p:nvSpPr>
          <p:spPr bwMode="auto">
            <a:xfrm>
              <a:off x="1096" y="3279"/>
              <a:ext cx="504" cy="472"/>
            </a:xfrm>
            <a:custGeom>
              <a:avLst/>
              <a:gdLst>
                <a:gd name="T0" fmla="*/ 310 w 311"/>
                <a:gd name="T1" fmla="*/ 1 h 291"/>
                <a:gd name="T2" fmla="*/ 305 w 311"/>
                <a:gd name="T3" fmla="*/ 1 h 291"/>
                <a:gd name="T4" fmla="*/ 267 w 311"/>
                <a:gd name="T5" fmla="*/ 34 h 291"/>
                <a:gd name="T6" fmla="*/ 267 w 311"/>
                <a:gd name="T7" fmla="*/ 33 h 291"/>
                <a:gd name="T8" fmla="*/ 137 w 311"/>
                <a:gd name="T9" fmla="*/ 39 h 291"/>
                <a:gd name="T10" fmla="*/ 135 w 311"/>
                <a:gd name="T11" fmla="*/ 40 h 291"/>
                <a:gd name="T12" fmla="*/ 12 w 311"/>
                <a:gd name="T13" fmla="*/ 156 h 291"/>
                <a:gd name="T14" fmla="*/ 0 w 311"/>
                <a:gd name="T15" fmla="*/ 182 h 291"/>
                <a:gd name="T16" fmla="*/ 10 w 311"/>
                <a:gd name="T17" fmla="*/ 209 h 291"/>
                <a:gd name="T18" fmla="*/ 77 w 311"/>
                <a:gd name="T19" fmla="*/ 280 h 291"/>
                <a:gd name="T20" fmla="*/ 104 w 311"/>
                <a:gd name="T21" fmla="*/ 291 h 291"/>
                <a:gd name="T22" fmla="*/ 129 w 311"/>
                <a:gd name="T23" fmla="*/ 281 h 291"/>
                <a:gd name="T24" fmla="*/ 263 w 311"/>
                <a:gd name="T25" fmla="*/ 155 h 291"/>
                <a:gd name="T26" fmla="*/ 264 w 311"/>
                <a:gd name="T27" fmla="*/ 153 h 291"/>
                <a:gd name="T28" fmla="*/ 270 w 311"/>
                <a:gd name="T29" fmla="*/ 40 h 291"/>
                <a:gd name="T30" fmla="*/ 310 w 311"/>
                <a:gd name="T31" fmla="*/ 6 h 291"/>
                <a:gd name="T32" fmla="*/ 310 w 311"/>
                <a:gd name="T33" fmla="*/ 1 h 291"/>
                <a:gd name="T34" fmla="*/ 257 w 311"/>
                <a:gd name="T35" fmla="*/ 151 h 291"/>
                <a:gd name="T36" fmla="*/ 135 w 311"/>
                <a:gd name="T37" fmla="*/ 266 h 291"/>
                <a:gd name="T38" fmla="*/ 135 w 311"/>
                <a:gd name="T39" fmla="*/ 266 h 291"/>
                <a:gd name="T40" fmla="*/ 133 w 311"/>
                <a:gd name="T41" fmla="*/ 266 h 291"/>
                <a:gd name="T42" fmla="*/ 133 w 311"/>
                <a:gd name="T43" fmla="*/ 268 h 291"/>
                <a:gd name="T44" fmla="*/ 133 w 311"/>
                <a:gd name="T45" fmla="*/ 268 h 291"/>
                <a:gd name="T46" fmla="*/ 125 w 311"/>
                <a:gd name="T47" fmla="*/ 276 h 291"/>
                <a:gd name="T48" fmla="*/ 104 w 311"/>
                <a:gd name="T49" fmla="*/ 284 h 291"/>
                <a:gd name="T50" fmla="*/ 82 w 311"/>
                <a:gd name="T51" fmla="*/ 275 h 291"/>
                <a:gd name="T52" fmla="*/ 15 w 311"/>
                <a:gd name="T53" fmla="*/ 204 h 291"/>
                <a:gd name="T54" fmla="*/ 7 w 311"/>
                <a:gd name="T55" fmla="*/ 182 h 291"/>
                <a:gd name="T56" fmla="*/ 16 w 311"/>
                <a:gd name="T57" fmla="*/ 161 h 291"/>
                <a:gd name="T58" fmla="*/ 25 w 311"/>
                <a:gd name="T59" fmla="*/ 153 h 291"/>
                <a:gd name="T60" fmla="*/ 32 w 311"/>
                <a:gd name="T61" fmla="*/ 160 h 291"/>
                <a:gd name="T62" fmla="*/ 34 w 311"/>
                <a:gd name="T63" fmla="*/ 161 h 291"/>
                <a:gd name="T64" fmla="*/ 35 w 311"/>
                <a:gd name="T65" fmla="*/ 160 h 291"/>
                <a:gd name="T66" fmla="*/ 35 w 311"/>
                <a:gd name="T67" fmla="*/ 158 h 291"/>
                <a:gd name="T68" fmla="*/ 28 w 311"/>
                <a:gd name="T69" fmla="*/ 150 h 291"/>
                <a:gd name="T70" fmla="*/ 139 w 311"/>
                <a:gd name="T71" fmla="*/ 46 h 291"/>
                <a:gd name="T72" fmla="*/ 259 w 311"/>
                <a:gd name="T73" fmla="*/ 41 h 291"/>
                <a:gd name="T74" fmla="*/ 217 w 311"/>
                <a:gd name="T75" fmla="*/ 77 h 291"/>
                <a:gd name="T76" fmla="*/ 196 w 311"/>
                <a:gd name="T77" fmla="*/ 68 h 291"/>
                <a:gd name="T78" fmla="*/ 166 w 311"/>
                <a:gd name="T79" fmla="*/ 98 h 291"/>
                <a:gd name="T80" fmla="*/ 196 w 311"/>
                <a:gd name="T81" fmla="*/ 128 h 291"/>
                <a:gd name="T82" fmla="*/ 226 w 311"/>
                <a:gd name="T83" fmla="*/ 98 h 291"/>
                <a:gd name="T84" fmla="*/ 221 w 311"/>
                <a:gd name="T85" fmla="*/ 82 h 291"/>
                <a:gd name="T86" fmla="*/ 263 w 311"/>
                <a:gd name="T87" fmla="*/ 46 h 291"/>
                <a:gd name="T88" fmla="*/ 257 w 311"/>
                <a:gd name="T89" fmla="*/ 151 h 291"/>
                <a:gd name="T90" fmla="*/ 212 w 311"/>
                <a:gd name="T91" fmla="*/ 98 h 291"/>
                <a:gd name="T92" fmla="*/ 196 w 311"/>
                <a:gd name="T93" fmla="*/ 114 h 291"/>
                <a:gd name="T94" fmla="*/ 180 w 311"/>
                <a:gd name="T95" fmla="*/ 98 h 291"/>
                <a:gd name="T96" fmla="*/ 196 w 311"/>
                <a:gd name="T97" fmla="*/ 82 h 291"/>
                <a:gd name="T98" fmla="*/ 212 w 311"/>
                <a:gd name="T99" fmla="*/ 98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1" h="291">
                  <a:moveTo>
                    <a:pt x="310" y="1"/>
                  </a:moveTo>
                  <a:cubicBezTo>
                    <a:pt x="309" y="0"/>
                    <a:pt x="307" y="0"/>
                    <a:pt x="305" y="1"/>
                  </a:cubicBezTo>
                  <a:cubicBezTo>
                    <a:pt x="267" y="34"/>
                    <a:pt x="267" y="34"/>
                    <a:pt x="267" y="34"/>
                  </a:cubicBezTo>
                  <a:cubicBezTo>
                    <a:pt x="267" y="33"/>
                    <a:pt x="267" y="33"/>
                    <a:pt x="267" y="33"/>
                  </a:cubicBezTo>
                  <a:cubicBezTo>
                    <a:pt x="137" y="39"/>
                    <a:pt x="137" y="39"/>
                    <a:pt x="137" y="39"/>
                  </a:cubicBezTo>
                  <a:cubicBezTo>
                    <a:pt x="136" y="39"/>
                    <a:pt x="136" y="40"/>
                    <a:pt x="135" y="40"/>
                  </a:cubicBezTo>
                  <a:cubicBezTo>
                    <a:pt x="12" y="156"/>
                    <a:pt x="12" y="156"/>
                    <a:pt x="12" y="156"/>
                  </a:cubicBezTo>
                  <a:cubicBezTo>
                    <a:pt x="5" y="163"/>
                    <a:pt x="0" y="172"/>
                    <a:pt x="0" y="182"/>
                  </a:cubicBezTo>
                  <a:cubicBezTo>
                    <a:pt x="0" y="192"/>
                    <a:pt x="3" y="201"/>
                    <a:pt x="10" y="209"/>
                  </a:cubicBezTo>
                  <a:cubicBezTo>
                    <a:pt x="77" y="280"/>
                    <a:pt x="77" y="280"/>
                    <a:pt x="77" y="280"/>
                  </a:cubicBezTo>
                  <a:cubicBezTo>
                    <a:pt x="84" y="287"/>
                    <a:pt x="94" y="291"/>
                    <a:pt x="104" y="291"/>
                  </a:cubicBezTo>
                  <a:cubicBezTo>
                    <a:pt x="113" y="291"/>
                    <a:pt x="122" y="288"/>
                    <a:pt x="129" y="281"/>
                  </a:cubicBezTo>
                  <a:cubicBezTo>
                    <a:pt x="263" y="155"/>
                    <a:pt x="263" y="155"/>
                    <a:pt x="263" y="155"/>
                  </a:cubicBezTo>
                  <a:cubicBezTo>
                    <a:pt x="263" y="155"/>
                    <a:pt x="264" y="154"/>
                    <a:pt x="264" y="153"/>
                  </a:cubicBezTo>
                  <a:cubicBezTo>
                    <a:pt x="270" y="40"/>
                    <a:pt x="270" y="40"/>
                    <a:pt x="270" y="40"/>
                  </a:cubicBezTo>
                  <a:cubicBezTo>
                    <a:pt x="310" y="6"/>
                    <a:pt x="310" y="6"/>
                    <a:pt x="310" y="6"/>
                  </a:cubicBezTo>
                  <a:cubicBezTo>
                    <a:pt x="311" y="5"/>
                    <a:pt x="311" y="3"/>
                    <a:pt x="310" y="1"/>
                  </a:cubicBezTo>
                  <a:moveTo>
                    <a:pt x="257" y="151"/>
                  </a:moveTo>
                  <a:cubicBezTo>
                    <a:pt x="135" y="266"/>
                    <a:pt x="135" y="266"/>
                    <a:pt x="135" y="266"/>
                  </a:cubicBezTo>
                  <a:cubicBezTo>
                    <a:pt x="135" y="266"/>
                    <a:pt x="135" y="266"/>
                    <a:pt x="135" y="266"/>
                  </a:cubicBezTo>
                  <a:cubicBezTo>
                    <a:pt x="135" y="265"/>
                    <a:pt x="134" y="265"/>
                    <a:pt x="133" y="266"/>
                  </a:cubicBezTo>
                  <a:cubicBezTo>
                    <a:pt x="132" y="267"/>
                    <a:pt x="132" y="268"/>
                    <a:pt x="133" y="268"/>
                  </a:cubicBezTo>
                  <a:cubicBezTo>
                    <a:pt x="133" y="268"/>
                    <a:pt x="133" y="268"/>
                    <a:pt x="133" y="268"/>
                  </a:cubicBezTo>
                  <a:cubicBezTo>
                    <a:pt x="125" y="276"/>
                    <a:pt x="125" y="276"/>
                    <a:pt x="125" y="276"/>
                  </a:cubicBezTo>
                  <a:cubicBezTo>
                    <a:pt x="119" y="282"/>
                    <a:pt x="112" y="284"/>
                    <a:pt x="104" y="284"/>
                  </a:cubicBezTo>
                  <a:cubicBezTo>
                    <a:pt x="96" y="284"/>
                    <a:pt x="88" y="281"/>
                    <a:pt x="82" y="275"/>
                  </a:cubicBezTo>
                  <a:cubicBezTo>
                    <a:pt x="15" y="204"/>
                    <a:pt x="15" y="204"/>
                    <a:pt x="15" y="204"/>
                  </a:cubicBezTo>
                  <a:cubicBezTo>
                    <a:pt x="10" y="198"/>
                    <a:pt x="7" y="190"/>
                    <a:pt x="7" y="182"/>
                  </a:cubicBezTo>
                  <a:cubicBezTo>
                    <a:pt x="7" y="174"/>
                    <a:pt x="10" y="167"/>
                    <a:pt x="16" y="161"/>
                  </a:cubicBezTo>
                  <a:cubicBezTo>
                    <a:pt x="25" y="153"/>
                    <a:pt x="25" y="153"/>
                    <a:pt x="25" y="153"/>
                  </a:cubicBezTo>
                  <a:cubicBezTo>
                    <a:pt x="32" y="160"/>
                    <a:pt x="32" y="160"/>
                    <a:pt x="32" y="160"/>
                  </a:cubicBezTo>
                  <a:cubicBezTo>
                    <a:pt x="34" y="161"/>
                    <a:pt x="34" y="161"/>
                    <a:pt x="34" y="161"/>
                  </a:cubicBezTo>
                  <a:cubicBezTo>
                    <a:pt x="35" y="160"/>
                    <a:pt x="35" y="160"/>
                    <a:pt x="35" y="160"/>
                  </a:cubicBezTo>
                  <a:cubicBezTo>
                    <a:pt x="35" y="159"/>
                    <a:pt x="35" y="158"/>
                    <a:pt x="35" y="158"/>
                  </a:cubicBezTo>
                  <a:cubicBezTo>
                    <a:pt x="28" y="150"/>
                    <a:pt x="28" y="150"/>
                    <a:pt x="28" y="150"/>
                  </a:cubicBezTo>
                  <a:cubicBezTo>
                    <a:pt x="139" y="46"/>
                    <a:pt x="139" y="46"/>
                    <a:pt x="139" y="46"/>
                  </a:cubicBezTo>
                  <a:cubicBezTo>
                    <a:pt x="259" y="41"/>
                    <a:pt x="259" y="41"/>
                    <a:pt x="259" y="41"/>
                  </a:cubicBezTo>
                  <a:cubicBezTo>
                    <a:pt x="217" y="77"/>
                    <a:pt x="217" y="77"/>
                    <a:pt x="217" y="77"/>
                  </a:cubicBezTo>
                  <a:cubicBezTo>
                    <a:pt x="211" y="71"/>
                    <a:pt x="204" y="68"/>
                    <a:pt x="196" y="68"/>
                  </a:cubicBezTo>
                  <a:cubicBezTo>
                    <a:pt x="179" y="68"/>
                    <a:pt x="166" y="81"/>
                    <a:pt x="166" y="98"/>
                  </a:cubicBezTo>
                  <a:cubicBezTo>
                    <a:pt x="166" y="114"/>
                    <a:pt x="179" y="128"/>
                    <a:pt x="196" y="128"/>
                  </a:cubicBezTo>
                  <a:cubicBezTo>
                    <a:pt x="212" y="128"/>
                    <a:pt x="226" y="114"/>
                    <a:pt x="226" y="98"/>
                  </a:cubicBezTo>
                  <a:cubicBezTo>
                    <a:pt x="226" y="92"/>
                    <a:pt x="224" y="86"/>
                    <a:pt x="221" y="82"/>
                  </a:cubicBezTo>
                  <a:cubicBezTo>
                    <a:pt x="263" y="46"/>
                    <a:pt x="263" y="46"/>
                    <a:pt x="263" y="46"/>
                  </a:cubicBezTo>
                  <a:lnTo>
                    <a:pt x="257" y="151"/>
                  </a:lnTo>
                  <a:close/>
                  <a:moveTo>
                    <a:pt x="212" y="98"/>
                  </a:moveTo>
                  <a:cubicBezTo>
                    <a:pt x="212" y="107"/>
                    <a:pt x="205" y="114"/>
                    <a:pt x="196" y="114"/>
                  </a:cubicBezTo>
                  <a:cubicBezTo>
                    <a:pt x="187" y="114"/>
                    <a:pt x="180" y="107"/>
                    <a:pt x="180" y="98"/>
                  </a:cubicBezTo>
                  <a:cubicBezTo>
                    <a:pt x="180" y="89"/>
                    <a:pt x="187" y="82"/>
                    <a:pt x="196" y="82"/>
                  </a:cubicBezTo>
                  <a:cubicBezTo>
                    <a:pt x="205" y="82"/>
                    <a:pt x="212" y="89"/>
                    <a:pt x="212" y="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35" name="Freeform 8">
              <a:extLst>
                <a:ext uri="{FF2B5EF4-FFF2-40B4-BE49-F238E27FC236}">
                  <a16:creationId xmlns:a16="http://schemas.microsoft.com/office/drawing/2014/main" id="{E9D466FC-4D6C-4B5D-BBDF-58BC11300217}"/>
                </a:ext>
              </a:extLst>
            </p:cNvPr>
            <p:cNvSpPr>
              <a:spLocks/>
            </p:cNvSpPr>
            <p:nvPr/>
          </p:nvSpPr>
          <p:spPr bwMode="auto">
            <a:xfrm>
              <a:off x="1192" y="3582"/>
              <a:ext cx="21" cy="21"/>
            </a:xfrm>
            <a:custGeom>
              <a:avLst/>
              <a:gdLst>
                <a:gd name="T0" fmla="*/ 3 w 13"/>
                <a:gd name="T1" fmla="*/ 0 h 13"/>
                <a:gd name="T2" fmla="*/ 1 w 13"/>
                <a:gd name="T3" fmla="*/ 0 h 13"/>
                <a:gd name="T4" fmla="*/ 1 w 13"/>
                <a:gd name="T5" fmla="*/ 3 h 13"/>
                <a:gd name="T6" fmla="*/ 10 w 13"/>
                <a:gd name="T7" fmla="*/ 12 h 13"/>
                <a:gd name="T8" fmla="*/ 11 w 13"/>
                <a:gd name="T9" fmla="*/ 13 h 13"/>
                <a:gd name="T10" fmla="*/ 12 w 13"/>
                <a:gd name="T11" fmla="*/ 13 h 13"/>
                <a:gd name="T12" fmla="*/ 12 w 13"/>
                <a:gd name="T13" fmla="*/ 10 h 13"/>
                <a:gd name="T14" fmla="*/ 3 w 13"/>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3" y="0"/>
                  </a:moveTo>
                  <a:cubicBezTo>
                    <a:pt x="3" y="0"/>
                    <a:pt x="1" y="0"/>
                    <a:pt x="1" y="0"/>
                  </a:cubicBezTo>
                  <a:cubicBezTo>
                    <a:pt x="0" y="1"/>
                    <a:pt x="0" y="2"/>
                    <a:pt x="1" y="3"/>
                  </a:cubicBezTo>
                  <a:cubicBezTo>
                    <a:pt x="10" y="12"/>
                    <a:pt x="10" y="12"/>
                    <a:pt x="10" y="12"/>
                  </a:cubicBezTo>
                  <a:cubicBezTo>
                    <a:pt x="11" y="13"/>
                    <a:pt x="11" y="13"/>
                    <a:pt x="11" y="13"/>
                  </a:cubicBezTo>
                  <a:cubicBezTo>
                    <a:pt x="12" y="13"/>
                    <a:pt x="12" y="13"/>
                    <a:pt x="12" y="13"/>
                  </a:cubicBezTo>
                  <a:cubicBezTo>
                    <a:pt x="13" y="12"/>
                    <a:pt x="13" y="11"/>
                    <a:pt x="12" y="1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36" name="Freeform 9">
              <a:extLst>
                <a:ext uri="{FF2B5EF4-FFF2-40B4-BE49-F238E27FC236}">
                  <a16:creationId xmlns:a16="http://schemas.microsoft.com/office/drawing/2014/main" id="{573FE151-3EFD-4F5E-8BDF-FE93C2BE86AA}"/>
                </a:ext>
              </a:extLst>
            </p:cNvPr>
            <p:cNvSpPr>
              <a:spLocks/>
            </p:cNvSpPr>
            <p:nvPr/>
          </p:nvSpPr>
          <p:spPr bwMode="auto">
            <a:xfrm>
              <a:off x="1163" y="3550"/>
              <a:ext cx="21" cy="21"/>
            </a:xfrm>
            <a:custGeom>
              <a:avLst/>
              <a:gdLst>
                <a:gd name="T0" fmla="*/ 3 w 13"/>
                <a:gd name="T1" fmla="*/ 1 h 13"/>
                <a:gd name="T2" fmla="*/ 1 w 13"/>
                <a:gd name="T3" fmla="*/ 1 h 13"/>
                <a:gd name="T4" fmla="*/ 0 w 13"/>
                <a:gd name="T5" fmla="*/ 3 h 13"/>
                <a:gd name="T6" fmla="*/ 10 w 13"/>
                <a:gd name="T7" fmla="*/ 13 h 13"/>
                <a:gd name="T8" fmla="*/ 11 w 13"/>
                <a:gd name="T9" fmla="*/ 13 h 13"/>
                <a:gd name="T10" fmla="*/ 12 w 13"/>
                <a:gd name="T11" fmla="*/ 13 h 13"/>
                <a:gd name="T12" fmla="*/ 12 w 13"/>
                <a:gd name="T13" fmla="*/ 10 h 13"/>
                <a:gd name="T14" fmla="*/ 3 w 13"/>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3" y="1"/>
                  </a:moveTo>
                  <a:cubicBezTo>
                    <a:pt x="2" y="0"/>
                    <a:pt x="1" y="0"/>
                    <a:pt x="1" y="1"/>
                  </a:cubicBezTo>
                  <a:cubicBezTo>
                    <a:pt x="0" y="1"/>
                    <a:pt x="0" y="2"/>
                    <a:pt x="0" y="3"/>
                  </a:cubicBezTo>
                  <a:cubicBezTo>
                    <a:pt x="10" y="13"/>
                    <a:pt x="10" y="13"/>
                    <a:pt x="10" y="13"/>
                  </a:cubicBezTo>
                  <a:cubicBezTo>
                    <a:pt x="11" y="13"/>
                    <a:pt x="11" y="13"/>
                    <a:pt x="11" y="13"/>
                  </a:cubicBezTo>
                  <a:cubicBezTo>
                    <a:pt x="12" y="13"/>
                    <a:pt x="12" y="13"/>
                    <a:pt x="12" y="13"/>
                  </a:cubicBezTo>
                  <a:cubicBezTo>
                    <a:pt x="13" y="12"/>
                    <a:pt x="13" y="11"/>
                    <a:pt x="12" y="10"/>
                  </a:cubicBez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37" name="Freeform 10">
              <a:extLst>
                <a:ext uri="{FF2B5EF4-FFF2-40B4-BE49-F238E27FC236}">
                  <a16:creationId xmlns:a16="http://schemas.microsoft.com/office/drawing/2014/main" id="{9D0A452E-12D1-49F0-90E4-E8D2D67AA128}"/>
                </a:ext>
              </a:extLst>
            </p:cNvPr>
            <p:cNvSpPr>
              <a:spLocks/>
            </p:cNvSpPr>
            <p:nvPr/>
          </p:nvSpPr>
          <p:spPr bwMode="auto">
            <a:xfrm>
              <a:off x="1252" y="3646"/>
              <a:ext cx="21" cy="21"/>
            </a:xfrm>
            <a:custGeom>
              <a:avLst/>
              <a:gdLst>
                <a:gd name="T0" fmla="*/ 3 w 13"/>
                <a:gd name="T1" fmla="*/ 1 h 13"/>
                <a:gd name="T2" fmla="*/ 0 w 13"/>
                <a:gd name="T3" fmla="*/ 1 h 13"/>
                <a:gd name="T4" fmla="*/ 0 w 13"/>
                <a:gd name="T5" fmla="*/ 3 h 13"/>
                <a:gd name="T6" fmla="*/ 9 w 13"/>
                <a:gd name="T7" fmla="*/ 13 h 13"/>
                <a:gd name="T8" fmla="*/ 11 w 13"/>
                <a:gd name="T9" fmla="*/ 13 h 13"/>
                <a:gd name="T10" fmla="*/ 12 w 13"/>
                <a:gd name="T11" fmla="*/ 13 h 13"/>
                <a:gd name="T12" fmla="*/ 12 w 13"/>
                <a:gd name="T13" fmla="*/ 11 h 13"/>
                <a:gd name="T14" fmla="*/ 3 w 13"/>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3" y="1"/>
                  </a:moveTo>
                  <a:cubicBezTo>
                    <a:pt x="2" y="0"/>
                    <a:pt x="1" y="0"/>
                    <a:pt x="0" y="1"/>
                  </a:cubicBezTo>
                  <a:cubicBezTo>
                    <a:pt x="0" y="1"/>
                    <a:pt x="0" y="2"/>
                    <a:pt x="0" y="3"/>
                  </a:cubicBezTo>
                  <a:cubicBezTo>
                    <a:pt x="9" y="13"/>
                    <a:pt x="9" y="13"/>
                    <a:pt x="9" y="13"/>
                  </a:cubicBezTo>
                  <a:cubicBezTo>
                    <a:pt x="11" y="13"/>
                    <a:pt x="11" y="13"/>
                    <a:pt x="11" y="13"/>
                  </a:cubicBezTo>
                  <a:cubicBezTo>
                    <a:pt x="12" y="13"/>
                    <a:pt x="12" y="13"/>
                    <a:pt x="12" y="13"/>
                  </a:cubicBezTo>
                  <a:cubicBezTo>
                    <a:pt x="12" y="12"/>
                    <a:pt x="13" y="11"/>
                    <a:pt x="12" y="11"/>
                  </a:cubicBez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38" name="Freeform 11">
              <a:extLst>
                <a:ext uri="{FF2B5EF4-FFF2-40B4-BE49-F238E27FC236}">
                  <a16:creationId xmlns:a16="http://schemas.microsoft.com/office/drawing/2014/main" id="{14AA37C1-A29C-45FB-89B4-4E947A28D00B}"/>
                </a:ext>
              </a:extLst>
            </p:cNvPr>
            <p:cNvSpPr>
              <a:spLocks/>
            </p:cNvSpPr>
            <p:nvPr/>
          </p:nvSpPr>
          <p:spPr bwMode="auto">
            <a:xfrm>
              <a:off x="1221" y="3613"/>
              <a:ext cx="21" cy="23"/>
            </a:xfrm>
            <a:custGeom>
              <a:avLst/>
              <a:gdLst>
                <a:gd name="T0" fmla="*/ 3 w 13"/>
                <a:gd name="T1" fmla="*/ 1 h 14"/>
                <a:gd name="T2" fmla="*/ 1 w 13"/>
                <a:gd name="T3" fmla="*/ 1 h 14"/>
                <a:gd name="T4" fmla="*/ 1 w 13"/>
                <a:gd name="T5" fmla="*/ 3 h 14"/>
                <a:gd name="T6" fmla="*/ 10 w 13"/>
                <a:gd name="T7" fmla="*/ 13 h 14"/>
                <a:gd name="T8" fmla="*/ 11 w 13"/>
                <a:gd name="T9" fmla="*/ 14 h 14"/>
                <a:gd name="T10" fmla="*/ 13 w 13"/>
                <a:gd name="T11" fmla="*/ 13 h 14"/>
                <a:gd name="T12" fmla="*/ 13 w 13"/>
                <a:gd name="T13" fmla="*/ 11 h 14"/>
                <a:gd name="T14" fmla="*/ 3 w 1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4">
                  <a:moveTo>
                    <a:pt x="3" y="1"/>
                  </a:moveTo>
                  <a:cubicBezTo>
                    <a:pt x="3" y="0"/>
                    <a:pt x="2" y="0"/>
                    <a:pt x="1" y="1"/>
                  </a:cubicBezTo>
                  <a:cubicBezTo>
                    <a:pt x="0" y="2"/>
                    <a:pt x="0" y="3"/>
                    <a:pt x="1" y="3"/>
                  </a:cubicBezTo>
                  <a:cubicBezTo>
                    <a:pt x="10" y="13"/>
                    <a:pt x="10" y="13"/>
                    <a:pt x="10" y="13"/>
                  </a:cubicBezTo>
                  <a:cubicBezTo>
                    <a:pt x="11" y="14"/>
                    <a:pt x="11" y="14"/>
                    <a:pt x="11" y="14"/>
                  </a:cubicBezTo>
                  <a:cubicBezTo>
                    <a:pt x="13" y="13"/>
                    <a:pt x="13" y="13"/>
                    <a:pt x="13" y="13"/>
                  </a:cubicBezTo>
                  <a:cubicBezTo>
                    <a:pt x="13" y="13"/>
                    <a:pt x="13" y="11"/>
                    <a:pt x="13" y="11"/>
                  </a:cubicBez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39" name="Freeform 12">
              <a:extLst>
                <a:ext uri="{FF2B5EF4-FFF2-40B4-BE49-F238E27FC236}">
                  <a16:creationId xmlns:a16="http://schemas.microsoft.com/office/drawing/2014/main" id="{4BFC0840-E0CA-4612-8D61-1312D449E910}"/>
                </a:ext>
              </a:extLst>
            </p:cNvPr>
            <p:cNvSpPr>
              <a:spLocks/>
            </p:cNvSpPr>
            <p:nvPr/>
          </p:nvSpPr>
          <p:spPr bwMode="auto">
            <a:xfrm>
              <a:off x="1281" y="3678"/>
              <a:ext cx="21" cy="21"/>
            </a:xfrm>
            <a:custGeom>
              <a:avLst/>
              <a:gdLst>
                <a:gd name="T0" fmla="*/ 3 w 13"/>
                <a:gd name="T1" fmla="*/ 0 h 13"/>
                <a:gd name="T2" fmla="*/ 1 w 13"/>
                <a:gd name="T3" fmla="*/ 0 h 13"/>
                <a:gd name="T4" fmla="*/ 1 w 13"/>
                <a:gd name="T5" fmla="*/ 3 h 13"/>
                <a:gd name="T6" fmla="*/ 10 w 13"/>
                <a:gd name="T7" fmla="*/ 12 h 13"/>
                <a:gd name="T8" fmla="*/ 11 w 13"/>
                <a:gd name="T9" fmla="*/ 13 h 13"/>
                <a:gd name="T10" fmla="*/ 12 w 13"/>
                <a:gd name="T11" fmla="*/ 13 h 13"/>
                <a:gd name="T12" fmla="*/ 12 w 13"/>
                <a:gd name="T13" fmla="*/ 10 h 13"/>
                <a:gd name="T14" fmla="*/ 3 w 13"/>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3" y="0"/>
                  </a:moveTo>
                  <a:cubicBezTo>
                    <a:pt x="2" y="0"/>
                    <a:pt x="1" y="0"/>
                    <a:pt x="1" y="0"/>
                  </a:cubicBezTo>
                  <a:cubicBezTo>
                    <a:pt x="0" y="1"/>
                    <a:pt x="0" y="2"/>
                    <a:pt x="1" y="3"/>
                  </a:cubicBezTo>
                  <a:cubicBezTo>
                    <a:pt x="10" y="12"/>
                    <a:pt x="10" y="12"/>
                    <a:pt x="10" y="12"/>
                  </a:cubicBezTo>
                  <a:cubicBezTo>
                    <a:pt x="11" y="13"/>
                    <a:pt x="11" y="13"/>
                    <a:pt x="11" y="13"/>
                  </a:cubicBezTo>
                  <a:cubicBezTo>
                    <a:pt x="12" y="13"/>
                    <a:pt x="12" y="13"/>
                    <a:pt x="12" y="13"/>
                  </a:cubicBezTo>
                  <a:cubicBezTo>
                    <a:pt x="13" y="12"/>
                    <a:pt x="13" y="11"/>
                    <a:pt x="12" y="1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40" name="Group 15">
            <a:extLst>
              <a:ext uri="{FF2B5EF4-FFF2-40B4-BE49-F238E27FC236}">
                <a16:creationId xmlns:a16="http://schemas.microsoft.com/office/drawing/2014/main" id="{AE073257-7903-4B40-BF78-178647F4DC7A}"/>
              </a:ext>
            </a:extLst>
          </p:cNvPr>
          <p:cNvGrpSpPr>
            <a:grpSpLocks noChangeAspect="1"/>
          </p:cNvGrpSpPr>
          <p:nvPr/>
        </p:nvGrpSpPr>
        <p:grpSpPr bwMode="auto">
          <a:xfrm>
            <a:off x="9878632" y="4631297"/>
            <a:ext cx="519112" cy="827088"/>
            <a:chOff x="1713" y="2344"/>
            <a:chExt cx="327" cy="521"/>
          </a:xfrm>
          <a:solidFill>
            <a:schemeClr val="tx1"/>
          </a:solidFill>
        </p:grpSpPr>
        <p:sp>
          <p:nvSpPr>
            <p:cNvPr id="42" name="Freeform 16">
              <a:extLst>
                <a:ext uri="{FF2B5EF4-FFF2-40B4-BE49-F238E27FC236}">
                  <a16:creationId xmlns:a16="http://schemas.microsoft.com/office/drawing/2014/main" id="{064F5DC1-7F81-4B06-8F2F-BBE43EC59806}"/>
                </a:ext>
              </a:extLst>
            </p:cNvPr>
            <p:cNvSpPr>
              <a:spLocks/>
            </p:cNvSpPr>
            <p:nvPr/>
          </p:nvSpPr>
          <p:spPr bwMode="auto">
            <a:xfrm>
              <a:off x="1758" y="2698"/>
              <a:ext cx="33" cy="33"/>
            </a:xfrm>
            <a:custGeom>
              <a:avLst/>
              <a:gdLst>
                <a:gd name="T0" fmla="*/ 3 w 20"/>
                <a:gd name="T1" fmla="*/ 4 h 20"/>
                <a:gd name="T2" fmla="*/ 3 w 20"/>
                <a:gd name="T3" fmla="*/ 16 h 20"/>
                <a:gd name="T4" fmla="*/ 16 w 20"/>
                <a:gd name="T5" fmla="*/ 16 h 20"/>
                <a:gd name="T6" fmla="*/ 16 w 20"/>
                <a:gd name="T7" fmla="*/ 4 h 20"/>
                <a:gd name="T8" fmla="*/ 3 w 20"/>
                <a:gd name="T9" fmla="*/ 4 h 20"/>
              </a:gdLst>
              <a:ahLst/>
              <a:cxnLst>
                <a:cxn ang="0">
                  <a:pos x="T0" y="T1"/>
                </a:cxn>
                <a:cxn ang="0">
                  <a:pos x="T2" y="T3"/>
                </a:cxn>
                <a:cxn ang="0">
                  <a:pos x="T4" y="T5"/>
                </a:cxn>
                <a:cxn ang="0">
                  <a:pos x="T6" y="T7"/>
                </a:cxn>
                <a:cxn ang="0">
                  <a:pos x="T8" y="T9"/>
                </a:cxn>
              </a:cxnLst>
              <a:rect l="0" t="0" r="r" b="b"/>
              <a:pathLst>
                <a:path w="20" h="20">
                  <a:moveTo>
                    <a:pt x="3" y="4"/>
                  </a:moveTo>
                  <a:cubicBezTo>
                    <a:pt x="0" y="7"/>
                    <a:pt x="0" y="13"/>
                    <a:pt x="3" y="16"/>
                  </a:cubicBezTo>
                  <a:cubicBezTo>
                    <a:pt x="7" y="20"/>
                    <a:pt x="12" y="20"/>
                    <a:pt x="16" y="16"/>
                  </a:cubicBezTo>
                  <a:cubicBezTo>
                    <a:pt x="20" y="13"/>
                    <a:pt x="20" y="7"/>
                    <a:pt x="16" y="4"/>
                  </a:cubicBezTo>
                  <a:cubicBezTo>
                    <a:pt x="12" y="0"/>
                    <a:pt x="7" y="0"/>
                    <a:pt x="3"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43" name="Freeform 17">
              <a:extLst>
                <a:ext uri="{FF2B5EF4-FFF2-40B4-BE49-F238E27FC236}">
                  <a16:creationId xmlns:a16="http://schemas.microsoft.com/office/drawing/2014/main" id="{717E0B69-2F18-470C-9F26-53C2D727762C}"/>
                </a:ext>
              </a:extLst>
            </p:cNvPr>
            <p:cNvSpPr>
              <a:spLocks/>
            </p:cNvSpPr>
            <p:nvPr/>
          </p:nvSpPr>
          <p:spPr bwMode="auto">
            <a:xfrm>
              <a:off x="1806" y="2698"/>
              <a:ext cx="32" cy="33"/>
            </a:xfrm>
            <a:custGeom>
              <a:avLst/>
              <a:gdLst>
                <a:gd name="T0" fmla="*/ 4 w 20"/>
                <a:gd name="T1" fmla="*/ 4 h 20"/>
                <a:gd name="T2" fmla="*/ 4 w 20"/>
                <a:gd name="T3" fmla="*/ 16 h 20"/>
                <a:gd name="T4" fmla="*/ 16 w 20"/>
                <a:gd name="T5" fmla="*/ 16 h 20"/>
                <a:gd name="T6" fmla="*/ 16 w 20"/>
                <a:gd name="T7" fmla="*/ 4 h 20"/>
                <a:gd name="T8" fmla="*/ 4 w 20"/>
                <a:gd name="T9" fmla="*/ 4 h 20"/>
              </a:gdLst>
              <a:ahLst/>
              <a:cxnLst>
                <a:cxn ang="0">
                  <a:pos x="T0" y="T1"/>
                </a:cxn>
                <a:cxn ang="0">
                  <a:pos x="T2" y="T3"/>
                </a:cxn>
                <a:cxn ang="0">
                  <a:pos x="T4" y="T5"/>
                </a:cxn>
                <a:cxn ang="0">
                  <a:pos x="T6" y="T7"/>
                </a:cxn>
                <a:cxn ang="0">
                  <a:pos x="T8" y="T9"/>
                </a:cxn>
              </a:cxnLst>
              <a:rect l="0" t="0" r="r" b="b"/>
              <a:pathLst>
                <a:path w="20" h="20">
                  <a:moveTo>
                    <a:pt x="4" y="4"/>
                  </a:moveTo>
                  <a:cubicBezTo>
                    <a:pt x="0" y="7"/>
                    <a:pt x="0" y="13"/>
                    <a:pt x="4" y="16"/>
                  </a:cubicBezTo>
                  <a:cubicBezTo>
                    <a:pt x="7" y="20"/>
                    <a:pt x="13" y="20"/>
                    <a:pt x="16" y="16"/>
                  </a:cubicBezTo>
                  <a:cubicBezTo>
                    <a:pt x="20" y="13"/>
                    <a:pt x="20" y="7"/>
                    <a:pt x="16" y="4"/>
                  </a:cubicBezTo>
                  <a:cubicBezTo>
                    <a:pt x="13" y="0"/>
                    <a:pt x="7" y="0"/>
                    <a:pt x="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44" name="Freeform 18">
              <a:extLst>
                <a:ext uri="{FF2B5EF4-FFF2-40B4-BE49-F238E27FC236}">
                  <a16:creationId xmlns:a16="http://schemas.microsoft.com/office/drawing/2014/main" id="{CDAC1BF5-3331-447D-9888-FF69AFDBE55A}"/>
                </a:ext>
              </a:extLst>
            </p:cNvPr>
            <p:cNvSpPr>
              <a:spLocks/>
            </p:cNvSpPr>
            <p:nvPr/>
          </p:nvSpPr>
          <p:spPr bwMode="auto">
            <a:xfrm>
              <a:off x="1758" y="2491"/>
              <a:ext cx="123" cy="6"/>
            </a:xfrm>
            <a:custGeom>
              <a:avLst/>
              <a:gdLst>
                <a:gd name="T0" fmla="*/ 1 w 75"/>
                <a:gd name="T1" fmla="*/ 4 h 4"/>
                <a:gd name="T2" fmla="*/ 73 w 75"/>
                <a:gd name="T3" fmla="*/ 4 h 4"/>
                <a:gd name="T4" fmla="*/ 75 w 75"/>
                <a:gd name="T5" fmla="*/ 2 h 4"/>
                <a:gd name="T6" fmla="*/ 73 w 75"/>
                <a:gd name="T7" fmla="*/ 0 h 4"/>
                <a:gd name="T8" fmla="*/ 1 w 75"/>
                <a:gd name="T9" fmla="*/ 0 h 4"/>
                <a:gd name="T10" fmla="*/ 0 w 75"/>
                <a:gd name="T11" fmla="*/ 2 h 4"/>
                <a:gd name="T12" fmla="*/ 1 w 7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5" h="4">
                  <a:moveTo>
                    <a:pt x="1" y="4"/>
                  </a:moveTo>
                  <a:cubicBezTo>
                    <a:pt x="73" y="4"/>
                    <a:pt x="73" y="4"/>
                    <a:pt x="73" y="4"/>
                  </a:cubicBezTo>
                  <a:cubicBezTo>
                    <a:pt x="74" y="4"/>
                    <a:pt x="75" y="3"/>
                    <a:pt x="75" y="2"/>
                  </a:cubicBezTo>
                  <a:cubicBezTo>
                    <a:pt x="75" y="1"/>
                    <a:pt x="74" y="0"/>
                    <a:pt x="73" y="0"/>
                  </a:cubicBezTo>
                  <a:cubicBezTo>
                    <a:pt x="1" y="0"/>
                    <a:pt x="1" y="0"/>
                    <a:pt x="1" y="0"/>
                  </a:cubicBezTo>
                  <a:cubicBezTo>
                    <a:pt x="1" y="0"/>
                    <a:pt x="0" y="1"/>
                    <a:pt x="0" y="2"/>
                  </a:cubicBezTo>
                  <a:cubicBezTo>
                    <a:pt x="0" y="3"/>
                    <a:pt x="1" y="4"/>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45" name="Freeform 19">
              <a:extLst>
                <a:ext uri="{FF2B5EF4-FFF2-40B4-BE49-F238E27FC236}">
                  <a16:creationId xmlns:a16="http://schemas.microsoft.com/office/drawing/2014/main" id="{129D05F9-B4CD-4565-BF2B-F1FC580DDE91}"/>
                </a:ext>
              </a:extLst>
            </p:cNvPr>
            <p:cNvSpPr>
              <a:spLocks/>
            </p:cNvSpPr>
            <p:nvPr/>
          </p:nvSpPr>
          <p:spPr bwMode="auto">
            <a:xfrm>
              <a:off x="1758" y="2544"/>
              <a:ext cx="245" cy="7"/>
            </a:xfrm>
            <a:custGeom>
              <a:avLst/>
              <a:gdLst>
                <a:gd name="T0" fmla="*/ 148 w 150"/>
                <a:gd name="T1" fmla="*/ 0 h 4"/>
                <a:gd name="T2" fmla="*/ 1 w 150"/>
                <a:gd name="T3" fmla="*/ 0 h 4"/>
                <a:gd name="T4" fmla="*/ 0 w 150"/>
                <a:gd name="T5" fmla="*/ 2 h 4"/>
                <a:gd name="T6" fmla="*/ 1 w 150"/>
                <a:gd name="T7" fmla="*/ 4 h 4"/>
                <a:gd name="T8" fmla="*/ 148 w 150"/>
                <a:gd name="T9" fmla="*/ 4 h 4"/>
                <a:gd name="T10" fmla="*/ 150 w 150"/>
                <a:gd name="T11" fmla="*/ 2 h 4"/>
                <a:gd name="T12" fmla="*/ 148 w 15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50" h="4">
                  <a:moveTo>
                    <a:pt x="148" y="0"/>
                  </a:moveTo>
                  <a:cubicBezTo>
                    <a:pt x="1" y="0"/>
                    <a:pt x="1" y="0"/>
                    <a:pt x="1" y="0"/>
                  </a:cubicBezTo>
                  <a:cubicBezTo>
                    <a:pt x="1" y="0"/>
                    <a:pt x="0" y="1"/>
                    <a:pt x="0" y="2"/>
                  </a:cubicBezTo>
                  <a:cubicBezTo>
                    <a:pt x="0" y="3"/>
                    <a:pt x="1" y="4"/>
                    <a:pt x="1" y="4"/>
                  </a:cubicBezTo>
                  <a:cubicBezTo>
                    <a:pt x="148" y="4"/>
                    <a:pt x="148" y="4"/>
                    <a:pt x="148" y="4"/>
                  </a:cubicBezTo>
                  <a:cubicBezTo>
                    <a:pt x="149" y="4"/>
                    <a:pt x="150" y="3"/>
                    <a:pt x="150" y="2"/>
                  </a:cubicBezTo>
                  <a:cubicBezTo>
                    <a:pt x="150" y="1"/>
                    <a:pt x="149" y="0"/>
                    <a:pt x="1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46" name="Freeform 20">
              <a:extLst>
                <a:ext uri="{FF2B5EF4-FFF2-40B4-BE49-F238E27FC236}">
                  <a16:creationId xmlns:a16="http://schemas.microsoft.com/office/drawing/2014/main" id="{5F0690B6-4BE1-4EB1-A233-09D211F60AF6}"/>
                </a:ext>
              </a:extLst>
            </p:cNvPr>
            <p:cNvSpPr>
              <a:spLocks/>
            </p:cNvSpPr>
            <p:nvPr/>
          </p:nvSpPr>
          <p:spPr bwMode="auto">
            <a:xfrm>
              <a:off x="1758" y="2598"/>
              <a:ext cx="238" cy="6"/>
            </a:xfrm>
            <a:custGeom>
              <a:avLst/>
              <a:gdLst>
                <a:gd name="T0" fmla="*/ 144 w 146"/>
                <a:gd name="T1" fmla="*/ 0 h 4"/>
                <a:gd name="T2" fmla="*/ 1 w 146"/>
                <a:gd name="T3" fmla="*/ 0 h 4"/>
                <a:gd name="T4" fmla="*/ 0 w 146"/>
                <a:gd name="T5" fmla="*/ 2 h 4"/>
                <a:gd name="T6" fmla="*/ 1 w 146"/>
                <a:gd name="T7" fmla="*/ 4 h 4"/>
                <a:gd name="T8" fmla="*/ 144 w 146"/>
                <a:gd name="T9" fmla="*/ 4 h 4"/>
                <a:gd name="T10" fmla="*/ 146 w 146"/>
                <a:gd name="T11" fmla="*/ 2 h 4"/>
                <a:gd name="T12" fmla="*/ 144 w 14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46" h="4">
                  <a:moveTo>
                    <a:pt x="144" y="0"/>
                  </a:moveTo>
                  <a:cubicBezTo>
                    <a:pt x="1" y="0"/>
                    <a:pt x="1" y="0"/>
                    <a:pt x="1" y="0"/>
                  </a:cubicBezTo>
                  <a:cubicBezTo>
                    <a:pt x="1" y="0"/>
                    <a:pt x="0" y="1"/>
                    <a:pt x="0" y="2"/>
                  </a:cubicBezTo>
                  <a:cubicBezTo>
                    <a:pt x="0" y="3"/>
                    <a:pt x="1" y="4"/>
                    <a:pt x="1" y="4"/>
                  </a:cubicBezTo>
                  <a:cubicBezTo>
                    <a:pt x="144" y="4"/>
                    <a:pt x="144" y="4"/>
                    <a:pt x="144" y="4"/>
                  </a:cubicBezTo>
                  <a:cubicBezTo>
                    <a:pt x="145" y="4"/>
                    <a:pt x="146" y="3"/>
                    <a:pt x="146" y="2"/>
                  </a:cubicBezTo>
                  <a:cubicBezTo>
                    <a:pt x="146" y="1"/>
                    <a:pt x="145" y="0"/>
                    <a:pt x="1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47" name="Freeform 21">
              <a:extLst>
                <a:ext uri="{FF2B5EF4-FFF2-40B4-BE49-F238E27FC236}">
                  <a16:creationId xmlns:a16="http://schemas.microsoft.com/office/drawing/2014/main" id="{61979961-DE2A-482C-8824-FE2918E56D73}"/>
                </a:ext>
              </a:extLst>
            </p:cNvPr>
            <p:cNvSpPr>
              <a:spLocks/>
            </p:cNvSpPr>
            <p:nvPr/>
          </p:nvSpPr>
          <p:spPr bwMode="auto">
            <a:xfrm>
              <a:off x="1758" y="2651"/>
              <a:ext cx="15" cy="7"/>
            </a:xfrm>
            <a:custGeom>
              <a:avLst/>
              <a:gdLst>
                <a:gd name="T0" fmla="*/ 8 w 9"/>
                <a:gd name="T1" fmla="*/ 4 h 4"/>
                <a:gd name="T2" fmla="*/ 9 w 9"/>
                <a:gd name="T3" fmla="*/ 2 h 4"/>
                <a:gd name="T4" fmla="*/ 8 w 9"/>
                <a:gd name="T5" fmla="*/ 0 h 4"/>
                <a:gd name="T6" fmla="*/ 1 w 9"/>
                <a:gd name="T7" fmla="*/ 0 h 4"/>
                <a:gd name="T8" fmla="*/ 0 w 9"/>
                <a:gd name="T9" fmla="*/ 2 h 4"/>
                <a:gd name="T10" fmla="*/ 1 w 9"/>
                <a:gd name="T11" fmla="*/ 4 h 4"/>
                <a:gd name="T12" fmla="*/ 8 w 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8" y="4"/>
                  </a:moveTo>
                  <a:cubicBezTo>
                    <a:pt x="9" y="4"/>
                    <a:pt x="9" y="3"/>
                    <a:pt x="9" y="2"/>
                  </a:cubicBezTo>
                  <a:cubicBezTo>
                    <a:pt x="9" y="1"/>
                    <a:pt x="9" y="0"/>
                    <a:pt x="8" y="0"/>
                  </a:cubicBezTo>
                  <a:cubicBezTo>
                    <a:pt x="1" y="0"/>
                    <a:pt x="1" y="0"/>
                    <a:pt x="1" y="0"/>
                  </a:cubicBezTo>
                  <a:cubicBezTo>
                    <a:pt x="1" y="0"/>
                    <a:pt x="0" y="1"/>
                    <a:pt x="0" y="2"/>
                  </a:cubicBezTo>
                  <a:cubicBezTo>
                    <a:pt x="0" y="3"/>
                    <a:pt x="1" y="4"/>
                    <a:pt x="1"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48" name="Freeform 22">
              <a:extLst>
                <a:ext uri="{FF2B5EF4-FFF2-40B4-BE49-F238E27FC236}">
                  <a16:creationId xmlns:a16="http://schemas.microsoft.com/office/drawing/2014/main" id="{CCD040B7-E10D-4899-8F1D-3906E0690B77}"/>
                </a:ext>
              </a:extLst>
            </p:cNvPr>
            <p:cNvSpPr>
              <a:spLocks/>
            </p:cNvSpPr>
            <p:nvPr/>
          </p:nvSpPr>
          <p:spPr bwMode="auto">
            <a:xfrm>
              <a:off x="1786" y="2651"/>
              <a:ext cx="23" cy="7"/>
            </a:xfrm>
            <a:custGeom>
              <a:avLst/>
              <a:gdLst>
                <a:gd name="T0" fmla="*/ 14 w 14"/>
                <a:gd name="T1" fmla="*/ 2 h 4"/>
                <a:gd name="T2" fmla="*/ 13 w 14"/>
                <a:gd name="T3" fmla="*/ 0 h 4"/>
                <a:gd name="T4" fmla="*/ 2 w 14"/>
                <a:gd name="T5" fmla="*/ 0 h 4"/>
                <a:gd name="T6" fmla="*/ 0 w 14"/>
                <a:gd name="T7" fmla="*/ 2 h 4"/>
                <a:gd name="T8" fmla="*/ 2 w 14"/>
                <a:gd name="T9" fmla="*/ 4 h 4"/>
                <a:gd name="T10" fmla="*/ 13 w 14"/>
                <a:gd name="T11" fmla="*/ 4 h 4"/>
                <a:gd name="T12" fmla="*/ 14 w 1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14" y="2"/>
                  </a:moveTo>
                  <a:cubicBezTo>
                    <a:pt x="14" y="1"/>
                    <a:pt x="14" y="0"/>
                    <a:pt x="13" y="0"/>
                  </a:cubicBezTo>
                  <a:cubicBezTo>
                    <a:pt x="2" y="0"/>
                    <a:pt x="2" y="0"/>
                    <a:pt x="2" y="0"/>
                  </a:cubicBezTo>
                  <a:cubicBezTo>
                    <a:pt x="1" y="0"/>
                    <a:pt x="0" y="1"/>
                    <a:pt x="0" y="2"/>
                  </a:cubicBezTo>
                  <a:cubicBezTo>
                    <a:pt x="0" y="3"/>
                    <a:pt x="1" y="4"/>
                    <a:pt x="2" y="4"/>
                  </a:cubicBezTo>
                  <a:cubicBezTo>
                    <a:pt x="13" y="4"/>
                    <a:pt x="13" y="4"/>
                    <a:pt x="13" y="4"/>
                  </a:cubicBezTo>
                  <a:cubicBezTo>
                    <a:pt x="14" y="4"/>
                    <a:pt x="14" y="3"/>
                    <a:pt x="1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49" name="Freeform 23">
              <a:extLst>
                <a:ext uri="{FF2B5EF4-FFF2-40B4-BE49-F238E27FC236}">
                  <a16:creationId xmlns:a16="http://schemas.microsoft.com/office/drawing/2014/main" id="{1CADC92E-4A54-41CE-8D1C-855A9C4A5F87}"/>
                </a:ext>
              </a:extLst>
            </p:cNvPr>
            <p:cNvSpPr>
              <a:spLocks/>
            </p:cNvSpPr>
            <p:nvPr/>
          </p:nvSpPr>
          <p:spPr bwMode="auto">
            <a:xfrm>
              <a:off x="1822" y="2651"/>
              <a:ext cx="23" cy="7"/>
            </a:xfrm>
            <a:custGeom>
              <a:avLst/>
              <a:gdLst>
                <a:gd name="T0" fmla="*/ 13 w 14"/>
                <a:gd name="T1" fmla="*/ 0 h 4"/>
                <a:gd name="T2" fmla="*/ 2 w 14"/>
                <a:gd name="T3" fmla="*/ 0 h 4"/>
                <a:gd name="T4" fmla="*/ 0 w 14"/>
                <a:gd name="T5" fmla="*/ 2 h 4"/>
                <a:gd name="T6" fmla="*/ 2 w 14"/>
                <a:gd name="T7" fmla="*/ 4 h 4"/>
                <a:gd name="T8" fmla="*/ 13 w 14"/>
                <a:gd name="T9" fmla="*/ 4 h 4"/>
                <a:gd name="T10" fmla="*/ 14 w 14"/>
                <a:gd name="T11" fmla="*/ 2 h 4"/>
                <a:gd name="T12" fmla="*/ 13 w 1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13" y="0"/>
                  </a:moveTo>
                  <a:cubicBezTo>
                    <a:pt x="2" y="0"/>
                    <a:pt x="2" y="0"/>
                    <a:pt x="2" y="0"/>
                  </a:cubicBezTo>
                  <a:cubicBezTo>
                    <a:pt x="1" y="0"/>
                    <a:pt x="0" y="1"/>
                    <a:pt x="0" y="2"/>
                  </a:cubicBezTo>
                  <a:cubicBezTo>
                    <a:pt x="0" y="3"/>
                    <a:pt x="1" y="4"/>
                    <a:pt x="2" y="4"/>
                  </a:cubicBezTo>
                  <a:cubicBezTo>
                    <a:pt x="13" y="4"/>
                    <a:pt x="13" y="4"/>
                    <a:pt x="13" y="4"/>
                  </a:cubicBezTo>
                  <a:cubicBezTo>
                    <a:pt x="14" y="4"/>
                    <a:pt x="14" y="3"/>
                    <a:pt x="14" y="2"/>
                  </a:cubicBezTo>
                  <a:cubicBezTo>
                    <a:pt x="14" y="1"/>
                    <a:pt x="14"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50" name="Freeform 24">
              <a:extLst>
                <a:ext uri="{FF2B5EF4-FFF2-40B4-BE49-F238E27FC236}">
                  <a16:creationId xmlns:a16="http://schemas.microsoft.com/office/drawing/2014/main" id="{11878577-7528-40AC-816D-ABB01BB06CEE}"/>
                </a:ext>
              </a:extLst>
            </p:cNvPr>
            <p:cNvSpPr>
              <a:spLocks/>
            </p:cNvSpPr>
            <p:nvPr/>
          </p:nvSpPr>
          <p:spPr bwMode="auto">
            <a:xfrm>
              <a:off x="1858" y="2651"/>
              <a:ext cx="16" cy="7"/>
            </a:xfrm>
            <a:custGeom>
              <a:avLst/>
              <a:gdLst>
                <a:gd name="T0" fmla="*/ 8 w 10"/>
                <a:gd name="T1" fmla="*/ 0 h 4"/>
                <a:gd name="T2" fmla="*/ 2 w 10"/>
                <a:gd name="T3" fmla="*/ 0 h 4"/>
                <a:gd name="T4" fmla="*/ 0 w 10"/>
                <a:gd name="T5" fmla="*/ 2 h 4"/>
                <a:gd name="T6" fmla="*/ 2 w 10"/>
                <a:gd name="T7" fmla="*/ 4 h 4"/>
                <a:gd name="T8" fmla="*/ 8 w 10"/>
                <a:gd name="T9" fmla="*/ 4 h 4"/>
                <a:gd name="T10" fmla="*/ 10 w 10"/>
                <a:gd name="T11" fmla="*/ 2 h 4"/>
                <a:gd name="T12" fmla="*/ 8 w 1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51" name="Freeform 25">
              <a:extLst>
                <a:ext uri="{FF2B5EF4-FFF2-40B4-BE49-F238E27FC236}">
                  <a16:creationId xmlns:a16="http://schemas.microsoft.com/office/drawing/2014/main" id="{28F73997-5F72-41AE-A46B-35B399BA94DB}"/>
                </a:ext>
              </a:extLst>
            </p:cNvPr>
            <p:cNvSpPr>
              <a:spLocks noEditPoints="1"/>
            </p:cNvSpPr>
            <p:nvPr/>
          </p:nvSpPr>
          <p:spPr bwMode="auto">
            <a:xfrm>
              <a:off x="1713" y="2344"/>
              <a:ext cx="327" cy="521"/>
            </a:xfrm>
            <a:custGeom>
              <a:avLst/>
              <a:gdLst>
                <a:gd name="T0" fmla="*/ 139 w 201"/>
                <a:gd name="T1" fmla="*/ 2 h 322"/>
                <a:gd name="T2" fmla="*/ 138 w 201"/>
                <a:gd name="T3" fmla="*/ 1 h 322"/>
                <a:gd name="T4" fmla="*/ 3 w 201"/>
                <a:gd name="T5" fmla="*/ 0 h 322"/>
                <a:gd name="T6" fmla="*/ 0 w 201"/>
                <a:gd name="T7" fmla="*/ 267 h 322"/>
                <a:gd name="T8" fmla="*/ 111 w 201"/>
                <a:gd name="T9" fmla="*/ 270 h 322"/>
                <a:gd name="T10" fmla="*/ 95 w 201"/>
                <a:gd name="T11" fmla="*/ 310 h 322"/>
                <a:gd name="T12" fmla="*/ 121 w 201"/>
                <a:gd name="T13" fmla="*/ 321 h 322"/>
                <a:gd name="T14" fmla="*/ 122 w 201"/>
                <a:gd name="T15" fmla="*/ 320 h 322"/>
                <a:gd name="T16" fmla="*/ 165 w 201"/>
                <a:gd name="T17" fmla="*/ 321 h 322"/>
                <a:gd name="T18" fmla="*/ 166 w 201"/>
                <a:gd name="T19" fmla="*/ 322 h 322"/>
                <a:gd name="T20" fmla="*/ 192 w 201"/>
                <a:gd name="T21" fmla="*/ 311 h 322"/>
                <a:gd name="T22" fmla="*/ 176 w 201"/>
                <a:gd name="T23" fmla="*/ 270 h 322"/>
                <a:gd name="T24" fmla="*/ 201 w 201"/>
                <a:gd name="T25" fmla="*/ 267 h 322"/>
                <a:gd name="T26" fmla="*/ 200 w 201"/>
                <a:gd name="T27" fmla="*/ 68 h 322"/>
                <a:gd name="T28" fmla="*/ 190 w 201"/>
                <a:gd name="T29" fmla="*/ 67 h 322"/>
                <a:gd name="T30" fmla="*/ 139 w 201"/>
                <a:gd name="T31" fmla="*/ 12 h 322"/>
                <a:gd name="T32" fmla="*/ 98 w 201"/>
                <a:gd name="T33" fmla="*/ 308 h 322"/>
                <a:gd name="T34" fmla="*/ 146 w 201"/>
                <a:gd name="T35" fmla="*/ 258 h 322"/>
                <a:gd name="T36" fmla="*/ 120 w 201"/>
                <a:gd name="T37" fmla="*/ 318 h 322"/>
                <a:gd name="T38" fmla="*/ 145 w 201"/>
                <a:gd name="T39" fmla="*/ 194 h 322"/>
                <a:gd name="T40" fmla="*/ 145 w 201"/>
                <a:gd name="T41" fmla="*/ 246 h 322"/>
                <a:gd name="T42" fmla="*/ 189 w 201"/>
                <a:gd name="T43" fmla="*/ 309 h 322"/>
                <a:gd name="T44" fmla="*/ 145 w 201"/>
                <a:gd name="T45" fmla="*/ 268 h 322"/>
                <a:gd name="T46" fmla="*/ 150 w 201"/>
                <a:gd name="T47" fmla="*/ 258 h 322"/>
                <a:gd name="T48" fmla="*/ 189 w 201"/>
                <a:gd name="T49" fmla="*/ 309 h 322"/>
                <a:gd name="T50" fmla="*/ 173 w 201"/>
                <a:gd name="T51" fmla="*/ 264 h 322"/>
                <a:gd name="T52" fmla="*/ 184 w 201"/>
                <a:gd name="T53" fmla="*/ 220 h 322"/>
                <a:gd name="T54" fmla="*/ 107 w 201"/>
                <a:gd name="T55" fmla="*/ 220 h 322"/>
                <a:gd name="T56" fmla="*/ 114 w 201"/>
                <a:gd name="T57" fmla="*/ 264 h 322"/>
                <a:gd name="T58" fmla="*/ 6 w 201"/>
                <a:gd name="T59" fmla="*/ 6 h 322"/>
                <a:gd name="T60" fmla="*/ 136 w 201"/>
                <a:gd name="T61" fmla="*/ 9 h 322"/>
                <a:gd name="T62" fmla="*/ 138 w 201"/>
                <a:gd name="T63" fmla="*/ 70 h 322"/>
                <a:gd name="T64" fmla="*/ 195 w 201"/>
                <a:gd name="T65" fmla="*/ 7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322">
                  <a:moveTo>
                    <a:pt x="200" y="68"/>
                  </a:moveTo>
                  <a:cubicBezTo>
                    <a:pt x="139" y="2"/>
                    <a:pt x="139" y="2"/>
                    <a:pt x="139" y="2"/>
                  </a:cubicBezTo>
                  <a:cubicBezTo>
                    <a:pt x="139" y="2"/>
                    <a:pt x="139" y="2"/>
                    <a:pt x="139" y="2"/>
                  </a:cubicBezTo>
                  <a:cubicBezTo>
                    <a:pt x="138" y="1"/>
                    <a:pt x="138" y="1"/>
                    <a:pt x="138" y="1"/>
                  </a:cubicBezTo>
                  <a:cubicBezTo>
                    <a:pt x="137" y="0"/>
                    <a:pt x="136" y="0"/>
                    <a:pt x="135" y="0"/>
                  </a:cubicBezTo>
                  <a:cubicBezTo>
                    <a:pt x="3" y="0"/>
                    <a:pt x="3" y="0"/>
                    <a:pt x="3" y="0"/>
                  </a:cubicBezTo>
                  <a:cubicBezTo>
                    <a:pt x="1" y="0"/>
                    <a:pt x="0" y="1"/>
                    <a:pt x="0" y="3"/>
                  </a:cubicBezTo>
                  <a:cubicBezTo>
                    <a:pt x="0" y="267"/>
                    <a:pt x="0" y="267"/>
                    <a:pt x="0" y="267"/>
                  </a:cubicBezTo>
                  <a:cubicBezTo>
                    <a:pt x="0" y="269"/>
                    <a:pt x="1" y="270"/>
                    <a:pt x="3" y="270"/>
                  </a:cubicBezTo>
                  <a:cubicBezTo>
                    <a:pt x="111" y="270"/>
                    <a:pt x="111" y="270"/>
                    <a:pt x="111" y="270"/>
                  </a:cubicBezTo>
                  <a:cubicBezTo>
                    <a:pt x="95" y="308"/>
                    <a:pt x="95" y="308"/>
                    <a:pt x="95" y="308"/>
                  </a:cubicBezTo>
                  <a:cubicBezTo>
                    <a:pt x="94" y="309"/>
                    <a:pt x="95" y="310"/>
                    <a:pt x="95" y="310"/>
                  </a:cubicBezTo>
                  <a:cubicBezTo>
                    <a:pt x="120" y="321"/>
                    <a:pt x="120" y="321"/>
                    <a:pt x="120" y="321"/>
                  </a:cubicBezTo>
                  <a:cubicBezTo>
                    <a:pt x="121" y="321"/>
                    <a:pt x="121" y="321"/>
                    <a:pt x="121" y="321"/>
                  </a:cubicBezTo>
                  <a:cubicBezTo>
                    <a:pt x="122" y="321"/>
                    <a:pt x="122" y="321"/>
                    <a:pt x="122" y="321"/>
                  </a:cubicBezTo>
                  <a:cubicBezTo>
                    <a:pt x="122" y="320"/>
                    <a:pt x="122" y="320"/>
                    <a:pt x="122" y="320"/>
                  </a:cubicBezTo>
                  <a:cubicBezTo>
                    <a:pt x="143" y="272"/>
                    <a:pt x="143" y="272"/>
                    <a:pt x="143" y="272"/>
                  </a:cubicBezTo>
                  <a:cubicBezTo>
                    <a:pt x="165" y="321"/>
                    <a:pt x="165" y="321"/>
                    <a:pt x="165" y="321"/>
                  </a:cubicBezTo>
                  <a:cubicBezTo>
                    <a:pt x="166" y="322"/>
                    <a:pt x="166" y="322"/>
                    <a:pt x="166" y="322"/>
                  </a:cubicBezTo>
                  <a:cubicBezTo>
                    <a:pt x="166" y="322"/>
                    <a:pt x="166" y="322"/>
                    <a:pt x="166" y="322"/>
                  </a:cubicBezTo>
                  <a:cubicBezTo>
                    <a:pt x="167" y="322"/>
                    <a:pt x="167" y="322"/>
                    <a:pt x="167" y="322"/>
                  </a:cubicBezTo>
                  <a:cubicBezTo>
                    <a:pt x="192" y="311"/>
                    <a:pt x="192" y="311"/>
                    <a:pt x="192" y="311"/>
                  </a:cubicBezTo>
                  <a:cubicBezTo>
                    <a:pt x="193" y="311"/>
                    <a:pt x="193" y="310"/>
                    <a:pt x="193" y="309"/>
                  </a:cubicBezTo>
                  <a:cubicBezTo>
                    <a:pt x="176" y="270"/>
                    <a:pt x="176" y="270"/>
                    <a:pt x="176" y="270"/>
                  </a:cubicBezTo>
                  <a:cubicBezTo>
                    <a:pt x="198" y="270"/>
                    <a:pt x="198" y="270"/>
                    <a:pt x="198" y="270"/>
                  </a:cubicBezTo>
                  <a:cubicBezTo>
                    <a:pt x="200" y="270"/>
                    <a:pt x="201" y="269"/>
                    <a:pt x="201" y="267"/>
                  </a:cubicBezTo>
                  <a:cubicBezTo>
                    <a:pt x="201" y="70"/>
                    <a:pt x="201" y="70"/>
                    <a:pt x="201" y="70"/>
                  </a:cubicBezTo>
                  <a:cubicBezTo>
                    <a:pt x="201" y="70"/>
                    <a:pt x="201" y="69"/>
                    <a:pt x="200" y="68"/>
                  </a:cubicBezTo>
                  <a:moveTo>
                    <a:pt x="139" y="12"/>
                  </a:moveTo>
                  <a:cubicBezTo>
                    <a:pt x="190" y="67"/>
                    <a:pt x="190" y="67"/>
                    <a:pt x="190" y="67"/>
                  </a:cubicBezTo>
                  <a:cubicBezTo>
                    <a:pt x="139" y="67"/>
                    <a:pt x="139" y="67"/>
                    <a:pt x="139" y="67"/>
                  </a:cubicBezTo>
                  <a:lnTo>
                    <a:pt x="139" y="12"/>
                  </a:lnTo>
                  <a:close/>
                  <a:moveTo>
                    <a:pt x="120" y="318"/>
                  </a:moveTo>
                  <a:cubicBezTo>
                    <a:pt x="98" y="308"/>
                    <a:pt x="98" y="308"/>
                    <a:pt x="98" y="308"/>
                  </a:cubicBezTo>
                  <a:cubicBezTo>
                    <a:pt x="123" y="251"/>
                    <a:pt x="123" y="251"/>
                    <a:pt x="123" y="251"/>
                  </a:cubicBezTo>
                  <a:cubicBezTo>
                    <a:pt x="129" y="255"/>
                    <a:pt x="138" y="258"/>
                    <a:pt x="146" y="258"/>
                  </a:cubicBezTo>
                  <a:cubicBezTo>
                    <a:pt x="143" y="264"/>
                    <a:pt x="143" y="264"/>
                    <a:pt x="143" y="264"/>
                  </a:cubicBezTo>
                  <a:lnTo>
                    <a:pt x="120" y="318"/>
                  </a:lnTo>
                  <a:close/>
                  <a:moveTo>
                    <a:pt x="120" y="220"/>
                  </a:moveTo>
                  <a:cubicBezTo>
                    <a:pt x="120" y="206"/>
                    <a:pt x="131" y="194"/>
                    <a:pt x="145" y="194"/>
                  </a:cubicBezTo>
                  <a:cubicBezTo>
                    <a:pt x="160" y="194"/>
                    <a:pt x="171" y="206"/>
                    <a:pt x="171" y="220"/>
                  </a:cubicBezTo>
                  <a:cubicBezTo>
                    <a:pt x="171" y="234"/>
                    <a:pt x="160" y="246"/>
                    <a:pt x="145" y="246"/>
                  </a:cubicBezTo>
                  <a:cubicBezTo>
                    <a:pt x="131" y="246"/>
                    <a:pt x="120" y="234"/>
                    <a:pt x="120" y="220"/>
                  </a:cubicBezTo>
                  <a:moveTo>
                    <a:pt x="189" y="309"/>
                  </a:moveTo>
                  <a:cubicBezTo>
                    <a:pt x="167" y="318"/>
                    <a:pt x="167" y="318"/>
                    <a:pt x="167" y="318"/>
                  </a:cubicBezTo>
                  <a:cubicBezTo>
                    <a:pt x="145" y="268"/>
                    <a:pt x="145" y="268"/>
                    <a:pt x="145" y="268"/>
                  </a:cubicBezTo>
                  <a:cubicBezTo>
                    <a:pt x="149" y="259"/>
                    <a:pt x="149" y="259"/>
                    <a:pt x="149" y="259"/>
                  </a:cubicBezTo>
                  <a:cubicBezTo>
                    <a:pt x="150" y="258"/>
                    <a:pt x="150" y="258"/>
                    <a:pt x="150" y="258"/>
                  </a:cubicBezTo>
                  <a:cubicBezTo>
                    <a:pt x="155" y="257"/>
                    <a:pt x="160" y="256"/>
                    <a:pt x="165" y="253"/>
                  </a:cubicBezTo>
                  <a:lnTo>
                    <a:pt x="189" y="309"/>
                  </a:lnTo>
                  <a:close/>
                  <a:moveTo>
                    <a:pt x="195" y="264"/>
                  </a:moveTo>
                  <a:cubicBezTo>
                    <a:pt x="173" y="264"/>
                    <a:pt x="173" y="264"/>
                    <a:pt x="173" y="264"/>
                  </a:cubicBezTo>
                  <a:cubicBezTo>
                    <a:pt x="167" y="251"/>
                    <a:pt x="167" y="251"/>
                    <a:pt x="167" y="251"/>
                  </a:cubicBezTo>
                  <a:cubicBezTo>
                    <a:pt x="177" y="244"/>
                    <a:pt x="184" y="233"/>
                    <a:pt x="184" y="220"/>
                  </a:cubicBezTo>
                  <a:cubicBezTo>
                    <a:pt x="184" y="199"/>
                    <a:pt x="167" y="182"/>
                    <a:pt x="145" y="182"/>
                  </a:cubicBezTo>
                  <a:cubicBezTo>
                    <a:pt x="124" y="182"/>
                    <a:pt x="107" y="199"/>
                    <a:pt x="107" y="220"/>
                  </a:cubicBezTo>
                  <a:cubicBezTo>
                    <a:pt x="107" y="232"/>
                    <a:pt x="112" y="242"/>
                    <a:pt x="121" y="249"/>
                  </a:cubicBezTo>
                  <a:cubicBezTo>
                    <a:pt x="114" y="264"/>
                    <a:pt x="114" y="264"/>
                    <a:pt x="114" y="264"/>
                  </a:cubicBezTo>
                  <a:cubicBezTo>
                    <a:pt x="6" y="264"/>
                    <a:pt x="6" y="264"/>
                    <a:pt x="6" y="264"/>
                  </a:cubicBezTo>
                  <a:cubicBezTo>
                    <a:pt x="6" y="6"/>
                    <a:pt x="6" y="6"/>
                    <a:pt x="6" y="6"/>
                  </a:cubicBezTo>
                  <a:cubicBezTo>
                    <a:pt x="134" y="6"/>
                    <a:pt x="134" y="6"/>
                    <a:pt x="134" y="6"/>
                  </a:cubicBezTo>
                  <a:cubicBezTo>
                    <a:pt x="136" y="9"/>
                    <a:pt x="136" y="9"/>
                    <a:pt x="136" y="9"/>
                  </a:cubicBezTo>
                  <a:cubicBezTo>
                    <a:pt x="136" y="69"/>
                    <a:pt x="136" y="69"/>
                    <a:pt x="136" y="69"/>
                  </a:cubicBezTo>
                  <a:cubicBezTo>
                    <a:pt x="136" y="69"/>
                    <a:pt x="137" y="70"/>
                    <a:pt x="138" y="70"/>
                  </a:cubicBezTo>
                  <a:cubicBezTo>
                    <a:pt x="193" y="70"/>
                    <a:pt x="193" y="70"/>
                    <a:pt x="193" y="70"/>
                  </a:cubicBezTo>
                  <a:cubicBezTo>
                    <a:pt x="195" y="72"/>
                    <a:pt x="195" y="72"/>
                    <a:pt x="195" y="72"/>
                  </a:cubicBezTo>
                  <a:lnTo>
                    <a:pt x="195"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52" name="Group 28">
            <a:extLst>
              <a:ext uri="{FF2B5EF4-FFF2-40B4-BE49-F238E27FC236}">
                <a16:creationId xmlns:a16="http://schemas.microsoft.com/office/drawing/2014/main" id="{905E810B-CC1C-47E8-B36F-31EEF1E9C142}"/>
              </a:ext>
            </a:extLst>
          </p:cNvPr>
          <p:cNvGrpSpPr>
            <a:grpSpLocks noChangeAspect="1"/>
          </p:cNvGrpSpPr>
          <p:nvPr/>
        </p:nvGrpSpPr>
        <p:grpSpPr bwMode="auto">
          <a:xfrm>
            <a:off x="8946719" y="3215043"/>
            <a:ext cx="771524" cy="757238"/>
            <a:chOff x="2921" y="1617"/>
            <a:chExt cx="486" cy="477"/>
          </a:xfrm>
          <a:solidFill>
            <a:schemeClr val="tx1"/>
          </a:solidFill>
        </p:grpSpPr>
        <p:sp>
          <p:nvSpPr>
            <p:cNvPr id="54" name="Freeform 29">
              <a:extLst>
                <a:ext uri="{FF2B5EF4-FFF2-40B4-BE49-F238E27FC236}">
                  <a16:creationId xmlns:a16="http://schemas.microsoft.com/office/drawing/2014/main" id="{84DD8E2B-B812-4782-8594-04693D06A78D}"/>
                </a:ext>
              </a:extLst>
            </p:cNvPr>
            <p:cNvSpPr>
              <a:spLocks noEditPoints="1"/>
            </p:cNvSpPr>
            <p:nvPr/>
          </p:nvSpPr>
          <p:spPr bwMode="auto">
            <a:xfrm>
              <a:off x="3095" y="1794"/>
              <a:ext cx="131" cy="131"/>
            </a:xfrm>
            <a:custGeom>
              <a:avLst/>
              <a:gdLst>
                <a:gd name="T0" fmla="*/ 70 w 81"/>
                <a:gd name="T1" fmla="*/ 70 h 81"/>
                <a:gd name="T2" fmla="*/ 81 w 81"/>
                <a:gd name="T3" fmla="*/ 42 h 81"/>
                <a:gd name="T4" fmla="*/ 70 w 81"/>
                <a:gd name="T5" fmla="*/ 15 h 81"/>
                <a:gd name="T6" fmla="*/ 15 w 81"/>
                <a:gd name="T7" fmla="*/ 15 h 81"/>
                <a:gd name="T8" fmla="*/ 15 w 81"/>
                <a:gd name="T9" fmla="*/ 70 h 81"/>
                <a:gd name="T10" fmla="*/ 42 w 81"/>
                <a:gd name="T11" fmla="*/ 81 h 81"/>
                <a:gd name="T12" fmla="*/ 70 w 81"/>
                <a:gd name="T13" fmla="*/ 70 h 81"/>
                <a:gd name="T14" fmla="*/ 23 w 81"/>
                <a:gd name="T15" fmla="*/ 23 h 81"/>
                <a:gd name="T16" fmla="*/ 42 w 81"/>
                <a:gd name="T17" fmla="*/ 15 h 81"/>
                <a:gd name="T18" fmla="*/ 62 w 81"/>
                <a:gd name="T19" fmla="*/ 23 h 81"/>
                <a:gd name="T20" fmla="*/ 70 w 81"/>
                <a:gd name="T21" fmla="*/ 42 h 81"/>
                <a:gd name="T22" fmla="*/ 62 w 81"/>
                <a:gd name="T23" fmla="*/ 62 h 81"/>
                <a:gd name="T24" fmla="*/ 23 w 81"/>
                <a:gd name="T25" fmla="*/ 62 h 81"/>
                <a:gd name="T26" fmla="*/ 23 w 81"/>
                <a:gd name="T27" fmla="*/ 2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1">
                  <a:moveTo>
                    <a:pt x="70" y="70"/>
                  </a:moveTo>
                  <a:cubicBezTo>
                    <a:pt x="77" y="62"/>
                    <a:pt x="81" y="53"/>
                    <a:pt x="81" y="42"/>
                  </a:cubicBezTo>
                  <a:cubicBezTo>
                    <a:pt x="81" y="32"/>
                    <a:pt x="77" y="22"/>
                    <a:pt x="70" y="15"/>
                  </a:cubicBezTo>
                  <a:cubicBezTo>
                    <a:pt x="55" y="0"/>
                    <a:pt x="30" y="0"/>
                    <a:pt x="15" y="15"/>
                  </a:cubicBezTo>
                  <a:cubicBezTo>
                    <a:pt x="0" y="30"/>
                    <a:pt x="0" y="55"/>
                    <a:pt x="15" y="70"/>
                  </a:cubicBezTo>
                  <a:cubicBezTo>
                    <a:pt x="22" y="77"/>
                    <a:pt x="32" y="81"/>
                    <a:pt x="42" y="81"/>
                  </a:cubicBezTo>
                  <a:cubicBezTo>
                    <a:pt x="53" y="81"/>
                    <a:pt x="63" y="77"/>
                    <a:pt x="70" y="70"/>
                  </a:cubicBezTo>
                  <a:moveTo>
                    <a:pt x="23" y="23"/>
                  </a:moveTo>
                  <a:cubicBezTo>
                    <a:pt x="28" y="18"/>
                    <a:pt x="35" y="15"/>
                    <a:pt x="42" y="15"/>
                  </a:cubicBezTo>
                  <a:cubicBezTo>
                    <a:pt x="50" y="15"/>
                    <a:pt x="57" y="18"/>
                    <a:pt x="62" y="23"/>
                  </a:cubicBezTo>
                  <a:cubicBezTo>
                    <a:pt x="67" y="28"/>
                    <a:pt x="70" y="35"/>
                    <a:pt x="70" y="42"/>
                  </a:cubicBezTo>
                  <a:cubicBezTo>
                    <a:pt x="70" y="50"/>
                    <a:pt x="67" y="57"/>
                    <a:pt x="62" y="62"/>
                  </a:cubicBezTo>
                  <a:cubicBezTo>
                    <a:pt x="52" y="72"/>
                    <a:pt x="33" y="72"/>
                    <a:pt x="23" y="62"/>
                  </a:cubicBezTo>
                  <a:cubicBezTo>
                    <a:pt x="12" y="51"/>
                    <a:pt x="12" y="34"/>
                    <a:pt x="23"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55" name="Freeform 30">
              <a:extLst>
                <a:ext uri="{FF2B5EF4-FFF2-40B4-BE49-F238E27FC236}">
                  <a16:creationId xmlns:a16="http://schemas.microsoft.com/office/drawing/2014/main" id="{AB46D687-7D3F-45DF-87B4-C3BB6721B275}"/>
                </a:ext>
              </a:extLst>
            </p:cNvPr>
            <p:cNvSpPr>
              <a:spLocks/>
            </p:cNvSpPr>
            <p:nvPr/>
          </p:nvSpPr>
          <p:spPr bwMode="auto">
            <a:xfrm>
              <a:off x="2921" y="1755"/>
              <a:ext cx="358" cy="339"/>
            </a:xfrm>
            <a:custGeom>
              <a:avLst/>
              <a:gdLst>
                <a:gd name="T0" fmla="*/ 204 w 221"/>
                <a:gd name="T1" fmla="*/ 179 h 209"/>
                <a:gd name="T2" fmla="*/ 201 w 221"/>
                <a:gd name="T3" fmla="*/ 188 h 209"/>
                <a:gd name="T4" fmla="*/ 56 w 221"/>
                <a:gd name="T5" fmla="*/ 160 h 209"/>
                <a:gd name="T6" fmla="*/ 29 w 221"/>
                <a:gd name="T7" fmla="*/ 11 h 209"/>
                <a:gd name="T8" fmla="*/ 33 w 221"/>
                <a:gd name="T9" fmla="*/ 20 h 209"/>
                <a:gd name="T10" fmla="*/ 36 w 221"/>
                <a:gd name="T11" fmla="*/ 13 h 209"/>
                <a:gd name="T12" fmla="*/ 31 w 221"/>
                <a:gd name="T13" fmla="*/ 0 h 209"/>
                <a:gd name="T14" fmla="*/ 19 w 221"/>
                <a:gd name="T15" fmla="*/ 5 h 209"/>
                <a:gd name="T16" fmla="*/ 15 w 221"/>
                <a:gd name="T17" fmla="*/ 12 h 209"/>
                <a:gd name="T18" fmla="*/ 24 w 221"/>
                <a:gd name="T19" fmla="*/ 9 h 209"/>
                <a:gd name="T20" fmla="*/ 52 w 221"/>
                <a:gd name="T21" fmla="*/ 164 h 209"/>
                <a:gd name="T22" fmla="*/ 150 w 221"/>
                <a:gd name="T23" fmla="*/ 205 h 209"/>
                <a:gd name="T24" fmla="*/ 204 w 221"/>
                <a:gd name="T25" fmla="*/ 193 h 209"/>
                <a:gd name="T26" fmla="*/ 217 w 221"/>
                <a:gd name="T27" fmla="*/ 193 h 209"/>
                <a:gd name="T28" fmla="*/ 217 w 221"/>
                <a:gd name="T29" fmla="*/ 179 h 209"/>
                <a:gd name="T30" fmla="*/ 204 w 221"/>
                <a:gd name="T31" fmla="*/ 17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09">
                  <a:moveTo>
                    <a:pt x="204" y="179"/>
                  </a:moveTo>
                  <a:cubicBezTo>
                    <a:pt x="201" y="181"/>
                    <a:pt x="201" y="185"/>
                    <a:pt x="201" y="188"/>
                  </a:cubicBezTo>
                  <a:cubicBezTo>
                    <a:pt x="152" y="209"/>
                    <a:pt x="94" y="199"/>
                    <a:pt x="56" y="160"/>
                  </a:cubicBezTo>
                  <a:cubicBezTo>
                    <a:pt x="16" y="121"/>
                    <a:pt x="6" y="61"/>
                    <a:pt x="29" y="11"/>
                  </a:cubicBezTo>
                  <a:cubicBezTo>
                    <a:pt x="33" y="20"/>
                    <a:pt x="33" y="20"/>
                    <a:pt x="33" y="20"/>
                  </a:cubicBezTo>
                  <a:cubicBezTo>
                    <a:pt x="36" y="13"/>
                    <a:pt x="36" y="13"/>
                    <a:pt x="36" y="13"/>
                  </a:cubicBezTo>
                  <a:cubicBezTo>
                    <a:pt x="31" y="0"/>
                    <a:pt x="31" y="0"/>
                    <a:pt x="31" y="0"/>
                  </a:cubicBezTo>
                  <a:cubicBezTo>
                    <a:pt x="19" y="5"/>
                    <a:pt x="19" y="5"/>
                    <a:pt x="19" y="5"/>
                  </a:cubicBezTo>
                  <a:cubicBezTo>
                    <a:pt x="15" y="12"/>
                    <a:pt x="15" y="12"/>
                    <a:pt x="15" y="12"/>
                  </a:cubicBezTo>
                  <a:cubicBezTo>
                    <a:pt x="24" y="9"/>
                    <a:pt x="24" y="9"/>
                    <a:pt x="24" y="9"/>
                  </a:cubicBezTo>
                  <a:cubicBezTo>
                    <a:pt x="0" y="61"/>
                    <a:pt x="11" y="123"/>
                    <a:pt x="52" y="164"/>
                  </a:cubicBezTo>
                  <a:cubicBezTo>
                    <a:pt x="78" y="191"/>
                    <a:pt x="114" y="205"/>
                    <a:pt x="150" y="205"/>
                  </a:cubicBezTo>
                  <a:cubicBezTo>
                    <a:pt x="168" y="205"/>
                    <a:pt x="187" y="201"/>
                    <a:pt x="204" y="193"/>
                  </a:cubicBezTo>
                  <a:cubicBezTo>
                    <a:pt x="208" y="196"/>
                    <a:pt x="214" y="196"/>
                    <a:pt x="217" y="193"/>
                  </a:cubicBezTo>
                  <a:cubicBezTo>
                    <a:pt x="221" y="189"/>
                    <a:pt x="221" y="183"/>
                    <a:pt x="217" y="179"/>
                  </a:cubicBezTo>
                  <a:cubicBezTo>
                    <a:pt x="214" y="175"/>
                    <a:pt x="208" y="175"/>
                    <a:pt x="204"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56" name="Freeform 31">
              <a:extLst>
                <a:ext uri="{FF2B5EF4-FFF2-40B4-BE49-F238E27FC236}">
                  <a16:creationId xmlns:a16="http://schemas.microsoft.com/office/drawing/2014/main" id="{5D2C8C05-3A02-4781-958C-991A46D6AD96}"/>
                </a:ext>
              </a:extLst>
            </p:cNvPr>
            <p:cNvSpPr>
              <a:spLocks/>
            </p:cNvSpPr>
            <p:nvPr/>
          </p:nvSpPr>
          <p:spPr bwMode="auto">
            <a:xfrm>
              <a:off x="3018" y="1617"/>
              <a:ext cx="389" cy="363"/>
            </a:xfrm>
            <a:custGeom>
              <a:avLst/>
              <a:gdLst>
                <a:gd name="T0" fmla="*/ 187 w 240"/>
                <a:gd name="T1" fmla="*/ 54 h 224"/>
                <a:gd name="T2" fmla="*/ 18 w 240"/>
                <a:gd name="T3" fmla="*/ 33 h 224"/>
                <a:gd name="T4" fmla="*/ 10 w 240"/>
                <a:gd name="T5" fmla="*/ 29 h 224"/>
                <a:gd name="T6" fmla="*/ 0 w 240"/>
                <a:gd name="T7" fmla="*/ 38 h 224"/>
                <a:gd name="T8" fmla="*/ 10 w 240"/>
                <a:gd name="T9" fmla="*/ 48 h 224"/>
                <a:gd name="T10" fmla="*/ 19 w 240"/>
                <a:gd name="T11" fmla="*/ 39 h 224"/>
                <a:gd name="T12" fmla="*/ 183 w 240"/>
                <a:gd name="T13" fmla="*/ 58 h 224"/>
                <a:gd name="T14" fmla="*/ 207 w 240"/>
                <a:gd name="T15" fmla="*/ 213 h 224"/>
                <a:gd name="T16" fmla="*/ 204 w 240"/>
                <a:gd name="T17" fmla="*/ 204 h 224"/>
                <a:gd name="T18" fmla="*/ 200 w 240"/>
                <a:gd name="T19" fmla="*/ 211 h 224"/>
                <a:gd name="T20" fmla="*/ 204 w 240"/>
                <a:gd name="T21" fmla="*/ 224 h 224"/>
                <a:gd name="T22" fmla="*/ 217 w 240"/>
                <a:gd name="T23" fmla="*/ 221 h 224"/>
                <a:gd name="T24" fmla="*/ 221 w 240"/>
                <a:gd name="T25" fmla="*/ 214 h 224"/>
                <a:gd name="T26" fmla="*/ 211 w 240"/>
                <a:gd name="T27" fmla="*/ 216 h 224"/>
                <a:gd name="T28" fmla="*/ 187 w 240"/>
                <a:gd name="T29" fmla="*/ 5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224">
                  <a:moveTo>
                    <a:pt x="187" y="54"/>
                  </a:moveTo>
                  <a:cubicBezTo>
                    <a:pt x="141" y="8"/>
                    <a:pt x="72" y="0"/>
                    <a:pt x="18" y="33"/>
                  </a:cubicBezTo>
                  <a:cubicBezTo>
                    <a:pt x="16" y="31"/>
                    <a:pt x="13" y="29"/>
                    <a:pt x="10" y="29"/>
                  </a:cubicBezTo>
                  <a:cubicBezTo>
                    <a:pt x="4" y="29"/>
                    <a:pt x="0" y="33"/>
                    <a:pt x="0" y="38"/>
                  </a:cubicBezTo>
                  <a:cubicBezTo>
                    <a:pt x="0" y="44"/>
                    <a:pt x="4" y="48"/>
                    <a:pt x="10" y="48"/>
                  </a:cubicBezTo>
                  <a:cubicBezTo>
                    <a:pt x="15" y="48"/>
                    <a:pt x="19" y="44"/>
                    <a:pt x="19" y="39"/>
                  </a:cubicBezTo>
                  <a:cubicBezTo>
                    <a:pt x="71" y="6"/>
                    <a:pt x="139" y="13"/>
                    <a:pt x="183" y="58"/>
                  </a:cubicBezTo>
                  <a:cubicBezTo>
                    <a:pt x="225" y="99"/>
                    <a:pt x="234" y="162"/>
                    <a:pt x="207" y="213"/>
                  </a:cubicBezTo>
                  <a:cubicBezTo>
                    <a:pt x="204" y="204"/>
                    <a:pt x="204" y="204"/>
                    <a:pt x="204" y="204"/>
                  </a:cubicBezTo>
                  <a:cubicBezTo>
                    <a:pt x="200" y="211"/>
                    <a:pt x="200" y="211"/>
                    <a:pt x="200" y="211"/>
                  </a:cubicBezTo>
                  <a:cubicBezTo>
                    <a:pt x="204" y="224"/>
                    <a:pt x="204" y="224"/>
                    <a:pt x="204" y="224"/>
                  </a:cubicBezTo>
                  <a:cubicBezTo>
                    <a:pt x="217" y="221"/>
                    <a:pt x="217" y="221"/>
                    <a:pt x="217" y="221"/>
                  </a:cubicBezTo>
                  <a:cubicBezTo>
                    <a:pt x="221" y="214"/>
                    <a:pt x="221" y="214"/>
                    <a:pt x="221" y="214"/>
                  </a:cubicBezTo>
                  <a:cubicBezTo>
                    <a:pt x="211" y="216"/>
                    <a:pt x="211" y="216"/>
                    <a:pt x="211" y="216"/>
                  </a:cubicBezTo>
                  <a:cubicBezTo>
                    <a:pt x="240" y="163"/>
                    <a:pt x="230" y="97"/>
                    <a:pt x="187"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57" name="Group 34">
            <a:extLst>
              <a:ext uri="{FF2B5EF4-FFF2-40B4-BE49-F238E27FC236}">
                <a16:creationId xmlns:a16="http://schemas.microsoft.com/office/drawing/2014/main" id="{BB5A57EC-4F2C-4544-80EB-A12F41EECC56}"/>
              </a:ext>
            </a:extLst>
          </p:cNvPr>
          <p:cNvGrpSpPr>
            <a:grpSpLocks noChangeAspect="1"/>
          </p:cNvGrpSpPr>
          <p:nvPr/>
        </p:nvGrpSpPr>
        <p:grpSpPr bwMode="auto">
          <a:xfrm>
            <a:off x="1513820" y="4631297"/>
            <a:ext cx="693737" cy="693737"/>
            <a:chOff x="4307" y="1645"/>
            <a:chExt cx="437" cy="437"/>
          </a:xfrm>
          <a:solidFill>
            <a:schemeClr val="tx1"/>
          </a:solidFill>
        </p:grpSpPr>
        <p:sp>
          <p:nvSpPr>
            <p:cNvPr id="59" name="Freeform 35">
              <a:extLst>
                <a:ext uri="{FF2B5EF4-FFF2-40B4-BE49-F238E27FC236}">
                  <a16:creationId xmlns:a16="http://schemas.microsoft.com/office/drawing/2014/main" id="{83C1A9EF-C00E-47E3-9C84-364A53F7A14E}"/>
                </a:ext>
              </a:extLst>
            </p:cNvPr>
            <p:cNvSpPr>
              <a:spLocks noEditPoints="1"/>
            </p:cNvSpPr>
            <p:nvPr/>
          </p:nvSpPr>
          <p:spPr bwMode="auto">
            <a:xfrm>
              <a:off x="4307" y="1645"/>
              <a:ext cx="437" cy="437"/>
            </a:xfrm>
            <a:custGeom>
              <a:avLst/>
              <a:gdLst>
                <a:gd name="T0" fmla="*/ 0 w 269"/>
                <a:gd name="T1" fmla="*/ 134 h 269"/>
                <a:gd name="T2" fmla="*/ 269 w 269"/>
                <a:gd name="T3" fmla="*/ 134 h 269"/>
                <a:gd name="T4" fmla="*/ 135 w 269"/>
                <a:gd name="T5" fmla="*/ 6 h 269"/>
                <a:gd name="T6" fmla="*/ 169 w 269"/>
                <a:gd name="T7" fmla="*/ 30 h 269"/>
                <a:gd name="T8" fmla="*/ 177 w 269"/>
                <a:gd name="T9" fmla="*/ 41 h 269"/>
                <a:gd name="T10" fmla="*/ 170 w 269"/>
                <a:gd name="T11" fmla="*/ 74 h 269"/>
                <a:gd name="T12" fmla="*/ 170 w 269"/>
                <a:gd name="T13" fmla="*/ 115 h 269"/>
                <a:gd name="T14" fmla="*/ 128 w 269"/>
                <a:gd name="T15" fmla="*/ 81 h 269"/>
                <a:gd name="T16" fmla="*/ 107 w 269"/>
                <a:gd name="T17" fmla="*/ 95 h 269"/>
                <a:gd name="T18" fmla="*/ 68 w 269"/>
                <a:gd name="T19" fmla="*/ 82 h 269"/>
                <a:gd name="T20" fmla="*/ 55 w 269"/>
                <a:gd name="T21" fmla="*/ 63 h 269"/>
                <a:gd name="T22" fmla="*/ 135 w 269"/>
                <a:gd name="T23" fmla="*/ 6 h 269"/>
                <a:gd name="T24" fmla="*/ 81 w 269"/>
                <a:gd name="T25" fmla="*/ 125 h 269"/>
                <a:gd name="T26" fmla="*/ 72 w 269"/>
                <a:gd name="T27" fmla="*/ 93 h 269"/>
                <a:gd name="T28" fmla="*/ 79 w 269"/>
                <a:gd name="T29" fmla="*/ 103 h 269"/>
                <a:gd name="T30" fmla="*/ 98 w 269"/>
                <a:gd name="T31" fmla="*/ 106 h 269"/>
                <a:gd name="T32" fmla="*/ 97 w 269"/>
                <a:gd name="T33" fmla="*/ 103 h 269"/>
                <a:gd name="T34" fmla="*/ 75 w 269"/>
                <a:gd name="T35" fmla="*/ 92 h 269"/>
                <a:gd name="T36" fmla="*/ 97 w 269"/>
                <a:gd name="T37" fmla="*/ 103 h 269"/>
                <a:gd name="T38" fmla="*/ 85 w 269"/>
                <a:gd name="T39" fmla="*/ 253 h 269"/>
                <a:gd name="T40" fmla="*/ 81 w 269"/>
                <a:gd name="T41" fmla="*/ 242 h 269"/>
                <a:gd name="T42" fmla="*/ 81 w 269"/>
                <a:gd name="T43" fmla="*/ 251 h 269"/>
                <a:gd name="T44" fmla="*/ 27 w 269"/>
                <a:gd name="T45" fmla="*/ 65 h 269"/>
                <a:gd name="T46" fmla="*/ 66 w 269"/>
                <a:gd name="T47" fmla="*/ 83 h 269"/>
                <a:gd name="T48" fmla="*/ 81 w 269"/>
                <a:gd name="T49" fmla="*/ 137 h 269"/>
                <a:gd name="T50" fmla="*/ 108 w 269"/>
                <a:gd name="T51" fmla="*/ 98 h 269"/>
                <a:gd name="T52" fmla="*/ 138 w 269"/>
                <a:gd name="T53" fmla="*/ 99 h 269"/>
                <a:gd name="T54" fmla="*/ 169 w 269"/>
                <a:gd name="T55" fmla="*/ 118 h 269"/>
                <a:gd name="T56" fmla="*/ 170 w 269"/>
                <a:gd name="T57" fmla="*/ 118 h 269"/>
                <a:gd name="T58" fmla="*/ 180 w 269"/>
                <a:gd name="T59" fmla="*/ 113 h 269"/>
                <a:gd name="T60" fmla="*/ 180 w 269"/>
                <a:gd name="T61" fmla="*/ 41 h 269"/>
                <a:gd name="T62" fmla="*/ 172 w 269"/>
                <a:gd name="T63" fmla="*/ 30 h 269"/>
                <a:gd name="T64" fmla="*/ 263 w 269"/>
                <a:gd name="T65" fmla="*/ 134 h 269"/>
                <a:gd name="T66" fmla="*/ 240 w 269"/>
                <a:gd name="T67" fmla="*/ 194 h 269"/>
                <a:gd name="T68" fmla="*/ 239 w 269"/>
                <a:gd name="T69" fmla="*/ 197 h 269"/>
                <a:gd name="T70" fmla="*/ 135 w 269"/>
                <a:gd name="T71" fmla="*/ 26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9" h="269">
                  <a:moveTo>
                    <a:pt x="135" y="0"/>
                  </a:moveTo>
                  <a:cubicBezTo>
                    <a:pt x="61" y="0"/>
                    <a:pt x="0" y="60"/>
                    <a:pt x="0" y="134"/>
                  </a:cubicBezTo>
                  <a:cubicBezTo>
                    <a:pt x="0" y="208"/>
                    <a:pt x="61" y="269"/>
                    <a:pt x="135" y="269"/>
                  </a:cubicBezTo>
                  <a:cubicBezTo>
                    <a:pt x="209" y="269"/>
                    <a:pt x="269" y="208"/>
                    <a:pt x="269" y="134"/>
                  </a:cubicBezTo>
                  <a:cubicBezTo>
                    <a:pt x="269" y="60"/>
                    <a:pt x="209" y="0"/>
                    <a:pt x="135" y="0"/>
                  </a:cubicBezTo>
                  <a:moveTo>
                    <a:pt x="135" y="6"/>
                  </a:moveTo>
                  <a:cubicBezTo>
                    <a:pt x="149" y="6"/>
                    <a:pt x="162" y="8"/>
                    <a:pt x="175" y="13"/>
                  </a:cubicBezTo>
                  <a:cubicBezTo>
                    <a:pt x="169" y="30"/>
                    <a:pt x="169" y="30"/>
                    <a:pt x="169" y="30"/>
                  </a:cubicBezTo>
                  <a:cubicBezTo>
                    <a:pt x="169" y="31"/>
                    <a:pt x="169" y="31"/>
                    <a:pt x="169" y="31"/>
                  </a:cubicBezTo>
                  <a:cubicBezTo>
                    <a:pt x="177" y="41"/>
                    <a:pt x="177" y="41"/>
                    <a:pt x="177" y="41"/>
                  </a:cubicBezTo>
                  <a:cubicBezTo>
                    <a:pt x="170" y="73"/>
                    <a:pt x="170" y="73"/>
                    <a:pt x="170" y="73"/>
                  </a:cubicBezTo>
                  <a:cubicBezTo>
                    <a:pt x="170" y="74"/>
                    <a:pt x="170" y="74"/>
                    <a:pt x="170" y="74"/>
                  </a:cubicBezTo>
                  <a:cubicBezTo>
                    <a:pt x="177" y="113"/>
                    <a:pt x="177" y="113"/>
                    <a:pt x="177" y="113"/>
                  </a:cubicBezTo>
                  <a:cubicBezTo>
                    <a:pt x="170" y="115"/>
                    <a:pt x="170" y="115"/>
                    <a:pt x="170" y="115"/>
                  </a:cubicBezTo>
                  <a:cubicBezTo>
                    <a:pt x="140" y="97"/>
                    <a:pt x="140" y="97"/>
                    <a:pt x="140" y="97"/>
                  </a:cubicBezTo>
                  <a:cubicBezTo>
                    <a:pt x="128" y="81"/>
                    <a:pt x="128" y="81"/>
                    <a:pt x="128" y="81"/>
                  </a:cubicBezTo>
                  <a:cubicBezTo>
                    <a:pt x="128" y="81"/>
                    <a:pt x="127" y="81"/>
                    <a:pt x="126" y="81"/>
                  </a:cubicBezTo>
                  <a:cubicBezTo>
                    <a:pt x="107" y="95"/>
                    <a:pt x="107" y="95"/>
                    <a:pt x="107" y="95"/>
                  </a:cubicBezTo>
                  <a:cubicBezTo>
                    <a:pt x="103" y="86"/>
                    <a:pt x="93" y="79"/>
                    <a:pt x="81" y="79"/>
                  </a:cubicBezTo>
                  <a:cubicBezTo>
                    <a:pt x="76" y="79"/>
                    <a:pt x="72" y="80"/>
                    <a:pt x="68" y="82"/>
                  </a:cubicBezTo>
                  <a:cubicBezTo>
                    <a:pt x="56" y="64"/>
                    <a:pt x="56" y="64"/>
                    <a:pt x="56" y="64"/>
                  </a:cubicBezTo>
                  <a:cubicBezTo>
                    <a:pt x="55" y="63"/>
                    <a:pt x="55" y="63"/>
                    <a:pt x="55" y="63"/>
                  </a:cubicBezTo>
                  <a:cubicBezTo>
                    <a:pt x="28" y="63"/>
                    <a:pt x="28" y="63"/>
                    <a:pt x="28" y="63"/>
                  </a:cubicBezTo>
                  <a:cubicBezTo>
                    <a:pt x="52" y="29"/>
                    <a:pt x="91" y="6"/>
                    <a:pt x="135" y="6"/>
                  </a:cubicBezTo>
                  <a:moveTo>
                    <a:pt x="98" y="108"/>
                  </a:moveTo>
                  <a:cubicBezTo>
                    <a:pt x="98" y="117"/>
                    <a:pt x="91" y="125"/>
                    <a:pt x="81" y="125"/>
                  </a:cubicBezTo>
                  <a:cubicBezTo>
                    <a:pt x="72" y="125"/>
                    <a:pt x="64" y="117"/>
                    <a:pt x="64" y="108"/>
                  </a:cubicBezTo>
                  <a:cubicBezTo>
                    <a:pt x="64" y="102"/>
                    <a:pt x="67" y="96"/>
                    <a:pt x="72" y="93"/>
                  </a:cubicBezTo>
                  <a:cubicBezTo>
                    <a:pt x="78" y="102"/>
                    <a:pt x="78" y="102"/>
                    <a:pt x="78" y="102"/>
                  </a:cubicBezTo>
                  <a:cubicBezTo>
                    <a:pt x="79" y="103"/>
                    <a:pt x="79" y="103"/>
                    <a:pt x="79" y="103"/>
                  </a:cubicBezTo>
                  <a:cubicBezTo>
                    <a:pt x="97" y="106"/>
                    <a:pt x="97" y="106"/>
                    <a:pt x="97" y="106"/>
                  </a:cubicBezTo>
                  <a:cubicBezTo>
                    <a:pt x="98" y="106"/>
                    <a:pt x="98" y="106"/>
                    <a:pt x="98" y="106"/>
                  </a:cubicBezTo>
                  <a:cubicBezTo>
                    <a:pt x="98" y="108"/>
                    <a:pt x="98" y="108"/>
                    <a:pt x="98" y="108"/>
                  </a:cubicBezTo>
                  <a:moveTo>
                    <a:pt x="97" y="103"/>
                  </a:moveTo>
                  <a:cubicBezTo>
                    <a:pt x="80" y="100"/>
                    <a:pt x="80" y="100"/>
                    <a:pt x="80" y="100"/>
                  </a:cubicBezTo>
                  <a:cubicBezTo>
                    <a:pt x="75" y="92"/>
                    <a:pt x="75" y="92"/>
                    <a:pt x="75" y="92"/>
                  </a:cubicBezTo>
                  <a:cubicBezTo>
                    <a:pt x="77" y="91"/>
                    <a:pt x="79" y="91"/>
                    <a:pt x="81" y="91"/>
                  </a:cubicBezTo>
                  <a:cubicBezTo>
                    <a:pt x="89" y="91"/>
                    <a:pt x="95" y="96"/>
                    <a:pt x="97" y="103"/>
                  </a:cubicBezTo>
                  <a:close/>
                  <a:moveTo>
                    <a:pt x="135" y="263"/>
                  </a:moveTo>
                  <a:cubicBezTo>
                    <a:pt x="117" y="263"/>
                    <a:pt x="100" y="259"/>
                    <a:pt x="85" y="253"/>
                  </a:cubicBezTo>
                  <a:cubicBezTo>
                    <a:pt x="83" y="243"/>
                    <a:pt x="83" y="243"/>
                    <a:pt x="83" y="243"/>
                  </a:cubicBezTo>
                  <a:cubicBezTo>
                    <a:pt x="83" y="243"/>
                    <a:pt x="82" y="242"/>
                    <a:pt x="81" y="242"/>
                  </a:cubicBezTo>
                  <a:cubicBezTo>
                    <a:pt x="80" y="243"/>
                    <a:pt x="80" y="243"/>
                    <a:pt x="80" y="244"/>
                  </a:cubicBezTo>
                  <a:cubicBezTo>
                    <a:pt x="81" y="251"/>
                    <a:pt x="81" y="251"/>
                    <a:pt x="81" y="251"/>
                  </a:cubicBezTo>
                  <a:cubicBezTo>
                    <a:pt x="37" y="231"/>
                    <a:pt x="6" y="186"/>
                    <a:pt x="6" y="134"/>
                  </a:cubicBezTo>
                  <a:cubicBezTo>
                    <a:pt x="6" y="109"/>
                    <a:pt x="14" y="85"/>
                    <a:pt x="27" y="65"/>
                  </a:cubicBezTo>
                  <a:cubicBezTo>
                    <a:pt x="54" y="66"/>
                    <a:pt x="54" y="66"/>
                    <a:pt x="54" y="66"/>
                  </a:cubicBezTo>
                  <a:cubicBezTo>
                    <a:pt x="66" y="83"/>
                    <a:pt x="66" y="83"/>
                    <a:pt x="66" y="83"/>
                  </a:cubicBezTo>
                  <a:cubicBezTo>
                    <a:pt x="57" y="88"/>
                    <a:pt x="52" y="97"/>
                    <a:pt x="52" y="108"/>
                  </a:cubicBezTo>
                  <a:cubicBezTo>
                    <a:pt x="52" y="124"/>
                    <a:pt x="65" y="137"/>
                    <a:pt x="81" y="137"/>
                  </a:cubicBezTo>
                  <a:cubicBezTo>
                    <a:pt x="97" y="137"/>
                    <a:pt x="110" y="124"/>
                    <a:pt x="110" y="108"/>
                  </a:cubicBezTo>
                  <a:cubicBezTo>
                    <a:pt x="110" y="104"/>
                    <a:pt x="109" y="101"/>
                    <a:pt x="108" y="98"/>
                  </a:cubicBezTo>
                  <a:cubicBezTo>
                    <a:pt x="127" y="84"/>
                    <a:pt x="127" y="84"/>
                    <a:pt x="127" y="84"/>
                  </a:cubicBezTo>
                  <a:cubicBezTo>
                    <a:pt x="138" y="99"/>
                    <a:pt x="138" y="99"/>
                    <a:pt x="138" y="99"/>
                  </a:cubicBezTo>
                  <a:cubicBezTo>
                    <a:pt x="138" y="99"/>
                    <a:pt x="138" y="99"/>
                    <a:pt x="138" y="99"/>
                  </a:cubicBezTo>
                  <a:cubicBezTo>
                    <a:pt x="169" y="118"/>
                    <a:pt x="169" y="118"/>
                    <a:pt x="169" y="118"/>
                  </a:cubicBezTo>
                  <a:cubicBezTo>
                    <a:pt x="170" y="118"/>
                    <a:pt x="170" y="118"/>
                    <a:pt x="170" y="118"/>
                  </a:cubicBezTo>
                  <a:cubicBezTo>
                    <a:pt x="170" y="118"/>
                    <a:pt x="170" y="118"/>
                    <a:pt x="170" y="118"/>
                  </a:cubicBezTo>
                  <a:cubicBezTo>
                    <a:pt x="179" y="115"/>
                    <a:pt x="179" y="115"/>
                    <a:pt x="179" y="115"/>
                  </a:cubicBezTo>
                  <a:cubicBezTo>
                    <a:pt x="180" y="115"/>
                    <a:pt x="180" y="114"/>
                    <a:pt x="180" y="113"/>
                  </a:cubicBezTo>
                  <a:cubicBezTo>
                    <a:pt x="173" y="73"/>
                    <a:pt x="173" y="73"/>
                    <a:pt x="173" y="73"/>
                  </a:cubicBezTo>
                  <a:cubicBezTo>
                    <a:pt x="180" y="41"/>
                    <a:pt x="180" y="41"/>
                    <a:pt x="180" y="41"/>
                  </a:cubicBezTo>
                  <a:cubicBezTo>
                    <a:pt x="180" y="39"/>
                    <a:pt x="180" y="39"/>
                    <a:pt x="180" y="39"/>
                  </a:cubicBezTo>
                  <a:cubicBezTo>
                    <a:pt x="172" y="30"/>
                    <a:pt x="172" y="30"/>
                    <a:pt x="172" y="30"/>
                  </a:cubicBezTo>
                  <a:cubicBezTo>
                    <a:pt x="177" y="14"/>
                    <a:pt x="177" y="14"/>
                    <a:pt x="177" y="14"/>
                  </a:cubicBezTo>
                  <a:cubicBezTo>
                    <a:pt x="227" y="31"/>
                    <a:pt x="263" y="79"/>
                    <a:pt x="263" y="134"/>
                  </a:cubicBezTo>
                  <a:cubicBezTo>
                    <a:pt x="263" y="157"/>
                    <a:pt x="257" y="179"/>
                    <a:pt x="246" y="198"/>
                  </a:cubicBezTo>
                  <a:cubicBezTo>
                    <a:pt x="240" y="194"/>
                    <a:pt x="240" y="194"/>
                    <a:pt x="240" y="194"/>
                  </a:cubicBezTo>
                  <a:cubicBezTo>
                    <a:pt x="239" y="194"/>
                    <a:pt x="238" y="194"/>
                    <a:pt x="238" y="195"/>
                  </a:cubicBezTo>
                  <a:cubicBezTo>
                    <a:pt x="238" y="195"/>
                    <a:pt x="238" y="196"/>
                    <a:pt x="239" y="197"/>
                  </a:cubicBezTo>
                  <a:cubicBezTo>
                    <a:pt x="244" y="200"/>
                    <a:pt x="244" y="200"/>
                    <a:pt x="244" y="200"/>
                  </a:cubicBezTo>
                  <a:cubicBezTo>
                    <a:pt x="222" y="237"/>
                    <a:pt x="181" y="263"/>
                    <a:pt x="135" y="2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0" name="Freeform 36">
              <a:extLst>
                <a:ext uri="{FF2B5EF4-FFF2-40B4-BE49-F238E27FC236}">
                  <a16:creationId xmlns:a16="http://schemas.microsoft.com/office/drawing/2014/main" id="{33BF3EF3-DF3C-4A37-8CCE-4CB2F18AB505}"/>
                </a:ext>
              </a:extLst>
            </p:cNvPr>
            <p:cNvSpPr>
              <a:spLocks/>
            </p:cNvSpPr>
            <p:nvPr/>
          </p:nvSpPr>
          <p:spPr bwMode="auto">
            <a:xfrm>
              <a:off x="4469" y="1994"/>
              <a:ext cx="13" cy="18"/>
            </a:xfrm>
            <a:custGeom>
              <a:avLst/>
              <a:gdLst>
                <a:gd name="T0" fmla="*/ 6 w 8"/>
                <a:gd name="T1" fmla="*/ 2 h 11"/>
                <a:gd name="T2" fmla="*/ 2 w 8"/>
                <a:gd name="T3" fmla="*/ 0 h 11"/>
                <a:gd name="T4" fmla="*/ 1 w 8"/>
                <a:gd name="T5" fmla="*/ 1 h 11"/>
                <a:gd name="T6" fmla="*/ 0 w 8"/>
                <a:gd name="T7" fmla="*/ 2 h 11"/>
                <a:gd name="T8" fmla="*/ 0 w 8"/>
                <a:gd name="T9" fmla="*/ 9 h 11"/>
                <a:gd name="T10" fmla="*/ 1 w 8"/>
                <a:gd name="T11" fmla="*/ 11 h 11"/>
                <a:gd name="T12" fmla="*/ 3 w 8"/>
                <a:gd name="T13" fmla="*/ 9 h 11"/>
                <a:gd name="T14" fmla="*/ 3 w 8"/>
                <a:gd name="T15" fmla="*/ 4 h 11"/>
                <a:gd name="T16" fmla="*/ 5 w 8"/>
                <a:gd name="T17" fmla="*/ 5 h 11"/>
                <a:gd name="T18" fmla="*/ 7 w 8"/>
                <a:gd name="T19" fmla="*/ 4 h 11"/>
                <a:gd name="T20" fmla="*/ 6 w 8"/>
                <a:gd name="T2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1">
                  <a:moveTo>
                    <a:pt x="6" y="2"/>
                  </a:moveTo>
                  <a:cubicBezTo>
                    <a:pt x="2" y="0"/>
                    <a:pt x="2" y="0"/>
                    <a:pt x="2" y="0"/>
                  </a:cubicBezTo>
                  <a:cubicBezTo>
                    <a:pt x="1" y="1"/>
                    <a:pt x="1" y="1"/>
                    <a:pt x="1" y="1"/>
                  </a:cubicBezTo>
                  <a:cubicBezTo>
                    <a:pt x="0" y="2"/>
                    <a:pt x="0" y="2"/>
                    <a:pt x="0" y="2"/>
                  </a:cubicBezTo>
                  <a:cubicBezTo>
                    <a:pt x="0" y="9"/>
                    <a:pt x="0" y="9"/>
                    <a:pt x="0" y="9"/>
                  </a:cubicBezTo>
                  <a:cubicBezTo>
                    <a:pt x="0" y="10"/>
                    <a:pt x="1" y="11"/>
                    <a:pt x="1" y="11"/>
                  </a:cubicBezTo>
                  <a:cubicBezTo>
                    <a:pt x="2" y="11"/>
                    <a:pt x="3" y="10"/>
                    <a:pt x="3" y="9"/>
                  </a:cubicBezTo>
                  <a:cubicBezTo>
                    <a:pt x="3" y="4"/>
                    <a:pt x="3" y="4"/>
                    <a:pt x="3" y="4"/>
                  </a:cubicBezTo>
                  <a:cubicBezTo>
                    <a:pt x="5" y="5"/>
                    <a:pt x="5" y="5"/>
                    <a:pt x="5" y="5"/>
                  </a:cubicBezTo>
                  <a:cubicBezTo>
                    <a:pt x="6" y="5"/>
                    <a:pt x="7" y="5"/>
                    <a:pt x="7" y="4"/>
                  </a:cubicBezTo>
                  <a:cubicBezTo>
                    <a:pt x="8" y="3"/>
                    <a:pt x="7" y="2"/>
                    <a:pt x="6"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1" name="Freeform 37">
              <a:extLst>
                <a:ext uri="{FF2B5EF4-FFF2-40B4-BE49-F238E27FC236}">
                  <a16:creationId xmlns:a16="http://schemas.microsoft.com/office/drawing/2014/main" id="{28FE9528-B046-49A4-83E3-8AD6EB6107BE}"/>
                </a:ext>
              </a:extLst>
            </p:cNvPr>
            <p:cNvSpPr>
              <a:spLocks/>
            </p:cNvSpPr>
            <p:nvPr/>
          </p:nvSpPr>
          <p:spPr bwMode="auto">
            <a:xfrm>
              <a:off x="4471" y="1950"/>
              <a:ext cx="24" cy="8"/>
            </a:xfrm>
            <a:custGeom>
              <a:avLst/>
              <a:gdLst>
                <a:gd name="T0" fmla="*/ 15 w 15"/>
                <a:gd name="T1" fmla="*/ 4 h 5"/>
                <a:gd name="T2" fmla="*/ 14 w 15"/>
                <a:gd name="T3" fmla="*/ 2 h 5"/>
                <a:gd name="T4" fmla="*/ 2 w 15"/>
                <a:gd name="T5" fmla="*/ 0 h 5"/>
                <a:gd name="T6" fmla="*/ 1 w 15"/>
                <a:gd name="T7" fmla="*/ 2 h 5"/>
                <a:gd name="T8" fmla="*/ 2 w 15"/>
                <a:gd name="T9" fmla="*/ 3 h 5"/>
                <a:gd name="T10" fmla="*/ 13 w 15"/>
                <a:gd name="T11" fmla="*/ 5 h 5"/>
                <a:gd name="T12" fmla="*/ 14 w 15"/>
                <a:gd name="T13" fmla="*/ 5 h 5"/>
                <a:gd name="T14" fmla="*/ 15 w 15"/>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15" y="4"/>
                  </a:moveTo>
                  <a:cubicBezTo>
                    <a:pt x="15" y="3"/>
                    <a:pt x="15" y="3"/>
                    <a:pt x="14" y="2"/>
                  </a:cubicBezTo>
                  <a:cubicBezTo>
                    <a:pt x="2" y="0"/>
                    <a:pt x="2" y="0"/>
                    <a:pt x="2" y="0"/>
                  </a:cubicBezTo>
                  <a:cubicBezTo>
                    <a:pt x="1" y="0"/>
                    <a:pt x="1" y="1"/>
                    <a:pt x="1" y="2"/>
                  </a:cubicBezTo>
                  <a:cubicBezTo>
                    <a:pt x="0" y="2"/>
                    <a:pt x="1" y="3"/>
                    <a:pt x="2" y="3"/>
                  </a:cubicBezTo>
                  <a:cubicBezTo>
                    <a:pt x="13" y="5"/>
                    <a:pt x="13" y="5"/>
                    <a:pt x="13" y="5"/>
                  </a:cubicBezTo>
                  <a:cubicBezTo>
                    <a:pt x="14" y="5"/>
                    <a:pt x="14" y="5"/>
                    <a:pt x="14" y="5"/>
                  </a:cubicBezTo>
                  <a:cubicBezTo>
                    <a:pt x="14" y="5"/>
                    <a:pt x="15" y="5"/>
                    <a:pt x="1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2" name="Freeform 38">
              <a:extLst>
                <a:ext uri="{FF2B5EF4-FFF2-40B4-BE49-F238E27FC236}">
                  <a16:creationId xmlns:a16="http://schemas.microsoft.com/office/drawing/2014/main" id="{A27F9856-EC86-4628-AEF1-95C3567EAFD0}"/>
                </a:ext>
              </a:extLst>
            </p:cNvPr>
            <p:cNvSpPr>
              <a:spLocks/>
            </p:cNvSpPr>
            <p:nvPr/>
          </p:nvSpPr>
          <p:spPr bwMode="auto">
            <a:xfrm>
              <a:off x="4453" y="2025"/>
              <a:ext cx="21" cy="11"/>
            </a:xfrm>
            <a:custGeom>
              <a:avLst/>
              <a:gdLst>
                <a:gd name="T0" fmla="*/ 11 w 13"/>
                <a:gd name="T1" fmla="*/ 0 h 7"/>
                <a:gd name="T2" fmla="*/ 10 w 13"/>
                <a:gd name="T3" fmla="*/ 2 h 7"/>
                <a:gd name="T4" fmla="*/ 10 w 13"/>
                <a:gd name="T5" fmla="*/ 2 h 7"/>
                <a:gd name="T6" fmla="*/ 1 w 13"/>
                <a:gd name="T7" fmla="*/ 4 h 7"/>
                <a:gd name="T8" fmla="*/ 0 w 13"/>
                <a:gd name="T9" fmla="*/ 6 h 7"/>
                <a:gd name="T10" fmla="*/ 1 w 13"/>
                <a:gd name="T11" fmla="*/ 7 h 7"/>
                <a:gd name="T12" fmla="*/ 2 w 13"/>
                <a:gd name="T13" fmla="*/ 7 h 7"/>
                <a:gd name="T14" fmla="*/ 12 w 13"/>
                <a:gd name="T15" fmla="*/ 5 h 7"/>
                <a:gd name="T16" fmla="*/ 13 w 13"/>
                <a:gd name="T17" fmla="*/ 4 h 7"/>
                <a:gd name="T18" fmla="*/ 13 w 13"/>
                <a:gd name="T19" fmla="*/ 2 h 7"/>
                <a:gd name="T20" fmla="*/ 11 w 1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1" y="0"/>
                  </a:moveTo>
                  <a:cubicBezTo>
                    <a:pt x="11" y="0"/>
                    <a:pt x="10" y="1"/>
                    <a:pt x="10" y="2"/>
                  </a:cubicBezTo>
                  <a:cubicBezTo>
                    <a:pt x="10" y="2"/>
                    <a:pt x="10" y="2"/>
                    <a:pt x="10" y="2"/>
                  </a:cubicBezTo>
                  <a:cubicBezTo>
                    <a:pt x="1" y="4"/>
                    <a:pt x="1" y="4"/>
                    <a:pt x="1" y="4"/>
                  </a:cubicBezTo>
                  <a:cubicBezTo>
                    <a:pt x="0" y="5"/>
                    <a:pt x="0" y="5"/>
                    <a:pt x="0" y="6"/>
                  </a:cubicBezTo>
                  <a:cubicBezTo>
                    <a:pt x="0" y="7"/>
                    <a:pt x="1" y="7"/>
                    <a:pt x="1" y="7"/>
                  </a:cubicBezTo>
                  <a:cubicBezTo>
                    <a:pt x="2" y="7"/>
                    <a:pt x="2" y="7"/>
                    <a:pt x="2" y="7"/>
                  </a:cubicBezTo>
                  <a:cubicBezTo>
                    <a:pt x="12" y="5"/>
                    <a:pt x="12" y="5"/>
                    <a:pt x="12" y="5"/>
                  </a:cubicBezTo>
                  <a:cubicBezTo>
                    <a:pt x="12" y="5"/>
                    <a:pt x="13" y="4"/>
                    <a:pt x="13" y="4"/>
                  </a:cubicBezTo>
                  <a:cubicBezTo>
                    <a:pt x="13" y="2"/>
                    <a:pt x="13" y="2"/>
                    <a:pt x="13" y="2"/>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3" name="Freeform 39">
              <a:extLst>
                <a:ext uri="{FF2B5EF4-FFF2-40B4-BE49-F238E27FC236}">
                  <a16:creationId xmlns:a16="http://schemas.microsoft.com/office/drawing/2014/main" id="{800AE650-8D61-4DAF-B4CC-1BBCD377CD46}"/>
                </a:ext>
              </a:extLst>
            </p:cNvPr>
            <p:cNvSpPr>
              <a:spLocks/>
            </p:cNvSpPr>
            <p:nvPr/>
          </p:nvSpPr>
          <p:spPr bwMode="auto">
            <a:xfrm>
              <a:off x="4465" y="1929"/>
              <a:ext cx="14" cy="13"/>
            </a:xfrm>
            <a:custGeom>
              <a:avLst/>
              <a:gdLst>
                <a:gd name="T0" fmla="*/ 1 w 9"/>
                <a:gd name="T1" fmla="*/ 8 h 8"/>
                <a:gd name="T2" fmla="*/ 3 w 9"/>
                <a:gd name="T3" fmla="*/ 7 h 8"/>
                <a:gd name="T4" fmla="*/ 3 w 9"/>
                <a:gd name="T5" fmla="*/ 3 h 8"/>
                <a:gd name="T6" fmla="*/ 8 w 9"/>
                <a:gd name="T7" fmla="*/ 3 h 8"/>
                <a:gd name="T8" fmla="*/ 9 w 9"/>
                <a:gd name="T9" fmla="*/ 2 h 8"/>
                <a:gd name="T10" fmla="*/ 8 w 9"/>
                <a:gd name="T11" fmla="*/ 0 h 8"/>
                <a:gd name="T12" fmla="*/ 1 w 9"/>
                <a:gd name="T13" fmla="*/ 0 h 8"/>
                <a:gd name="T14" fmla="*/ 0 w 9"/>
                <a:gd name="T15" fmla="*/ 2 h 8"/>
                <a:gd name="T16" fmla="*/ 0 w 9"/>
                <a:gd name="T17" fmla="*/ 7 h 8"/>
                <a:gd name="T18" fmla="*/ 1 w 9"/>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8"/>
                  </a:moveTo>
                  <a:cubicBezTo>
                    <a:pt x="2" y="8"/>
                    <a:pt x="3" y="8"/>
                    <a:pt x="3" y="7"/>
                  </a:cubicBezTo>
                  <a:cubicBezTo>
                    <a:pt x="3" y="3"/>
                    <a:pt x="3" y="3"/>
                    <a:pt x="3" y="3"/>
                  </a:cubicBezTo>
                  <a:cubicBezTo>
                    <a:pt x="8" y="3"/>
                    <a:pt x="8" y="3"/>
                    <a:pt x="8" y="3"/>
                  </a:cubicBezTo>
                  <a:cubicBezTo>
                    <a:pt x="9" y="3"/>
                    <a:pt x="9" y="2"/>
                    <a:pt x="9" y="2"/>
                  </a:cubicBezTo>
                  <a:cubicBezTo>
                    <a:pt x="9" y="1"/>
                    <a:pt x="9" y="0"/>
                    <a:pt x="8" y="0"/>
                  </a:cubicBezTo>
                  <a:cubicBezTo>
                    <a:pt x="1" y="0"/>
                    <a:pt x="1" y="0"/>
                    <a:pt x="1" y="0"/>
                  </a:cubicBezTo>
                  <a:cubicBezTo>
                    <a:pt x="0" y="0"/>
                    <a:pt x="0" y="1"/>
                    <a:pt x="0" y="2"/>
                  </a:cubicBezTo>
                  <a:cubicBezTo>
                    <a:pt x="0" y="7"/>
                    <a:pt x="0" y="7"/>
                    <a:pt x="0" y="7"/>
                  </a:cubicBezTo>
                  <a:cubicBezTo>
                    <a:pt x="0" y="8"/>
                    <a:pt x="0" y="8"/>
                    <a:pt x="1"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4" name="Freeform 40">
              <a:extLst>
                <a:ext uri="{FF2B5EF4-FFF2-40B4-BE49-F238E27FC236}">
                  <a16:creationId xmlns:a16="http://schemas.microsoft.com/office/drawing/2014/main" id="{E50B83AB-8BD5-49BB-9E6D-4A361B851BF2}"/>
                </a:ext>
              </a:extLst>
            </p:cNvPr>
            <p:cNvSpPr>
              <a:spLocks/>
            </p:cNvSpPr>
            <p:nvPr/>
          </p:nvSpPr>
          <p:spPr bwMode="auto">
            <a:xfrm>
              <a:off x="4491" y="1911"/>
              <a:ext cx="17" cy="15"/>
            </a:xfrm>
            <a:custGeom>
              <a:avLst/>
              <a:gdLst>
                <a:gd name="T0" fmla="*/ 1 w 11"/>
                <a:gd name="T1" fmla="*/ 9 h 9"/>
                <a:gd name="T2" fmla="*/ 2 w 11"/>
                <a:gd name="T3" fmla="*/ 8 h 9"/>
                <a:gd name="T4" fmla="*/ 6 w 11"/>
                <a:gd name="T5" fmla="*/ 4 h 9"/>
                <a:gd name="T6" fmla="*/ 8 w 11"/>
                <a:gd name="T7" fmla="*/ 7 h 9"/>
                <a:gd name="T8" fmla="*/ 10 w 11"/>
                <a:gd name="T9" fmla="*/ 7 h 9"/>
                <a:gd name="T10" fmla="*/ 10 w 11"/>
                <a:gd name="T11" fmla="*/ 5 h 9"/>
                <a:gd name="T12" fmla="*/ 8 w 11"/>
                <a:gd name="T13" fmla="*/ 1 h 9"/>
                <a:gd name="T14" fmla="*/ 7 w 11"/>
                <a:gd name="T15" fmla="*/ 0 h 9"/>
                <a:gd name="T16" fmla="*/ 5 w 11"/>
                <a:gd name="T17" fmla="*/ 1 h 9"/>
                <a:gd name="T18" fmla="*/ 0 w 11"/>
                <a:gd name="T19" fmla="*/ 6 h 9"/>
                <a:gd name="T20" fmla="*/ 0 w 11"/>
                <a:gd name="T21" fmla="*/ 8 h 9"/>
                <a:gd name="T22" fmla="*/ 1 w 11"/>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1" y="9"/>
                  </a:moveTo>
                  <a:cubicBezTo>
                    <a:pt x="2" y="8"/>
                    <a:pt x="2" y="8"/>
                    <a:pt x="2" y="8"/>
                  </a:cubicBezTo>
                  <a:cubicBezTo>
                    <a:pt x="6" y="4"/>
                    <a:pt x="6" y="4"/>
                    <a:pt x="6" y="4"/>
                  </a:cubicBezTo>
                  <a:cubicBezTo>
                    <a:pt x="8" y="7"/>
                    <a:pt x="8" y="7"/>
                    <a:pt x="8" y="7"/>
                  </a:cubicBezTo>
                  <a:cubicBezTo>
                    <a:pt x="8" y="7"/>
                    <a:pt x="9" y="8"/>
                    <a:pt x="10" y="7"/>
                  </a:cubicBezTo>
                  <a:cubicBezTo>
                    <a:pt x="10" y="7"/>
                    <a:pt x="11" y="6"/>
                    <a:pt x="10" y="5"/>
                  </a:cubicBezTo>
                  <a:cubicBezTo>
                    <a:pt x="8" y="1"/>
                    <a:pt x="8" y="1"/>
                    <a:pt x="8" y="1"/>
                  </a:cubicBezTo>
                  <a:cubicBezTo>
                    <a:pt x="7" y="0"/>
                    <a:pt x="7" y="0"/>
                    <a:pt x="7" y="0"/>
                  </a:cubicBezTo>
                  <a:cubicBezTo>
                    <a:pt x="5" y="1"/>
                    <a:pt x="5" y="1"/>
                    <a:pt x="5" y="1"/>
                  </a:cubicBezTo>
                  <a:cubicBezTo>
                    <a:pt x="0" y="6"/>
                    <a:pt x="0" y="6"/>
                    <a:pt x="0" y="6"/>
                  </a:cubicBezTo>
                  <a:cubicBezTo>
                    <a:pt x="0" y="8"/>
                    <a:pt x="0" y="8"/>
                    <a:pt x="0" y="8"/>
                  </a:cubicBezTo>
                  <a:cubicBezTo>
                    <a:pt x="1" y="9"/>
                    <a:pt x="1" y="9"/>
                    <a:pt x="1"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5" name="Freeform 41">
              <a:extLst>
                <a:ext uri="{FF2B5EF4-FFF2-40B4-BE49-F238E27FC236}">
                  <a16:creationId xmlns:a16="http://schemas.microsoft.com/office/drawing/2014/main" id="{7B35F416-85AE-436E-91EA-198C015C1280}"/>
                </a:ext>
              </a:extLst>
            </p:cNvPr>
            <p:cNvSpPr>
              <a:spLocks/>
            </p:cNvSpPr>
            <p:nvPr/>
          </p:nvSpPr>
          <p:spPr bwMode="auto">
            <a:xfrm>
              <a:off x="4630" y="1965"/>
              <a:ext cx="23" cy="6"/>
            </a:xfrm>
            <a:custGeom>
              <a:avLst/>
              <a:gdLst>
                <a:gd name="T0" fmla="*/ 11 w 14"/>
                <a:gd name="T1" fmla="*/ 0 h 4"/>
                <a:gd name="T2" fmla="*/ 11 w 14"/>
                <a:gd name="T3" fmla="*/ 1 h 4"/>
                <a:gd name="T4" fmla="*/ 1 w 14"/>
                <a:gd name="T5" fmla="*/ 1 h 4"/>
                <a:gd name="T6" fmla="*/ 0 w 14"/>
                <a:gd name="T7" fmla="*/ 2 h 4"/>
                <a:gd name="T8" fmla="*/ 1 w 14"/>
                <a:gd name="T9" fmla="*/ 4 h 4"/>
                <a:gd name="T10" fmla="*/ 11 w 14"/>
                <a:gd name="T11" fmla="*/ 4 h 4"/>
                <a:gd name="T12" fmla="*/ 11 w 14"/>
                <a:gd name="T13" fmla="*/ 4 h 4"/>
                <a:gd name="T14" fmla="*/ 12 w 14"/>
                <a:gd name="T15" fmla="*/ 4 h 4"/>
                <a:gd name="T16" fmla="*/ 14 w 14"/>
                <a:gd name="T17" fmla="*/ 2 h 4"/>
                <a:gd name="T18" fmla="*/ 13 w 14"/>
                <a:gd name="T19" fmla="*/ 0 h 4"/>
                <a:gd name="T20" fmla="*/ 11 w 1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4">
                  <a:moveTo>
                    <a:pt x="11" y="0"/>
                  </a:moveTo>
                  <a:cubicBezTo>
                    <a:pt x="11" y="1"/>
                    <a:pt x="11" y="1"/>
                    <a:pt x="11" y="1"/>
                  </a:cubicBezTo>
                  <a:cubicBezTo>
                    <a:pt x="1" y="1"/>
                    <a:pt x="1" y="1"/>
                    <a:pt x="1" y="1"/>
                  </a:cubicBezTo>
                  <a:cubicBezTo>
                    <a:pt x="0" y="1"/>
                    <a:pt x="0" y="1"/>
                    <a:pt x="0" y="2"/>
                  </a:cubicBezTo>
                  <a:cubicBezTo>
                    <a:pt x="0" y="3"/>
                    <a:pt x="0" y="4"/>
                    <a:pt x="1" y="4"/>
                  </a:cubicBezTo>
                  <a:cubicBezTo>
                    <a:pt x="11" y="4"/>
                    <a:pt x="11" y="4"/>
                    <a:pt x="11" y="4"/>
                  </a:cubicBezTo>
                  <a:cubicBezTo>
                    <a:pt x="11" y="4"/>
                    <a:pt x="11" y="4"/>
                    <a:pt x="11" y="4"/>
                  </a:cubicBezTo>
                  <a:cubicBezTo>
                    <a:pt x="12" y="4"/>
                    <a:pt x="12" y="4"/>
                    <a:pt x="12" y="4"/>
                  </a:cubicBezTo>
                  <a:cubicBezTo>
                    <a:pt x="14" y="2"/>
                    <a:pt x="14" y="2"/>
                    <a:pt x="14" y="2"/>
                  </a:cubicBezTo>
                  <a:cubicBezTo>
                    <a:pt x="13" y="0"/>
                    <a:pt x="13" y="0"/>
                    <a:pt x="13"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6" name="Freeform 42">
              <a:extLst>
                <a:ext uri="{FF2B5EF4-FFF2-40B4-BE49-F238E27FC236}">
                  <a16:creationId xmlns:a16="http://schemas.microsoft.com/office/drawing/2014/main" id="{6BE37A9D-80D0-4097-A95A-BD2861CD73BE}"/>
                </a:ext>
              </a:extLst>
            </p:cNvPr>
            <p:cNvSpPr>
              <a:spLocks/>
            </p:cNvSpPr>
            <p:nvPr/>
          </p:nvSpPr>
          <p:spPr bwMode="auto">
            <a:xfrm>
              <a:off x="4575" y="1923"/>
              <a:ext cx="18" cy="18"/>
            </a:xfrm>
            <a:custGeom>
              <a:avLst/>
              <a:gdLst>
                <a:gd name="T0" fmla="*/ 6 w 11"/>
                <a:gd name="T1" fmla="*/ 1 h 11"/>
                <a:gd name="T2" fmla="*/ 5 w 11"/>
                <a:gd name="T3" fmla="*/ 0 h 11"/>
                <a:gd name="T4" fmla="*/ 2 w 11"/>
                <a:gd name="T5" fmla="*/ 0 h 11"/>
                <a:gd name="T6" fmla="*/ 0 w 11"/>
                <a:gd name="T7" fmla="*/ 2 h 11"/>
                <a:gd name="T8" fmla="*/ 2 w 11"/>
                <a:gd name="T9" fmla="*/ 3 h 11"/>
                <a:gd name="T10" fmla="*/ 4 w 11"/>
                <a:gd name="T11" fmla="*/ 3 h 11"/>
                <a:gd name="T12" fmla="*/ 8 w 11"/>
                <a:gd name="T13" fmla="*/ 10 h 11"/>
                <a:gd name="T14" fmla="*/ 10 w 11"/>
                <a:gd name="T15" fmla="*/ 11 h 11"/>
                <a:gd name="T16" fmla="*/ 10 w 11"/>
                <a:gd name="T17" fmla="*/ 10 h 11"/>
                <a:gd name="T18" fmla="*/ 11 w 11"/>
                <a:gd name="T19" fmla="*/ 8 h 11"/>
                <a:gd name="T20" fmla="*/ 6 w 11"/>
                <a:gd name="T2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6" y="1"/>
                  </a:moveTo>
                  <a:cubicBezTo>
                    <a:pt x="5" y="0"/>
                    <a:pt x="5" y="0"/>
                    <a:pt x="5" y="0"/>
                  </a:cubicBezTo>
                  <a:cubicBezTo>
                    <a:pt x="2" y="0"/>
                    <a:pt x="2" y="0"/>
                    <a:pt x="2" y="0"/>
                  </a:cubicBezTo>
                  <a:cubicBezTo>
                    <a:pt x="1" y="0"/>
                    <a:pt x="0" y="1"/>
                    <a:pt x="0" y="2"/>
                  </a:cubicBezTo>
                  <a:cubicBezTo>
                    <a:pt x="0" y="3"/>
                    <a:pt x="1" y="3"/>
                    <a:pt x="2" y="3"/>
                  </a:cubicBezTo>
                  <a:cubicBezTo>
                    <a:pt x="4" y="3"/>
                    <a:pt x="4" y="3"/>
                    <a:pt x="4" y="3"/>
                  </a:cubicBezTo>
                  <a:cubicBezTo>
                    <a:pt x="8" y="10"/>
                    <a:pt x="8" y="10"/>
                    <a:pt x="8" y="10"/>
                  </a:cubicBezTo>
                  <a:cubicBezTo>
                    <a:pt x="10" y="11"/>
                    <a:pt x="10" y="11"/>
                    <a:pt x="10" y="11"/>
                  </a:cubicBezTo>
                  <a:cubicBezTo>
                    <a:pt x="10" y="10"/>
                    <a:pt x="10" y="10"/>
                    <a:pt x="10" y="10"/>
                  </a:cubicBezTo>
                  <a:cubicBezTo>
                    <a:pt x="11" y="10"/>
                    <a:pt x="11" y="9"/>
                    <a:pt x="11" y="8"/>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7" name="Freeform 43">
              <a:extLst>
                <a:ext uri="{FF2B5EF4-FFF2-40B4-BE49-F238E27FC236}">
                  <a16:creationId xmlns:a16="http://schemas.microsoft.com/office/drawing/2014/main" id="{41EBBB4D-22C4-40E6-ADA2-7D0850D12FFE}"/>
                </a:ext>
              </a:extLst>
            </p:cNvPr>
            <p:cNvSpPr>
              <a:spLocks/>
            </p:cNvSpPr>
            <p:nvPr/>
          </p:nvSpPr>
          <p:spPr bwMode="auto">
            <a:xfrm>
              <a:off x="4598" y="1952"/>
              <a:ext cx="17" cy="18"/>
            </a:xfrm>
            <a:custGeom>
              <a:avLst/>
              <a:gdLst>
                <a:gd name="T0" fmla="*/ 9 w 11"/>
                <a:gd name="T1" fmla="*/ 8 h 11"/>
                <a:gd name="T2" fmla="*/ 8 w 11"/>
                <a:gd name="T3" fmla="*/ 8 h 11"/>
                <a:gd name="T4" fmla="*/ 3 w 11"/>
                <a:gd name="T5" fmla="*/ 1 h 11"/>
                <a:gd name="T6" fmla="*/ 1 w 11"/>
                <a:gd name="T7" fmla="*/ 0 h 11"/>
                <a:gd name="T8" fmla="*/ 1 w 11"/>
                <a:gd name="T9" fmla="*/ 2 h 11"/>
                <a:gd name="T10" fmla="*/ 6 w 11"/>
                <a:gd name="T11" fmla="*/ 10 h 11"/>
                <a:gd name="T12" fmla="*/ 7 w 11"/>
                <a:gd name="T13" fmla="*/ 11 h 11"/>
                <a:gd name="T14" fmla="*/ 9 w 11"/>
                <a:gd name="T15" fmla="*/ 11 h 11"/>
                <a:gd name="T16" fmla="*/ 9 w 11"/>
                <a:gd name="T17" fmla="*/ 11 h 11"/>
                <a:gd name="T18" fmla="*/ 11 w 11"/>
                <a:gd name="T19" fmla="*/ 10 h 11"/>
                <a:gd name="T20" fmla="*/ 9 w 11"/>
                <a:gd name="T2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9" y="8"/>
                  </a:moveTo>
                  <a:cubicBezTo>
                    <a:pt x="8" y="8"/>
                    <a:pt x="8" y="8"/>
                    <a:pt x="8" y="8"/>
                  </a:cubicBezTo>
                  <a:cubicBezTo>
                    <a:pt x="3" y="1"/>
                    <a:pt x="3" y="1"/>
                    <a:pt x="3" y="1"/>
                  </a:cubicBezTo>
                  <a:cubicBezTo>
                    <a:pt x="3" y="0"/>
                    <a:pt x="2" y="0"/>
                    <a:pt x="1" y="0"/>
                  </a:cubicBezTo>
                  <a:cubicBezTo>
                    <a:pt x="0" y="1"/>
                    <a:pt x="0" y="1"/>
                    <a:pt x="1" y="2"/>
                  </a:cubicBezTo>
                  <a:cubicBezTo>
                    <a:pt x="6" y="10"/>
                    <a:pt x="6" y="10"/>
                    <a:pt x="6" y="10"/>
                  </a:cubicBezTo>
                  <a:cubicBezTo>
                    <a:pt x="7" y="11"/>
                    <a:pt x="7" y="11"/>
                    <a:pt x="7" y="11"/>
                  </a:cubicBezTo>
                  <a:cubicBezTo>
                    <a:pt x="9" y="11"/>
                    <a:pt x="9" y="11"/>
                    <a:pt x="9" y="11"/>
                  </a:cubicBezTo>
                  <a:cubicBezTo>
                    <a:pt x="9" y="11"/>
                    <a:pt x="9" y="11"/>
                    <a:pt x="9" y="11"/>
                  </a:cubicBezTo>
                  <a:cubicBezTo>
                    <a:pt x="10" y="11"/>
                    <a:pt x="11" y="10"/>
                    <a:pt x="11" y="10"/>
                  </a:cubicBezTo>
                  <a:cubicBezTo>
                    <a:pt x="11" y="9"/>
                    <a:pt x="10" y="8"/>
                    <a:pt x="9"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8" name="Freeform 44">
              <a:extLst>
                <a:ext uri="{FF2B5EF4-FFF2-40B4-BE49-F238E27FC236}">
                  <a16:creationId xmlns:a16="http://schemas.microsoft.com/office/drawing/2014/main" id="{D7DE0506-9DD9-4817-977E-2284619F6930}"/>
                </a:ext>
              </a:extLst>
            </p:cNvPr>
            <p:cNvSpPr>
              <a:spLocks/>
            </p:cNvSpPr>
            <p:nvPr/>
          </p:nvSpPr>
          <p:spPr bwMode="auto">
            <a:xfrm>
              <a:off x="4661" y="1946"/>
              <a:ext cx="21" cy="9"/>
            </a:xfrm>
            <a:custGeom>
              <a:avLst/>
              <a:gdLst>
                <a:gd name="T0" fmla="*/ 6 w 13"/>
                <a:gd name="T1" fmla="*/ 0 h 6"/>
                <a:gd name="T2" fmla="*/ 4 w 13"/>
                <a:gd name="T3" fmla="*/ 0 h 6"/>
                <a:gd name="T4" fmla="*/ 0 w 13"/>
                <a:gd name="T5" fmla="*/ 4 h 6"/>
                <a:gd name="T6" fmla="*/ 1 w 13"/>
                <a:gd name="T7" fmla="*/ 6 h 6"/>
                <a:gd name="T8" fmla="*/ 2 w 13"/>
                <a:gd name="T9" fmla="*/ 6 h 6"/>
                <a:gd name="T10" fmla="*/ 3 w 13"/>
                <a:gd name="T11" fmla="*/ 6 h 6"/>
                <a:gd name="T12" fmla="*/ 5 w 13"/>
                <a:gd name="T13" fmla="*/ 3 h 6"/>
                <a:gd name="T14" fmla="*/ 10 w 13"/>
                <a:gd name="T15" fmla="*/ 6 h 6"/>
                <a:gd name="T16" fmla="*/ 12 w 13"/>
                <a:gd name="T17" fmla="*/ 5 h 6"/>
                <a:gd name="T18" fmla="*/ 12 w 13"/>
                <a:gd name="T19" fmla="*/ 3 h 6"/>
                <a:gd name="T20" fmla="*/ 6 w 1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6">
                  <a:moveTo>
                    <a:pt x="6" y="0"/>
                  </a:moveTo>
                  <a:cubicBezTo>
                    <a:pt x="4" y="0"/>
                    <a:pt x="4" y="0"/>
                    <a:pt x="4" y="0"/>
                  </a:cubicBezTo>
                  <a:cubicBezTo>
                    <a:pt x="0" y="4"/>
                    <a:pt x="0" y="4"/>
                    <a:pt x="0" y="4"/>
                  </a:cubicBezTo>
                  <a:cubicBezTo>
                    <a:pt x="1" y="6"/>
                    <a:pt x="1" y="6"/>
                    <a:pt x="1" y="6"/>
                  </a:cubicBezTo>
                  <a:cubicBezTo>
                    <a:pt x="2" y="6"/>
                    <a:pt x="2" y="6"/>
                    <a:pt x="2" y="6"/>
                  </a:cubicBezTo>
                  <a:cubicBezTo>
                    <a:pt x="3" y="6"/>
                    <a:pt x="3" y="6"/>
                    <a:pt x="3" y="6"/>
                  </a:cubicBezTo>
                  <a:cubicBezTo>
                    <a:pt x="5" y="3"/>
                    <a:pt x="5" y="3"/>
                    <a:pt x="5" y="3"/>
                  </a:cubicBezTo>
                  <a:cubicBezTo>
                    <a:pt x="10" y="6"/>
                    <a:pt x="10" y="6"/>
                    <a:pt x="10" y="6"/>
                  </a:cubicBezTo>
                  <a:cubicBezTo>
                    <a:pt x="11" y="6"/>
                    <a:pt x="12" y="6"/>
                    <a:pt x="12" y="5"/>
                  </a:cubicBezTo>
                  <a:cubicBezTo>
                    <a:pt x="13" y="4"/>
                    <a:pt x="12" y="4"/>
                    <a:pt x="12" y="3"/>
                  </a:cubicBez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9" name="Freeform 45">
              <a:extLst>
                <a:ext uri="{FF2B5EF4-FFF2-40B4-BE49-F238E27FC236}">
                  <a16:creationId xmlns:a16="http://schemas.microsoft.com/office/drawing/2014/main" id="{47118D07-E2B4-41A3-B6DD-7F2E4ECAC4AC}"/>
                </a:ext>
              </a:extLst>
            </p:cNvPr>
            <p:cNvSpPr>
              <a:spLocks/>
            </p:cNvSpPr>
            <p:nvPr/>
          </p:nvSpPr>
          <p:spPr bwMode="auto">
            <a:xfrm>
              <a:off x="4513" y="1934"/>
              <a:ext cx="21" cy="13"/>
            </a:xfrm>
            <a:custGeom>
              <a:avLst/>
              <a:gdLst>
                <a:gd name="T0" fmla="*/ 11 w 13"/>
                <a:gd name="T1" fmla="*/ 8 h 8"/>
                <a:gd name="T2" fmla="*/ 13 w 13"/>
                <a:gd name="T3" fmla="*/ 7 h 8"/>
                <a:gd name="T4" fmla="*/ 12 w 13"/>
                <a:gd name="T5" fmla="*/ 5 h 8"/>
                <a:gd name="T6" fmla="*/ 4 w 13"/>
                <a:gd name="T7" fmla="*/ 4 h 8"/>
                <a:gd name="T8" fmla="*/ 3 w 13"/>
                <a:gd name="T9" fmla="*/ 1 h 8"/>
                <a:gd name="T10" fmla="*/ 1 w 13"/>
                <a:gd name="T11" fmla="*/ 1 h 8"/>
                <a:gd name="T12" fmla="*/ 0 w 13"/>
                <a:gd name="T13" fmla="*/ 3 h 8"/>
                <a:gd name="T14" fmla="*/ 2 w 13"/>
                <a:gd name="T15" fmla="*/ 6 h 8"/>
                <a:gd name="T16" fmla="*/ 3 w 13"/>
                <a:gd name="T17" fmla="*/ 7 h 8"/>
                <a:gd name="T18" fmla="*/ 11 w 13"/>
                <a:gd name="T19" fmla="*/ 8 h 8"/>
                <a:gd name="T20" fmla="*/ 11 w 13"/>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11" y="8"/>
                  </a:moveTo>
                  <a:cubicBezTo>
                    <a:pt x="12" y="8"/>
                    <a:pt x="13" y="8"/>
                    <a:pt x="13" y="7"/>
                  </a:cubicBezTo>
                  <a:cubicBezTo>
                    <a:pt x="13" y="6"/>
                    <a:pt x="12" y="5"/>
                    <a:pt x="12" y="5"/>
                  </a:cubicBezTo>
                  <a:cubicBezTo>
                    <a:pt x="4" y="4"/>
                    <a:pt x="4" y="4"/>
                    <a:pt x="4" y="4"/>
                  </a:cubicBezTo>
                  <a:cubicBezTo>
                    <a:pt x="3" y="1"/>
                    <a:pt x="3" y="1"/>
                    <a:pt x="3" y="1"/>
                  </a:cubicBezTo>
                  <a:cubicBezTo>
                    <a:pt x="2" y="0"/>
                    <a:pt x="1" y="0"/>
                    <a:pt x="1" y="1"/>
                  </a:cubicBezTo>
                  <a:cubicBezTo>
                    <a:pt x="0" y="1"/>
                    <a:pt x="0" y="2"/>
                    <a:pt x="0" y="3"/>
                  </a:cubicBezTo>
                  <a:cubicBezTo>
                    <a:pt x="2" y="6"/>
                    <a:pt x="2" y="6"/>
                    <a:pt x="2" y="6"/>
                  </a:cubicBezTo>
                  <a:cubicBezTo>
                    <a:pt x="3" y="7"/>
                    <a:pt x="3" y="7"/>
                    <a:pt x="3" y="7"/>
                  </a:cubicBezTo>
                  <a:cubicBezTo>
                    <a:pt x="11" y="8"/>
                    <a:pt x="11" y="8"/>
                    <a:pt x="11" y="8"/>
                  </a:cubicBezTo>
                  <a:cubicBezTo>
                    <a:pt x="11" y="8"/>
                    <a:pt x="11" y="8"/>
                    <a:pt x="11"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0" name="Freeform 46">
              <a:extLst>
                <a:ext uri="{FF2B5EF4-FFF2-40B4-BE49-F238E27FC236}">
                  <a16:creationId xmlns:a16="http://schemas.microsoft.com/office/drawing/2014/main" id="{F80921CC-B77A-42DE-B7D3-C99F7F1547F9}"/>
                </a:ext>
              </a:extLst>
            </p:cNvPr>
            <p:cNvSpPr>
              <a:spLocks/>
            </p:cNvSpPr>
            <p:nvPr/>
          </p:nvSpPr>
          <p:spPr bwMode="auto">
            <a:xfrm>
              <a:off x="4547" y="1928"/>
              <a:ext cx="17" cy="21"/>
            </a:xfrm>
            <a:custGeom>
              <a:avLst/>
              <a:gdLst>
                <a:gd name="T0" fmla="*/ 1 w 10"/>
                <a:gd name="T1" fmla="*/ 13 h 13"/>
                <a:gd name="T2" fmla="*/ 3 w 10"/>
                <a:gd name="T3" fmla="*/ 12 h 13"/>
                <a:gd name="T4" fmla="*/ 9 w 10"/>
                <a:gd name="T5" fmla="*/ 2 h 13"/>
                <a:gd name="T6" fmla="*/ 9 w 10"/>
                <a:gd name="T7" fmla="*/ 0 h 13"/>
                <a:gd name="T8" fmla="*/ 7 w 10"/>
                <a:gd name="T9" fmla="*/ 1 h 13"/>
                <a:gd name="T10" fmla="*/ 0 w 10"/>
                <a:gd name="T11" fmla="*/ 10 h 13"/>
                <a:gd name="T12" fmla="*/ 0 w 10"/>
                <a:gd name="T13" fmla="*/ 12 h 13"/>
                <a:gd name="T14" fmla="*/ 1 w 10"/>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1" y="13"/>
                  </a:moveTo>
                  <a:cubicBezTo>
                    <a:pt x="3" y="12"/>
                    <a:pt x="3" y="12"/>
                    <a:pt x="3" y="12"/>
                  </a:cubicBezTo>
                  <a:cubicBezTo>
                    <a:pt x="9" y="2"/>
                    <a:pt x="9" y="2"/>
                    <a:pt x="9" y="2"/>
                  </a:cubicBezTo>
                  <a:cubicBezTo>
                    <a:pt x="10" y="2"/>
                    <a:pt x="10" y="1"/>
                    <a:pt x="9" y="0"/>
                  </a:cubicBezTo>
                  <a:cubicBezTo>
                    <a:pt x="8" y="0"/>
                    <a:pt x="7" y="0"/>
                    <a:pt x="7" y="1"/>
                  </a:cubicBezTo>
                  <a:cubicBezTo>
                    <a:pt x="0" y="10"/>
                    <a:pt x="0" y="10"/>
                    <a:pt x="0" y="10"/>
                  </a:cubicBezTo>
                  <a:cubicBezTo>
                    <a:pt x="0" y="11"/>
                    <a:pt x="0" y="12"/>
                    <a:pt x="0" y="12"/>
                  </a:cubicBezTo>
                  <a:cubicBezTo>
                    <a:pt x="1" y="13"/>
                    <a:pt x="1" y="13"/>
                    <a:pt x="1"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1" name="Freeform 47">
              <a:extLst>
                <a:ext uri="{FF2B5EF4-FFF2-40B4-BE49-F238E27FC236}">
                  <a16:creationId xmlns:a16="http://schemas.microsoft.com/office/drawing/2014/main" id="{E98EEAC4-7BEC-453D-A63C-7FF6F8D6D2F8}"/>
                </a:ext>
              </a:extLst>
            </p:cNvPr>
            <p:cNvSpPr>
              <a:spLocks/>
            </p:cNvSpPr>
            <p:nvPr/>
          </p:nvSpPr>
          <p:spPr bwMode="auto">
            <a:xfrm>
              <a:off x="4494" y="1999"/>
              <a:ext cx="16" cy="15"/>
            </a:xfrm>
            <a:custGeom>
              <a:avLst/>
              <a:gdLst>
                <a:gd name="T0" fmla="*/ 8 w 10"/>
                <a:gd name="T1" fmla="*/ 0 h 9"/>
                <a:gd name="T2" fmla="*/ 8 w 10"/>
                <a:gd name="T3" fmla="*/ 0 h 9"/>
                <a:gd name="T4" fmla="*/ 7 w 10"/>
                <a:gd name="T5" fmla="*/ 2 h 9"/>
                <a:gd name="T6" fmla="*/ 7 w 10"/>
                <a:gd name="T7" fmla="*/ 5 h 9"/>
                <a:gd name="T8" fmla="*/ 3 w 10"/>
                <a:gd name="T9" fmla="*/ 3 h 9"/>
                <a:gd name="T10" fmla="*/ 1 w 10"/>
                <a:gd name="T11" fmla="*/ 4 h 9"/>
                <a:gd name="T12" fmla="*/ 1 w 10"/>
                <a:gd name="T13" fmla="*/ 6 h 9"/>
                <a:gd name="T14" fmla="*/ 8 w 10"/>
                <a:gd name="T15" fmla="*/ 9 h 9"/>
                <a:gd name="T16" fmla="*/ 8 w 10"/>
                <a:gd name="T17" fmla="*/ 9 h 9"/>
                <a:gd name="T18" fmla="*/ 9 w 10"/>
                <a:gd name="T19" fmla="*/ 8 h 9"/>
                <a:gd name="T20" fmla="*/ 10 w 10"/>
                <a:gd name="T21" fmla="*/ 7 h 9"/>
                <a:gd name="T22" fmla="*/ 10 w 10"/>
                <a:gd name="T23" fmla="*/ 2 h 9"/>
                <a:gd name="T24" fmla="*/ 8 w 10"/>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8" y="0"/>
                  </a:moveTo>
                  <a:cubicBezTo>
                    <a:pt x="8" y="0"/>
                    <a:pt x="8" y="0"/>
                    <a:pt x="8" y="0"/>
                  </a:cubicBezTo>
                  <a:cubicBezTo>
                    <a:pt x="7" y="0"/>
                    <a:pt x="7" y="1"/>
                    <a:pt x="7" y="2"/>
                  </a:cubicBezTo>
                  <a:cubicBezTo>
                    <a:pt x="7" y="5"/>
                    <a:pt x="7" y="5"/>
                    <a:pt x="7" y="5"/>
                  </a:cubicBezTo>
                  <a:cubicBezTo>
                    <a:pt x="3" y="3"/>
                    <a:pt x="3" y="3"/>
                    <a:pt x="3" y="3"/>
                  </a:cubicBezTo>
                  <a:cubicBezTo>
                    <a:pt x="2" y="3"/>
                    <a:pt x="1" y="3"/>
                    <a:pt x="1" y="4"/>
                  </a:cubicBezTo>
                  <a:cubicBezTo>
                    <a:pt x="0" y="5"/>
                    <a:pt x="1" y="6"/>
                    <a:pt x="1" y="6"/>
                  </a:cubicBezTo>
                  <a:cubicBezTo>
                    <a:pt x="8" y="9"/>
                    <a:pt x="8" y="9"/>
                    <a:pt x="8" y="9"/>
                  </a:cubicBezTo>
                  <a:cubicBezTo>
                    <a:pt x="8" y="9"/>
                    <a:pt x="8" y="9"/>
                    <a:pt x="8" y="9"/>
                  </a:cubicBezTo>
                  <a:cubicBezTo>
                    <a:pt x="9" y="8"/>
                    <a:pt x="9" y="8"/>
                    <a:pt x="9" y="8"/>
                  </a:cubicBezTo>
                  <a:cubicBezTo>
                    <a:pt x="10" y="7"/>
                    <a:pt x="10" y="7"/>
                    <a:pt x="10" y="7"/>
                  </a:cubicBezTo>
                  <a:cubicBezTo>
                    <a:pt x="10" y="2"/>
                    <a:pt x="10" y="2"/>
                    <a:pt x="10" y="2"/>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2" name="Freeform 48">
              <a:extLst>
                <a:ext uri="{FF2B5EF4-FFF2-40B4-BE49-F238E27FC236}">
                  <a16:creationId xmlns:a16="http://schemas.microsoft.com/office/drawing/2014/main" id="{761CBD98-4AAD-40D9-9A2F-0838CAC53A18}"/>
                </a:ext>
              </a:extLst>
            </p:cNvPr>
            <p:cNvSpPr>
              <a:spLocks/>
            </p:cNvSpPr>
            <p:nvPr/>
          </p:nvSpPr>
          <p:spPr bwMode="auto">
            <a:xfrm>
              <a:off x="4505" y="1962"/>
              <a:ext cx="7" cy="22"/>
            </a:xfrm>
            <a:custGeom>
              <a:avLst/>
              <a:gdLst>
                <a:gd name="T0" fmla="*/ 2 w 4"/>
                <a:gd name="T1" fmla="*/ 0 h 14"/>
                <a:gd name="T2" fmla="*/ 1 w 4"/>
                <a:gd name="T3" fmla="*/ 1 h 14"/>
                <a:gd name="T4" fmla="*/ 0 w 4"/>
                <a:gd name="T5" fmla="*/ 13 h 14"/>
                <a:gd name="T6" fmla="*/ 1 w 4"/>
                <a:gd name="T7" fmla="*/ 14 h 14"/>
                <a:gd name="T8" fmla="*/ 1 w 4"/>
                <a:gd name="T9" fmla="*/ 14 h 14"/>
                <a:gd name="T10" fmla="*/ 3 w 4"/>
                <a:gd name="T11" fmla="*/ 13 h 14"/>
                <a:gd name="T12" fmla="*/ 4 w 4"/>
                <a:gd name="T13" fmla="*/ 1 h 14"/>
                <a:gd name="T14" fmla="*/ 2 w 4"/>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4">
                  <a:moveTo>
                    <a:pt x="2" y="0"/>
                  </a:moveTo>
                  <a:cubicBezTo>
                    <a:pt x="1" y="0"/>
                    <a:pt x="1" y="0"/>
                    <a:pt x="1" y="1"/>
                  </a:cubicBezTo>
                  <a:cubicBezTo>
                    <a:pt x="0" y="13"/>
                    <a:pt x="0" y="13"/>
                    <a:pt x="0" y="13"/>
                  </a:cubicBezTo>
                  <a:cubicBezTo>
                    <a:pt x="0" y="14"/>
                    <a:pt x="1" y="14"/>
                    <a:pt x="1" y="14"/>
                  </a:cubicBezTo>
                  <a:cubicBezTo>
                    <a:pt x="1" y="14"/>
                    <a:pt x="1" y="14"/>
                    <a:pt x="1" y="14"/>
                  </a:cubicBezTo>
                  <a:cubicBezTo>
                    <a:pt x="2" y="14"/>
                    <a:pt x="3" y="14"/>
                    <a:pt x="3" y="13"/>
                  </a:cubicBezTo>
                  <a:cubicBezTo>
                    <a:pt x="4" y="1"/>
                    <a:pt x="4"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3" name="Freeform 49">
              <a:extLst>
                <a:ext uri="{FF2B5EF4-FFF2-40B4-BE49-F238E27FC236}">
                  <a16:creationId xmlns:a16="http://schemas.microsoft.com/office/drawing/2014/main" id="{68452DFE-6138-4531-AAF7-9061DADC78B3}"/>
                </a:ext>
              </a:extLst>
            </p:cNvPr>
            <p:cNvSpPr>
              <a:spLocks noEditPoints="1"/>
            </p:cNvSpPr>
            <p:nvPr/>
          </p:nvSpPr>
          <p:spPr bwMode="auto">
            <a:xfrm>
              <a:off x="4366" y="1884"/>
              <a:ext cx="71" cy="89"/>
            </a:xfrm>
            <a:custGeom>
              <a:avLst/>
              <a:gdLst>
                <a:gd name="T0" fmla="*/ 32 w 44"/>
                <a:gd name="T1" fmla="*/ 3 h 55"/>
                <a:gd name="T2" fmla="*/ 18 w 44"/>
                <a:gd name="T3" fmla="*/ 4 h 55"/>
                <a:gd name="T4" fmla="*/ 2 w 44"/>
                <a:gd name="T5" fmla="*/ 0 h 55"/>
                <a:gd name="T6" fmla="*/ 0 w 44"/>
                <a:gd name="T7" fmla="*/ 0 h 55"/>
                <a:gd name="T8" fmla="*/ 0 w 44"/>
                <a:gd name="T9" fmla="*/ 1 h 55"/>
                <a:gd name="T10" fmla="*/ 0 w 44"/>
                <a:gd name="T11" fmla="*/ 19 h 55"/>
                <a:gd name="T12" fmla="*/ 1 w 44"/>
                <a:gd name="T13" fmla="*/ 20 h 55"/>
                <a:gd name="T14" fmla="*/ 19 w 44"/>
                <a:gd name="T15" fmla="*/ 28 h 55"/>
                <a:gd name="T16" fmla="*/ 14 w 44"/>
                <a:gd name="T17" fmla="*/ 44 h 55"/>
                <a:gd name="T18" fmla="*/ 14 w 44"/>
                <a:gd name="T19" fmla="*/ 46 h 55"/>
                <a:gd name="T20" fmla="*/ 24 w 44"/>
                <a:gd name="T21" fmla="*/ 55 h 55"/>
                <a:gd name="T22" fmla="*/ 25 w 44"/>
                <a:gd name="T23" fmla="*/ 55 h 55"/>
                <a:gd name="T24" fmla="*/ 25 w 44"/>
                <a:gd name="T25" fmla="*/ 55 h 55"/>
                <a:gd name="T26" fmla="*/ 26 w 44"/>
                <a:gd name="T27" fmla="*/ 54 h 55"/>
                <a:gd name="T28" fmla="*/ 44 w 44"/>
                <a:gd name="T29" fmla="*/ 34 h 55"/>
                <a:gd name="T30" fmla="*/ 44 w 44"/>
                <a:gd name="T31" fmla="*/ 32 h 55"/>
                <a:gd name="T32" fmla="*/ 33 w 44"/>
                <a:gd name="T33" fmla="*/ 4 h 55"/>
                <a:gd name="T34" fmla="*/ 32 w 44"/>
                <a:gd name="T35" fmla="*/ 3 h 55"/>
                <a:gd name="T36" fmla="*/ 25 w 44"/>
                <a:gd name="T37" fmla="*/ 51 h 55"/>
                <a:gd name="T38" fmla="*/ 17 w 44"/>
                <a:gd name="T39" fmla="*/ 44 h 55"/>
                <a:gd name="T40" fmla="*/ 22 w 44"/>
                <a:gd name="T41" fmla="*/ 28 h 55"/>
                <a:gd name="T42" fmla="*/ 21 w 44"/>
                <a:gd name="T43" fmla="*/ 26 h 55"/>
                <a:gd name="T44" fmla="*/ 3 w 44"/>
                <a:gd name="T45" fmla="*/ 18 h 55"/>
                <a:gd name="T46" fmla="*/ 3 w 44"/>
                <a:gd name="T47" fmla="*/ 3 h 55"/>
                <a:gd name="T48" fmla="*/ 18 w 44"/>
                <a:gd name="T49" fmla="*/ 7 h 55"/>
                <a:gd name="T50" fmla="*/ 18 w 44"/>
                <a:gd name="T51" fmla="*/ 7 h 55"/>
                <a:gd name="T52" fmla="*/ 31 w 44"/>
                <a:gd name="T53" fmla="*/ 6 h 55"/>
                <a:gd name="T54" fmla="*/ 41 w 44"/>
                <a:gd name="T55" fmla="*/ 33 h 55"/>
                <a:gd name="T56" fmla="*/ 25 w 44"/>
                <a:gd name="T57" fmla="*/ 5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55">
                  <a:moveTo>
                    <a:pt x="32" y="3"/>
                  </a:moveTo>
                  <a:cubicBezTo>
                    <a:pt x="18" y="4"/>
                    <a:pt x="18" y="4"/>
                    <a:pt x="18" y="4"/>
                  </a:cubicBezTo>
                  <a:cubicBezTo>
                    <a:pt x="2" y="0"/>
                    <a:pt x="2" y="0"/>
                    <a:pt x="2" y="0"/>
                  </a:cubicBezTo>
                  <a:cubicBezTo>
                    <a:pt x="0" y="0"/>
                    <a:pt x="0" y="0"/>
                    <a:pt x="0" y="0"/>
                  </a:cubicBezTo>
                  <a:cubicBezTo>
                    <a:pt x="0" y="1"/>
                    <a:pt x="0" y="1"/>
                    <a:pt x="0" y="1"/>
                  </a:cubicBezTo>
                  <a:cubicBezTo>
                    <a:pt x="0" y="19"/>
                    <a:pt x="0" y="19"/>
                    <a:pt x="0" y="19"/>
                  </a:cubicBezTo>
                  <a:cubicBezTo>
                    <a:pt x="1" y="20"/>
                    <a:pt x="1" y="20"/>
                    <a:pt x="1" y="20"/>
                  </a:cubicBezTo>
                  <a:cubicBezTo>
                    <a:pt x="19" y="28"/>
                    <a:pt x="19" y="28"/>
                    <a:pt x="19" y="28"/>
                  </a:cubicBezTo>
                  <a:cubicBezTo>
                    <a:pt x="14" y="44"/>
                    <a:pt x="14" y="44"/>
                    <a:pt x="14" y="44"/>
                  </a:cubicBezTo>
                  <a:cubicBezTo>
                    <a:pt x="14" y="46"/>
                    <a:pt x="14" y="46"/>
                    <a:pt x="14" y="46"/>
                  </a:cubicBezTo>
                  <a:cubicBezTo>
                    <a:pt x="24" y="55"/>
                    <a:pt x="24" y="55"/>
                    <a:pt x="24" y="55"/>
                  </a:cubicBezTo>
                  <a:cubicBezTo>
                    <a:pt x="25" y="55"/>
                    <a:pt x="25" y="55"/>
                    <a:pt x="25" y="55"/>
                  </a:cubicBezTo>
                  <a:cubicBezTo>
                    <a:pt x="25" y="55"/>
                    <a:pt x="25" y="55"/>
                    <a:pt x="25" y="55"/>
                  </a:cubicBezTo>
                  <a:cubicBezTo>
                    <a:pt x="26" y="54"/>
                    <a:pt x="26" y="54"/>
                    <a:pt x="26" y="54"/>
                  </a:cubicBezTo>
                  <a:cubicBezTo>
                    <a:pt x="44" y="34"/>
                    <a:pt x="44" y="34"/>
                    <a:pt x="44" y="34"/>
                  </a:cubicBezTo>
                  <a:cubicBezTo>
                    <a:pt x="44" y="32"/>
                    <a:pt x="44" y="32"/>
                    <a:pt x="44" y="32"/>
                  </a:cubicBezTo>
                  <a:cubicBezTo>
                    <a:pt x="33" y="4"/>
                    <a:pt x="33" y="4"/>
                    <a:pt x="33" y="4"/>
                  </a:cubicBezTo>
                  <a:cubicBezTo>
                    <a:pt x="32" y="3"/>
                    <a:pt x="32" y="3"/>
                    <a:pt x="32" y="3"/>
                  </a:cubicBezTo>
                  <a:moveTo>
                    <a:pt x="25" y="51"/>
                  </a:moveTo>
                  <a:cubicBezTo>
                    <a:pt x="17" y="44"/>
                    <a:pt x="17" y="44"/>
                    <a:pt x="17" y="44"/>
                  </a:cubicBezTo>
                  <a:cubicBezTo>
                    <a:pt x="22" y="28"/>
                    <a:pt x="22" y="28"/>
                    <a:pt x="22" y="28"/>
                  </a:cubicBezTo>
                  <a:cubicBezTo>
                    <a:pt x="22" y="27"/>
                    <a:pt x="22" y="26"/>
                    <a:pt x="21" y="26"/>
                  </a:cubicBezTo>
                  <a:cubicBezTo>
                    <a:pt x="3" y="18"/>
                    <a:pt x="3" y="18"/>
                    <a:pt x="3" y="18"/>
                  </a:cubicBezTo>
                  <a:cubicBezTo>
                    <a:pt x="3" y="3"/>
                    <a:pt x="3" y="3"/>
                    <a:pt x="3" y="3"/>
                  </a:cubicBezTo>
                  <a:cubicBezTo>
                    <a:pt x="18" y="7"/>
                    <a:pt x="18" y="7"/>
                    <a:pt x="18" y="7"/>
                  </a:cubicBezTo>
                  <a:cubicBezTo>
                    <a:pt x="18" y="7"/>
                    <a:pt x="18" y="7"/>
                    <a:pt x="18" y="7"/>
                  </a:cubicBezTo>
                  <a:cubicBezTo>
                    <a:pt x="31" y="6"/>
                    <a:pt x="31" y="6"/>
                    <a:pt x="31" y="6"/>
                  </a:cubicBezTo>
                  <a:cubicBezTo>
                    <a:pt x="41" y="33"/>
                    <a:pt x="41" y="33"/>
                    <a:pt x="41" y="33"/>
                  </a:cubicBezTo>
                  <a:lnTo>
                    <a:pt x="25"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4" name="Oval 50">
              <a:extLst>
                <a:ext uri="{FF2B5EF4-FFF2-40B4-BE49-F238E27FC236}">
                  <a16:creationId xmlns:a16="http://schemas.microsoft.com/office/drawing/2014/main" id="{2E47436B-252A-4EB1-AD30-0DA874EE9B70}"/>
                </a:ext>
              </a:extLst>
            </p:cNvPr>
            <p:cNvSpPr>
              <a:spLocks noChangeArrowheads="1"/>
            </p:cNvSpPr>
            <p:nvPr/>
          </p:nvSpPr>
          <p:spPr bwMode="auto">
            <a:xfrm>
              <a:off x="4653" y="1824"/>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5" name="Oval 51">
              <a:extLst>
                <a:ext uri="{FF2B5EF4-FFF2-40B4-BE49-F238E27FC236}">
                  <a16:creationId xmlns:a16="http://schemas.microsoft.com/office/drawing/2014/main" id="{A1E20626-F72F-4E0F-ADF1-95098819417E}"/>
                </a:ext>
              </a:extLst>
            </p:cNvPr>
            <p:cNvSpPr>
              <a:spLocks noChangeArrowheads="1"/>
            </p:cNvSpPr>
            <p:nvPr/>
          </p:nvSpPr>
          <p:spPr bwMode="auto">
            <a:xfrm>
              <a:off x="4530" y="2009"/>
              <a:ext cx="34"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76" name="Group 54">
            <a:extLst>
              <a:ext uri="{FF2B5EF4-FFF2-40B4-BE49-F238E27FC236}">
                <a16:creationId xmlns:a16="http://schemas.microsoft.com/office/drawing/2014/main" id="{4A2D7262-DA90-472F-BF8F-FAB2F4BB89B9}"/>
              </a:ext>
            </a:extLst>
          </p:cNvPr>
          <p:cNvGrpSpPr>
            <a:grpSpLocks noChangeAspect="1"/>
          </p:cNvGrpSpPr>
          <p:nvPr/>
        </p:nvGrpSpPr>
        <p:grpSpPr bwMode="auto">
          <a:xfrm>
            <a:off x="2690809" y="3170592"/>
            <a:ext cx="515937" cy="665163"/>
            <a:chOff x="5709" y="2396"/>
            <a:chExt cx="325" cy="419"/>
          </a:xfrm>
          <a:solidFill>
            <a:schemeClr val="tx1"/>
          </a:solidFill>
        </p:grpSpPr>
        <p:sp>
          <p:nvSpPr>
            <p:cNvPr id="78" name="Freeform 55">
              <a:extLst>
                <a:ext uri="{FF2B5EF4-FFF2-40B4-BE49-F238E27FC236}">
                  <a16:creationId xmlns:a16="http://schemas.microsoft.com/office/drawing/2014/main" id="{A5B45AF7-597E-4238-B29D-372454DDBD41}"/>
                </a:ext>
              </a:extLst>
            </p:cNvPr>
            <p:cNvSpPr>
              <a:spLocks noEditPoints="1"/>
            </p:cNvSpPr>
            <p:nvPr/>
          </p:nvSpPr>
          <p:spPr bwMode="auto">
            <a:xfrm>
              <a:off x="5818" y="2623"/>
              <a:ext cx="109" cy="109"/>
            </a:xfrm>
            <a:custGeom>
              <a:avLst/>
              <a:gdLst>
                <a:gd name="T0" fmla="*/ 33 w 67"/>
                <a:gd name="T1" fmla="*/ 0 h 67"/>
                <a:gd name="T2" fmla="*/ 0 w 67"/>
                <a:gd name="T3" fmla="*/ 34 h 67"/>
                <a:gd name="T4" fmla="*/ 33 w 67"/>
                <a:gd name="T5" fmla="*/ 67 h 67"/>
                <a:gd name="T6" fmla="*/ 67 w 67"/>
                <a:gd name="T7" fmla="*/ 34 h 67"/>
                <a:gd name="T8" fmla="*/ 33 w 67"/>
                <a:gd name="T9" fmla="*/ 0 h 67"/>
                <a:gd name="T10" fmla="*/ 33 w 67"/>
                <a:gd name="T11" fmla="*/ 56 h 67"/>
                <a:gd name="T12" fmla="*/ 11 w 67"/>
                <a:gd name="T13" fmla="*/ 34 h 67"/>
                <a:gd name="T14" fmla="*/ 33 w 67"/>
                <a:gd name="T15" fmla="*/ 11 h 67"/>
                <a:gd name="T16" fmla="*/ 56 w 67"/>
                <a:gd name="T17" fmla="*/ 34 h 67"/>
                <a:gd name="T18" fmla="*/ 33 w 67"/>
                <a:gd name="T19" fmla="*/ 5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0"/>
                  </a:moveTo>
                  <a:cubicBezTo>
                    <a:pt x="15" y="0"/>
                    <a:pt x="0" y="15"/>
                    <a:pt x="0" y="34"/>
                  </a:cubicBezTo>
                  <a:cubicBezTo>
                    <a:pt x="0" y="52"/>
                    <a:pt x="15" y="67"/>
                    <a:pt x="33" y="67"/>
                  </a:cubicBezTo>
                  <a:cubicBezTo>
                    <a:pt x="52" y="67"/>
                    <a:pt x="67" y="52"/>
                    <a:pt x="67" y="34"/>
                  </a:cubicBezTo>
                  <a:cubicBezTo>
                    <a:pt x="67" y="15"/>
                    <a:pt x="52" y="0"/>
                    <a:pt x="33" y="0"/>
                  </a:cubicBezTo>
                  <a:moveTo>
                    <a:pt x="33" y="56"/>
                  </a:moveTo>
                  <a:cubicBezTo>
                    <a:pt x="21" y="56"/>
                    <a:pt x="11" y="46"/>
                    <a:pt x="11" y="34"/>
                  </a:cubicBezTo>
                  <a:cubicBezTo>
                    <a:pt x="11" y="21"/>
                    <a:pt x="21" y="11"/>
                    <a:pt x="33" y="11"/>
                  </a:cubicBezTo>
                  <a:cubicBezTo>
                    <a:pt x="46" y="11"/>
                    <a:pt x="56" y="21"/>
                    <a:pt x="56" y="34"/>
                  </a:cubicBezTo>
                  <a:cubicBezTo>
                    <a:pt x="56" y="46"/>
                    <a:pt x="46" y="56"/>
                    <a:pt x="33" y="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9" name="Oval 56">
              <a:extLst>
                <a:ext uri="{FF2B5EF4-FFF2-40B4-BE49-F238E27FC236}">
                  <a16:creationId xmlns:a16="http://schemas.microsoft.com/office/drawing/2014/main" id="{46FC6A7D-443B-46F0-B912-D4006BB31DA3}"/>
                </a:ext>
              </a:extLst>
            </p:cNvPr>
            <p:cNvSpPr>
              <a:spLocks noChangeArrowheads="1"/>
            </p:cNvSpPr>
            <p:nvPr/>
          </p:nvSpPr>
          <p:spPr bwMode="auto">
            <a:xfrm>
              <a:off x="5855" y="2747"/>
              <a:ext cx="34"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0" name="Freeform 57">
              <a:extLst>
                <a:ext uri="{FF2B5EF4-FFF2-40B4-BE49-F238E27FC236}">
                  <a16:creationId xmlns:a16="http://schemas.microsoft.com/office/drawing/2014/main" id="{96ECB4ED-F431-4377-A151-9044D501B6C6}"/>
                </a:ext>
              </a:extLst>
            </p:cNvPr>
            <p:cNvSpPr>
              <a:spLocks noEditPoints="1"/>
            </p:cNvSpPr>
            <p:nvPr/>
          </p:nvSpPr>
          <p:spPr bwMode="auto">
            <a:xfrm>
              <a:off x="5709" y="2396"/>
              <a:ext cx="325" cy="419"/>
            </a:xfrm>
            <a:custGeom>
              <a:avLst/>
              <a:gdLst>
                <a:gd name="T0" fmla="*/ 186 w 200"/>
                <a:gd name="T1" fmla="*/ 97 h 258"/>
                <a:gd name="T2" fmla="*/ 171 w 200"/>
                <a:gd name="T3" fmla="*/ 97 h 258"/>
                <a:gd name="T4" fmla="*/ 171 w 200"/>
                <a:gd name="T5" fmla="*/ 65 h 258"/>
                <a:gd name="T6" fmla="*/ 100 w 200"/>
                <a:gd name="T7" fmla="*/ 0 h 258"/>
                <a:gd name="T8" fmla="*/ 32 w 200"/>
                <a:gd name="T9" fmla="*/ 49 h 258"/>
                <a:gd name="T10" fmla="*/ 31 w 200"/>
                <a:gd name="T11" fmla="*/ 49 h 258"/>
                <a:gd name="T12" fmla="*/ 21 w 200"/>
                <a:gd name="T13" fmla="*/ 59 h 258"/>
                <a:gd name="T14" fmla="*/ 30 w 200"/>
                <a:gd name="T15" fmla="*/ 69 h 258"/>
                <a:gd name="T16" fmla="*/ 30 w 200"/>
                <a:gd name="T17" fmla="*/ 97 h 258"/>
                <a:gd name="T18" fmla="*/ 14 w 200"/>
                <a:gd name="T19" fmla="*/ 97 h 258"/>
                <a:gd name="T20" fmla="*/ 0 w 200"/>
                <a:gd name="T21" fmla="*/ 111 h 258"/>
                <a:gd name="T22" fmla="*/ 0 w 200"/>
                <a:gd name="T23" fmla="*/ 244 h 258"/>
                <a:gd name="T24" fmla="*/ 14 w 200"/>
                <a:gd name="T25" fmla="*/ 258 h 258"/>
                <a:gd name="T26" fmla="*/ 186 w 200"/>
                <a:gd name="T27" fmla="*/ 258 h 258"/>
                <a:gd name="T28" fmla="*/ 200 w 200"/>
                <a:gd name="T29" fmla="*/ 244 h 258"/>
                <a:gd name="T30" fmla="*/ 200 w 200"/>
                <a:gd name="T31" fmla="*/ 111 h 258"/>
                <a:gd name="T32" fmla="*/ 186 w 200"/>
                <a:gd name="T33" fmla="*/ 97 h 258"/>
                <a:gd name="T34" fmla="*/ 33 w 200"/>
                <a:gd name="T35" fmla="*/ 69 h 258"/>
                <a:gd name="T36" fmla="*/ 42 w 200"/>
                <a:gd name="T37" fmla="*/ 59 h 258"/>
                <a:gd name="T38" fmla="*/ 35 w 200"/>
                <a:gd name="T39" fmla="*/ 50 h 258"/>
                <a:gd name="T40" fmla="*/ 100 w 200"/>
                <a:gd name="T41" fmla="*/ 2 h 258"/>
                <a:gd name="T42" fmla="*/ 168 w 200"/>
                <a:gd name="T43" fmla="*/ 65 h 258"/>
                <a:gd name="T44" fmla="*/ 168 w 200"/>
                <a:gd name="T45" fmla="*/ 97 h 258"/>
                <a:gd name="T46" fmla="*/ 156 w 200"/>
                <a:gd name="T47" fmla="*/ 97 h 258"/>
                <a:gd name="T48" fmla="*/ 156 w 200"/>
                <a:gd name="T49" fmla="*/ 86 h 258"/>
                <a:gd name="T50" fmla="*/ 154 w 200"/>
                <a:gd name="T51" fmla="*/ 85 h 258"/>
                <a:gd name="T52" fmla="*/ 153 w 200"/>
                <a:gd name="T53" fmla="*/ 86 h 258"/>
                <a:gd name="T54" fmla="*/ 153 w 200"/>
                <a:gd name="T55" fmla="*/ 97 h 258"/>
                <a:gd name="T56" fmla="*/ 48 w 200"/>
                <a:gd name="T57" fmla="*/ 97 h 258"/>
                <a:gd name="T58" fmla="*/ 48 w 200"/>
                <a:gd name="T59" fmla="*/ 89 h 258"/>
                <a:gd name="T60" fmla="*/ 47 w 200"/>
                <a:gd name="T61" fmla="*/ 88 h 258"/>
                <a:gd name="T62" fmla="*/ 45 w 200"/>
                <a:gd name="T63" fmla="*/ 89 h 258"/>
                <a:gd name="T64" fmla="*/ 45 w 200"/>
                <a:gd name="T65" fmla="*/ 97 h 258"/>
                <a:gd name="T66" fmla="*/ 33 w 200"/>
                <a:gd name="T67" fmla="*/ 97 h 258"/>
                <a:gd name="T68" fmla="*/ 33 w 200"/>
                <a:gd name="T69" fmla="*/ 69 h 258"/>
                <a:gd name="T70" fmla="*/ 194 w 200"/>
                <a:gd name="T71" fmla="*/ 244 h 258"/>
                <a:gd name="T72" fmla="*/ 186 w 200"/>
                <a:gd name="T73" fmla="*/ 252 h 258"/>
                <a:gd name="T74" fmla="*/ 14 w 200"/>
                <a:gd name="T75" fmla="*/ 252 h 258"/>
                <a:gd name="T76" fmla="*/ 6 w 200"/>
                <a:gd name="T77" fmla="*/ 244 h 258"/>
                <a:gd name="T78" fmla="*/ 6 w 200"/>
                <a:gd name="T79" fmla="*/ 111 h 258"/>
                <a:gd name="T80" fmla="*/ 14 w 200"/>
                <a:gd name="T81" fmla="*/ 103 h 258"/>
                <a:gd name="T82" fmla="*/ 186 w 200"/>
                <a:gd name="T83" fmla="*/ 103 h 258"/>
                <a:gd name="T84" fmla="*/ 194 w 200"/>
                <a:gd name="T85" fmla="*/ 111 h 258"/>
                <a:gd name="T86" fmla="*/ 194 w 200"/>
                <a:gd name="T87" fmla="*/ 2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58">
                  <a:moveTo>
                    <a:pt x="186" y="97"/>
                  </a:moveTo>
                  <a:cubicBezTo>
                    <a:pt x="171" y="97"/>
                    <a:pt x="171" y="97"/>
                    <a:pt x="171" y="97"/>
                  </a:cubicBezTo>
                  <a:cubicBezTo>
                    <a:pt x="171" y="65"/>
                    <a:pt x="171" y="65"/>
                    <a:pt x="171" y="65"/>
                  </a:cubicBezTo>
                  <a:cubicBezTo>
                    <a:pt x="171" y="29"/>
                    <a:pt x="139" y="0"/>
                    <a:pt x="100" y="0"/>
                  </a:cubicBezTo>
                  <a:cubicBezTo>
                    <a:pt x="67" y="0"/>
                    <a:pt x="40" y="21"/>
                    <a:pt x="32" y="49"/>
                  </a:cubicBezTo>
                  <a:cubicBezTo>
                    <a:pt x="31" y="49"/>
                    <a:pt x="31" y="49"/>
                    <a:pt x="31" y="49"/>
                  </a:cubicBezTo>
                  <a:cubicBezTo>
                    <a:pt x="26" y="49"/>
                    <a:pt x="21" y="54"/>
                    <a:pt x="21" y="59"/>
                  </a:cubicBezTo>
                  <a:cubicBezTo>
                    <a:pt x="21" y="65"/>
                    <a:pt x="25" y="69"/>
                    <a:pt x="30" y="69"/>
                  </a:cubicBezTo>
                  <a:cubicBezTo>
                    <a:pt x="30" y="97"/>
                    <a:pt x="30" y="97"/>
                    <a:pt x="30" y="97"/>
                  </a:cubicBezTo>
                  <a:cubicBezTo>
                    <a:pt x="14" y="97"/>
                    <a:pt x="14" y="97"/>
                    <a:pt x="14" y="97"/>
                  </a:cubicBezTo>
                  <a:cubicBezTo>
                    <a:pt x="7" y="97"/>
                    <a:pt x="0" y="103"/>
                    <a:pt x="0" y="111"/>
                  </a:cubicBezTo>
                  <a:cubicBezTo>
                    <a:pt x="0" y="244"/>
                    <a:pt x="0" y="244"/>
                    <a:pt x="0" y="244"/>
                  </a:cubicBezTo>
                  <a:cubicBezTo>
                    <a:pt x="0" y="252"/>
                    <a:pt x="7" y="258"/>
                    <a:pt x="14" y="258"/>
                  </a:cubicBezTo>
                  <a:cubicBezTo>
                    <a:pt x="186" y="258"/>
                    <a:pt x="186" y="258"/>
                    <a:pt x="186" y="258"/>
                  </a:cubicBezTo>
                  <a:cubicBezTo>
                    <a:pt x="193" y="258"/>
                    <a:pt x="200" y="252"/>
                    <a:pt x="200" y="244"/>
                  </a:cubicBezTo>
                  <a:cubicBezTo>
                    <a:pt x="200" y="111"/>
                    <a:pt x="200" y="111"/>
                    <a:pt x="200" y="111"/>
                  </a:cubicBezTo>
                  <a:cubicBezTo>
                    <a:pt x="200" y="103"/>
                    <a:pt x="193" y="97"/>
                    <a:pt x="186" y="97"/>
                  </a:cubicBezTo>
                  <a:moveTo>
                    <a:pt x="33" y="69"/>
                  </a:moveTo>
                  <a:cubicBezTo>
                    <a:pt x="38" y="69"/>
                    <a:pt x="42" y="65"/>
                    <a:pt x="42" y="59"/>
                  </a:cubicBezTo>
                  <a:cubicBezTo>
                    <a:pt x="42" y="55"/>
                    <a:pt x="39" y="51"/>
                    <a:pt x="35" y="50"/>
                  </a:cubicBezTo>
                  <a:cubicBezTo>
                    <a:pt x="42" y="23"/>
                    <a:pt x="69" y="2"/>
                    <a:pt x="100" y="2"/>
                  </a:cubicBezTo>
                  <a:cubicBezTo>
                    <a:pt x="138" y="2"/>
                    <a:pt x="168" y="31"/>
                    <a:pt x="168" y="65"/>
                  </a:cubicBezTo>
                  <a:cubicBezTo>
                    <a:pt x="168" y="97"/>
                    <a:pt x="168" y="97"/>
                    <a:pt x="168" y="97"/>
                  </a:cubicBezTo>
                  <a:cubicBezTo>
                    <a:pt x="156" y="97"/>
                    <a:pt x="156" y="97"/>
                    <a:pt x="156" y="97"/>
                  </a:cubicBezTo>
                  <a:cubicBezTo>
                    <a:pt x="156" y="86"/>
                    <a:pt x="156" y="86"/>
                    <a:pt x="156" y="86"/>
                  </a:cubicBezTo>
                  <a:cubicBezTo>
                    <a:pt x="156" y="85"/>
                    <a:pt x="155" y="85"/>
                    <a:pt x="154" y="85"/>
                  </a:cubicBezTo>
                  <a:cubicBezTo>
                    <a:pt x="154" y="85"/>
                    <a:pt x="153" y="85"/>
                    <a:pt x="153" y="86"/>
                  </a:cubicBezTo>
                  <a:cubicBezTo>
                    <a:pt x="153" y="97"/>
                    <a:pt x="153" y="97"/>
                    <a:pt x="153" y="97"/>
                  </a:cubicBezTo>
                  <a:cubicBezTo>
                    <a:pt x="48" y="97"/>
                    <a:pt x="48" y="97"/>
                    <a:pt x="48" y="97"/>
                  </a:cubicBezTo>
                  <a:cubicBezTo>
                    <a:pt x="48" y="89"/>
                    <a:pt x="48" y="89"/>
                    <a:pt x="48" y="89"/>
                  </a:cubicBezTo>
                  <a:cubicBezTo>
                    <a:pt x="48" y="88"/>
                    <a:pt x="47" y="88"/>
                    <a:pt x="47" y="88"/>
                  </a:cubicBezTo>
                  <a:cubicBezTo>
                    <a:pt x="46" y="88"/>
                    <a:pt x="45" y="88"/>
                    <a:pt x="45" y="89"/>
                  </a:cubicBezTo>
                  <a:cubicBezTo>
                    <a:pt x="45" y="97"/>
                    <a:pt x="45" y="97"/>
                    <a:pt x="45" y="97"/>
                  </a:cubicBezTo>
                  <a:cubicBezTo>
                    <a:pt x="33" y="97"/>
                    <a:pt x="33" y="97"/>
                    <a:pt x="33" y="97"/>
                  </a:cubicBezTo>
                  <a:lnTo>
                    <a:pt x="33" y="69"/>
                  </a:lnTo>
                  <a:close/>
                  <a:moveTo>
                    <a:pt x="194" y="244"/>
                  </a:moveTo>
                  <a:cubicBezTo>
                    <a:pt x="194" y="248"/>
                    <a:pt x="190" y="252"/>
                    <a:pt x="186" y="252"/>
                  </a:cubicBezTo>
                  <a:cubicBezTo>
                    <a:pt x="14" y="252"/>
                    <a:pt x="14" y="252"/>
                    <a:pt x="14" y="252"/>
                  </a:cubicBezTo>
                  <a:cubicBezTo>
                    <a:pt x="10" y="252"/>
                    <a:pt x="6" y="248"/>
                    <a:pt x="6" y="244"/>
                  </a:cubicBezTo>
                  <a:cubicBezTo>
                    <a:pt x="6" y="111"/>
                    <a:pt x="6" y="111"/>
                    <a:pt x="6" y="111"/>
                  </a:cubicBezTo>
                  <a:cubicBezTo>
                    <a:pt x="6" y="106"/>
                    <a:pt x="10" y="103"/>
                    <a:pt x="14" y="103"/>
                  </a:cubicBezTo>
                  <a:cubicBezTo>
                    <a:pt x="186" y="103"/>
                    <a:pt x="186" y="103"/>
                    <a:pt x="186" y="103"/>
                  </a:cubicBezTo>
                  <a:cubicBezTo>
                    <a:pt x="190" y="103"/>
                    <a:pt x="194" y="106"/>
                    <a:pt x="194" y="111"/>
                  </a:cubicBezTo>
                  <a:lnTo>
                    <a:pt x="194"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1" name="Freeform 58">
              <a:extLst>
                <a:ext uri="{FF2B5EF4-FFF2-40B4-BE49-F238E27FC236}">
                  <a16:creationId xmlns:a16="http://schemas.microsoft.com/office/drawing/2014/main" id="{A3B84988-A7FB-4B3F-A441-2B0220E8F32C}"/>
                </a:ext>
              </a:extLst>
            </p:cNvPr>
            <p:cNvSpPr>
              <a:spLocks/>
            </p:cNvSpPr>
            <p:nvPr/>
          </p:nvSpPr>
          <p:spPr bwMode="auto">
            <a:xfrm>
              <a:off x="5876" y="2420"/>
              <a:ext cx="25" cy="10"/>
            </a:xfrm>
            <a:custGeom>
              <a:avLst/>
              <a:gdLst>
                <a:gd name="T0" fmla="*/ 2 w 15"/>
                <a:gd name="T1" fmla="*/ 3 h 6"/>
                <a:gd name="T2" fmla="*/ 13 w 15"/>
                <a:gd name="T3" fmla="*/ 6 h 6"/>
                <a:gd name="T4" fmla="*/ 14 w 15"/>
                <a:gd name="T5" fmla="*/ 6 h 6"/>
                <a:gd name="T6" fmla="*/ 15 w 15"/>
                <a:gd name="T7" fmla="*/ 5 h 6"/>
                <a:gd name="T8" fmla="*/ 14 w 15"/>
                <a:gd name="T9" fmla="*/ 3 h 6"/>
                <a:gd name="T10" fmla="*/ 2 w 15"/>
                <a:gd name="T11" fmla="*/ 0 h 6"/>
                <a:gd name="T12" fmla="*/ 0 w 15"/>
                <a:gd name="T13" fmla="*/ 2 h 6"/>
                <a:gd name="T14" fmla="*/ 2 w 15"/>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6">
                  <a:moveTo>
                    <a:pt x="2" y="3"/>
                  </a:moveTo>
                  <a:cubicBezTo>
                    <a:pt x="6" y="4"/>
                    <a:pt x="9" y="4"/>
                    <a:pt x="13" y="6"/>
                  </a:cubicBezTo>
                  <a:cubicBezTo>
                    <a:pt x="14" y="6"/>
                    <a:pt x="14" y="6"/>
                    <a:pt x="14" y="6"/>
                  </a:cubicBezTo>
                  <a:cubicBezTo>
                    <a:pt x="15" y="5"/>
                    <a:pt x="15" y="5"/>
                    <a:pt x="15" y="5"/>
                  </a:cubicBezTo>
                  <a:cubicBezTo>
                    <a:pt x="15" y="4"/>
                    <a:pt x="15" y="3"/>
                    <a:pt x="14" y="3"/>
                  </a:cubicBezTo>
                  <a:cubicBezTo>
                    <a:pt x="10" y="2"/>
                    <a:pt x="6" y="1"/>
                    <a:pt x="2" y="0"/>
                  </a:cubicBezTo>
                  <a:cubicBezTo>
                    <a:pt x="1" y="0"/>
                    <a:pt x="0" y="1"/>
                    <a:pt x="0" y="2"/>
                  </a:cubicBezTo>
                  <a:cubicBezTo>
                    <a:pt x="0" y="3"/>
                    <a:pt x="1" y="3"/>
                    <a:pt x="2"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2" name="Freeform 59">
              <a:extLst>
                <a:ext uri="{FF2B5EF4-FFF2-40B4-BE49-F238E27FC236}">
                  <a16:creationId xmlns:a16="http://schemas.microsoft.com/office/drawing/2014/main" id="{2D79565F-0E7D-415B-8AC6-497B94446F3E}"/>
                </a:ext>
              </a:extLst>
            </p:cNvPr>
            <p:cNvSpPr>
              <a:spLocks/>
            </p:cNvSpPr>
            <p:nvPr/>
          </p:nvSpPr>
          <p:spPr bwMode="auto">
            <a:xfrm>
              <a:off x="5941" y="2458"/>
              <a:ext cx="15" cy="22"/>
            </a:xfrm>
            <a:custGeom>
              <a:avLst/>
              <a:gdLst>
                <a:gd name="T0" fmla="*/ 6 w 9"/>
                <a:gd name="T1" fmla="*/ 13 h 14"/>
                <a:gd name="T2" fmla="*/ 7 w 9"/>
                <a:gd name="T3" fmla="*/ 14 h 14"/>
                <a:gd name="T4" fmla="*/ 8 w 9"/>
                <a:gd name="T5" fmla="*/ 14 h 14"/>
                <a:gd name="T6" fmla="*/ 9 w 9"/>
                <a:gd name="T7" fmla="*/ 12 h 14"/>
                <a:gd name="T8" fmla="*/ 3 w 9"/>
                <a:gd name="T9" fmla="*/ 1 h 14"/>
                <a:gd name="T10" fmla="*/ 1 w 9"/>
                <a:gd name="T11" fmla="*/ 1 h 14"/>
                <a:gd name="T12" fmla="*/ 0 w 9"/>
                <a:gd name="T13" fmla="*/ 3 h 14"/>
                <a:gd name="T14" fmla="*/ 6 w 9"/>
                <a:gd name="T15" fmla="*/ 13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4">
                  <a:moveTo>
                    <a:pt x="6" y="13"/>
                  </a:moveTo>
                  <a:cubicBezTo>
                    <a:pt x="7" y="14"/>
                    <a:pt x="7" y="14"/>
                    <a:pt x="7" y="14"/>
                  </a:cubicBezTo>
                  <a:cubicBezTo>
                    <a:pt x="8" y="14"/>
                    <a:pt x="8" y="14"/>
                    <a:pt x="8" y="14"/>
                  </a:cubicBezTo>
                  <a:cubicBezTo>
                    <a:pt x="9" y="14"/>
                    <a:pt x="9" y="13"/>
                    <a:pt x="9" y="12"/>
                  </a:cubicBezTo>
                  <a:cubicBezTo>
                    <a:pt x="7" y="8"/>
                    <a:pt x="5" y="5"/>
                    <a:pt x="3" y="1"/>
                  </a:cubicBezTo>
                  <a:cubicBezTo>
                    <a:pt x="2" y="1"/>
                    <a:pt x="2" y="0"/>
                    <a:pt x="1" y="1"/>
                  </a:cubicBezTo>
                  <a:cubicBezTo>
                    <a:pt x="0" y="1"/>
                    <a:pt x="0" y="2"/>
                    <a:pt x="0" y="3"/>
                  </a:cubicBezTo>
                  <a:cubicBezTo>
                    <a:pt x="3" y="6"/>
                    <a:pt x="5" y="10"/>
                    <a:pt x="6"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3" name="Freeform 60">
              <a:extLst>
                <a:ext uri="{FF2B5EF4-FFF2-40B4-BE49-F238E27FC236}">
                  <a16:creationId xmlns:a16="http://schemas.microsoft.com/office/drawing/2014/main" id="{2EA6105E-1E33-49DC-9790-C50AD83634C1}"/>
                </a:ext>
              </a:extLst>
            </p:cNvPr>
            <p:cNvSpPr>
              <a:spLocks/>
            </p:cNvSpPr>
            <p:nvPr/>
          </p:nvSpPr>
          <p:spPr bwMode="auto">
            <a:xfrm>
              <a:off x="5956" y="2495"/>
              <a:ext cx="6" cy="24"/>
            </a:xfrm>
            <a:custGeom>
              <a:avLst/>
              <a:gdLst>
                <a:gd name="T0" fmla="*/ 1 w 4"/>
                <a:gd name="T1" fmla="*/ 13 h 15"/>
                <a:gd name="T2" fmla="*/ 2 w 4"/>
                <a:gd name="T3" fmla="*/ 15 h 15"/>
                <a:gd name="T4" fmla="*/ 4 w 4"/>
                <a:gd name="T5" fmla="*/ 13 h 15"/>
                <a:gd name="T6" fmla="*/ 4 w 4"/>
                <a:gd name="T7" fmla="*/ 11 h 15"/>
                <a:gd name="T8" fmla="*/ 3 w 4"/>
                <a:gd name="T9" fmla="*/ 1 h 15"/>
                <a:gd name="T10" fmla="*/ 1 w 4"/>
                <a:gd name="T11" fmla="*/ 0 h 15"/>
                <a:gd name="T12" fmla="*/ 0 w 4"/>
                <a:gd name="T13" fmla="*/ 1 h 15"/>
                <a:gd name="T14" fmla="*/ 1 w 4"/>
                <a:gd name="T15" fmla="*/ 11 h 15"/>
                <a:gd name="T16" fmla="*/ 1 w 4"/>
                <a:gd name="T1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5">
                  <a:moveTo>
                    <a:pt x="1" y="13"/>
                  </a:moveTo>
                  <a:cubicBezTo>
                    <a:pt x="1" y="14"/>
                    <a:pt x="2" y="15"/>
                    <a:pt x="2" y="15"/>
                  </a:cubicBezTo>
                  <a:cubicBezTo>
                    <a:pt x="3" y="15"/>
                    <a:pt x="4" y="14"/>
                    <a:pt x="4" y="13"/>
                  </a:cubicBezTo>
                  <a:cubicBezTo>
                    <a:pt x="4" y="11"/>
                    <a:pt x="4" y="11"/>
                    <a:pt x="4" y="11"/>
                  </a:cubicBezTo>
                  <a:cubicBezTo>
                    <a:pt x="4" y="7"/>
                    <a:pt x="4" y="4"/>
                    <a:pt x="3" y="1"/>
                  </a:cubicBezTo>
                  <a:cubicBezTo>
                    <a:pt x="3" y="0"/>
                    <a:pt x="2" y="0"/>
                    <a:pt x="1" y="0"/>
                  </a:cubicBezTo>
                  <a:cubicBezTo>
                    <a:pt x="1" y="0"/>
                    <a:pt x="0" y="1"/>
                    <a:pt x="0" y="1"/>
                  </a:cubicBezTo>
                  <a:cubicBezTo>
                    <a:pt x="1" y="4"/>
                    <a:pt x="1" y="7"/>
                    <a:pt x="1" y="11"/>
                  </a:cubicBezTo>
                  <a:lnTo>
                    <a:pt x="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4" name="Freeform 61">
              <a:extLst>
                <a:ext uri="{FF2B5EF4-FFF2-40B4-BE49-F238E27FC236}">
                  <a16:creationId xmlns:a16="http://schemas.microsoft.com/office/drawing/2014/main" id="{48A10792-A690-424B-A484-2D6D2DB34510}"/>
                </a:ext>
              </a:extLst>
            </p:cNvPr>
            <p:cNvSpPr>
              <a:spLocks/>
            </p:cNvSpPr>
            <p:nvPr/>
          </p:nvSpPr>
          <p:spPr bwMode="auto">
            <a:xfrm>
              <a:off x="5914" y="2432"/>
              <a:ext cx="19" cy="18"/>
            </a:xfrm>
            <a:custGeom>
              <a:avLst/>
              <a:gdLst>
                <a:gd name="T0" fmla="*/ 10 w 12"/>
                <a:gd name="T1" fmla="*/ 10 h 11"/>
                <a:gd name="T2" fmla="*/ 11 w 12"/>
                <a:gd name="T3" fmla="*/ 11 h 11"/>
                <a:gd name="T4" fmla="*/ 12 w 12"/>
                <a:gd name="T5" fmla="*/ 10 h 11"/>
                <a:gd name="T6" fmla="*/ 12 w 12"/>
                <a:gd name="T7" fmla="*/ 8 h 11"/>
                <a:gd name="T8" fmla="*/ 2 w 12"/>
                <a:gd name="T9" fmla="*/ 1 h 11"/>
                <a:gd name="T10" fmla="*/ 0 w 12"/>
                <a:gd name="T11" fmla="*/ 1 h 11"/>
                <a:gd name="T12" fmla="*/ 1 w 12"/>
                <a:gd name="T13" fmla="*/ 3 h 11"/>
                <a:gd name="T14" fmla="*/ 10 w 12"/>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10" y="10"/>
                  </a:moveTo>
                  <a:cubicBezTo>
                    <a:pt x="11" y="11"/>
                    <a:pt x="11" y="11"/>
                    <a:pt x="11" y="11"/>
                  </a:cubicBezTo>
                  <a:cubicBezTo>
                    <a:pt x="12" y="10"/>
                    <a:pt x="12" y="10"/>
                    <a:pt x="12" y="10"/>
                  </a:cubicBezTo>
                  <a:cubicBezTo>
                    <a:pt x="12" y="8"/>
                    <a:pt x="12" y="8"/>
                    <a:pt x="12" y="8"/>
                  </a:cubicBezTo>
                  <a:cubicBezTo>
                    <a:pt x="9" y="5"/>
                    <a:pt x="6" y="3"/>
                    <a:pt x="2" y="1"/>
                  </a:cubicBezTo>
                  <a:cubicBezTo>
                    <a:pt x="1" y="0"/>
                    <a:pt x="1" y="1"/>
                    <a:pt x="0" y="1"/>
                  </a:cubicBezTo>
                  <a:cubicBezTo>
                    <a:pt x="0" y="2"/>
                    <a:pt x="0" y="3"/>
                    <a:pt x="1" y="3"/>
                  </a:cubicBezTo>
                  <a:cubicBezTo>
                    <a:pt x="4" y="5"/>
                    <a:pt x="7" y="8"/>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5" name="Freeform 62">
              <a:extLst>
                <a:ext uri="{FF2B5EF4-FFF2-40B4-BE49-F238E27FC236}">
                  <a16:creationId xmlns:a16="http://schemas.microsoft.com/office/drawing/2014/main" id="{10C40E69-D2DC-4728-ADDD-2019A3A93BEC}"/>
                </a:ext>
              </a:extLst>
            </p:cNvPr>
            <p:cNvSpPr>
              <a:spLocks/>
            </p:cNvSpPr>
            <p:nvPr/>
          </p:nvSpPr>
          <p:spPr bwMode="auto">
            <a:xfrm>
              <a:off x="5787" y="2463"/>
              <a:ext cx="13" cy="22"/>
            </a:xfrm>
            <a:custGeom>
              <a:avLst/>
              <a:gdLst>
                <a:gd name="T0" fmla="*/ 1 w 8"/>
                <a:gd name="T1" fmla="*/ 14 h 14"/>
                <a:gd name="T2" fmla="*/ 2 w 8"/>
                <a:gd name="T3" fmla="*/ 14 h 14"/>
                <a:gd name="T4" fmla="*/ 3 w 8"/>
                <a:gd name="T5" fmla="*/ 13 h 14"/>
                <a:gd name="T6" fmla="*/ 8 w 8"/>
                <a:gd name="T7" fmla="*/ 3 h 14"/>
                <a:gd name="T8" fmla="*/ 7 w 8"/>
                <a:gd name="T9" fmla="*/ 1 h 14"/>
                <a:gd name="T10" fmla="*/ 5 w 8"/>
                <a:gd name="T11" fmla="*/ 1 h 14"/>
                <a:gd name="T12" fmla="*/ 0 w 8"/>
                <a:gd name="T13" fmla="*/ 12 h 14"/>
                <a:gd name="T14" fmla="*/ 1 w 8"/>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4">
                  <a:moveTo>
                    <a:pt x="1" y="14"/>
                  </a:moveTo>
                  <a:cubicBezTo>
                    <a:pt x="2" y="14"/>
                    <a:pt x="2" y="14"/>
                    <a:pt x="2" y="14"/>
                  </a:cubicBezTo>
                  <a:cubicBezTo>
                    <a:pt x="3" y="13"/>
                    <a:pt x="3" y="13"/>
                    <a:pt x="3" y="13"/>
                  </a:cubicBezTo>
                  <a:cubicBezTo>
                    <a:pt x="4" y="10"/>
                    <a:pt x="6" y="6"/>
                    <a:pt x="8" y="3"/>
                  </a:cubicBezTo>
                  <a:cubicBezTo>
                    <a:pt x="8" y="2"/>
                    <a:pt x="8" y="1"/>
                    <a:pt x="7" y="1"/>
                  </a:cubicBezTo>
                  <a:cubicBezTo>
                    <a:pt x="7" y="0"/>
                    <a:pt x="6" y="0"/>
                    <a:pt x="5" y="1"/>
                  </a:cubicBezTo>
                  <a:cubicBezTo>
                    <a:pt x="3" y="5"/>
                    <a:pt x="1" y="8"/>
                    <a:pt x="0" y="12"/>
                  </a:cubicBezTo>
                  <a:cubicBezTo>
                    <a:pt x="0" y="13"/>
                    <a:pt x="0" y="14"/>
                    <a:pt x="1"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6" name="Freeform 63">
              <a:extLst>
                <a:ext uri="{FF2B5EF4-FFF2-40B4-BE49-F238E27FC236}">
                  <a16:creationId xmlns:a16="http://schemas.microsoft.com/office/drawing/2014/main" id="{A3A3A85B-753C-4441-99AD-4D83548472CA}"/>
                </a:ext>
              </a:extLst>
            </p:cNvPr>
            <p:cNvSpPr>
              <a:spLocks/>
            </p:cNvSpPr>
            <p:nvPr/>
          </p:nvSpPr>
          <p:spPr bwMode="auto">
            <a:xfrm>
              <a:off x="5839" y="2422"/>
              <a:ext cx="24" cy="10"/>
            </a:xfrm>
            <a:custGeom>
              <a:avLst/>
              <a:gdLst>
                <a:gd name="T0" fmla="*/ 2 w 15"/>
                <a:gd name="T1" fmla="*/ 6 h 6"/>
                <a:gd name="T2" fmla="*/ 13 w 15"/>
                <a:gd name="T3" fmla="*/ 3 h 6"/>
                <a:gd name="T4" fmla="*/ 14 w 15"/>
                <a:gd name="T5" fmla="*/ 1 h 6"/>
                <a:gd name="T6" fmla="*/ 13 w 15"/>
                <a:gd name="T7" fmla="*/ 0 h 6"/>
                <a:gd name="T8" fmla="*/ 1 w 15"/>
                <a:gd name="T9" fmla="*/ 3 h 6"/>
                <a:gd name="T10" fmla="*/ 0 w 15"/>
                <a:gd name="T11" fmla="*/ 5 h 6"/>
                <a:gd name="T12" fmla="*/ 1 w 15"/>
                <a:gd name="T13" fmla="*/ 6 h 6"/>
                <a:gd name="T14" fmla="*/ 2 w 15"/>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6">
                  <a:moveTo>
                    <a:pt x="2" y="6"/>
                  </a:moveTo>
                  <a:cubicBezTo>
                    <a:pt x="6" y="4"/>
                    <a:pt x="9" y="3"/>
                    <a:pt x="13" y="3"/>
                  </a:cubicBezTo>
                  <a:cubicBezTo>
                    <a:pt x="14" y="3"/>
                    <a:pt x="15" y="2"/>
                    <a:pt x="14" y="1"/>
                  </a:cubicBezTo>
                  <a:cubicBezTo>
                    <a:pt x="14" y="0"/>
                    <a:pt x="13" y="0"/>
                    <a:pt x="13" y="0"/>
                  </a:cubicBezTo>
                  <a:cubicBezTo>
                    <a:pt x="9" y="0"/>
                    <a:pt x="5" y="1"/>
                    <a:pt x="1" y="3"/>
                  </a:cubicBezTo>
                  <a:cubicBezTo>
                    <a:pt x="0" y="3"/>
                    <a:pt x="0" y="4"/>
                    <a:pt x="0" y="5"/>
                  </a:cubicBezTo>
                  <a:cubicBezTo>
                    <a:pt x="1" y="6"/>
                    <a:pt x="1" y="6"/>
                    <a:pt x="1" y="6"/>
                  </a:cubicBez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7" name="Freeform 64">
              <a:extLst>
                <a:ext uri="{FF2B5EF4-FFF2-40B4-BE49-F238E27FC236}">
                  <a16:creationId xmlns:a16="http://schemas.microsoft.com/office/drawing/2014/main" id="{599A3DEB-CC93-47F1-96FF-7E206EE62378}"/>
                </a:ext>
              </a:extLst>
            </p:cNvPr>
            <p:cNvSpPr>
              <a:spLocks/>
            </p:cNvSpPr>
            <p:nvPr/>
          </p:nvSpPr>
          <p:spPr bwMode="auto">
            <a:xfrm>
              <a:off x="5782" y="2500"/>
              <a:ext cx="6" cy="24"/>
            </a:xfrm>
            <a:custGeom>
              <a:avLst/>
              <a:gdLst>
                <a:gd name="T0" fmla="*/ 2 w 4"/>
                <a:gd name="T1" fmla="*/ 15 h 15"/>
                <a:gd name="T2" fmla="*/ 3 w 4"/>
                <a:gd name="T3" fmla="*/ 13 h 15"/>
                <a:gd name="T4" fmla="*/ 3 w 4"/>
                <a:gd name="T5" fmla="*/ 8 h 15"/>
                <a:gd name="T6" fmla="*/ 3 w 4"/>
                <a:gd name="T7" fmla="*/ 2 h 15"/>
                <a:gd name="T8" fmla="*/ 2 w 4"/>
                <a:gd name="T9" fmla="*/ 0 h 15"/>
                <a:gd name="T10" fmla="*/ 0 w 4"/>
                <a:gd name="T11" fmla="*/ 1 h 15"/>
                <a:gd name="T12" fmla="*/ 0 w 4"/>
                <a:gd name="T13" fmla="*/ 8 h 15"/>
                <a:gd name="T14" fmla="*/ 0 w 4"/>
                <a:gd name="T15" fmla="*/ 13 h 15"/>
                <a:gd name="T16" fmla="*/ 2 w 4"/>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5">
                  <a:moveTo>
                    <a:pt x="2" y="15"/>
                  </a:moveTo>
                  <a:cubicBezTo>
                    <a:pt x="2" y="15"/>
                    <a:pt x="3" y="14"/>
                    <a:pt x="3" y="13"/>
                  </a:cubicBezTo>
                  <a:cubicBezTo>
                    <a:pt x="3" y="8"/>
                    <a:pt x="3" y="8"/>
                    <a:pt x="3" y="8"/>
                  </a:cubicBezTo>
                  <a:cubicBezTo>
                    <a:pt x="3" y="6"/>
                    <a:pt x="3" y="4"/>
                    <a:pt x="3" y="2"/>
                  </a:cubicBezTo>
                  <a:cubicBezTo>
                    <a:pt x="4" y="1"/>
                    <a:pt x="3" y="0"/>
                    <a:pt x="2" y="0"/>
                  </a:cubicBezTo>
                  <a:cubicBezTo>
                    <a:pt x="1" y="0"/>
                    <a:pt x="1" y="0"/>
                    <a:pt x="0" y="1"/>
                  </a:cubicBezTo>
                  <a:cubicBezTo>
                    <a:pt x="0" y="3"/>
                    <a:pt x="0" y="6"/>
                    <a:pt x="0" y="8"/>
                  </a:cubicBezTo>
                  <a:cubicBezTo>
                    <a:pt x="0" y="13"/>
                    <a:pt x="0" y="13"/>
                    <a:pt x="0" y="13"/>
                  </a:cubicBezTo>
                  <a:cubicBezTo>
                    <a:pt x="0" y="14"/>
                    <a:pt x="1" y="15"/>
                    <a:pt x="2"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88" name="Freeform 65">
              <a:extLst>
                <a:ext uri="{FF2B5EF4-FFF2-40B4-BE49-F238E27FC236}">
                  <a16:creationId xmlns:a16="http://schemas.microsoft.com/office/drawing/2014/main" id="{415A212D-E983-499C-80C9-D58ED5EB8E3C}"/>
                </a:ext>
              </a:extLst>
            </p:cNvPr>
            <p:cNvSpPr>
              <a:spLocks/>
            </p:cNvSpPr>
            <p:nvPr/>
          </p:nvSpPr>
          <p:spPr bwMode="auto">
            <a:xfrm>
              <a:off x="5808" y="2435"/>
              <a:ext cx="19" cy="18"/>
            </a:xfrm>
            <a:custGeom>
              <a:avLst/>
              <a:gdLst>
                <a:gd name="T0" fmla="*/ 1 w 12"/>
                <a:gd name="T1" fmla="*/ 11 h 11"/>
                <a:gd name="T2" fmla="*/ 2 w 12"/>
                <a:gd name="T3" fmla="*/ 11 h 11"/>
                <a:gd name="T4" fmla="*/ 11 w 12"/>
                <a:gd name="T5" fmla="*/ 3 h 11"/>
                <a:gd name="T6" fmla="*/ 11 w 12"/>
                <a:gd name="T7" fmla="*/ 1 h 11"/>
                <a:gd name="T8" fmla="*/ 9 w 12"/>
                <a:gd name="T9" fmla="*/ 1 h 11"/>
                <a:gd name="T10" fmla="*/ 0 w 12"/>
                <a:gd name="T11" fmla="*/ 8 h 11"/>
                <a:gd name="T12" fmla="*/ 0 w 12"/>
                <a:gd name="T13" fmla="*/ 11 h 11"/>
                <a:gd name="T14" fmla="*/ 1 w 1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1" y="11"/>
                  </a:moveTo>
                  <a:cubicBezTo>
                    <a:pt x="2" y="11"/>
                    <a:pt x="2" y="11"/>
                    <a:pt x="2" y="11"/>
                  </a:cubicBezTo>
                  <a:cubicBezTo>
                    <a:pt x="4" y="8"/>
                    <a:pt x="7" y="5"/>
                    <a:pt x="11" y="3"/>
                  </a:cubicBezTo>
                  <a:cubicBezTo>
                    <a:pt x="11" y="3"/>
                    <a:pt x="12" y="2"/>
                    <a:pt x="11" y="1"/>
                  </a:cubicBezTo>
                  <a:cubicBezTo>
                    <a:pt x="11" y="0"/>
                    <a:pt x="10" y="0"/>
                    <a:pt x="9" y="1"/>
                  </a:cubicBezTo>
                  <a:cubicBezTo>
                    <a:pt x="6" y="3"/>
                    <a:pt x="2" y="5"/>
                    <a:pt x="0" y="8"/>
                  </a:cubicBezTo>
                  <a:cubicBezTo>
                    <a:pt x="0" y="11"/>
                    <a:pt x="0" y="11"/>
                    <a:pt x="0" y="11"/>
                  </a:cubicBezTo>
                  <a:cubicBezTo>
                    <a:pt x="1" y="11"/>
                    <a:pt x="1" y="11"/>
                    <a:pt x="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89" name="Group 68">
            <a:extLst>
              <a:ext uri="{FF2B5EF4-FFF2-40B4-BE49-F238E27FC236}">
                <a16:creationId xmlns:a16="http://schemas.microsoft.com/office/drawing/2014/main" id="{5B44048A-1FA1-4D43-8BA5-C7C55403D6C9}"/>
              </a:ext>
            </a:extLst>
          </p:cNvPr>
          <p:cNvGrpSpPr>
            <a:grpSpLocks noChangeAspect="1"/>
          </p:cNvGrpSpPr>
          <p:nvPr/>
        </p:nvGrpSpPr>
        <p:grpSpPr bwMode="auto">
          <a:xfrm>
            <a:off x="4801911" y="2208721"/>
            <a:ext cx="658812" cy="431800"/>
            <a:chOff x="6129" y="3380"/>
            <a:chExt cx="415" cy="272"/>
          </a:xfrm>
          <a:solidFill>
            <a:schemeClr val="tx1"/>
          </a:solidFill>
        </p:grpSpPr>
        <p:sp>
          <p:nvSpPr>
            <p:cNvPr id="91" name="Freeform 69">
              <a:extLst>
                <a:ext uri="{FF2B5EF4-FFF2-40B4-BE49-F238E27FC236}">
                  <a16:creationId xmlns:a16="http://schemas.microsoft.com/office/drawing/2014/main" id="{27FD3C4E-7C9C-48D1-A274-CBE714575159}"/>
                </a:ext>
              </a:extLst>
            </p:cNvPr>
            <p:cNvSpPr>
              <a:spLocks/>
            </p:cNvSpPr>
            <p:nvPr/>
          </p:nvSpPr>
          <p:spPr bwMode="auto">
            <a:xfrm>
              <a:off x="6174" y="3435"/>
              <a:ext cx="340" cy="184"/>
            </a:xfrm>
            <a:custGeom>
              <a:avLst/>
              <a:gdLst>
                <a:gd name="T0" fmla="*/ 209 w 209"/>
                <a:gd name="T1" fmla="*/ 112 h 113"/>
                <a:gd name="T2" fmla="*/ 209 w 209"/>
                <a:gd name="T3" fmla="*/ 1 h 113"/>
                <a:gd name="T4" fmla="*/ 208 w 209"/>
                <a:gd name="T5" fmla="*/ 0 h 113"/>
                <a:gd name="T6" fmla="*/ 206 w 209"/>
                <a:gd name="T7" fmla="*/ 1 h 113"/>
                <a:gd name="T8" fmla="*/ 206 w 209"/>
                <a:gd name="T9" fmla="*/ 110 h 113"/>
                <a:gd name="T10" fmla="*/ 2 w 209"/>
                <a:gd name="T11" fmla="*/ 110 h 113"/>
                <a:gd name="T12" fmla="*/ 0 w 209"/>
                <a:gd name="T13" fmla="*/ 112 h 113"/>
                <a:gd name="T14" fmla="*/ 2 w 209"/>
                <a:gd name="T15" fmla="*/ 113 h 113"/>
                <a:gd name="T16" fmla="*/ 208 w 209"/>
                <a:gd name="T17" fmla="*/ 113 h 113"/>
                <a:gd name="T18" fmla="*/ 209 w 209"/>
                <a:gd name="T19"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113">
                  <a:moveTo>
                    <a:pt x="209" y="112"/>
                  </a:moveTo>
                  <a:cubicBezTo>
                    <a:pt x="209" y="1"/>
                    <a:pt x="209" y="1"/>
                    <a:pt x="209" y="1"/>
                  </a:cubicBezTo>
                  <a:cubicBezTo>
                    <a:pt x="209" y="0"/>
                    <a:pt x="209" y="0"/>
                    <a:pt x="208" y="0"/>
                  </a:cubicBezTo>
                  <a:cubicBezTo>
                    <a:pt x="207" y="0"/>
                    <a:pt x="206" y="0"/>
                    <a:pt x="206" y="1"/>
                  </a:cubicBezTo>
                  <a:cubicBezTo>
                    <a:pt x="206" y="110"/>
                    <a:pt x="206" y="110"/>
                    <a:pt x="206" y="110"/>
                  </a:cubicBezTo>
                  <a:cubicBezTo>
                    <a:pt x="2" y="110"/>
                    <a:pt x="2" y="110"/>
                    <a:pt x="2" y="110"/>
                  </a:cubicBezTo>
                  <a:cubicBezTo>
                    <a:pt x="1" y="110"/>
                    <a:pt x="0" y="111"/>
                    <a:pt x="0" y="112"/>
                  </a:cubicBezTo>
                  <a:cubicBezTo>
                    <a:pt x="0" y="113"/>
                    <a:pt x="1" y="113"/>
                    <a:pt x="2" y="113"/>
                  </a:cubicBezTo>
                  <a:cubicBezTo>
                    <a:pt x="208" y="113"/>
                    <a:pt x="208" y="113"/>
                    <a:pt x="208" y="113"/>
                  </a:cubicBezTo>
                  <a:cubicBezTo>
                    <a:pt x="209" y="113"/>
                    <a:pt x="209" y="113"/>
                    <a:pt x="209" y="1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2" name="Freeform 70">
              <a:extLst>
                <a:ext uri="{FF2B5EF4-FFF2-40B4-BE49-F238E27FC236}">
                  <a16:creationId xmlns:a16="http://schemas.microsoft.com/office/drawing/2014/main" id="{BAE18A3A-9EB1-4A01-9DE7-3B264451FB2D}"/>
                </a:ext>
              </a:extLst>
            </p:cNvPr>
            <p:cNvSpPr>
              <a:spLocks/>
            </p:cNvSpPr>
            <p:nvPr/>
          </p:nvSpPr>
          <p:spPr bwMode="auto">
            <a:xfrm>
              <a:off x="6203" y="3460"/>
              <a:ext cx="341" cy="192"/>
            </a:xfrm>
            <a:custGeom>
              <a:avLst/>
              <a:gdLst>
                <a:gd name="T0" fmla="*/ 208 w 210"/>
                <a:gd name="T1" fmla="*/ 0 h 118"/>
                <a:gd name="T2" fmla="*/ 207 w 210"/>
                <a:gd name="T3" fmla="*/ 1 h 118"/>
                <a:gd name="T4" fmla="*/ 207 w 210"/>
                <a:gd name="T5" fmla="*/ 115 h 118"/>
                <a:gd name="T6" fmla="*/ 2 w 210"/>
                <a:gd name="T7" fmla="*/ 115 h 118"/>
                <a:gd name="T8" fmla="*/ 0 w 210"/>
                <a:gd name="T9" fmla="*/ 117 h 118"/>
                <a:gd name="T10" fmla="*/ 2 w 210"/>
                <a:gd name="T11" fmla="*/ 118 h 118"/>
                <a:gd name="T12" fmla="*/ 208 w 210"/>
                <a:gd name="T13" fmla="*/ 118 h 118"/>
                <a:gd name="T14" fmla="*/ 210 w 210"/>
                <a:gd name="T15" fmla="*/ 117 h 118"/>
                <a:gd name="T16" fmla="*/ 210 w 210"/>
                <a:gd name="T17" fmla="*/ 1 h 118"/>
                <a:gd name="T18" fmla="*/ 208 w 210"/>
                <a:gd name="T1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18">
                  <a:moveTo>
                    <a:pt x="208" y="0"/>
                  </a:moveTo>
                  <a:cubicBezTo>
                    <a:pt x="207" y="0"/>
                    <a:pt x="207" y="0"/>
                    <a:pt x="207" y="1"/>
                  </a:cubicBezTo>
                  <a:cubicBezTo>
                    <a:pt x="207" y="115"/>
                    <a:pt x="207" y="115"/>
                    <a:pt x="207" y="115"/>
                  </a:cubicBezTo>
                  <a:cubicBezTo>
                    <a:pt x="2" y="115"/>
                    <a:pt x="2" y="115"/>
                    <a:pt x="2" y="115"/>
                  </a:cubicBezTo>
                  <a:cubicBezTo>
                    <a:pt x="1" y="115"/>
                    <a:pt x="0" y="116"/>
                    <a:pt x="0" y="117"/>
                  </a:cubicBezTo>
                  <a:cubicBezTo>
                    <a:pt x="0" y="118"/>
                    <a:pt x="1" y="118"/>
                    <a:pt x="2" y="118"/>
                  </a:cubicBezTo>
                  <a:cubicBezTo>
                    <a:pt x="208" y="118"/>
                    <a:pt x="208" y="118"/>
                    <a:pt x="208" y="118"/>
                  </a:cubicBezTo>
                  <a:cubicBezTo>
                    <a:pt x="209" y="118"/>
                    <a:pt x="210" y="118"/>
                    <a:pt x="210" y="117"/>
                  </a:cubicBezTo>
                  <a:cubicBezTo>
                    <a:pt x="210" y="1"/>
                    <a:pt x="210" y="1"/>
                    <a:pt x="210" y="1"/>
                  </a:cubicBezTo>
                  <a:cubicBezTo>
                    <a:pt x="210" y="0"/>
                    <a:pt x="209" y="0"/>
                    <a:pt x="2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3" name="Freeform 71">
              <a:extLst>
                <a:ext uri="{FF2B5EF4-FFF2-40B4-BE49-F238E27FC236}">
                  <a16:creationId xmlns:a16="http://schemas.microsoft.com/office/drawing/2014/main" id="{13638967-8E5E-446A-A147-BA229474C99A}"/>
                </a:ext>
              </a:extLst>
            </p:cNvPr>
            <p:cNvSpPr>
              <a:spLocks noEditPoints="1"/>
            </p:cNvSpPr>
            <p:nvPr/>
          </p:nvSpPr>
          <p:spPr bwMode="auto">
            <a:xfrm>
              <a:off x="6234" y="3411"/>
              <a:ext cx="135" cy="133"/>
            </a:xfrm>
            <a:custGeom>
              <a:avLst/>
              <a:gdLst>
                <a:gd name="T0" fmla="*/ 41 w 83"/>
                <a:gd name="T1" fmla="*/ 82 h 82"/>
                <a:gd name="T2" fmla="*/ 83 w 83"/>
                <a:gd name="T3" fmla="*/ 41 h 82"/>
                <a:gd name="T4" fmla="*/ 41 w 83"/>
                <a:gd name="T5" fmla="*/ 0 h 82"/>
                <a:gd name="T6" fmla="*/ 0 w 83"/>
                <a:gd name="T7" fmla="*/ 41 h 82"/>
                <a:gd name="T8" fmla="*/ 41 w 83"/>
                <a:gd name="T9" fmla="*/ 82 h 82"/>
                <a:gd name="T10" fmla="*/ 41 w 83"/>
                <a:gd name="T11" fmla="*/ 12 h 82"/>
                <a:gd name="T12" fmla="*/ 71 w 83"/>
                <a:gd name="T13" fmla="*/ 41 h 82"/>
                <a:gd name="T14" fmla="*/ 41 w 83"/>
                <a:gd name="T15" fmla="*/ 70 h 82"/>
                <a:gd name="T16" fmla="*/ 12 w 83"/>
                <a:gd name="T17" fmla="*/ 41 h 82"/>
                <a:gd name="T18" fmla="*/ 41 w 83"/>
                <a:gd name="T19" fmla="*/ 1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2">
                  <a:moveTo>
                    <a:pt x="41" y="82"/>
                  </a:moveTo>
                  <a:cubicBezTo>
                    <a:pt x="64" y="82"/>
                    <a:pt x="83" y="64"/>
                    <a:pt x="83" y="41"/>
                  </a:cubicBezTo>
                  <a:cubicBezTo>
                    <a:pt x="83" y="18"/>
                    <a:pt x="64" y="0"/>
                    <a:pt x="41" y="0"/>
                  </a:cubicBezTo>
                  <a:cubicBezTo>
                    <a:pt x="19" y="0"/>
                    <a:pt x="0" y="18"/>
                    <a:pt x="0" y="41"/>
                  </a:cubicBezTo>
                  <a:cubicBezTo>
                    <a:pt x="0" y="64"/>
                    <a:pt x="19" y="82"/>
                    <a:pt x="41" y="82"/>
                  </a:cubicBezTo>
                  <a:moveTo>
                    <a:pt x="41" y="12"/>
                  </a:moveTo>
                  <a:cubicBezTo>
                    <a:pt x="58" y="12"/>
                    <a:pt x="71" y="25"/>
                    <a:pt x="71" y="41"/>
                  </a:cubicBezTo>
                  <a:cubicBezTo>
                    <a:pt x="71" y="57"/>
                    <a:pt x="58" y="70"/>
                    <a:pt x="41" y="70"/>
                  </a:cubicBezTo>
                  <a:cubicBezTo>
                    <a:pt x="25" y="70"/>
                    <a:pt x="12" y="57"/>
                    <a:pt x="12" y="41"/>
                  </a:cubicBezTo>
                  <a:cubicBezTo>
                    <a:pt x="12" y="25"/>
                    <a:pt x="25" y="12"/>
                    <a:pt x="4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4" name="Oval 72">
              <a:extLst>
                <a:ext uri="{FF2B5EF4-FFF2-40B4-BE49-F238E27FC236}">
                  <a16:creationId xmlns:a16="http://schemas.microsoft.com/office/drawing/2014/main" id="{6CD7A63E-0312-4B94-A139-EE754222B35B}"/>
                </a:ext>
              </a:extLst>
            </p:cNvPr>
            <p:cNvSpPr>
              <a:spLocks noChangeArrowheads="1"/>
            </p:cNvSpPr>
            <p:nvPr/>
          </p:nvSpPr>
          <p:spPr bwMode="auto">
            <a:xfrm>
              <a:off x="6159" y="3515"/>
              <a:ext cx="33"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5" name="Oval 73">
              <a:extLst>
                <a:ext uri="{FF2B5EF4-FFF2-40B4-BE49-F238E27FC236}">
                  <a16:creationId xmlns:a16="http://schemas.microsoft.com/office/drawing/2014/main" id="{21EF72BF-2492-49BA-B1A8-1B3F563C9407}"/>
                </a:ext>
              </a:extLst>
            </p:cNvPr>
            <p:cNvSpPr>
              <a:spLocks noChangeArrowheads="1"/>
            </p:cNvSpPr>
            <p:nvPr/>
          </p:nvSpPr>
          <p:spPr bwMode="auto">
            <a:xfrm>
              <a:off x="6411" y="3409"/>
              <a:ext cx="34"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6" name="Freeform 74">
              <a:extLst>
                <a:ext uri="{FF2B5EF4-FFF2-40B4-BE49-F238E27FC236}">
                  <a16:creationId xmlns:a16="http://schemas.microsoft.com/office/drawing/2014/main" id="{E6E347F3-7DFB-476B-83A2-897DFAC30D8D}"/>
                </a:ext>
              </a:extLst>
            </p:cNvPr>
            <p:cNvSpPr>
              <a:spLocks noEditPoints="1"/>
            </p:cNvSpPr>
            <p:nvPr/>
          </p:nvSpPr>
          <p:spPr bwMode="auto">
            <a:xfrm>
              <a:off x="6129" y="3380"/>
              <a:ext cx="337" cy="195"/>
            </a:xfrm>
            <a:custGeom>
              <a:avLst/>
              <a:gdLst>
                <a:gd name="T0" fmla="*/ 208 w 208"/>
                <a:gd name="T1" fmla="*/ 117 h 120"/>
                <a:gd name="T2" fmla="*/ 208 w 208"/>
                <a:gd name="T3" fmla="*/ 3 h 120"/>
                <a:gd name="T4" fmla="*/ 205 w 208"/>
                <a:gd name="T5" fmla="*/ 0 h 120"/>
                <a:gd name="T6" fmla="*/ 3 w 208"/>
                <a:gd name="T7" fmla="*/ 0 h 120"/>
                <a:gd name="T8" fmla="*/ 0 w 208"/>
                <a:gd name="T9" fmla="*/ 3 h 120"/>
                <a:gd name="T10" fmla="*/ 0 w 208"/>
                <a:gd name="T11" fmla="*/ 117 h 120"/>
                <a:gd name="T12" fmla="*/ 3 w 208"/>
                <a:gd name="T13" fmla="*/ 120 h 120"/>
                <a:gd name="T14" fmla="*/ 205 w 208"/>
                <a:gd name="T15" fmla="*/ 120 h 120"/>
                <a:gd name="T16" fmla="*/ 208 w 208"/>
                <a:gd name="T17" fmla="*/ 117 h 120"/>
                <a:gd name="T18" fmla="*/ 202 w 208"/>
                <a:gd name="T19" fmla="*/ 114 h 120"/>
                <a:gd name="T20" fmla="*/ 6 w 208"/>
                <a:gd name="T21" fmla="*/ 114 h 120"/>
                <a:gd name="T22" fmla="*/ 6 w 208"/>
                <a:gd name="T23" fmla="*/ 6 h 120"/>
                <a:gd name="T24" fmla="*/ 202 w 208"/>
                <a:gd name="T25" fmla="*/ 6 h 120"/>
                <a:gd name="T26" fmla="*/ 202 w 208"/>
                <a:gd name="T27" fmla="*/ 1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120">
                  <a:moveTo>
                    <a:pt x="208" y="117"/>
                  </a:moveTo>
                  <a:cubicBezTo>
                    <a:pt x="208" y="3"/>
                    <a:pt x="208" y="3"/>
                    <a:pt x="208" y="3"/>
                  </a:cubicBezTo>
                  <a:cubicBezTo>
                    <a:pt x="208" y="1"/>
                    <a:pt x="207" y="0"/>
                    <a:pt x="205" y="0"/>
                  </a:cubicBezTo>
                  <a:cubicBezTo>
                    <a:pt x="3" y="0"/>
                    <a:pt x="3" y="0"/>
                    <a:pt x="3" y="0"/>
                  </a:cubicBezTo>
                  <a:cubicBezTo>
                    <a:pt x="1" y="0"/>
                    <a:pt x="0" y="1"/>
                    <a:pt x="0" y="3"/>
                  </a:cubicBezTo>
                  <a:cubicBezTo>
                    <a:pt x="0" y="117"/>
                    <a:pt x="0" y="117"/>
                    <a:pt x="0" y="117"/>
                  </a:cubicBezTo>
                  <a:cubicBezTo>
                    <a:pt x="0" y="119"/>
                    <a:pt x="1" y="120"/>
                    <a:pt x="3" y="120"/>
                  </a:cubicBezTo>
                  <a:cubicBezTo>
                    <a:pt x="205" y="120"/>
                    <a:pt x="205" y="120"/>
                    <a:pt x="205" y="120"/>
                  </a:cubicBezTo>
                  <a:cubicBezTo>
                    <a:pt x="207" y="120"/>
                    <a:pt x="208" y="119"/>
                    <a:pt x="208" y="117"/>
                  </a:cubicBezTo>
                  <a:moveTo>
                    <a:pt x="202" y="114"/>
                  </a:moveTo>
                  <a:cubicBezTo>
                    <a:pt x="6" y="114"/>
                    <a:pt x="6" y="114"/>
                    <a:pt x="6" y="114"/>
                  </a:cubicBezTo>
                  <a:cubicBezTo>
                    <a:pt x="6" y="6"/>
                    <a:pt x="6" y="6"/>
                    <a:pt x="6" y="6"/>
                  </a:cubicBezTo>
                  <a:cubicBezTo>
                    <a:pt x="202" y="6"/>
                    <a:pt x="202" y="6"/>
                    <a:pt x="202" y="6"/>
                  </a:cubicBezTo>
                  <a:lnTo>
                    <a:pt x="2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7" name="Freeform 75">
              <a:extLst>
                <a:ext uri="{FF2B5EF4-FFF2-40B4-BE49-F238E27FC236}">
                  <a16:creationId xmlns:a16="http://schemas.microsoft.com/office/drawing/2014/main" id="{2C5C4DB5-3419-454B-B36D-BF5AD6239BEF}"/>
                </a:ext>
              </a:extLst>
            </p:cNvPr>
            <p:cNvSpPr>
              <a:spLocks/>
            </p:cNvSpPr>
            <p:nvPr/>
          </p:nvSpPr>
          <p:spPr bwMode="auto">
            <a:xfrm>
              <a:off x="6156" y="3414"/>
              <a:ext cx="25" cy="5"/>
            </a:xfrm>
            <a:custGeom>
              <a:avLst/>
              <a:gdLst>
                <a:gd name="T0" fmla="*/ 2 w 15"/>
                <a:gd name="T1" fmla="*/ 3 h 3"/>
                <a:gd name="T2" fmla="*/ 14 w 15"/>
                <a:gd name="T3" fmla="*/ 3 h 3"/>
                <a:gd name="T4" fmla="*/ 15 w 15"/>
                <a:gd name="T5" fmla="*/ 1 h 3"/>
                <a:gd name="T6" fmla="*/ 14 w 15"/>
                <a:gd name="T7" fmla="*/ 0 h 3"/>
                <a:gd name="T8" fmla="*/ 2 w 15"/>
                <a:gd name="T9" fmla="*/ 0 h 3"/>
                <a:gd name="T10" fmla="*/ 0 w 15"/>
                <a:gd name="T11" fmla="*/ 1 h 3"/>
                <a:gd name="T12" fmla="*/ 2 w 1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2" y="3"/>
                  </a:moveTo>
                  <a:cubicBezTo>
                    <a:pt x="14" y="3"/>
                    <a:pt x="14" y="3"/>
                    <a:pt x="14" y="3"/>
                  </a:cubicBezTo>
                  <a:cubicBezTo>
                    <a:pt x="14" y="3"/>
                    <a:pt x="15" y="2"/>
                    <a:pt x="15" y="1"/>
                  </a:cubicBezTo>
                  <a:cubicBezTo>
                    <a:pt x="15" y="0"/>
                    <a:pt x="14" y="0"/>
                    <a:pt x="14" y="0"/>
                  </a:cubicBezTo>
                  <a:cubicBezTo>
                    <a:pt x="2" y="0"/>
                    <a:pt x="2" y="0"/>
                    <a:pt x="2" y="0"/>
                  </a:cubicBezTo>
                  <a:cubicBezTo>
                    <a:pt x="1" y="0"/>
                    <a:pt x="0" y="0"/>
                    <a:pt x="0" y="1"/>
                  </a:cubicBezTo>
                  <a:cubicBezTo>
                    <a:pt x="0" y="2"/>
                    <a:pt x="1" y="3"/>
                    <a:pt x="2"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8" name="Freeform 76">
              <a:extLst>
                <a:ext uri="{FF2B5EF4-FFF2-40B4-BE49-F238E27FC236}">
                  <a16:creationId xmlns:a16="http://schemas.microsoft.com/office/drawing/2014/main" id="{909A1549-4B6B-476E-8ADD-76EB0F6464DA}"/>
                </a:ext>
              </a:extLst>
            </p:cNvPr>
            <p:cNvSpPr>
              <a:spLocks/>
            </p:cNvSpPr>
            <p:nvPr/>
          </p:nvSpPr>
          <p:spPr bwMode="auto">
            <a:xfrm>
              <a:off x="6195" y="3414"/>
              <a:ext cx="25" cy="5"/>
            </a:xfrm>
            <a:custGeom>
              <a:avLst/>
              <a:gdLst>
                <a:gd name="T0" fmla="*/ 1 w 15"/>
                <a:gd name="T1" fmla="*/ 3 h 3"/>
                <a:gd name="T2" fmla="*/ 13 w 15"/>
                <a:gd name="T3" fmla="*/ 3 h 3"/>
                <a:gd name="T4" fmla="*/ 15 w 15"/>
                <a:gd name="T5" fmla="*/ 1 h 3"/>
                <a:gd name="T6" fmla="*/ 13 w 15"/>
                <a:gd name="T7" fmla="*/ 0 h 3"/>
                <a:gd name="T8" fmla="*/ 1 w 15"/>
                <a:gd name="T9" fmla="*/ 0 h 3"/>
                <a:gd name="T10" fmla="*/ 0 w 15"/>
                <a:gd name="T11" fmla="*/ 1 h 3"/>
                <a:gd name="T12" fmla="*/ 1 w 1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1" y="3"/>
                  </a:moveTo>
                  <a:cubicBezTo>
                    <a:pt x="13" y="3"/>
                    <a:pt x="13" y="3"/>
                    <a:pt x="13" y="3"/>
                  </a:cubicBezTo>
                  <a:cubicBezTo>
                    <a:pt x="14" y="3"/>
                    <a:pt x="15" y="2"/>
                    <a:pt x="15" y="1"/>
                  </a:cubicBezTo>
                  <a:cubicBezTo>
                    <a:pt x="15" y="0"/>
                    <a:pt x="14" y="0"/>
                    <a:pt x="13" y="0"/>
                  </a:cubicBezTo>
                  <a:cubicBezTo>
                    <a:pt x="1" y="0"/>
                    <a:pt x="1" y="0"/>
                    <a:pt x="1" y="0"/>
                  </a:cubicBezTo>
                  <a:cubicBezTo>
                    <a:pt x="1" y="0"/>
                    <a:pt x="0" y="0"/>
                    <a:pt x="0" y="1"/>
                  </a:cubicBezTo>
                  <a:cubicBezTo>
                    <a:pt x="0" y="2"/>
                    <a:pt x="1" y="3"/>
                    <a:pt x="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99" name="Freeform 77">
              <a:extLst>
                <a:ext uri="{FF2B5EF4-FFF2-40B4-BE49-F238E27FC236}">
                  <a16:creationId xmlns:a16="http://schemas.microsoft.com/office/drawing/2014/main" id="{A7837B11-39D8-4E8F-9F5A-37B8415C52B5}"/>
                </a:ext>
              </a:extLst>
            </p:cNvPr>
            <p:cNvSpPr>
              <a:spLocks/>
            </p:cNvSpPr>
            <p:nvPr/>
          </p:nvSpPr>
          <p:spPr bwMode="auto">
            <a:xfrm>
              <a:off x="6414" y="3538"/>
              <a:ext cx="25" cy="5"/>
            </a:xfrm>
            <a:custGeom>
              <a:avLst/>
              <a:gdLst>
                <a:gd name="T0" fmla="*/ 14 w 15"/>
                <a:gd name="T1" fmla="*/ 0 h 3"/>
                <a:gd name="T2" fmla="*/ 2 w 15"/>
                <a:gd name="T3" fmla="*/ 0 h 3"/>
                <a:gd name="T4" fmla="*/ 0 w 15"/>
                <a:gd name="T5" fmla="*/ 2 h 3"/>
                <a:gd name="T6" fmla="*/ 2 w 15"/>
                <a:gd name="T7" fmla="*/ 3 h 3"/>
                <a:gd name="T8" fmla="*/ 14 w 15"/>
                <a:gd name="T9" fmla="*/ 3 h 3"/>
                <a:gd name="T10" fmla="*/ 15 w 15"/>
                <a:gd name="T11" fmla="*/ 2 h 3"/>
                <a:gd name="T12" fmla="*/ 14 w 1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14" y="0"/>
                  </a:moveTo>
                  <a:cubicBezTo>
                    <a:pt x="2" y="0"/>
                    <a:pt x="2" y="0"/>
                    <a:pt x="2" y="0"/>
                  </a:cubicBezTo>
                  <a:cubicBezTo>
                    <a:pt x="1" y="0"/>
                    <a:pt x="0" y="1"/>
                    <a:pt x="0" y="2"/>
                  </a:cubicBezTo>
                  <a:cubicBezTo>
                    <a:pt x="0" y="2"/>
                    <a:pt x="1" y="3"/>
                    <a:pt x="2" y="3"/>
                  </a:cubicBezTo>
                  <a:cubicBezTo>
                    <a:pt x="14" y="3"/>
                    <a:pt x="14" y="3"/>
                    <a:pt x="14" y="3"/>
                  </a:cubicBezTo>
                  <a:cubicBezTo>
                    <a:pt x="14" y="3"/>
                    <a:pt x="15" y="2"/>
                    <a:pt x="15" y="2"/>
                  </a:cubicBezTo>
                  <a:cubicBezTo>
                    <a:pt x="15" y="1"/>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100" name="Freeform 78">
              <a:extLst>
                <a:ext uri="{FF2B5EF4-FFF2-40B4-BE49-F238E27FC236}">
                  <a16:creationId xmlns:a16="http://schemas.microsoft.com/office/drawing/2014/main" id="{84298442-7D41-4734-A365-68FCF824D1D5}"/>
                </a:ext>
              </a:extLst>
            </p:cNvPr>
            <p:cNvSpPr>
              <a:spLocks/>
            </p:cNvSpPr>
            <p:nvPr/>
          </p:nvSpPr>
          <p:spPr bwMode="auto">
            <a:xfrm>
              <a:off x="6375" y="3538"/>
              <a:ext cx="25" cy="5"/>
            </a:xfrm>
            <a:custGeom>
              <a:avLst/>
              <a:gdLst>
                <a:gd name="T0" fmla="*/ 2 w 15"/>
                <a:gd name="T1" fmla="*/ 3 h 3"/>
                <a:gd name="T2" fmla="*/ 14 w 15"/>
                <a:gd name="T3" fmla="*/ 3 h 3"/>
                <a:gd name="T4" fmla="*/ 15 w 15"/>
                <a:gd name="T5" fmla="*/ 2 h 3"/>
                <a:gd name="T6" fmla="*/ 14 w 15"/>
                <a:gd name="T7" fmla="*/ 0 h 3"/>
                <a:gd name="T8" fmla="*/ 2 w 15"/>
                <a:gd name="T9" fmla="*/ 0 h 3"/>
                <a:gd name="T10" fmla="*/ 0 w 15"/>
                <a:gd name="T11" fmla="*/ 2 h 3"/>
                <a:gd name="T12" fmla="*/ 2 w 1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2" y="3"/>
                  </a:moveTo>
                  <a:cubicBezTo>
                    <a:pt x="14" y="3"/>
                    <a:pt x="14" y="3"/>
                    <a:pt x="14" y="3"/>
                  </a:cubicBezTo>
                  <a:cubicBezTo>
                    <a:pt x="15" y="3"/>
                    <a:pt x="15" y="2"/>
                    <a:pt x="15" y="2"/>
                  </a:cubicBezTo>
                  <a:cubicBezTo>
                    <a:pt x="15" y="1"/>
                    <a:pt x="15" y="0"/>
                    <a:pt x="14" y="0"/>
                  </a:cubicBezTo>
                  <a:cubicBezTo>
                    <a:pt x="2" y="0"/>
                    <a:pt x="2" y="0"/>
                    <a:pt x="2" y="0"/>
                  </a:cubicBezTo>
                  <a:cubicBezTo>
                    <a:pt x="1" y="0"/>
                    <a:pt x="0" y="1"/>
                    <a:pt x="0" y="2"/>
                  </a:cubicBezTo>
                  <a:cubicBezTo>
                    <a:pt x="0" y="2"/>
                    <a:pt x="1" y="3"/>
                    <a:pt x="2"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7" name="Groupe 6">
            <a:extLst>
              <a:ext uri="{FF2B5EF4-FFF2-40B4-BE49-F238E27FC236}">
                <a16:creationId xmlns:a16="http://schemas.microsoft.com/office/drawing/2014/main" id="{4A791AAE-5DE2-432B-A437-3B812DD43C5A}"/>
              </a:ext>
            </a:extLst>
          </p:cNvPr>
          <p:cNvGrpSpPr/>
          <p:nvPr/>
        </p:nvGrpSpPr>
        <p:grpSpPr>
          <a:xfrm rot="20064882">
            <a:off x="4372640" y="5165919"/>
            <a:ext cx="3446720" cy="3446720"/>
            <a:chOff x="4130400" y="6858000"/>
            <a:chExt cx="3931200" cy="3931200"/>
          </a:xfrm>
        </p:grpSpPr>
        <p:sp>
          <p:nvSpPr>
            <p:cNvPr id="90" name="Arc 89">
              <a:extLst>
                <a:ext uri="{FF2B5EF4-FFF2-40B4-BE49-F238E27FC236}">
                  <a16:creationId xmlns:a16="http://schemas.microsoft.com/office/drawing/2014/main" id="{D02474CE-E9F5-4768-B1F1-4C727C11E2AC}"/>
                </a:ext>
              </a:extLst>
            </p:cNvPr>
            <p:cNvSpPr/>
            <p:nvPr/>
          </p:nvSpPr>
          <p:spPr>
            <a:xfrm>
              <a:off x="4130400" y="6858000"/>
              <a:ext cx="3931200" cy="3931200"/>
            </a:xfrm>
            <a:prstGeom prst="arc">
              <a:avLst>
                <a:gd name="adj1" fmla="val 14639879"/>
                <a:gd name="adj2" fmla="val 17642331"/>
              </a:avLst>
            </a:prstGeom>
            <a:ln w="3556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333333"/>
                </a:solidFill>
              </a:endParaRPr>
            </a:p>
          </p:txBody>
        </p:sp>
        <p:sp>
          <p:nvSpPr>
            <p:cNvPr id="101" name="ZoneTexte 100">
              <a:extLst>
                <a:ext uri="{FF2B5EF4-FFF2-40B4-BE49-F238E27FC236}">
                  <a16:creationId xmlns:a16="http://schemas.microsoft.com/office/drawing/2014/main" id="{91907D46-B12B-43ED-BCE9-8C1025A7662E}"/>
                </a:ext>
              </a:extLst>
            </p:cNvPr>
            <p:cNvSpPr txBox="1"/>
            <p:nvPr/>
          </p:nvSpPr>
          <p:spPr>
            <a:xfrm>
              <a:off x="4165145" y="6892745"/>
              <a:ext cx="3861709" cy="3861709"/>
            </a:xfrm>
            <a:prstGeom prst="rect">
              <a:avLst/>
            </a:prstGeom>
            <a:noFill/>
          </p:spPr>
          <p:txBody>
            <a:bodyPr wrap="none" lIns="0" tIns="0" rIns="0" bIns="0" rtlCol="0">
              <a:prstTxWarp prst="textArchUp">
                <a:avLst>
                  <a:gd name="adj" fmla="val 14898834"/>
                </a:avLst>
              </a:prstTxWarp>
              <a:spAutoFit/>
            </a:bodyPr>
            <a:lstStyle/>
            <a:p>
              <a:pPr algn="ctr"/>
              <a:r>
                <a:rPr lang="fr-FR" sz="1600" dirty="0">
                  <a:solidFill>
                    <a:prstClr val="white"/>
                  </a:solidFill>
                </a:rPr>
                <a:t>INDEPENDENCE</a:t>
              </a:r>
            </a:p>
          </p:txBody>
        </p:sp>
        <p:sp>
          <p:nvSpPr>
            <p:cNvPr id="102" name="Arc 101">
              <a:extLst>
                <a:ext uri="{FF2B5EF4-FFF2-40B4-BE49-F238E27FC236}">
                  <a16:creationId xmlns:a16="http://schemas.microsoft.com/office/drawing/2014/main" id="{61C70957-A638-42FB-9337-AE7776B669BA}"/>
                </a:ext>
              </a:extLst>
            </p:cNvPr>
            <p:cNvSpPr/>
            <p:nvPr/>
          </p:nvSpPr>
          <p:spPr>
            <a:xfrm>
              <a:off x="4279309" y="7039882"/>
              <a:ext cx="3633382" cy="3633382"/>
            </a:xfrm>
            <a:prstGeom prst="arc">
              <a:avLst>
                <a:gd name="adj1" fmla="val 13788583"/>
                <a:gd name="adj2" fmla="val 20072596"/>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rgbClr val="333333"/>
                </a:solidFill>
              </a:endParaRPr>
            </a:p>
          </p:txBody>
        </p:sp>
      </p:grpSp>
      <p:pic>
        <p:nvPicPr>
          <p:cNvPr id="104" name="Image 103">
            <a:extLst>
              <a:ext uri="{FF2B5EF4-FFF2-40B4-BE49-F238E27FC236}">
                <a16:creationId xmlns:a16="http://schemas.microsoft.com/office/drawing/2014/main" id="{0D65D63E-5EEA-4234-81CC-378ECB281686}"/>
              </a:ext>
            </a:extLst>
          </p:cNvPr>
          <p:cNvPicPr>
            <a:picLocks noChangeAspect="1"/>
          </p:cNvPicPr>
          <p:nvPr/>
        </p:nvPicPr>
        <p:blipFill>
          <a:blip r:embed="rId3"/>
          <a:stretch>
            <a:fillRect/>
          </a:stretch>
        </p:blipFill>
        <p:spPr>
          <a:xfrm>
            <a:off x="188362" y="6079331"/>
            <a:ext cx="506185" cy="623888"/>
          </a:xfrm>
          <a:prstGeom prst="rect">
            <a:avLst/>
          </a:prstGeom>
        </p:spPr>
      </p:pic>
      <p:sp>
        <p:nvSpPr>
          <p:cNvPr id="6" name="文字方塊 5"/>
          <p:cNvSpPr txBox="1"/>
          <p:nvPr/>
        </p:nvSpPr>
        <p:spPr>
          <a:xfrm rot="17991361">
            <a:off x="3466579" y="5296673"/>
            <a:ext cx="646331" cy="369332"/>
          </a:xfrm>
          <a:prstGeom prst="rect">
            <a:avLst/>
          </a:prstGeom>
          <a:noFill/>
        </p:spPr>
        <p:txBody>
          <a:bodyPr wrap="none" rtlCol="0">
            <a:spAutoFit/>
          </a:bodyPr>
          <a:lstStyle/>
          <a:p>
            <a:r>
              <a:rPr lang="zh-TW" altLang="en-US" b="1" dirty="0">
                <a:solidFill>
                  <a:srgbClr val="333333"/>
                </a:solidFill>
              </a:rPr>
              <a:t>專業</a:t>
            </a:r>
          </a:p>
        </p:txBody>
      </p:sp>
      <p:sp>
        <p:nvSpPr>
          <p:cNvPr id="105" name="文字方塊 104"/>
          <p:cNvSpPr txBox="1"/>
          <p:nvPr/>
        </p:nvSpPr>
        <p:spPr>
          <a:xfrm rot="19840679">
            <a:off x="5174633" y="5492409"/>
            <a:ext cx="646331" cy="369332"/>
          </a:xfrm>
          <a:prstGeom prst="rect">
            <a:avLst/>
          </a:prstGeom>
          <a:noFill/>
        </p:spPr>
        <p:txBody>
          <a:bodyPr wrap="none" rtlCol="0">
            <a:spAutoFit/>
          </a:bodyPr>
          <a:lstStyle/>
          <a:p>
            <a:r>
              <a:rPr lang="zh-TW" altLang="en-US" b="1" dirty="0">
                <a:solidFill>
                  <a:srgbClr val="333333"/>
                </a:solidFill>
              </a:rPr>
              <a:t>中立</a:t>
            </a:r>
          </a:p>
        </p:txBody>
      </p:sp>
      <p:sp>
        <p:nvSpPr>
          <p:cNvPr id="106" name="文字方塊 105"/>
          <p:cNvSpPr txBox="1"/>
          <p:nvPr/>
        </p:nvSpPr>
        <p:spPr>
          <a:xfrm rot="986298">
            <a:off x="6695771" y="3827091"/>
            <a:ext cx="646331" cy="369332"/>
          </a:xfrm>
          <a:prstGeom prst="rect">
            <a:avLst/>
          </a:prstGeom>
          <a:noFill/>
        </p:spPr>
        <p:txBody>
          <a:bodyPr wrap="none" rtlCol="0">
            <a:spAutoFit/>
          </a:bodyPr>
          <a:lstStyle/>
          <a:p>
            <a:r>
              <a:rPr lang="zh-TW" altLang="en-US" b="1" dirty="0">
                <a:solidFill>
                  <a:srgbClr val="333333"/>
                </a:solidFill>
              </a:rPr>
              <a:t>公正</a:t>
            </a:r>
          </a:p>
        </p:txBody>
      </p:sp>
      <p:sp>
        <p:nvSpPr>
          <p:cNvPr id="107" name="文字方塊 106"/>
          <p:cNvSpPr txBox="1"/>
          <p:nvPr/>
        </p:nvSpPr>
        <p:spPr>
          <a:xfrm rot="3665825">
            <a:off x="7966142" y="5439509"/>
            <a:ext cx="646331" cy="369332"/>
          </a:xfrm>
          <a:prstGeom prst="rect">
            <a:avLst/>
          </a:prstGeom>
          <a:noFill/>
        </p:spPr>
        <p:txBody>
          <a:bodyPr wrap="none" rtlCol="0">
            <a:spAutoFit/>
          </a:bodyPr>
          <a:lstStyle/>
          <a:p>
            <a:r>
              <a:rPr lang="zh-TW" altLang="en-US" b="1" dirty="0">
                <a:solidFill>
                  <a:srgbClr val="333333"/>
                </a:solidFill>
              </a:rPr>
              <a:t>誠信</a:t>
            </a:r>
          </a:p>
        </p:txBody>
      </p:sp>
    </p:spTree>
    <p:extLst>
      <p:ext uri="{BB962C8B-B14F-4D97-AF65-F5344CB8AC3E}">
        <p14:creationId xmlns:p14="http://schemas.microsoft.com/office/powerpoint/2010/main" val="31501134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AF5E1E74-07EB-4FA4-9E3E-CB22A12DDA74}"/>
              </a:ext>
            </a:extLst>
          </p:cNvPr>
          <p:cNvSpPr>
            <a:spLocks noGrp="1"/>
          </p:cNvSpPr>
          <p:nvPr>
            <p:ph type="title"/>
          </p:nvPr>
        </p:nvSpPr>
        <p:spPr>
          <a:xfrm>
            <a:off x="336000" y="365125"/>
            <a:ext cx="11520000" cy="858697"/>
          </a:xfrm>
        </p:spPr>
        <p:txBody>
          <a:bodyPr/>
          <a:lstStyle/>
          <a:p>
            <a:r>
              <a:rPr lang="fr-FR" sz="3200" dirty="0"/>
              <a:t>Bureau </a:t>
            </a:r>
            <a:r>
              <a:rPr lang="fr-FR" sz="3200" dirty="0" err="1"/>
              <a:t>veritas</a:t>
            </a:r>
            <a:br>
              <a:rPr lang="fr-FR" dirty="0"/>
            </a:br>
            <a:r>
              <a:rPr lang="zh-TW" altLang="en-US" sz="3000" dirty="0">
                <a:solidFill>
                  <a:schemeClr val="tx1"/>
                </a:solidFill>
              </a:rPr>
              <a:t>擁有</a:t>
            </a:r>
            <a:r>
              <a:rPr lang="en-US" altLang="zh-TW" sz="3000" dirty="0">
                <a:solidFill>
                  <a:schemeClr val="tx1"/>
                </a:solidFill>
              </a:rPr>
              <a:t>194</a:t>
            </a:r>
            <a:r>
              <a:rPr lang="zh-TW" altLang="en-US" sz="3000" dirty="0">
                <a:solidFill>
                  <a:schemeClr val="tx1"/>
                </a:solidFill>
              </a:rPr>
              <a:t>年歷史傳承的專業團隊，仍持續創新以提供更優質的服務</a:t>
            </a:r>
            <a:endParaRPr lang="fr-FR" sz="3000" dirty="0">
              <a:solidFill>
                <a:schemeClr val="tx1"/>
              </a:solidFill>
            </a:endParaRPr>
          </a:p>
        </p:txBody>
      </p:sp>
      <p:sp>
        <p:nvSpPr>
          <p:cNvPr id="2" name="Espace réservé du numéro de diapositive 1">
            <a:extLst>
              <a:ext uri="{FF2B5EF4-FFF2-40B4-BE49-F238E27FC236}">
                <a16:creationId xmlns:a16="http://schemas.microsoft.com/office/drawing/2014/main" id="{04092D05-581A-4919-9C07-4B2D50C80E9D}"/>
              </a:ext>
            </a:extLst>
          </p:cNvPr>
          <p:cNvSpPr>
            <a:spLocks noGrp="1"/>
          </p:cNvSpPr>
          <p:nvPr>
            <p:ph type="sldNum" sz="quarter" idx="10"/>
          </p:nvPr>
        </p:nvSpPr>
        <p:spPr/>
        <p:txBody>
          <a:bodyPr/>
          <a:lstStyle/>
          <a:p>
            <a:r>
              <a:rPr lang="fr-FR">
                <a:solidFill>
                  <a:srgbClr val="333333">
                    <a:tint val="75000"/>
                  </a:srgbClr>
                </a:solidFill>
              </a:rPr>
              <a:t>Slide / </a:t>
            </a:r>
            <a:fld id="{3EA6A558-C4CA-4506-B5EC-E793D5AE9532}" type="slidenum">
              <a:rPr lang="fr-FR" smtClean="0">
                <a:solidFill>
                  <a:srgbClr val="333333">
                    <a:tint val="75000"/>
                  </a:srgbClr>
                </a:solidFill>
              </a:rPr>
              <a:pPr/>
              <a:t>5</a:t>
            </a:fld>
            <a:endParaRPr lang="fr-FR" dirty="0">
              <a:solidFill>
                <a:srgbClr val="333333">
                  <a:tint val="75000"/>
                </a:srgbClr>
              </a:solidFill>
            </a:endParaRPr>
          </a:p>
        </p:txBody>
      </p:sp>
      <p:sp>
        <p:nvSpPr>
          <p:cNvPr id="5" name="Rectangle 4">
            <a:extLst>
              <a:ext uri="{FF2B5EF4-FFF2-40B4-BE49-F238E27FC236}">
                <a16:creationId xmlns:a16="http://schemas.microsoft.com/office/drawing/2014/main" id="{87914ADE-EF3E-4B63-9C58-A83148765A50}"/>
              </a:ext>
            </a:extLst>
          </p:cNvPr>
          <p:cNvSpPr/>
          <p:nvPr/>
        </p:nvSpPr>
        <p:spPr>
          <a:xfrm>
            <a:off x="5816172" y="1391348"/>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nvGrpSpPr>
          <p:cNvPr id="30" name="Groupe 29">
            <a:extLst>
              <a:ext uri="{FF2B5EF4-FFF2-40B4-BE49-F238E27FC236}">
                <a16:creationId xmlns:a16="http://schemas.microsoft.com/office/drawing/2014/main" id="{B2D4AF70-CE7A-44AD-AA92-5D4BBFD9BC4E}"/>
              </a:ext>
            </a:extLst>
          </p:cNvPr>
          <p:cNvGrpSpPr/>
          <p:nvPr/>
        </p:nvGrpSpPr>
        <p:grpSpPr>
          <a:xfrm>
            <a:off x="7345319" y="2257425"/>
            <a:ext cx="2235000" cy="3338400"/>
            <a:chOff x="7345319" y="2257425"/>
            <a:chExt cx="2235000" cy="3338400"/>
          </a:xfrm>
        </p:grpSpPr>
        <p:sp>
          <p:nvSpPr>
            <p:cNvPr id="38" name="Rectangle 37">
              <a:extLst>
                <a:ext uri="{FF2B5EF4-FFF2-40B4-BE49-F238E27FC236}">
                  <a16:creationId xmlns:a16="http://schemas.microsoft.com/office/drawing/2014/main" id="{7A656D9F-A502-4C30-87D4-C44CFFA4CF51}"/>
                </a:ext>
              </a:extLst>
            </p:cNvPr>
            <p:cNvSpPr/>
            <p:nvPr/>
          </p:nvSpPr>
          <p:spPr>
            <a:xfrm>
              <a:off x="7345319" y="2257425"/>
              <a:ext cx="2235000"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prstClr val="white"/>
                </a:solidFill>
              </a:endParaRPr>
            </a:p>
          </p:txBody>
        </p:sp>
        <p:sp>
          <p:nvSpPr>
            <p:cNvPr id="16" name="ZoneTexte 15">
              <a:extLst>
                <a:ext uri="{FF2B5EF4-FFF2-40B4-BE49-F238E27FC236}">
                  <a16:creationId xmlns:a16="http://schemas.microsoft.com/office/drawing/2014/main" id="{4E87F4BF-2C81-4F51-9F6B-D8B2D2B42AA7}"/>
                </a:ext>
              </a:extLst>
            </p:cNvPr>
            <p:cNvSpPr txBox="1"/>
            <p:nvPr/>
          </p:nvSpPr>
          <p:spPr>
            <a:xfrm>
              <a:off x="7698828" y="4616629"/>
              <a:ext cx="1527982" cy="738664"/>
            </a:xfrm>
            <a:prstGeom prst="rect">
              <a:avLst/>
            </a:prstGeom>
            <a:noFill/>
          </p:spPr>
          <p:txBody>
            <a:bodyPr wrap="none" rtlCol="0">
              <a:spAutoFit/>
            </a:bodyPr>
            <a:lstStyle/>
            <a:p>
              <a:pPr algn="ctr"/>
              <a:r>
                <a:rPr lang="fr-FR" sz="1400" dirty="0">
                  <a:solidFill>
                    <a:srgbClr val="333333"/>
                  </a:solidFill>
                </a:rPr>
                <a:t>offices </a:t>
              </a:r>
              <a:br>
                <a:rPr lang="fr-FR" sz="1400" dirty="0">
                  <a:solidFill>
                    <a:srgbClr val="333333"/>
                  </a:solidFill>
                </a:rPr>
              </a:br>
              <a:r>
                <a:rPr lang="fr-FR" sz="1400" dirty="0">
                  <a:solidFill>
                    <a:srgbClr val="333333"/>
                  </a:solidFill>
                </a:rPr>
                <a:t>&amp; </a:t>
              </a:r>
              <a:r>
                <a:rPr lang="fr-FR" sz="1400" dirty="0" err="1">
                  <a:solidFill>
                    <a:srgbClr val="333333"/>
                  </a:solidFill>
                </a:rPr>
                <a:t>laboratories</a:t>
              </a:r>
              <a:r>
                <a:rPr lang="fr-FR" sz="1400" dirty="0">
                  <a:solidFill>
                    <a:srgbClr val="333333"/>
                  </a:solidFill>
                </a:rPr>
                <a:t> in </a:t>
              </a:r>
              <a:br>
                <a:rPr lang="fr-FR" sz="1400" dirty="0">
                  <a:solidFill>
                    <a:srgbClr val="333333"/>
                  </a:solidFill>
                </a:rPr>
              </a:br>
              <a:r>
                <a:rPr lang="fr-FR" sz="1400" dirty="0">
                  <a:solidFill>
                    <a:srgbClr val="333333"/>
                  </a:solidFill>
                </a:rPr>
                <a:t>140 countries</a:t>
              </a:r>
            </a:p>
          </p:txBody>
        </p:sp>
        <p:sp>
          <p:nvSpPr>
            <p:cNvPr id="21" name="ZoneTexte 20">
              <a:extLst>
                <a:ext uri="{FF2B5EF4-FFF2-40B4-BE49-F238E27FC236}">
                  <a16:creationId xmlns:a16="http://schemas.microsoft.com/office/drawing/2014/main" id="{3A1137A5-8BE7-4D10-A70F-D7B7E0F7E6A6}"/>
                </a:ext>
              </a:extLst>
            </p:cNvPr>
            <p:cNvSpPr txBox="1"/>
            <p:nvPr/>
          </p:nvSpPr>
          <p:spPr>
            <a:xfrm>
              <a:off x="7504865" y="3429000"/>
              <a:ext cx="1915909" cy="1138773"/>
            </a:xfrm>
            <a:prstGeom prst="rect">
              <a:avLst/>
            </a:prstGeom>
            <a:noFill/>
          </p:spPr>
          <p:txBody>
            <a:bodyPr wrap="none" rtlCol="0">
              <a:spAutoFit/>
            </a:bodyPr>
            <a:lstStyle/>
            <a:p>
              <a:pPr algn="ctr"/>
              <a:r>
                <a:rPr lang="fr-FR" sz="1400" dirty="0">
                  <a:solidFill>
                    <a:srgbClr val="333333"/>
                  </a:solidFill>
                </a:rPr>
                <a:t>More </a:t>
              </a:r>
              <a:r>
                <a:rPr lang="fr-FR" sz="1400" dirty="0" err="1">
                  <a:solidFill>
                    <a:srgbClr val="333333"/>
                  </a:solidFill>
                </a:rPr>
                <a:t>than</a:t>
              </a:r>
              <a:endParaRPr lang="fr-FR" sz="1400" dirty="0">
                <a:solidFill>
                  <a:srgbClr val="333333"/>
                </a:solidFill>
              </a:endParaRPr>
            </a:p>
            <a:p>
              <a:r>
                <a:rPr lang="fr-FR" sz="5400" b="1" dirty="0">
                  <a:solidFill>
                    <a:srgbClr val="737373"/>
                  </a:solidFill>
                </a:rPr>
                <a:t>1,</a:t>
              </a:r>
              <a:r>
                <a:rPr lang="en-US" altLang="zh-TW" sz="5400" b="1" dirty="0">
                  <a:solidFill>
                    <a:srgbClr val="737373"/>
                  </a:solidFill>
                </a:rPr>
                <a:t>6</a:t>
              </a:r>
              <a:r>
                <a:rPr lang="fr-FR" sz="5400" b="1" dirty="0">
                  <a:solidFill>
                    <a:srgbClr val="737373"/>
                  </a:solidFill>
                </a:rPr>
                <a:t>00</a:t>
              </a:r>
              <a:endParaRPr lang="fr-FR" sz="4400" b="1" baseline="20000" dirty="0">
                <a:solidFill>
                  <a:srgbClr val="737373"/>
                </a:solidFill>
              </a:endParaRPr>
            </a:p>
          </p:txBody>
        </p:sp>
        <p:sp>
          <p:nvSpPr>
            <p:cNvPr id="28" name="Freeform 5">
              <a:extLst>
                <a:ext uri="{FF2B5EF4-FFF2-40B4-BE49-F238E27FC236}">
                  <a16:creationId xmlns:a16="http://schemas.microsoft.com/office/drawing/2014/main" id="{466E4E52-5290-4D1C-A10D-119FBA2C6CCD}"/>
                </a:ext>
              </a:extLst>
            </p:cNvPr>
            <p:cNvSpPr>
              <a:spLocks noEditPoints="1"/>
            </p:cNvSpPr>
            <p:nvPr/>
          </p:nvSpPr>
          <p:spPr bwMode="auto">
            <a:xfrm>
              <a:off x="8212788" y="2608263"/>
              <a:ext cx="500063" cy="719138"/>
            </a:xfrm>
            <a:custGeom>
              <a:avLst/>
              <a:gdLst>
                <a:gd name="T0" fmla="*/ 321 w 371"/>
                <a:gd name="T1" fmla="*/ 369 h 535"/>
                <a:gd name="T2" fmla="*/ 262 w 371"/>
                <a:gd name="T3" fmla="*/ 363 h 535"/>
                <a:gd name="T4" fmla="*/ 262 w 371"/>
                <a:gd name="T5" fmla="*/ 414 h 535"/>
                <a:gd name="T6" fmla="*/ 321 w 371"/>
                <a:gd name="T7" fmla="*/ 408 h 535"/>
                <a:gd name="T8" fmla="*/ 262 w 371"/>
                <a:gd name="T9" fmla="*/ 414 h 535"/>
                <a:gd name="T10" fmla="*/ 321 w 371"/>
                <a:gd name="T11" fmla="*/ 459 h 535"/>
                <a:gd name="T12" fmla="*/ 262 w 371"/>
                <a:gd name="T13" fmla="*/ 453 h 535"/>
                <a:gd name="T14" fmla="*/ 365 w 371"/>
                <a:gd name="T15" fmla="*/ 269 h 535"/>
                <a:gd name="T16" fmla="*/ 229 w 371"/>
                <a:gd name="T17" fmla="*/ 176 h 535"/>
                <a:gd name="T18" fmla="*/ 188 w 371"/>
                <a:gd name="T19" fmla="*/ 170 h 535"/>
                <a:gd name="T20" fmla="*/ 182 w 371"/>
                <a:gd name="T21" fmla="*/ 102 h 535"/>
                <a:gd name="T22" fmla="*/ 120 w 371"/>
                <a:gd name="T23" fmla="*/ 0 h 535"/>
                <a:gd name="T24" fmla="*/ 108 w 371"/>
                <a:gd name="T25" fmla="*/ 102 h 535"/>
                <a:gd name="T26" fmla="*/ 40 w 371"/>
                <a:gd name="T27" fmla="*/ 108 h 535"/>
                <a:gd name="T28" fmla="*/ 6 w 371"/>
                <a:gd name="T29" fmla="*/ 170 h 535"/>
                <a:gd name="T30" fmla="*/ 0 w 371"/>
                <a:gd name="T31" fmla="*/ 534 h 535"/>
                <a:gd name="T32" fmla="*/ 12 w 371"/>
                <a:gd name="T33" fmla="*/ 182 h 535"/>
                <a:gd name="T34" fmla="*/ 52 w 371"/>
                <a:gd name="T35" fmla="*/ 176 h 535"/>
                <a:gd name="T36" fmla="*/ 176 w 371"/>
                <a:gd name="T37" fmla="*/ 114 h 535"/>
                <a:gd name="T38" fmla="*/ 158 w 371"/>
                <a:gd name="T39" fmla="*/ 173 h 535"/>
                <a:gd name="T40" fmla="*/ 177 w 371"/>
                <a:gd name="T41" fmla="*/ 179 h 535"/>
                <a:gd name="T42" fmla="*/ 216 w 371"/>
                <a:gd name="T43" fmla="*/ 182 h 535"/>
                <a:gd name="T44" fmla="*/ 220 w 371"/>
                <a:gd name="T45" fmla="*/ 280 h 535"/>
                <a:gd name="T46" fmla="*/ 226 w 371"/>
                <a:gd name="T47" fmla="*/ 291 h 535"/>
                <a:gd name="T48" fmla="*/ 359 w 371"/>
                <a:gd name="T49" fmla="*/ 281 h 535"/>
                <a:gd name="T50" fmla="*/ 371 w 371"/>
                <a:gd name="T51" fmla="*/ 534 h 535"/>
                <a:gd name="T52" fmla="*/ 365 w 371"/>
                <a:gd name="T53" fmla="*/ 269 h 535"/>
                <a:gd name="T54" fmla="*/ 226 w 371"/>
                <a:gd name="T55" fmla="*/ 535 h 535"/>
                <a:gd name="T56" fmla="*/ 220 w 371"/>
                <a:gd name="T57" fmla="*/ 510 h 535"/>
                <a:gd name="T58" fmla="*/ 220 w 371"/>
                <a:gd name="T59" fmla="*/ 486 h 535"/>
                <a:gd name="T60" fmla="*/ 226 w 371"/>
                <a:gd name="T61" fmla="*/ 462 h 535"/>
                <a:gd name="T62" fmla="*/ 220 w 371"/>
                <a:gd name="T63" fmla="*/ 486 h 535"/>
                <a:gd name="T64" fmla="*/ 226 w 371"/>
                <a:gd name="T65" fmla="*/ 340 h 535"/>
                <a:gd name="T66" fmla="*/ 220 w 371"/>
                <a:gd name="T67" fmla="*/ 315 h 535"/>
                <a:gd name="T68" fmla="*/ 220 w 371"/>
                <a:gd name="T69" fmla="*/ 388 h 535"/>
                <a:gd name="T70" fmla="*/ 226 w 371"/>
                <a:gd name="T71" fmla="*/ 364 h 535"/>
                <a:gd name="T72" fmla="*/ 220 w 371"/>
                <a:gd name="T73" fmla="*/ 388 h 535"/>
                <a:gd name="T74" fmla="*/ 226 w 371"/>
                <a:gd name="T75" fmla="*/ 437 h 535"/>
                <a:gd name="T76" fmla="*/ 220 w 371"/>
                <a:gd name="T77" fmla="*/ 413 h 535"/>
                <a:gd name="T78" fmla="*/ 102 w 371"/>
                <a:gd name="T79" fmla="*/ 290 h 535"/>
                <a:gd name="T80" fmla="*/ 127 w 371"/>
                <a:gd name="T81" fmla="*/ 290 h 535"/>
                <a:gd name="T82" fmla="*/ 102 w 371"/>
                <a:gd name="T83" fmla="*/ 290 h 535"/>
                <a:gd name="T84" fmla="*/ 127 w 371"/>
                <a:gd name="T85" fmla="*/ 357 h 535"/>
                <a:gd name="T86" fmla="*/ 102 w 371"/>
                <a:gd name="T87" fmla="*/ 357 h 535"/>
                <a:gd name="T88" fmla="*/ 114 w 371"/>
                <a:gd name="T89" fmla="*/ 414 h 535"/>
                <a:gd name="T90" fmla="*/ 114 w 371"/>
                <a:gd name="T91" fmla="*/ 502 h 535"/>
                <a:gd name="T92" fmla="*/ 114 w 371"/>
                <a:gd name="T93" fmla="*/ 414 h 535"/>
                <a:gd name="T94" fmla="*/ 95 w 371"/>
                <a:gd name="T95" fmla="*/ 458 h 535"/>
                <a:gd name="T96" fmla="*/ 134 w 371"/>
                <a:gd name="T97" fmla="*/ 458 h 535"/>
                <a:gd name="T98" fmla="*/ 133 w 371"/>
                <a:gd name="T99" fmla="*/ 173 h 535"/>
                <a:gd name="T100" fmla="*/ 109 w 371"/>
                <a:gd name="T101" fmla="*/ 179 h 535"/>
                <a:gd name="T102" fmla="*/ 133 w 371"/>
                <a:gd name="T103" fmla="*/ 173 h 535"/>
                <a:gd name="T104" fmla="*/ 60 w 371"/>
                <a:gd name="T105" fmla="*/ 173 h 535"/>
                <a:gd name="T106" fmla="*/ 85 w 371"/>
                <a:gd name="T107" fmla="*/ 179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1" h="535">
                  <a:moveTo>
                    <a:pt x="262" y="369"/>
                  </a:moveTo>
                  <a:cubicBezTo>
                    <a:pt x="321" y="369"/>
                    <a:pt x="321" y="369"/>
                    <a:pt x="321" y="369"/>
                  </a:cubicBezTo>
                  <a:cubicBezTo>
                    <a:pt x="321" y="363"/>
                    <a:pt x="321" y="363"/>
                    <a:pt x="321" y="363"/>
                  </a:cubicBezTo>
                  <a:cubicBezTo>
                    <a:pt x="262" y="363"/>
                    <a:pt x="262" y="363"/>
                    <a:pt x="262" y="363"/>
                  </a:cubicBezTo>
                  <a:lnTo>
                    <a:pt x="262" y="369"/>
                  </a:lnTo>
                  <a:close/>
                  <a:moveTo>
                    <a:pt x="262" y="414"/>
                  </a:moveTo>
                  <a:cubicBezTo>
                    <a:pt x="321" y="414"/>
                    <a:pt x="321" y="414"/>
                    <a:pt x="321" y="414"/>
                  </a:cubicBezTo>
                  <a:cubicBezTo>
                    <a:pt x="321" y="408"/>
                    <a:pt x="321" y="408"/>
                    <a:pt x="321" y="408"/>
                  </a:cubicBezTo>
                  <a:cubicBezTo>
                    <a:pt x="262" y="408"/>
                    <a:pt x="262" y="408"/>
                    <a:pt x="262" y="408"/>
                  </a:cubicBezTo>
                  <a:lnTo>
                    <a:pt x="262" y="414"/>
                  </a:lnTo>
                  <a:close/>
                  <a:moveTo>
                    <a:pt x="262" y="459"/>
                  </a:moveTo>
                  <a:cubicBezTo>
                    <a:pt x="321" y="459"/>
                    <a:pt x="321" y="459"/>
                    <a:pt x="321" y="459"/>
                  </a:cubicBezTo>
                  <a:cubicBezTo>
                    <a:pt x="321" y="453"/>
                    <a:pt x="321" y="453"/>
                    <a:pt x="321" y="453"/>
                  </a:cubicBezTo>
                  <a:cubicBezTo>
                    <a:pt x="262" y="453"/>
                    <a:pt x="262" y="453"/>
                    <a:pt x="262" y="453"/>
                  </a:cubicBezTo>
                  <a:lnTo>
                    <a:pt x="262" y="459"/>
                  </a:lnTo>
                  <a:close/>
                  <a:moveTo>
                    <a:pt x="365" y="269"/>
                  </a:moveTo>
                  <a:cubicBezTo>
                    <a:pt x="229" y="269"/>
                    <a:pt x="229" y="269"/>
                    <a:pt x="229" y="269"/>
                  </a:cubicBezTo>
                  <a:cubicBezTo>
                    <a:pt x="229" y="176"/>
                    <a:pt x="229" y="176"/>
                    <a:pt x="229" y="176"/>
                  </a:cubicBezTo>
                  <a:cubicBezTo>
                    <a:pt x="229" y="172"/>
                    <a:pt x="226" y="170"/>
                    <a:pt x="222" y="170"/>
                  </a:cubicBezTo>
                  <a:cubicBezTo>
                    <a:pt x="188" y="170"/>
                    <a:pt x="188" y="170"/>
                    <a:pt x="188" y="170"/>
                  </a:cubicBezTo>
                  <a:cubicBezTo>
                    <a:pt x="188" y="108"/>
                    <a:pt x="188" y="108"/>
                    <a:pt x="188" y="108"/>
                  </a:cubicBezTo>
                  <a:cubicBezTo>
                    <a:pt x="188" y="104"/>
                    <a:pt x="186" y="102"/>
                    <a:pt x="182" y="102"/>
                  </a:cubicBezTo>
                  <a:cubicBezTo>
                    <a:pt x="120" y="102"/>
                    <a:pt x="120" y="102"/>
                    <a:pt x="120" y="102"/>
                  </a:cubicBezTo>
                  <a:cubicBezTo>
                    <a:pt x="120" y="0"/>
                    <a:pt x="120" y="0"/>
                    <a:pt x="120" y="0"/>
                  </a:cubicBezTo>
                  <a:cubicBezTo>
                    <a:pt x="108" y="0"/>
                    <a:pt x="108" y="0"/>
                    <a:pt x="108" y="0"/>
                  </a:cubicBezTo>
                  <a:cubicBezTo>
                    <a:pt x="108" y="102"/>
                    <a:pt x="108" y="102"/>
                    <a:pt x="108" y="102"/>
                  </a:cubicBezTo>
                  <a:cubicBezTo>
                    <a:pt x="46" y="102"/>
                    <a:pt x="46" y="102"/>
                    <a:pt x="46" y="102"/>
                  </a:cubicBezTo>
                  <a:cubicBezTo>
                    <a:pt x="43" y="102"/>
                    <a:pt x="40" y="104"/>
                    <a:pt x="40" y="108"/>
                  </a:cubicBezTo>
                  <a:cubicBezTo>
                    <a:pt x="40" y="170"/>
                    <a:pt x="40" y="170"/>
                    <a:pt x="40" y="170"/>
                  </a:cubicBezTo>
                  <a:cubicBezTo>
                    <a:pt x="6" y="170"/>
                    <a:pt x="6" y="170"/>
                    <a:pt x="6" y="170"/>
                  </a:cubicBezTo>
                  <a:cubicBezTo>
                    <a:pt x="3" y="170"/>
                    <a:pt x="0" y="172"/>
                    <a:pt x="0" y="176"/>
                  </a:cubicBezTo>
                  <a:cubicBezTo>
                    <a:pt x="0" y="534"/>
                    <a:pt x="0" y="534"/>
                    <a:pt x="0" y="534"/>
                  </a:cubicBezTo>
                  <a:cubicBezTo>
                    <a:pt x="12" y="534"/>
                    <a:pt x="12" y="534"/>
                    <a:pt x="12" y="534"/>
                  </a:cubicBezTo>
                  <a:cubicBezTo>
                    <a:pt x="12" y="182"/>
                    <a:pt x="12" y="182"/>
                    <a:pt x="12" y="182"/>
                  </a:cubicBezTo>
                  <a:cubicBezTo>
                    <a:pt x="46" y="182"/>
                    <a:pt x="46" y="182"/>
                    <a:pt x="46" y="182"/>
                  </a:cubicBezTo>
                  <a:cubicBezTo>
                    <a:pt x="50" y="182"/>
                    <a:pt x="52" y="179"/>
                    <a:pt x="52" y="176"/>
                  </a:cubicBezTo>
                  <a:cubicBezTo>
                    <a:pt x="52" y="114"/>
                    <a:pt x="52" y="114"/>
                    <a:pt x="52" y="114"/>
                  </a:cubicBezTo>
                  <a:cubicBezTo>
                    <a:pt x="176" y="114"/>
                    <a:pt x="176" y="114"/>
                    <a:pt x="176" y="114"/>
                  </a:cubicBezTo>
                  <a:cubicBezTo>
                    <a:pt x="176" y="173"/>
                    <a:pt x="176" y="173"/>
                    <a:pt x="176" y="173"/>
                  </a:cubicBezTo>
                  <a:cubicBezTo>
                    <a:pt x="158" y="173"/>
                    <a:pt x="158" y="173"/>
                    <a:pt x="158" y="173"/>
                  </a:cubicBezTo>
                  <a:cubicBezTo>
                    <a:pt x="158" y="179"/>
                    <a:pt x="158" y="179"/>
                    <a:pt x="158" y="179"/>
                  </a:cubicBezTo>
                  <a:cubicBezTo>
                    <a:pt x="177" y="179"/>
                    <a:pt x="177" y="179"/>
                    <a:pt x="177" y="179"/>
                  </a:cubicBezTo>
                  <a:cubicBezTo>
                    <a:pt x="178" y="181"/>
                    <a:pt x="180" y="182"/>
                    <a:pt x="182" y="182"/>
                  </a:cubicBezTo>
                  <a:cubicBezTo>
                    <a:pt x="216" y="182"/>
                    <a:pt x="216" y="182"/>
                    <a:pt x="216" y="182"/>
                  </a:cubicBezTo>
                  <a:cubicBezTo>
                    <a:pt x="216" y="275"/>
                    <a:pt x="216" y="275"/>
                    <a:pt x="216" y="275"/>
                  </a:cubicBezTo>
                  <a:cubicBezTo>
                    <a:pt x="216" y="277"/>
                    <a:pt x="218" y="279"/>
                    <a:pt x="220" y="280"/>
                  </a:cubicBezTo>
                  <a:cubicBezTo>
                    <a:pt x="220" y="291"/>
                    <a:pt x="220" y="291"/>
                    <a:pt x="220" y="291"/>
                  </a:cubicBezTo>
                  <a:cubicBezTo>
                    <a:pt x="226" y="291"/>
                    <a:pt x="226" y="291"/>
                    <a:pt x="226" y="291"/>
                  </a:cubicBezTo>
                  <a:cubicBezTo>
                    <a:pt x="226" y="281"/>
                    <a:pt x="226" y="281"/>
                    <a:pt x="226" y="281"/>
                  </a:cubicBezTo>
                  <a:cubicBezTo>
                    <a:pt x="359" y="281"/>
                    <a:pt x="359" y="281"/>
                    <a:pt x="359" y="281"/>
                  </a:cubicBezTo>
                  <a:cubicBezTo>
                    <a:pt x="359" y="534"/>
                    <a:pt x="359" y="534"/>
                    <a:pt x="359" y="534"/>
                  </a:cubicBezTo>
                  <a:cubicBezTo>
                    <a:pt x="371" y="534"/>
                    <a:pt x="371" y="534"/>
                    <a:pt x="371" y="534"/>
                  </a:cubicBezTo>
                  <a:cubicBezTo>
                    <a:pt x="371" y="275"/>
                    <a:pt x="371" y="275"/>
                    <a:pt x="371" y="275"/>
                  </a:cubicBezTo>
                  <a:cubicBezTo>
                    <a:pt x="371" y="271"/>
                    <a:pt x="369" y="269"/>
                    <a:pt x="365" y="269"/>
                  </a:cubicBezTo>
                  <a:close/>
                  <a:moveTo>
                    <a:pt x="220" y="535"/>
                  </a:moveTo>
                  <a:cubicBezTo>
                    <a:pt x="226" y="535"/>
                    <a:pt x="226" y="535"/>
                    <a:pt x="226" y="535"/>
                  </a:cubicBezTo>
                  <a:cubicBezTo>
                    <a:pt x="226" y="510"/>
                    <a:pt x="226" y="510"/>
                    <a:pt x="226" y="510"/>
                  </a:cubicBezTo>
                  <a:cubicBezTo>
                    <a:pt x="220" y="510"/>
                    <a:pt x="220" y="510"/>
                    <a:pt x="220" y="510"/>
                  </a:cubicBezTo>
                  <a:lnTo>
                    <a:pt x="220" y="535"/>
                  </a:lnTo>
                  <a:close/>
                  <a:moveTo>
                    <a:pt x="220" y="486"/>
                  </a:moveTo>
                  <a:cubicBezTo>
                    <a:pt x="226" y="486"/>
                    <a:pt x="226" y="486"/>
                    <a:pt x="226" y="486"/>
                  </a:cubicBezTo>
                  <a:cubicBezTo>
                    <a:pt x="226" y="462"/>
                    <a:pt x="226" y="462"/>
                    <a:pt x="226" y="462"/>
                  </a:cubicBezTo>
                  <a:cubicBezTo>
                    <a:pt x="220" y="462"/>
                    <a:pt x="220" y="462"/>
                    <a:pt x="220" y="462"/>
                  </a:cubicBezTo>
                  <a:lnTo>
                    <a:pt x="220" y="486"/>
                  </a:lnTo>
                  <a:close/>
                  <a:moveTo>
                    <a:pt x="220" y="340"/>
                  </a:moveTo>
                  <a:cubicBezTo>
                    <a:pt x="226" y="340"/>
                    <a:pt x="226" y="340"/>
                    <a:pt x="226" y="340"/>
                  </a:cubicBezTo>
                  <a:cubicBezTo>
                    <a:pt x="226" y="315"/>
                    <a:pt x="226" y="315"/>
                    <a:pt x="226" y="315"/>
                  </a:cubicBezTo>
                  <a:cubicBezTo>
                    <a:pt x="220" y="315"/>
                    <a:pt x="220" y="315"/>
                    <a:pt x="220" y="315"/>
                  </a:cubicBezTo>
                  <a:lnTo>
                    <a:pt x="220" y="340"/>
                  </a:lnTo>
                  <a:close/>
                  <a:moveTo>
                    <a:pt x="220" y="388"/>
                  </a:moveTo>
                  <a:cubicBezTo>
                    <a:pt x="226" y="388"/>
                    <a:pt x="226" y="388"/>
                    <a:pt x="226" y="388"/>
                  </a:cubicBezTo>
                  <a:cubicBezTo>
                    <a:pt x="226" y="364"/>
                    <a:pt x="226" y="364"/>
                    <a:pt x="226" y="364"/>
                  </a:cubicBezTo>
                  <a:cubicBezTo>
                    <a:pt x="220" y="364"/>
                    <a:pt x="220" y="364"/>
                    <a:pt x="220" y="364"/>
                  </a:cubicBezTo>
                  <a:lnTo>
                    <a:pt x="220" y="388"/>
                  </a:lnTo>
                  <a:close/>
                  <a:moveTo>
                    <a:pt x="220" y="437"/>
                  </a:moveTo>
                  <a:cubicBezTo>
                    <a:pt x="226" y="437"/>
                    <a:pt x="226" y="437"/>
                    <a:pt x="226" y="437"/>
                  </a:cubicBezTo>
                  <a:cubicBezTo>
                    <a:pt x="226" y="413"/>
                    <a:pt x="226" y="413"/>
                    <a:pt x="226" y="413"/>
                  </a:cubicBezTo>
                  <a:cubicBezTo>
                    <a:pt x="220" y="413"/>
                    <a:pt x="220" y="413"/>
                    <a:pt x="220" y="413"/>
                  </a:cubicBezTo>
                  <a:lnTo>
                    <a:pt x="220" y="437"/>
                  </a:lnTo>
                  <a:close/>
                  <a:moveTo>
                    <a:pt x="102" y="290"/>
                  </a:moveTo>
                  <a:cubicBezTo>
                    <a:pt x="102" y="297"/>
                    <a:pt x="108" y="302"/>
                    <a:pt x="114" y="302"/>
                  </a:cubicBezTo>
                  <a:cubicBezTo>
                    <a:pt x="121" y="302"/>
                    <a:pt x="127" y="297"/>
                    <a:pt x="127" y="290"/>
                  </a:cubicBezTo>
                  <a:cubicBezTo>
                    <a:pt x="127" y="283"/>
                    <a:pt x="121" y="278"/>
                    <a:pt x="114" y="278"/>
                  </a:cubicBezTo>
                  <a:cubicBezTo>
                    <a:pt x="108" y="278"/>
                    <a:pt x="102" y="283"/>
                    <a:pt x="102" y="290"/>
                  </a:cubicBezTo>
                  <a:close/>
                  <a:moveTo>
                    <a:pt x="114" y="369"/>
                  </a:moveTo>
                  <a:cubicBezTo>
                    <a:pt x="121" y="369"/>
                    <a:pt x="127" y="363"/>
                    <a:pt x="127" y="357"/>
                  </a:cubicBezTo>
                  <a:cubicBezTo>
                    <a:pt x="127" y="350"/>
                    <a:pt x="121" y="345"/>
                    <a:pt x="114" y="345"/>
                  </a:cubicBezTo>
                  <a:cubicBezTo>
                    <a:pt x="108" y="345"/>
                    <a:pt x="102" y="350"/>
                    <a:pt x="102" y="357"/>
                  </a:cubicBezTo>
                  <a:cubicBezTo>
                    <a:pt x="102" y="363"/>
                    <a:pt x="108" y="369"/>
                    <a:pt x="114" y="369"/>
                  </a:cubicBezTo>
                  <a:close/>
                  <a:moveTo>
                    <a:pt x="114" y="414"/>
                  </a:moveTo>
                  <a:cubicBezTo>
                    <a:pt x="90" y="414"/>
                    <a:pt x="70" y="434"/>
                    <a:pt x="70" y="458"/>
                  </a:cubicBezTo>
                  <a:cubicBezTo>
                    <a:pt x="70" y="482"/>
                    <a:pt x="90" y="502"/>
                    <a:pt x="114" y="502"/>
                  </a:cubicBezTo>
                  <a:cubicBezTo>
                    <a:pt x="139" y="502"/>
                    <a:pt x="159" y="482"/>
                    <a:pt x="159" y="458"/>
                  </a:cubicBezTo>
                  <a:cubicBezTo>
                    <a:pt x="159" y="434"/>
                    <a:pt x="139" y="414"/>
                    <a:pt x="114" y="414"/>
                  </a:cubicBezTo>
                  <a:close/>
                  <a:moveTo>
                    <a:pt x="114" y="478"/>
                  </a:moveTo>
                  <a:cubicBezTo>
                    <a:pt x="104" y="478"/>
                    <a:pt x="95" y="469"/>
                    <a:pt x="95" y="458"/>
                  </a:cubicBezTo>
                  <a:cubicBezTo>
                    <a:pt x="95" y="447"/>
                    <a:pt x="104" y="438"/>
                    <a:pt x="114" y="438"/>
                  </a:cubicBezTo>
                  <a:cubicBezTo>
                    <a:pt x="125" y="438"/>
                    <a:pt x="134" y="447"/>
                    <a:pt x="134" y="458"/>
                  </a:cubicBezTo>
                  <a:cubicBezTo>
                    <a:pt x="134" y="469"/>
                    <a:pt x="125" y="478"/>
                    <a:pt x="114" y="478"/>
                  </a:cubicBezTo>
                  <a:close/>
                  <a:moveTo>
                    <a:pt x="133" y="173"/>
                  </a:moveTo>
                  <a:cubicBezTo>
                    <a:pt x="109" y="173"/>
                    <a:pt x="109" y="173"/>
                    <a:pt x="109" y="173"/>
                  </a:cubicBezTo>
                  <a:cubicBezTo>
                    <a:pt x="109" y="179"/>
                    <a:pt x="109" y="179"/>
                    <a:pt x="109" y="179"/>
                  </a:cubicBezTo>
                  <a:cubicBezTo>
                    <a:pt x="133" y="179"/>
                    <a:pt x="133" y="179"/>
                    <a:pt x="133" y="179"/>
                  </a:cubicBezTo>
                  <a:lnTo>
                    <a:pt x="133" y="173"/>
                  </a:lnTo>
                  <a:close/>
                  <a:moveTo>
                    <a:pt x="85" y="173"/>
                  </a:moveTo>
                  <a:cubicBezTo>
                    <a:pt x="60" y="173"/>
                    <a:pt x="60" y="173"/>
                    <a:pt x="60" y="173"/>
                  </a:cubicBezTo>
                  <a:cubicBezTo>
                    <a:pt x="60" y="179"/>
                    <a:pt x="60" y="179"/>
                    <a:pt x="60" y="179"/>
                  </a:cubicBezTo>
                  <a:cubicBezTo>
                    <a:pt x="85" y="179"/>
                    <a:pt x="85" y="179"/>
                    <a:pt x="85" y="179"/>
                  </a:cubicBezTo>
                  <a:lnTo>
                    <a:pt x="85" y="1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29" name="Groupe 28">
            <a:extLst>
              <a:ext uri="{FF2B5EF4-FFF2-40B4-BE49-F238E27FC236}">
                <a16:creationId xmlns:a16="http://schemas.microsoft.com/office/drawing/2014/main" id="{2E59A671-99ED-477C-937B-D90489530AB0}"/>
              </a:ext>
            </a:extLst>
          </p:cNvPr>
          <p:cNvGrpSpPr/>
          <p:nvPr/>
        </p:nvGrpSpPr>
        <p:grpSpPr>
          <a:xfrm>
            <a:off x="4977746" y="2257425"/>
            <a:ext cx="2236510" cy="3338400"/>
            <a:chOff x="4977746" y="2257425"/>
            <a:chExt cx="2236510" cy="3338400"/>
          </a:xfrm>
        </p:grpSpPr>
        <p:sp>
          <p:nvSpPr>
            <p:cNvPr id="36" name="Rectangle 35">
              <a:extLst>
                <a:ext uri="{FF2B5EF4-FFF2-40B4-BE49-F238E27FC236}">
                  <a16:creationId xmlns:a16="http://schemas.microsoft.com/office/drawing/2014/main" id="{84401060-06D7-4A85-B2D2-F0364B7ADF56}"/>
                </a:ext>
              </a:extLst>
            </p:cNvPr>
            <p:cNvSpPr/>
            <p:nvPr/>
          </p:nvSpPr>
          <p:spPr>
            <a:xfrm>
              <a:off x="4978501" y="2257425"/>
              <a:ext cx="2235000"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prstClr val="white"/>
                </a:solidFill>
              </a:endParaRPr>
            </a:p>
          </p:txBody>
        </p:sp>
        <p:sp>
          <p:nvSpPr>
            <p:cNvPr id="15" name="ZoneTexte 14">
              <a:extLst>
                <a:ext uri="{FF2B5EF4-FFF2-40B4-BE49-F238E27FC236}">
                  <a16:creationId xmlns:a16="http://schemas.microsoft.com/office/drawing/2014/main" id="{DDA208AB-EAC0-4EDB-8D74-7D594E79D06F}"/>
                </a:ext>
              </a:extLst>
            </p:cNvPr>
            <p:cNvSpPr txBox="1"/>
            <p:nvPr/>
          </p:nvSpPr>
          <p:spPr>
            <a:xfrm>
              <a:off x="5749592" y="4724351"/>
              <a:ext cx="692818" cy="307777"/>
            </a:xfrm>
            <a:prstGeom prst="rect">
              <a:avLst/>
            </a:prstGeom>
            <a:noFill/>
          </p:spPr>
          <p:txBody>
            <a:bodyPr wrap="none" rtlCol="0">
              <a:spAutoFit/>
            </a:bodyPr>
            <a:lstStyle/>
            <a:p>
              <a:pPr algn="ctr"/>
              <a:r>
                <a:rPr lang="fr-FR" sz="1400" dirty="0">
                  <a:solidFill>
                    <a:srgbClr val="333333"/>
                  </a:solidFill>
                </a:rPr>
                <a:t>clients</a:t>
              </a:r>
            </a:p>
          </p:txBody>
        </p:sp>
        <p:sp>
          <p:nvSpPr>
            <p:cNvPr id="20" name="ZoneTexte 19">
              <a:extLst>
                <a:ext uri="{FF2B5EF4-FFF2-40B4-BE49-F238E27FC236}">
                  <a16:creationId xmlns:a16="http://schemas.microsoft.com/office/drawing/2014/main" id="{18D4E454-C35F-4922-B4FC-FECE52B7BE59}"/>
                </a:ext>
              </a:extLst>
            </p:cNvPr>
            <p:cNvSpPr txBox="1"/>
            <p:nvPr/>
          </p:nvSpPr>
          <p:spPr>
            <a:xfrm>
              <a:off x="4977746" y="3610491"/>
              <a:ext cx="2236510" cy="923330"/>
            </a:xfrm>
            <a:prstGeom prst="rect">
              <a:avLst/>
            </a:prstGeom>
            <a:noFill/>
          </p:spPr>
          <p:txBody>
            <a:bodyPr wrap="none" rtlCol="0">
              <a:spAutoFit/>
            </a:bodyPr>
            <a:lstStyle/>
            <a:p>
              <a:r>
                <a:rPr lang="fr-FR" sz="5400" b="1" dirty="0">
                  <a:solidFill>
                    <a:srgbClr val="179D98"/>
                  </a:solidFill>
                </a:rPr>
                <a:t>400</a:t>
              </a:r>
              <a:r>
                <a:rPr lang="fr-FR" sz="5400" b="1" baseline="10000" dirty="0">
                  <a:solidFill>
                    <a:srgbClr val="179D98"/>
                  </a:solidFill>
                </a:rPr>
                <a:t>,000</a:t>
              </a:r>
              <a:endParaRPr lang="fr-FR" sz="4400" b="1" baseline="10000" dirty="0">
                <a:solidFill>
                  <a:srgbClr val="179D98"/>
                </a:solidFill>
              </a:endParaRPr>
            </a:p>
          </p:txBody>
        </p:sp>
        <p:sp>
          <p:nvSpPr>
            <p:cNvPr id="31" name="Freeform 9">
              <a:extLst>
                <a:ext uri="{FF2B5EF4-FFF2-40B4-BE49-F238E27FC236}">
                  <a16:creationId xmlns:a16="http://schemas.microsoft.com/office/drawing/2014/main" id="{9ACBA074-D022-4841-8AAA-9689B2ADAC9C}"/>
                </a:ext>
              </a:extLst>
            </p:cNvPr>
            <p:cNvSpPr>
              <a:spLocks noEditPoints="1"/>
            </p:cNvSpPr>
            <p:nvPr/>
          </p:nvSpPr>
          <p:spPr bwMode="auto">
            <a:xfrm>
              <a:off x="5825332" y="2765425"/>
              <a:ext cx="541338" cy="579438"/>
            </a:xfrm>
            <a:custGeom>
              <a:avLst/>
              <a:gdLst>
                <a:gd name="T0" fmla="*/ 73 w 403"/>
                <a:gd name="T1" fmla="*/ 264 h 429"/>
                <a:gd name="T2" fmla="*/ 143 w 403"/>
                <a:gd name="T3" fmla="*/ 195 h 429"/>
                <a:gd name="T4" fmla="*/ 73 w 403"/>
                <a:gd name="T5" fmla="*/ 125 h 429"/>
                <a:gd name="T6" fmla="*/ 4 w 403"/>
                <a:gd name="T7" fmla="*/ 195 h 429"/>
                <a:gd name="T8" fmla="*/ 73 w 403"/>
                <a:gd name="T9" fmla="*/ 264 h 429"/>
                <a:gd name="T10" fmla="*/ 73 w 403"/>
                <a:gd name="T11" fmla="*/ 143 h 429"/>
                <a:gd name="T12" fmla="*/ 125 w 403"/>
                <a:gd name="T13" fmla="*/ 195 h 429"/>
                <a:gd name="T14" fmla="*/ 73 w 403"/>
                <a:gd name="T15" fmla="*/ 246 h 429"/>
                <a:gd name="T16" fmla="*/ 22 w 403"/>
                <a:gd name="T17" fmla="*/ 195 h 429"/>
                <a:gd name="T18" fmla="*/ 73 w 403"/>
                <a:gd name="T19" fmla="*/ 143 h 429"/>
                <a:gd name="T20" fmla="*/ 73 w 403"/>
                <a:gd name="T21" fmla="*/ 289 h 429"/>
                <a:gd name="T22" fmla="*/ 0 w 403"/>
                <a:gd name="T23" fmla="*/ 362 h 429"/>
                <a:gd name="T24" fmla="*/ 0 w 403"/>
                <a:gd name="T25" fmla="*/ 429 h 429"/>
                <a:gd name="T26" fmla="*/ 9 w 403"/>
                <a:gd name="T27" fmla="*/ 429 h 429"/>
                <a:gd name="T28" fmla="*/ 9 w 403"/>
                <a:gd name="T29" fmla="*/ 362 h 429"/>
                <a:gd name="T30" fmla="*/ 73 w 403"/>
                <a:gd name="T31" fmla="*/ 298 h 429"/>
                <a:gd name="T32" fmla="*/ 138 w 403"/>
                <a:gd name="T33" fmla="*/ 362 h 429"/>
                <a:gd name="T34" fmla="*/ 138 w 403"/>
                <a:gd name="T35" fmla="*/ 429 h 429"/>
                <a:gd name="T36" fmla="*/ 147 w 403"/>
                <a:gd name="T37" fmla="*/ 429 h 429"/>
                <a:gd name="T38" fmla="*/ 147 w 403"/>
                <a:gd name="T39" fmla="*/ 362 h 429"/>
                <a:gd name="T40" fmla="*/ 73 w 403"/>
                <a:gd name="T41" fmla="*/ 289 h 429"/>
                <a:gd name="T42" fmla="*/ 265 w 403"/>
                <a:gd name="T43" fmla="*/ 82 h 429"/>
                <a:gd name="T44" fmla="*/ 273 w 403"/>
                <a:gd name="T45" fmla="*/ 74 h 429"/>
                <a:gd name="T46" fmla="*/ 265 w 403"/>
                <a:gd name="T47" fmla="*/ 65 h 429"/>
                <a:gd name="T48" fmla="*/ 256 w 403"/>
                <a:gd name="T49" fmla="*/ 74 h 429"/>
                <a:gd name="T50" fmla="*/ 265 w 403"/>
                <a:gd name="T51" fmla="*/ 82 h 429"/>
                <a:gd name="T52" fmla="*/ 296 w 403"/>
                <a:gd name="T53" fmla="*/ 82 h 429"/>
                <a:gd name="T54" fmla="*/ 304 w 403"/>
                <a:gd name="T55" fmla="*/ 74 h 429"/>
                <a:gd name="T56" fmla="*/ 296 w 403"/>
                <a:gd name="T57" fmla="*/ 65 h 429"/>
                <a:gd name="T58" fmla="*/ 287 w 403"/>
                <a:gd name="T59" fmla="*/ 74 h 429"/>
                <a:gd name="T60" fmla="*/ 296 w 403"/>
                <a:gd name="T61" fmla="*/ 82 h 429"/>
                <a:gd name="T62" fmla="*/ 327 w 403"/>
                <a:gd name="T63" fmla="*/ 82 h 429"/>
                <a:gd name="T64" fmla="*/ 336 w 403"/>
                <a:gd name="T65" fmla="*/ 74 h 429"/>
                <a:gd name="T66" fmla="*/ 327 w 403"/>
                <a:gd name="T67" fmla="*/ 65 h 429"/>
                <a:gd name="T68" fmla="*/ 319 w 403"/>
                <a:gd name="T69" fmla="*/ 74 h 429"/>
                <a:gd name="T70" fmla="*/ 327 w 403"/>
                <a:gd name="T71" fmla="*/ 82 h 429"/>
                <a:gd name="T72" fmla="*/ 399 w 403"/>
                <a:gd name="T73" fmla="*/ 0 h 429"/>
                <a:gd name="T74" fmla="*/ 191 w 403"/>
                <a:gd name="T75" fmla="*/ 0 h 429"/>
                <a:gd name="T76" fmla="*/ 186 w 403"/>
                <a:gd name="T77" fmla="*/ 5 h 429"/>
                <a:gd name="T78" fmla="*/ 186 w 403"/>
                <a:gd name="T79" fmla="*/ 102 h 429"/>
                <a:gd name="T80" fmla="*/ 158 w 403"/>
                <a:gd name="T81" fmla="*/ 167 h 429"/>
                <a:gd name="T82" fmla="*/ 159 w 403"/>
                <a:gd name="T83" fmla="*/ 173 h 429"/>
                <a:gd name="T84" fmla="*/ 163 w 403"/>
                <a:gd name="T85" fmla="*/ 174 h 429"/>
                <a:gd name="T86" fmla="*/ 165 w 403"/>
                <a:gd name="T87" fmla="*/ 173 h 429"/>
                <a:gd name="T88" fmla="*/ 224 w 403"/>
                <a:gd name="T89" fmla="*/ 142 h 429"/>
                <a:gd name="T90" fmla="*/ 399 w 403"/>
                <a:gd name="T91" fmla="*/ 142 h 429"/>
                <a:gd name="T92" fmla="*/ 403 w 403"/>
                <a:gd name="T93" fmla="*/ 138 h 429"/>
                <a:gd name="T94" fmla="*/ 403 w 403"/>
                <a:gd name="T95" fmla="*/ 5 h 429"/>
                <a:gd name="T96" fmla="*/ 399 w 403"/>
                <a:gd name="T97" fmla="*/ 0 h 429"/>
                <a:gd name="T98" fmla="*/ 394 w 403"/>
                <a:gd name="T99" fmla="*/ 133 h 429"/>
                <a:gd name="T100" fmla="*/ 222 w 403"/>
                <a:gd name="T101" fmla="*/ 133 h 429"/>
                <a:gd name="T102" fmla="*/ 220 w 403"/>
                <a:gd name="T103" fmla="*/ 134 h 429"/>
                <a:gd name="T104" fmla="*/ 172 w 403"/>
                <a:gd name="T105" fmla="*/ 159 h 429"/>
                <a:gd name="T106" fmla="*/ 195 w 403"/>
                <a:gd name="T107" fmla="*/ 105 h 429"/>
                <a:gd name="T108" fmla="*/ 195 w 403"/>
                <a:gd name="T109" fmla="*/ 103 h 429"/>
                <a:gd name="T110" fmla="*/ 195 w 403"/>
                <a:gd name="T111" fmla="*/ 9 h 429"/>
                <a:gd name="T112" fmla="*/ 394 w 403"/>
                <a:gd name="T113" fmla="*/ 9 h 429"/>
                <a:gd name="T114" fmla="*/ 394 w 403"/>
                <a:gd name="T115" fmla="*/ 13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3" h="429">
                  <a:moveTo>
                    <a:pt x="73" y="264"/>
                  </a:moveTo>
                  <a:cubicBezTo>
                    <a:pt x="112" y="264"/>
                    <a:pt x="143" y="233"/>
                    <a:pt x="143" y="195"/>
                  </a:cubicBezTo>
                  <a:cubicBezTo>
                    <a:pt x="143" y="156"/>
                    <a:pt x="112" y="125"/>
                    <a:pt x="73" y="125"/>
                  </a:cubicBezTo>
                  <a:cubicBezTo>
                    <a:pt x="35" y="125"/>
                    <a:pt x="4" y="156"/>
                    <a:pt x="4" y="195"/>
                  </a:cubicBezTo>
                  <a:cubicBezTo>
                    <a:pt x="4" y="233"/>
                    <a:pt x="35" y="264"/>
                    <a:pt x="73" y="264"/>
                  </a:cubicBezTo>
                  <a:close/>
                  <a:moveTo>
                    <a:pt x="73" y="143"/>
                  </a:moveTo>
                  <a:cubicBezTo>
                    <a:pt x="102" y="143"/>
                    <a:pt x="125" y="166"/>
                    <a:pt x="125" y="195"/>
                  </a:cubicBezTo>
                  <a:cubicBezTo>
                    <a:pt x="125" y="223"/>
                    <a:pt x="102" y="246"/>
                    <a:pt x="73" y="246"/>
                  </a:cubicBezTo>
                  <a:cubicBezTo>
                    <a:pt x="45" y="246"/>
                    <a:pt x="22" y="223"/>
                    <a:pt x="22" y="195"/>
                  </a:cubicBezTo>
                  <a:cubicBezTo>
                    <a:pt x="22" y="166"/>
                    <a:pt x="45" y="143"/>
                    <a:pt x="73" y="143"/>
                  </a:cubicBezTo>
                  <a:close/>
                  <a:moveTo>
                    <a:pt x="73" y="289"/>
                  </a:moveTo>
                  <a:cubicBezTo>
                    <a:pt x="33" y="289"/>
                    <a:pt x="0" y="321"/>
                    <a:pt x="0" y="362"/>
                  </a:cubicBezTo>
                  <a:cubicBezTo>
                    <a:pt x="0" y="429"/>
                    <a:pt x="0" y="429"/>
                    <a:pt x="0" y="429"/>
                  </a:cubicBezTo>
                  <a:cubicBezTo>
                    <a:pt x="9" y="429"/>
                    <a:pt x="9" y="429"/>
                    <a:pt x="9" y="429"/>
                  </a:cubicBezTo>
                  <a:cubicBezTo>
                    <a:pt x="9" y="362"/>
                    <a:pt x="9" y="362"/>
                    <a:pt x="9" y="362"/>
                  </a:cubicBezTo>
                  <a:cubicBezTo>
                    <a:pt x="9" y="327"/>
                    <a:pt x="38" y="298"/>
                    <a:pt x="73" y="298"/>
                  </a:cubicBezTo>
                  <a:cubicBezTo>
                    <a:pt x="109" y="298"/>
                    <a:pt x="138" y="327"/>
                    <a:pt x="138" y="362"/>
                  </a:cubicBezTo>
                  <a:cubicBezTo>
                    <a:pt x="138" y="429"/>
                    <a:pt x="138" y="429"/>
                    <a:pt x="138" y="429"/>
                  </a:cubicBezTo>
                  <a:cubicBezTo>
                    <a:pt x="147" y="429"/>
                    <a:pt x="147" y="429"/>
                    <a:pt x="147" y="429"/>
                  </a:cubicBezTo>
                  <a:cubicBezTo>
                    <a:pt x="147" y="362"/>
                    <a:pt x="147" y="362"/>
                    <a:pt x="147" y="362"/>
                  </a:cubicBezTo>
                  <a:cubicBezTo>
                    <a:pt x="147" y="321"/>
                    <a:pt x="114" y="289"/>
                    <a:pt x="73" y="289"/>
                  </a:cubicBezTo>
                  <a:close/>
                  <a:moveTo>
                    <a:pt x="265" y="82"/>
                  </a:moveTo>
                  <a:cubicBezTo>
                    <a:pt x="269" y="82"/>
                    <a:pt x="273" y="79"/>
                    <a:pt x="273" y="74"/>
                  </a:cubicBezTo>
                  <a:cubicBezTo>
                    <a:pt x="273" y="69"/>
                    <a:pt x="269" y="65"/>
                    <a:pt x="265" y="65"/>
                  </a:cubicBezTo>
                  <a:cubicBezTo>
                    <a:pt x="260" y="65"/>
                    <a:pt x="256" y="69"/>
                    <a:pt x="256" y="74"/>
                  </a:cubicBezTo>
                  <a:cubicBezTo>
                    <a:pt x="256" y="79"/>
                    <a:pt x="260" y="82"/>
                    <a:pt x="265" y="82"/>
                  </a:cubicBezTo>
                  <a:close/>
                  <a:moveTo>
                    <a:pt x="296" y="82"/>
                  </a:moveTo>
                  <a:cubicBezTo>
                    <a:pt x="301" y="82"/>
                    <a:pt x="304" y="79"/>
                    <a:pt x="304" y="74"/>
                  </a:cubicBezTo>
                  <a:cubicBezTo>
                    <a:pt x="304" y="69"/>
                    <a:pt x="301" y="65"/>
                    <a:pt x="296" y="65"/>
                  </a:cubicBezTo>
                  <a:cubicBezTo>
                    <a:pt x="291" y="65"/>
                    <a:pt x="287" y="69"/>
                    <a:pt x="287" y="74"/>
                  </a:cubicBezTo>
                  <a:cubicBezTo>
                    <a:pt x="287" y="79"/>
                    <a:pt x="291" y="82"/>
                    <a:pt x="296" y="82"/>
                  </a:cubicBezTo>
                  <a:close/>
                  <a:moveTo>
                    <a:pt x="327" y="82"/>
                  </a:moveTo>
                  <a:cubicBezTo>
                    <a:pt x="332" y="82"/>
                    <a:pt x="336" y="79"/>
                    <a:pt x="336" y="74"/>
                  </a:cubicBezTo>
                  <a:cubicBezTo>
                    <a:pt x="336" y="69"/>
                    <a:pt x="332" y="65"/>
                    <a:pt x="327" y="65"/>
                  </a:cubicBezTo>
                  <a:cubicBezTo>
                    <a:pt x="322" y="65"/>
                    <a:pt x="319" y="69"/>
                    <a:pt x="319" y="74"/>
                  </a:cubicBezTo>
                  <a:cubicBezTo>
                    <a:pt x="319" y="79"/>
                    <a:pt x="322" y="82"/>
                    <a:pt x="327" y="82"/>
                  </a:cubicBezTo>
                  <a:close/>
                  <a:moveTo>
                    <a:pt x="399" y="0"/>
                  </a:moveTo>
                  <a:cubicBezTo>
                    <a:pt x="191" y="0"/>
                    <a:pt x="191" y="0"/>
                    <a:pt x="191" y="0"/>
                  </a:cubicBezTo>
                  <a:cubicBezTo>
                    <a:pt x="188" y="0"/>
                    <a:pt x="186" y="2"/>
                    <a:pt x="186" y="5"/>
                  </a:cubicBezTo>
                  <a:cubicBezTo>
                    <a:pt x="186" y="102"/>
                    <a:pt x="186" y="102"/>
                    <a:pt x="186" y="102"/>
                  </a:cubicBezTo>
                  <a:cubicBezTo>
                    <a:pt x="158" y="167"/>
                    <a:pt x="158" y="167"/>
                    <a:pt x="158" y="167"/>
                  </a:cubicBezTo>
                  <a:cubicBezTo>
                    <a:pt x="158" y="169"/>
                    <a:pt x="158" y="171"/>
                    <a:pt x="159" y="173"/>
                  </a:cubicBezTo>
                  <a:cubicBezTo>
                    <a:pt x="160" y="173"/>
                    <a:pt x="161" y="174"/>
                    <a:pt x="163" y="174"/>
                  </a:cubicBezTo>
                  <a:cubicBezTo>
                    <a:pt x="165" y="173"/>
                    <a:pt x="165" y="173"/>
                    <a:pt x="165" y="173"/>
                  </a:cubicBezTo>
                  <a:cubicBezTo>
                    <a:pt x="224" y="142"/>
                    <a:pt x="224" y="142"/>
                    <a:pt x="224" y="142"/>
                  </a:cubicBezTo>
                  <a:cubicBezTo>
                    <a:pt x="399" y="142"/>
                    <a:pt x="399" y="142"/>
                    <a:pt x="399" y="142"/>
                  </a:cubicBezTo>
                  <a:cubicBezTo>
                    <a:pt x="401" y="142"/>
                    <a:pt x="403" y="140"/>
                    <a:pt x="403" y="138"/>
                  </a:cubicBezTo>
                  <a:cubicBezTo>
                    <a:pt x="403" y="5"/>
                    <a:pt x="403" y="5"/>
                    <a:pt x="403" y="5"/>
                  </a:cubicBezTo>
                  <a:cubicBezTo>
                    <a:pt x="403" y="2"/>
                    <a:pt x="401" y="0"/>
                    <a:pt x="399" y="0"/>
                  </a:cubicBezTo>
                  <a:close/>
                  <a:moveTo>
                    <a:pt x="394" y="133"/>
                  </a:moveTo>
                  <a:cubicBezTo>
                    <a:pt x="222" y="133"/>
                    <a:pt x="222" y="133"/>
                    <a:pt x="222" y="133"/>
                  </a:cubicBezTo>
                  <a:cubicBezTo>
                    <a:pt x="220" y="134"/>
                    <a:pt x="220" y="134"/>
                    <a:pt x="220" y="134"/>
                  </a:cubicBezTo>
                  <a:cubicBezTo>
                    <a:pt x="172" y="159"/>
                    <a:pt x="172" y="159"/>
                    <a:pt x="172" y="159"/>
                  </a:cubicBezTo>
                  <a:cubicBezTo>
                    <a:pt x="195" y="105"/>
                    <a:pt x="195" y="105"/>
                    <a:pt x="195" y="105"/>
                  </a:cubicBezTo>
                  <a:cubicBezTo>
                    <a:pt x="195" y="103"/>
                    <a:pt x="195" y="103"/>
                    <a:pt x="195" y="103"/>
                  </a:cubicBezTo>
                  <a:cubicBezTo>
                    <a:pt x="195" y="9"/>
                    <a:pt x="195" y="9"/>
                    <a:pt x="195" y="9"/>
                  </a:cubicBezTo>
                  <a:cubicBezTo>
                    <a:pt x="394" y="9"/>
                    <a:pt x="394" y="9"/>
                    <a:pt x="394" y="9"/>
                  </a:cubicBezTo>
                  <a:lnTo>
                    <a:pt x="394" y="13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27" name="Groupe 26">
            <a:extLst>
              <a:ext uri="{FF2B5EF4-FFF2-40B4-BE49-F238E27FC236}">
                <a16:creationId xmlns:a16="http://schemas.microsoft.com/office/drawing/2014/main" id="{4D52AAB6-8BB3-4BF8-8F3B-6AFA69B31D1A}"/>
              </a:ext>
            </a:extLst>
          </p:cNvPr>
          <p:cNvGrpSpPr/>
          <p:nvPr/>
        </p:nvGrpSpPr>
        <p:grpSpPr>
          <a:xfrm>
            <a:off x="2611683" y="2257425"/>
            <a:ext cx="2235000" cy="3338400"/>
            <a:chOff x="2611683" y="2257425"/>
            <a:chExt cx="2235000" cy="3338400"/>
          </a:xfrm>
        </p:grpSpPr>
        <p:sp>
          <p:nvSpPr>
            <p:cNvPr id="33" name="Rectangle 32">
              <a:extLst>
                <a:ext uri="{FF2B5EF4-FFF2-40B4-BE49-F238E27FC236}">
                  <a16:creationId xmlns:a16="http://schemas.microsoft.com/office/drawing/2014/main" id="{B82C4C04-AE31-4D08-A261-E44699E3660B}"/>
                </a:ext>
              </a:extLst>
            </p:cNvPr>
            <p:cNvSpPr/>
            <p:nvPr/>
          </p:nvSpPr>
          <p:spPr>
            <a:xfrm>
              <a:off x="2611683" y="2257425"/>
              <a:ext cx="2235000"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prstClr val="white"/>
                </a:solidFill>
              </a:endParaRPr>
            </a:p>
          </p:txBody>
        </p:sp>
        <p:sp>
          <p:nvSpPr>
            <p:cNvPr id="14" name="ZoneTexte 13">
              <a:extLst>
                <a:ext uri="{FF2B5EF4-FFF2-40B4-BE49-F238E27FC236}">
                  <a16:creationId xmlns:a16="http://schemas.microsoft.com/office/drawing/2014/main" id="{5412DA57-0363-469F-A244-564189598044}"/>
                </a:ext>
              </a:extLst>
            </p:cNvPr>
            <p:cNvSpPr txBox="1"/>
            <p:nvPr/>
          </p:nvSpPr>
          <p:spPr>
            <a:xfrm>
              <a:off x="3204039" y="4724351"/>
              <a:ext cx="1050289" cy="307777"/>
            </a:xfrm>
            <a:prstGeom prst="rect">
              <a:avLst/>
            </a:prstGeom>
            <a:noFill/>
          </p:spPr>
          <p:txBody>
            <a:bodyPr wrap="none" rtlCol="0">
              <a:spAutoFit/>
            </a:bodyPr>
            <a:lstStyle/>
            <a:p>
              <a:pPr algn="ctr"/>
              <a:r>
                <a:rPr lang="fr-FR" sz="1400" dirty="0" err="1">
                  <a:solidFill>
                    <a:srgbClr val="333333"/>
                  </a:solidFill>
                </a:rPr>
                <a:t>employees</a:t>
              </a:r>
              <a:endParaRPr lang="fr-FR" sz="1400" dirty="0">
                <a:solidFill>
                  <a:srgbClr val="333333"/>
                </a:solidFill>
              </a:endParaRPr>
            </a:p>
          </p:txBody>
        </p:sp>
        <p:sp>
          <p:nvSpPr>
            <p:cNvPr id="18" name="ZoneTexte 17">
              <a:extLst>
                <a:ext uri="{FF2B5EF4-FFF2-40B4-BE49-F238E27FC236}">
                  <a16:creationId xmlns:a16="http://schemas.microsoft.com/office/drawing/2014/main" id="{119A5D68-2091-407D-AC25-8C5C2FB6AA00}"/>
                </a:ext>
              </a:extLst>
            </p:cNvPr>
            <p:cNvSpPr txBox="1"/>
            <p:nvPr/>
          </p:nvSpPr>
          <p:spPr>
            <a:xfrm>
              <a:off x="2716727" y="3473450"/>
              <a:ext cx="2024913" cy="1323439"/>
            </a:xfrm>
            <a:prstGeom prst="rect">
              <a:avLst/>
            </a:prstGeom>
            <a:noFill/>
          </p:spPr>
          <p:txBody>
            <a:bodyPr wrap="none" rtlCol="0">
              <a:spAutoFit/>
            </a:bodyPr>
            <a:lstStyle/>
            <a:p>
              <a:pPr algn="ctr"/>
              <a:r>
                <a:rPr lang="fr-FR" sz="1400" dirty="0">
                  <a:solidFill>
                    <a:srgbClr val="333333"/>
                  </a:solidFill>
                </a:rPr>
                <a:t>More </a:t>
              </a:r>
              <a:r>
                <a:rPr lang="fr-FR" sz="1400" dirty="0" err="1">
                  <a:solidFill>
                    <a:srgbClr val="333333"/>
                  </a:solidFill>
                </a:rPr>
                <a:t>than</a:t>
              </a:r>
              <a:endParaRPr lang="fr-FR" sz="1400" dirty="0">
                <a:solidFill>
                  <a:srgbClr val="333333"/>
                </a:solidFill>
              </a:endParaRPr>
            </a:p>
            <a:p>
              <a:r>
                <a:rPr lang="en-US" altLang="zh-TW" sz="6600" b="1" dirty="0">
                  <a:solidFill>
                    <a:srgbClr val="F6C274"/>
                  </a:solidFill>
                </a:rPr>
                <a:t>82</a:t>
              </a:r>
              <a:r>
                <a:rPr lang="fr-FR" sz="5400" b="1" baseline="20000" dirty="0">
                  <a:solidFill>
                    <a:srgbClr val="F6C274"/>
                  </a:solidFill>
                </a:rPr>
                <a:t>,000</a:t>
              </a:r>
              <a:endParaRPr lang="fr-FR" sz="4400" b="1" baseline="20000" dirty="0">
                <a:solidFill>
                  <a:srgbClr val="F6C274"/>
                </a:solidFill>
              </a:endParaRPr>
            </a:p>
          </p:txBody>
        </p:sp>
        <p:sp>
          <p:nvSpPr>
            <p:cNvPr id="34" name="Freeform 13">
              <a:extLst>
                <a:ext uri="{FF2B5EF4-FFF2-40B4-BE49-F238E27FC236}">
                  <a16:creationId xmlns:a16="http://schemas.microsoft.com/office/drawing/2014/main" id="{6D09CE68-78F2-40AE-AECE-8FB7F858410C}"/>
                </a:ext>
              </a:extLst>
            </p:cNvPr>
            <p:cNvSpPr>
              <a:spLocks noEditPoints="1"/>
            </p:cNvSpPr>
            <p:nvPr/>
          </p:nvSpPr>
          <p:spPr bwMode="auto">
            <a:xfrm>
              <a:off x="3295796" y="2811463"/>
              <a:ext cx="866775" cy="534988"/>
            </a:xfrm>
            <a:custGeom>
              <a:avLst/>
              <a:gdLst>
                <a:gd name="T0" fmla="*/ 209 w 645"/>
                <a:gd name="T1" fmla="*/ 107 h 397"/>
                <a:gd name="T2" fmla="*/ 115 w 645"/>
                <a:gd name="T3" fmla="*/ 107 h 397"/>
                <a:gd name="T4" fmla="*/ 162 w 645"/>
                <a:gd name="T5" fmla="*/ 168 h 397"/>
                <a:gd name="T6" fmla="*/ 114 w 645"/>
                <a:gd name="T7" fmla="*/ 326 h 397"/>
                <a:gd name="T8" fmla="*/ 211 w 645"/>
                <a:gd name="T9" fmla="*/ 216 h 397"/>
                <a:gd name="T10" fmla="*/ 205 w 645"/>
                <a:gd name="T11" fmla="*/ 320 h 397"/>
                <a:gd name="T12" fmla="*/ 119 w 645"/>
                <a:gd name="T13" fmla="*/ 216 h 397"/>
                <a:gd name="T14" fmla="*/ 205 w 645"/>
                <a:gd name="T15" fmla="*/ 216 h 397"/>
                <a:gd name="T16" fmla="*/ 483 w 645"/>
                <a:gd name="T17" fmla="*/ 154 h 397"/>
                <a:gd name="T18" fmla="*/ 483 w 645"/>
                <a:gd name="T19" fmla="*/ 60 h 397"/>
                <a:gd name="T20" fmla="*/ 483 w 645"/>
                <a:gd name="T21" fmla="*/ 154 h 397"/>
                <a:gd name="T22" fmla="*/ 434 w 645"/>
                <a:gd name="T23" fmla="*/ 216 h 397"/>
                <a:gd name="T24" fmla="*/ 531 w 645"/>
                <a:gd name="T25" fmla="*/ 326 h 397"/>
                <a:gd name="T26" fmla="*/ 483 w 645"/>
                <a:gd name="T27" fmla="*/ 168 h 397"/>
                <a:gd name="T28" fmla="*/ 440 w 645"/>
                <a:gd name="T29" fmla="*/ 320 h 397"/>
                <a:gd name="T30" fmla="*/ 483 w 645"/>
                <a:gd name="T31" fmla="*/ 173 h 397"/>
                <a:gd name="T32" fmla="*/ 525 w 645"/>
                <a:gd name="T33" fmla="*/ 320 h 397"/>
                <a:gd name="T34" fmla="*/ 393 w 645"/>
                <a:gd name="T35" fmla="*/ 70 h 397"/>
                <a:gd name="T36" fmla="*/ 252 w 645"/>
                <a:gd name="T37" fmla="*/ 70 h 397"/>
                <a:gd name="T38" fmla="*/ 322 w 645"/>
                <a:gd name="T39" fmla="*/ 23 h 397"/>
                <a:gd name="T40" fmla="*/ 322 w 645"/>
                <a:gd name="T41" fmla="*/ 118 h 397"/>
                <a:gd name="T42" fmla="*/ 322 w 645"/>
                <a:gd name="T43" fmla="*/ 23 h 397"/>
                <a:gd name="T44" fmla="*/ 250 w 645"/>
                <a:gd name="T45" fmla="*/ 233 h 397"/>
                <a:gd name="T46" fmla="*/ 255 w 645"/>
                <a:gd name="T47" fmla="*/ 397 h 397"/>
                <a:gd name="T48" fmla="*/ 395 w 645"/>
                <a:gd name="T49" fmla="*/ 391 h 397"/>
                <a:gd name="T50" fmla="*/ 322 w 645"/>
                <a:gd name="T51" fmla="*/ 161 h 397"/>
                <a:gd name="T52" fmla="*/ 261 w 645"/>
                <a:gd name="T53" fmla="*/ 385 h 397"/>
                <a:gd name="T54" fmla="*/ 322 w 645"/>
                <a:gd name="T55" fmla="*/ 172 h 397"/>
                <a:gd name="T56" fmla="*/ 384 w 645"/>
                <a:gd name="T57" fmla="*/ 385 h 397"/>
                <a:gd name="T58" fmla="*/ 0 w 645"/>
                <a:gd name="T59" fmla="*/ 265 h 397"/>
                <a:gd name="T60" fmla="*/ 2 w 645"/>
                <a:gd name="T61" fmla="*/ 266 h 397"/>
                <a:gd name="T62" fmla="*/ 2 w 645"/>
                <a:gd name="T63" fmla="*/ 265 h 397"/>
                <a:gd name="T64" fmla="*/ 50 w 645"/>
                <a:gd name="T65" fmla="*/ 375 h 397"/>
                <a:gd name="T66" fmla="*/ 73 w 645"/>
                <a:gd name="T67" fmla="*/ 370 h 397"/>
                <a:gd name="T68" fmla="*/ 50 w 645"/>
                <a:gd name="T69" fmla="*/ 375 h 397"/>
                <a:gd name="T70" fmla="*/ 28 w 645"/>
                <a:gd name="T71" fmla="*/ 375 h 397"/>
                <a:gd name="T72" fmla="*/ 5 w 645"/>
                <a:gd name="T73" fmla="*/ 370 h 397"/>
                <a:gd name="T74" fmla="*/ 186 w 645"/>
                <a:gd name="T75" fmla="*/ 375 h 397"/>
                <a:gd name="T76" fmla="*/ 209 w 645"/>
                <a:gd name="T77" fmla="*/ 370 h 397"/>
                <a:gd name="T78" fmla="*/ 186 w 645"/>
                <a:gd name="T79" fmla="*/ 375 h 397"/>
                <a:gd name="T80" fmla="*/ 118 w 645"/>
                <a:gd name="T81" fmla="*/ 375 h 397"/>
                <a:gd name="T82" fmla="*/ 96 w 645"/>
                <a:gd name="T83" fmla="*/ 370 h 397"/>
                <a:gd name="T84" fmla="*/ 141 w 645"/>
                <a:gd name="T85" fmla="*/ 375 h 397"/>
                <a:gd name="T86" fmla="*/ 164 w 645"/>
                <a:gd name="T87" fmla="*/ 370 h 397"/>
                <a:gd name="T88" fmla="*/ 141 w 645"/>
                <a:gd name="T89" fmla="*/ 375 h 397"/>
                <a:gd name="T90" fmla="*/ 600 w 645"/>
                <a:gd name="T91" fmla="*/ 375 h 397"/>
                <a:gd name="T92" fmla="*/ 577 w 645"/>
                <a:gd name="T93" fmla="*/ 370 h 397"/>
                <a:gd name="T94" fmla="*/ 622 w 645"/>
                <a:gd name="T95" fmla="*/ 370 h 397"/>
                <a:gd name="T96" fmla="*/ 645 w 645"/>
                <a:gd name="T97" fmla="*/ 375 h 397"/>
                <a:gd name="T98" fmla="*/ 622 w 645"/>
                <a:gd name="T99" fmla="*/ 370 h 397"/>
                <a:gd name="T100" fmla="*/ 509 w 645"/>
                <a:gd name="T101" fmla="*/ 375 h 397"/>
                <a:gd name="T102" fmla="*/ 486 w 645"/>
                <a:gd name="T103" fmla="*/ 370 h 397"/>
                <a:gd name="T104" fmla="*/ 441 w 645"/>
                <a:gd name="T105" fmla="*/ 375 h 397"/>
                <a:gd name="T106" fmla="*/ 463 w 645"/>
                <a:gd name="T107" fmla="*/ 370 h 397"/>
                <a:gd name="T108" fmla="*/ 441 w 645"/>
                <a:gd name="T109" fmla="*/ 375 h 397"/>
                <a:gd name="T110" fmla="*/ 554 w 645"/>
                <a:gd name="T111" fmla="*/ 375 h 397"/>
                <a:gd name="T112" fmla="*/ 532 w 645"/>
                <a:gd name="T113" fmla="*/ 37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5" h="397">
                  <a:moveTo>
                    <a:pt x="162" y="154"/>
                  </a:moveTo>
                  <a:cubicBezTo>
                    <a:pt x="188" y="154"/>
                    <a:pt x="209" y="133"/>
                    <a:pt x="209" y="107"/>
                  </a:cubicBezTo>
                  <a:cubicBezTo>
                    <a:pt x="209" y="81"/>
                    <a:pt x="188" y="60"/>
                    <a:pt x="162" y="60"/>
                  </a:cubicBezTo>
                  <a:cubicBezTo>
                    <a:pt x="136" y="60"/>
                    <a:pt x="115" y="81"/>
                    <a:pt x="115" y="107"/>
                  </a:cubicBezTo>
                  <a:cubicBezTo>
                    <a:pt x="115" y="133"/>
                    <a:pt x="136" y="154"/>
                    <a:pt x="162" y="154"/>
                  </a:cubicBezTo>
                  <a:close/>
                  <a:moveTo>
                    <a:pt x="162" y="168"/>
                  </a:moveTo>
                  <a:cubicBezTo>
                    <a:pt x="135" y="168"/>
                    <a:pt x="114" y="189"/>
                    <a:pt x="114" y="216"/>
                  </a:cubicBezTo>
                  <a:cubicBezTo>
                    <a:pt x="114" y="326"/>
                    <a:pt x="114" y="326"/>
                    <a:pt x="114" y="326"/>
                  </a:cubicBezTo>
                  <a:cubicBezTo>
                    <a:pt x="211" y="326"/>
                    <a:pt x="211" y="326"/>
                    <a:pt x="211" y="326"/>
                  </a:cubicBezTo>
                  <a:cubicBezTo>
                    <a:pt x="211" y="216"/>
                    <a:pt x="211" y="216"/>
                    <a:pt x="211" y="216"/>
                  </a:cubicBezTo>
                  <a:cubicBezTo>
                    <a:pt x="211" y="189"/>
                    <a:pt x="189" y="168"/>
                    <a:pt x="162" y="168"/>
                  </a:cubicBezTo>
                  <a:close/>
                  <a:moveTo>
                    <a:pt x="205" y="320"/>
                  </a:moveTo>
                  <a:cubicBezTo>
                    <a:pt x="119" y="320"/>
                    <a:pt x="119" y="320"/>
                    <a:pt x="119" y="320"/>
                  </a:cubicBezTo>
                  <a:cubicBezTo>
                    <a:pt x="119" y="216"/>
                    <a:pt x="119" y="216"/>
                    <a:pt x="119" y="216"/>
                  </a:cubicBezTo>
                  <a:cubicBezTo>
                    <a:pt x="119" y="192"/>
                    <a:pt x="138" y="173"/>
                    <a:pt x="162" y="173"/>
                  </a:cubicBezTo>
                  <a:cubicBezTo>
                    <a:pt x="186" y="173"/>
                    <a:pt x="205" y="192"/>
                    <a:pt x="205" y="216"/>
                  </a:cubicBezTo>
                  <a:lnTo>
                    <a:pt x="205" y="320"/>
                  </a:lnTo>
                  <a:close/>
                  <a:moveTo>
                    <a:pt x="483" y="154"/>
                  </a:moveTo>
                  <a:cubicBezTo>
                    <a:pt x="509" y="154"/>
                    <a:pt x="530" y="133"/>
                    <a:pt x="530" y="107"/>
                  </a:cubicBezTo>
                  <a:cubicBezTo>
                    <a:pt x="530" y="81"/>
                    <a:pt x="509" y="60"/>
                    <a:pt x="483" y="60"/>
                  </a:cubicBezTo>
                  <a:cubicBezTo>
                    <a:pt x="457" y="60"/>
                    <a:pt x="435" y="81"/>
                    <a:pt x="435" y="107"/>
                  </a:cubicBezTo>
                  <a:cubicBezTo>
                    <a:pt x="435" y="133"/>
                    <a:pt x="457" y="154"/>
                    <a:pt x="483" y="154"/>
                  </a:cubicBezTo>
                  <a:close/>
                  <a:moveTo>
                    <a:pt x="483" y="168"/>
                  </a:moveTo>
                  <a:cubicBezTo>
                    <a:pt x="456" y="168"/>
                    <a:pt x="434" y="189"/>
                    <a:pt x="434" y="216"/>
                  </a:cubicBezTo>
                  <a:cubicBezTo>
                    <a:pt x="434" y="326"/>
                    <a:pt x="434" y="326"/>
                    <a:pt x="434" y="326"/>
                  </a:cubicBezTo>
                  <a:cubicBezTo>
                    <a:pt x="531" y="326"/>
                    <a:pt x="531" y="326"/>
                    <a:pt x="531" y="326"/>
                  </a:cubicBezTo>
                  <a:cubicBezTo>
                    <a:pt x="531" y="216"/>
                    <a:pt x="531" y="216"/>
                    <a:pt x="531" y="216"/>
                  </a:cubicBezTo>
                  <a:cubicBezTo>
                    <a:pt x="531" y="189"/>
                    <a:pt x="509" y="168"/>
                    <a:pt x="483" y="168"/>
                  </a:cubicBezTo>
                  <a:close/>
                  <a:moveTo>
                    <a:pt x="525" y="320"/>
                  </a:moveTo>
                  <a:cubicBezTo>
                    <a:pt x="440" y="320"/>
                    <a:pt x="440" y="320"/>
                    <a:pt x="440" y="320"/>
                  </a:cubicBezTo>
                  <a:cubicBezTo>
                    <a:pt x="440" y="216"/>
                    <a:pt x="440" y="216"/>
                    <a:pt x="440" y="216"/>
                  </a:cubicBezTo>
                  <a:cubicBezTo>
                    <a:pt x="440" y="192"/>
                    <a:pt x="459" y="173"/>
                    <a:pt x="483" y="173"/>
                  </a:cubicBezTo>
                  <a:cubicBezTo>
                    <a:pt x="506" y="173"/>
                    <a:pt x="525" y="192"/>
                    <a:pt x="525" y="216"/>
                  </a:cubicBezTo>
                  <a:lnTo>
                    <a:pt x="525" y="320"/>
                  </a:lnTo>
                  <a:close/>
                  <a:moveTo>
                    <a:pt x="322" y="141"/>
                  </a:moveTo>
                  <a:cubicBezTo>
                    <a:pt x="361" y="141"/>
                    <a:pt x="393" y="109"/>
                    <a:pt x="393" y="70"/>
                  </a:cubicBezTo>
                  <a:cubicBezTo>
                    <a:pt x="393" y="32"/>
                    <a:pt x="361" y="0"/>
                    <a:pt x="322" y="0"/>
                  </a:cubicBezTo>
                  <a:cubicBezTo>
                    <a:pt x="284" y="0"/>
                    <a:pt x="252" y="32"/>
                    <a:pt x="252" y="70"/>
                  </a:cubicBezTo>
                  <a:cubicBezTo>
                    <a:pt x="252" y="109"/>
                    <a:pt x="284" y="141"/>
                    <a:pt x="322" y="141"/>
                  </a:cubicBezTo>
                  <a:close/>
                  <a:moveTo>
                    <a:pt x="322" y="23"/>
                  </a:moveTo>
                  <a:cubicBezTo>
                    <a:pt x="349" y="23"/>
                    <a:pt x="370" y="44"/>
                    <a:pt x="370" y="70"/>
                  </a:cubicBezTo>
                  <a:cubicBezTo>
                    <a:pt x="370" y="97"/>
                    <a:pt x="349" y="118"/>
                    <a:pt x="322" y="118"/>
                  </a:cubicBezTo>
                  <a:cubicBezTo>
                    <a:pt x="296" y="118"/>
                    <a:pt x="275" y="97"/>
                    <a:pt x="275" y="70"/>
                  </a:cubicBezTo>
                  <a:cubicBezTo>
                    <a:pt x="275" y="44"/>
                    <a:pt x="296" y="23"/>
                    <a:pt x="322" y="23"/>
                  </a:cubicBezTo>
                  <a:close/>
                  <a:moveTo>
                    <a:pt x="322" y="161"/>
                  </a:moveTo>
                  <a:cubicBezTo>
                    <a:pt x="282" y="161"/>
                    <a:pt x="250" y="193"/>
                    <a:pt x="250" y="233"/>
                  </a:cubicBezTo>
                  <a:cubicBezTo>
                    <a:pt x="250" y="391"/>
                    <a:pt x="250" y="391"/>
                    <a:pt x="250" y="391"/>
                  </a:cubicBezTo>
                  <a:cubicBezTo>
                    <a:pt x="250" y="394"/>
                    <a:pt x="252" y="397"/>
                    <a:pt x="255" y="397"/>
                  </a:cubicBezTo>
                  <a:cubicBezTo>
                    <a:pt x="389" y="397"/>
                    <a:pt x="389" y="397"/>
                    <a:pt x="389" y="397"/>
                  </a:cubicBezTo>
                  <a:cubicBezTo>
                    <a:pt x="393" y="397"/>
                    <a:pt x="395" y="394"/>
                    <a:pt x="395" y="391"/>
                  </a:cubicBezTo>
                  <a:cubicBezTo>
                    <a:pt x="395" y="233"/>
                    <a:pt x="395" y="233"/>
                    <a:pt x="395" y="233"/>
                  </a:cubicBezTo>
                  <a:cubicBezTo>
                    <a:pt x="395" y="193"/>
                    <a:pt x="362" y="161"/>
                    <a:pt x="322" y="161"/>
                  </a:cubicBezTo>
                  <a:close/>
                  <a:moveTo>
                    <a:pt x="384" y="385"/>
                  </a:moveTo>
                  <a:cubicBezTo>
                    <a:pt x="261" y="385"/>
                    <a:pt x="261" y="385"/>
                    <a:pt x="261" y="385"/>
                  </a:cubicBezTo>
                  <a:cubicBezTo>
                    <a:pt x="261" y="233"/>
                    <a:pt x="261" y="233"/>
                    <a:pt x="261" y="233"/>
                  </a:cubicBezTo>
                  <a:cubicBezTo>
                    <a:pt x="261" y="200"/>
                    <a:pt x="288" y="172"/>
                    <a:pt x="322" y="172"/>
                  </a:cubicBezTo>
                  <a:cubicBezTo>
                    <a:pt x="356" y="172"/>
                    <a:pt x="384" y="200"/>
                    <a:pt x="384" y="233"/>
                  </a:cubicBezTo>
                  <a:lnTo>
                    <a:pt x="384" y="385"/>
                  </a:lnTo>
                  <a:close/>
                  <a:moveTo>
                    <a:pt x="1" y="265"/>
                  </a:moveTo>
                  <a:cubicBezTo>
                    <a:pt x="0" y="265"/>
                    <a:pt x="0" y="265"/>
                    <a:pt x="0" y="265"/>
                  </a:cubicBezTo>
                  <a:cubicBezTo>
                    <a:pt x="1" y="266"/>
                    <a:pt x="1" y="266"/>
                    <a:pt x="1" y="266"/>
                  </a:cubicBezTo>
                  <a:cubicBezTo>
                    <a:pt x="2" y="266"/>
                    <a:pt x="2" y="266"/>
                    <a:pt x="2" y="266"/>
                  </a:cubicBezTo>
                  <a:cubicBezTo>
                    <a:pt x="2" y="265"/>
                    <a:pt x="2" y="265"/>
                    <a:pt x="2" y="265"/>
                  </a:cubicBezTo>
                  <a:cubicBezTo>
                    <a:pt x="2" y="265"/>
                    <a:pt x="2" y="265"/>
                    <a:pt x="2" y="265"/>
                  </a:cubicBezTo>
                  <a:lnTo>
                    <a:pt x="1" y="265"/>
                  </a:lnTo>
                  <a:close/>
                  <a:moveTo>
                    <a:pt x="50" y="375"/>
                  </a:moveTo>
                  <a:cubicBezTo>
                    <a:pt x="73" y="375"/>
                    <a:pt x="73" y="375"/>
                    <a:pt x="73" y="375"/>
                  </a:cubicBezTo>
                  <a:cubicBezTo>
                    <a:pt x="73" y="370"/>
                    <a:pt x="73" y="370"/>
                    <a:pt x="73" y="370"/>
                  </a:cubicBezTo>
                  <a:cubicBezTo>
                    <a:pt x="50" y="370"/>
                    <a:pt x="50" y="370"/>
                    <a:pt x="50" y="370"/>
                  </a:cubicBezTo>
                  <a:lnTo>
                    <a:pt x="50" y="375"/>
                  </a:lnTo>
                  <a:close/>
                  <a:moveTo>
                    <a:pt x="5" y="375"/>
                  </a:moveTo>
                  <a:cubicBezTo>
                    <a:pt x="28" y="375"/>
                    <a:pt x="28" y="375"/>
                    <a:pt x="28" y="375"/>
                  </a:cubicBezTo>
                  <a:cubicBezTo>
                    <a:pt x="28" y="370"/>
                    <a:pt x="28" y="370"/>
                    <a:pt x="28" y="370"/>
                  </a:cubicBezTo>
                  <a:cubicBezTo>
                    <a:pt x="5" y="370"/>
                    <a:pt x="5" y="370"/>
                    <a:pt x="5" y="370"/>
                  </a:cubicBezTo>
                  <a:lnTo>
                    <a:pt x="5" y="375"/>
                  </a:lnTo>
                  <a:close/>
                  <a:moveTo>
                    <a:pt x="186" y="375"/>
                  </a:moveTo>
                  <a:cubicBezTo>
                    <a:pt x="209" y="375"/>
                    <a:pt x="209" y="375"/>
                    <a:pt x="209" y="375"/>
                  </a:cubicBezTo>
                  <a:cubicBezTo>
                    <a:pt x="209" y="370"/>
                    <a:pt x="209" y="370"/>
                    <a:pt x="209" y="370"/>
                  </a:cubicBezTo>
                  <a:cubicBezTo>
                    <a:pt x="186" y="370"/>
                    <a:pt x="186" y="370"/>
                    <a:pt x="186" y="370"/>
                  </a:cubicBezTo>
                  <a:lnTo>
                    <a:pt x="186" y="375"/>
                  </a:lnTo>
                  <a:close/>
                  <a:moveTo>
                    <a:pt x="96" y="375"/>
                  </a:moveTo>
                  <a:cubicBezTo>
                    <a:pt x="118" y="375"/>
                    <a:pt x="118" y="375"/>
                    <a:pt x="118" y="375"/>
                  </a:cubicBezTo>
                  <a:cubicBezTo>
                    <a:pt x="118" y="370"/>
                    <a:pt x="118" y="370"/>
                    <a:pt x="118" y="370"/>
                  </a:cubicBezTo>
                  <a:cubicBezTo>
                    <a:pt x="96" y="370"/>
                    <a:pt x="96" y="370"/>
                    <a:pt x="96" y="370"/>
                  </a:cubicBezTo>
                  <a:lnTo>
                    <a:pt x="96" y="375"/>
                  </a:lnTo>
                  <a:close/>
                  <a:moveTo>
                    <a:pt x="141" y="375"/>
                  </a:moveTo>
                  <a:cubicBezTo>
                    <a:pt x="164" y="375"/>
                    <a:pt x="164" y="375"/>
                    <a:pt x="164" y="375"/>
                  </a:cubicBezTo>
                  <a:cubicBezTo>
                    <a:pt x="164" y="370"/>
                    <a:pt x="164" y="370"/>
                    <a:pt x="164" y="370"/>
                  </a:cubicBezTo>
                  <a:cubicBezTo>
                    <a:pt x="141" y="370"/>
                    <a:pt x="141" y="370"/>
                    <a:pt x="141" y="370"/>
                  </a:cubicBezTo>
                  <a:lnTo>
                    <a:pt x="141" y="375"/>
                  </a:lnTo>
                  <a:close/>
                  <a:moveTo>
                    <a:pt x="577" y="375"/>
                  </a:moveTo>
                  <a:cubicBezTo>
                    <a:pt x="600" y="375"/>
                    <a:pt x="600" y="375"/>
                    <a:pt x="600" y="375"/>
                  </a:cubicBezTo>
                  <a:cubicBezTo>
                    <a:pt x="600" y="370"/>
                    <a:pt x="600" y="370"/>
                    <a:pt x="600" y="370"/>
                  </a:cubicBezTo>
                  <a:cubicBezTo>
                    <a:pt x="577" y="370"/>
                    <a:pt x="577" y="370"/>
                    <a:pt x="577" y="370"/>
                  </a:cubicBezTo>
                  <a:lnTo>
                    <a:pt x="577" y="375"/>
                  </a:lnTo>
                  <a:close/>
                  <a:moveTo>
                    <a:pt x="622" y="370"/>
                  </a:moveTo>
                  <a:cubicBezTo>
                    <a:pt x="622" y="375"/>
                    <a:pt x="622" y="375"/>
                    <a:pt x="622" y="375"/>
                  </a:cubicBezTo>
                  <a:cubicBezTo>
                    <a:pt x="645" y="375"/>
                    <a:pt x="645" y="375"/>
                    <a:pt x="645" y="375"/>
                  </a:cubicBezTo>
                  <a:cubicBezTo>
                    <a:pt x="645" y="370"/>
                    <a:pt x="645" y="370"/>
                    <a:pt x="645" y="370"/>
                  </a:cubicBezTo>
                  <a:lnTo>
                    <a:pt x="622" y="370"/>
                  </a:lnTo>
                  <a:close/>
                  <a:moveTo>
                    <a:pt x="486" y="375"/>
                  </a:moveTo>
                  <a:cubicBezTo>
                    <a:pt x="509" y="375"/>
                    <a:pt x="509" y="375"/>
                    <a:pt x="509" y="375"/>
                  </a:cubicBezTo>
                  <a:cubicBezTo>
                    <a:pt x="509" y="370"/>
                    <a:pt x="509" y="370"/>
                    <a:pt x="509" y="370"/>
                  </a:cubicBezTo>
                  <a:cubicBezTo>
                    <a:pt x="486" y="370"/>
                    <a:pt x="486" y="370"/>
                    <a:pt x="486" y="370"/>
                  </a:cubicBezTo>
                  <a:lnTo>
                    <a:pt x="486" y="375"/>
                  </a:lnTo>
                  <a:close/>
                  <a:moveTo>
                    <a:pt x="441" y="375"/>
                  </a:moveTo>
                  <a:cubicBezTo>
                    <a:pt x="463" y="375"/>
                    <a:pt x="463" y="375"/>
                    <a:pt x="463" y="375"/>
                  </a:cubicBezTo>
                  <a:cubicBezTo>
                    <a:pt x="463" y="370"/>
                    <a:pt x="463" y="370"/>
                    <a:pt x="463" y="370"/>
                  </a:cubicBezTo>
                  <a:cubicBezTo>
                    <a:pt x="441" y="370"/>
                    <a:pt x="441" y="370"/>
                    <a:pt x="441" y="370"/>
                  </a:cubicBezTo>
                  <a:lnTo>
                    <a:pt x="441" y="375"/>
                  </a:lnTo>
                  <a:close/>
                  <a:moveTo>
                    <a:pt x="532" y="375"/>
                  </a:moveTo>
                  <a:cubicBezTo>
                    <a:pt x="554" y="375"/>
                    <a:pt x="554" y="375"/>
                    <a:pt x="554" y="375"/>
                  </a:cubicBezTo>
                  <a:cubicBezTo>
                    <a:pt x="554" y="370"/>
                    <a:pt x="554" y="370"/>
                    <a:pt x="554" y="370"/>
                  </a:cubicBezTo>
                  <a:cubicBezTo>
                    <a:pt x="532" y="370"/>
                    <a:pt x="532" y="370"/>
                    <a:pt x="532" y="370"/>
                  </a:cubicBezTo>
                  <a:lnTo>
                    <a:pt x="532" y="37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grpSp>
        <p:nvGrpSpPr>
          <p:cNvPr id="26" name="Groupe 25">
            <a:extLst>
              <a:ext uri="{FF2B5EF4-FFF2-40B4-BE49-F238E27FC236}">
                <a16:creationId xmlns:a16="http://schemas.microsoft.com/office/drawing/2014/main" id="{7F108F08-6822-4C07-8267-EE63F664A041}"/>
              </a:ext>
            </a:extLst>
          </p:cNvPr>
          <p:cNvGrpSpPr/>
          <p:nvPr/>
        </p:nvGrpSpPr>
        <p:grpSpPr>
          <a:xfrm>
            <a:off x="245620" y="2250600"/>
            <a:ext cx="2235000" cy="3338400"/>
            <a:chOff x="245620" y="2430600"/>
            <a:chExt cx="2235000" cy="3338400"/>
          </a:xfrm>
        </p:grpSpPr>
        <p:sp>
          <p:nvSpPr>
            <p:cNvPr id="6" name="Rectangle 5">
              <a:extLst>
                <a:ext uri="{FF2B5EF4-FFF2-40B4-BE49-F238E27FC236}">
                  <a16:creationId xmlns:a16="http://schemas.microsoft.com/office/drawing/2014/main" id="{4F48A17B-C213-45EB-BAF6-A8A1AA2CD113}"/>
                </a:ext>
              </a:extLst>
            </p:cNvPr>
            <p:cNvSpPr/>
            <p:nvPr/>
          </p:nvSpPr>
          <p:spPr>
            <a:xfrm>
              <a:off x="245620" y="2430600"/>
              <a:ext cx="2235000"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600">
                <a:solidFill>
                  <a:prstClr val="white"/>
                </a:solidFill>
              </a:endParaRPr>
            </a:p>
          </p:txBody>
        </p:sp>
        <p:grpSp>
          <p:nvGrpSpPr>
            <p:cNvPr id="12" name="Groupe 11">
              <a:extLst>
                <a:ext uri="{FF2B5EF4-FFF2-40B4-BE49-F238E27FC236}">
                  <a16:creationId xmlns:a16="http://schemas.microsoft.com/office/drawing/2014/main" id="{03D70597-D9A0-4BCC-A5EF-05EA056F506B}"/>
                </a:ext>
              </a:extLst>
            </p:cNvPr>
            <p:cNvGrpSpPr/>
            <p:nvPr/>
          </p:nvGrpSpPr>
          <p:grpSpPr>
            <a:xfrm>
              <a:off x="449932" y="3473450"/>
              <a:ext cx="1936669" cy="1107996"/>
              <a:chOff x="819524" y="3244850"/>
              <a:chExt cx="1936669" cy="1107996"/>
            </a:xfrm>
          </p:grpSpPr>
          <p:sp>
            <p:nvSpPr>
              <p:cNvPr id="10" name="ZoneTexte 9">
                <a:extLst>
                  <a:ext uri="{FF2B5EF4-FFF2-40B4-BE49-F238E27FC236}">
                    <a16:creationId xmlns:a16="http://schemas.microsoft.com/office/drawing/2014/main" id="{0182BFD9-2967-40B8-BD77-CD3551881FA5}"/>
                  </a:ext>
                </a:extLst>
              </p:cNvPr>
              <p:cNvSpPr txBox="1"/>
              <p:nvPr/>
            </p:nvSpPr>
            <p:spPr>
              <a:xfrm>
                <a:off x="819524" y="3244850"/>
                <a:ext cx="1511952" cy="1107996"/>
              </a:xfrm>
              <a:prstGeom prst="rect">
                <a:avLst/>
              </a:prstGeom>
              <a:noFill/>
            </p:spPr>
            <p:txBody>
              <a:bodyPr wrap="none" rtlCol="0">
                <a:spAutoFit/>
              </a:bodyPr>
              <a:lstStyle/>
              <a:p>
                <a:r>
                  <a:rPr lang="fr-FR" sz="6600" b="1" dirty="0">
                    <a:solidFill>
                      <a:srgbClr val="CC023B"/>
                    </a:solidFill>
                  </a:rPr>
                  <a:t>€5</a:t>
                </a:r>
                <a:r>
                  <a:rPr lang="fr-FR" sz="5400" b="1" baseline="40000" dirty="0">
                    <a:solidFill>
                      <a:srgbClr val="CC023B"/>
                    </a:solidFill>
                  </a:rPr>
                  <a:t>.</a:t>
                </a:r>
                <a:r>
                  <a:rPr lang="en-US" altLang="zh-TW" sz="5400" b="1" baseline="40000" dirty="0">
                    <a:solidFill>
                      <a:srgbClr val="CC023B"/>
                    </a:solidFill>
                  </a:rPr>
                  <a:t>0</a:t>
                </a:r>
                <a:endParaRPr lang="fr-FR" sz="4400" b="1" baseline="40000" dirty="0">
                  <a:solidFill>
                    <a:srgbClr val="CC023B"/>
                  </a:solidFill>
                </a:endParaRPr>
              </a:p>
            </p:txBody>
          </p:sp>
          <p:sp>
            <p:nvSpPr>
              <p:cNvPr id="11" name="ZoneTexte 10">
                <a:extLst>
                  <a:ext uri="{FF2B5EF4-FFF2-40B4-BE49-F238E27FC236}">
                    <a16:creationId xmlns:a16="http://schemas.microsoft.com/office/drawing/2014/main" id="{77CF8E83-A3DB-416E-89DE-78AF8788AFEF}"/>
                  </a:ext>
                </a:extLst>
              </p:cNvPr>
              <p:cNvSpPr txBox="1"/>
              <p:nvPr/>
            </p:nvSpPr>
            <p:spPr>
              <a:xfrm>
                <a:off x="1965592" y="3899711"/>
                <a:ext cx="790601" cy="338554"/>
              </a:xfrm>
              <a:prstGeom prst="rect">
                <a:avLst/>
              </a:prstGeom>
              <a:noFill/>
            </p:spPr>
            <p:txBody>
              <a:bodyPr wrap="none" rtlCol="0">
                <a:spAutoFit/>
              </a:bodyPr>
              <a:lstStyle/>
              <a:p>
                <a:r>
                  <a:rPr lang="fr-FR" sz="1600" b="1" dirty="0">
                    <a:solidFill>
                      <a:srgbClr val="CC023B"/>
                    </a:solidFill>
                  </a:rPr>
                  <a:t>billion</a:t>
                </a:r>
              </a:p>
            </p:txBody>
          </p:sp>
        </p:grpSp>
        <p:sp>
          <p:nvSpPr>
            <p:cNvPr id="13" name="ZoneTexte 12">
              <a:extLst>
                <a:ext uri="{FF2B5EF4-FFF2-40B4-BE49-F238E27FC236}">
                  <a16:creationId xmlns:a16="http://schemas.microsoft.com/office/drawing/2014/main" id="{F0CC122A-8E75-4EAC-ABEE-99EFF2033BE3}"/>
                </a:ext>
              </a:extLst>
            </p:cNvPr>
            <p:cNvSpPr txBox="1"/>
            <p:nvPr/>
          </p:nvSpPr>
          <p:spPr>
            <a:xfrm>
              <a:off x="594324" y="4739740"/>
              <a:ext cx="1537601" cy="307777"/>
            </a:xfrm>
            <a:prstGeom prst="rect">
              <a:avLst/>
            </a:prstGeom>
            <a:noFill/>
          </p:spPr>
          <p:txBody>
            <a:bodyPr wrap="none" rtlCol="0">
              <a:spAutoFit/>
            </a:bodyPr>
            <a:lstStyle/>
            <a:p>
              <a:pPr algn="ctr"/>
              <a:r>
                <a:rPr lang="fr-FR" sz="1400" dirty="0">
                  <a:solidFill>
                    <a:srgbClr val="333333"/>
                  </a:solidFill>
                </a:rPr>
                <a:t>Revenue in 2019</a:t>
              </a:r>
            </a:p>
          </p:txBody>
        </p:sp>
        <p:sp>
          <p:nvSpPr>
            <p:cNvPr id="37" name="Freeform 17">
              <a:extLst>
                <a:ext uri="{FF2B5EF4-FFF2-40B4-BE49-F238E27FC236}">
                  <a16:creationId xmlns:a16="http://schemas.microsoft.com/office/drawing/2014/main" id="{715366AF-5F50-444A-989B-E81F2697743C}"/>
                </a:ext>
              </a:extLst>
            </p:cNvPr>
            <p:cNvSpPr>
              <a:spLocks noEditPoints="1"/>
            </p:cNvSpPr>
            <p:nvPr/>
          </p:nvSpPr>
          <p:spPr bwMode="auto">
            <a:xfrm>
              <a:off x="1009107" y="2552700"/>
              <a:ext cx="708026" cy="771525"/>
            </a:xfrm>
            <a:custGeom>
              <a:avLst/>
              <a:gdLst>
                <a:gd name="T0" fmla="*/ 548 w 625"/>
                <a:gd name="T1" fmla="*/ 397 h 681"/>
                <a:gd name="T2" fmla="*/ 380 w 625"/>
                <a:gd name="T3" fmla="*/ 414 h 681"/>
                <a:gd name="T4" fmla="*/ 488 w 625"/>
                <a:gd name="T5" fmla="*/ 378 h 681"/>
                <a:gd name="T6" fmla="*/ 544 w 625"/>
                <a:gd name="T7" fmla="*/ 403 h 681"/>
                <a:gd name="T8" fmla="*/ 565 w 625"/>
                <a:gd name="T9" fmla="*/ 430 h 681"/>
                <a:gd name="T10" fmla="*/ 604 w 625"/>
                <a:gd name="T11" fmla="*/ 454 h 681"/>
                <a:gd name="T12" fmla="*/ 183 w 625"/>
                <a:gd name="T13" fmla="*/ 533 h 681"/>
                <a:gd name="T14" fmla="*/ 188 w 625"/>
                <a:gd name="T15" fmla="*/ 546 h 681"/>
                <a:gd name="T16" fmla="*/ 453 w 625"/>
                <a:gd name="T17" fmla="*/ 574 h 681"/>
                <a:gd name="T18" fmla="*/ 92 w 625"/>
                <a:gd name="T19" fmla="*/ 426 h 681"/>
                <a:gd name="T20" fmla="*/ 381 w 625"/>
                <a:gd name="T21" fmla="*/ 439 h 681"/>
                <a:gd name="T22" fmla="*/ 274 w 625"/>
                <a:gd name="T23" fmla="*/ 488 h 681"/>
                <a:gd name="T24" fmla="*/ 392 w 625"/>
                <a:gd name="T25" fmla="*/ 498 h 681"/>
                <a:gd name="T26" fmla="*/ 306 w 625"/>
                <a:gd name="T27" fmla="*/ 409 h 681"/>
                <a:gd name="T28" fmla="*/ 92 w 625"/>
                <a:gd name="T29" fmla="*/ 426 h 681"/>
                <a:gd name="T30" fmla="*/ 257 w 625"/>
                <a:gd name="T31" fmla="*/ 262 h 681"/>
                <a:gd name="T32" fmla="*/ 353 w 625"/>
                <a:gd name="T33" fmla="*/ 330 h 681"/>
                <a:gd name="T34" fmla="*/ 357 w 625"/>
                <a:gd name="T35" fmla="*/ 297 h 681"/>
                <a:gd name="T36" fmla="*/ 357 w 625"/>
                <a:gd name="T37" fmla="*/ 282 h 681"/>
                <a:gd name="T38" fmla="*/ 339 w 625"/>
                <a:gd name="T39" fmla="*/ 265 h 681"/>
                <a:gd name="T40" fmla="*/ 357 w 625"/>
                <a:gd name="T41" fmla="*/ 249 h 681"/>
                <a:gd name="T42" fmla="*/ 390 w 625"/>
                <a:gd name="T43" fmla="*/ 249 h 681"/>
                <a:gd name="T44" fmla="*/ 324 w 625"/>
                <a:gd name="T45" fmla="*/ 249 h 681"/>
                <a:gd name="T46" fmla="*/ 322 w 625"/>
                <a:gd name="T47" fmla="*/ 262 h 681"/>
                <a:gd name="T48" fmla="*/ 324 w 625"/>
                <a:gd name="T49" fmla="*/ 275 h 681"/>
                <a:gd name="T50" fmla="*/ 353 w 625"/>
                <a:gd name="T51" fmla="*/ 0 h 681"/>
                <a:gd name="T52" fmla="*/ 328 w 625"/>
                <a:gd name="T53" fmla="*/ 54 h 681"/>
                <a:gd name="T54" fmla="*/ 324 w 625"/>
                <a:gd name="T55" fmla="*/ 41 h 681"/>
                <a:gd name="T56" fmla="*/ 373 w 625"/>
                <a:gd name="T57" fmla="*/ 29 h 681"/>
                <a:gd name="T58" fmla="*/ 345 w 625"/>
                <a:gd name="T59" fmla="*/ 41 h 681"/>
                <a:gd name="T60" fmla="*/ 342 w 625"/>
                <a:gd name="T61" fmla="*/ 52 h 681"/>
                <a:gd name="T62" fmla="*/ 345 w 625"/>
                <a:gd name="T63" fmla="*/ 62 h 681"/>
                <a:gd name="T64" fmla="*/ 373 w 625"/>
                <a:gd name="T65" fmla="*/ 75 h 681"/>
                <a:gd name="T66" fmla="*/ 324 w 625"/>
                <a:gd name="T67" fmla="*/ 62 h 681"/>
                <a:gd name="T68" fmla="*/ 478 w 625"/>
                <a:gd name="T69" fmla="*/ 55 h 681"/>
                <a:gd name="T70" fmla="*/ 447 w 625"/>
                <a:gd name="T71" fmla="*/ 125 h 681"/>
                <a:gd name="T72" fmla="*/ 441 w 625"/>
                <a:gd name="T73" fmla="*/ 109 h 681"/>
                <a:gd name="T74" fmla="*/ 503 w 625"/>
                <a:gd name="T75" fmla="*/ 92 h 681"/>
                <a:gd name="T76" fmla="*/ 468 w 625"/>
                <a:gd name="T77" fmla="*/ 109 h 681"/>
                <a:gd name="T78" fmla="*/ 464 w 625"/>
                <a:gd name="T79" fmla="*/ 122 h 681"/>
                <a:gd name="T80" fmla="*/ 468 w 625"/>
                <a:gd name="T81" fmla="*/ 135 h 681"/>
                <a:gd name="T82" fmla="*/ 503 w 625"/>
                <a:gd name="T83" fmla="*/ 151 h 681"/>
                <a:gd name="T84" fmla="*/ 441 w 625"/>
                <a:gd name="T85" fmla="*/ 135 h 681"/>
                <a:gd name="T86" fmla="*/ 20 w 625"/>
                <a:gd name="T87" fmla="*/ 313 h 681"/>
                <a:gd name="T88" fmla="*/ 181 w 625"/>
                <a:gd name="T89" fmla="*/ 598 h 681"/>
                <a:gd name="T90" fmla="*/ 195 w 625"/>
                <a:gd name="T91" fmla="*/ 622 h 681"/>
                <a:gd name="T92" fmla="*/ 195 w 625"/>
                <a:gd name="T93" fmla="*/ 622 h 681"/>
                <a:gd name="T94" fmla="*/ 159 w 625"/>
                <a:gd name="T95" fmla="*/ 548 h 681"/>
                <a:gd name="T96" fmla="*/ 236 w 625"/>
                <a:gd name="T97" fmla="*/ 677 h 681"/>
                <a:gd name="T98" fmla="*/ 125 w 625"/>
                <a:gd name="T99" fmla="*/ 505 h 681"/>
                <a:gd name="T100" fmla="*/ 56 w 625"/>
                <a:gd name="T101" fmla="*/ 387 h 681"/>
                <a:gd name="T102" fmla="*/ 56 w 625"/>
                <a:gd name="T103" fmla="*/ 387 h 681"/>
                <a:gd name="T104" fmla="*/ 90 w 625"/>
                <a:gd name="T105" fmla="*/ 431 h 681"/>
                <a:gd name="T106" fmla="*/ 48 w 625"/>
                <a:gd name="T107" fmla="*/ 36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5" h="681">
                  <a:moveTo>
                    <a:pt x="619" y="430"/>
                  </a:moveTo>
                  <a:cubicBezTo>
                    <a:pt x="616" y="422"/>
                    <a:pt x="609" y="416"/>
                    <a:pt x="599" y="413"/>
                  </a:cubicBezTo>
                  <a:cubicBezTo>
                    <a:pt x="595" y="411"/>
                    <a:pt x="583" y="407"/>
                    <a:pt x="561" y="417"/>
                  </a:cubicBezTo>
                  <a:cubicBezTo>
                    <a:pt x="559" y="411"/>
                    <a:pt x="556" y="403"/>
                    <a:pt x="548" y="397"/>
                  </a:cubicBezTo>
                  <a:cubicBezTo>
                    <a:pt x="539" y="390"/>
                    <a:pt x="526" y="389"/>
                    <a:pt x="510" y="392"/>
                  </a:cubicBezTo>
                  <a:cubicBezTo>
                    <a:pt x="508" y="387"/>
                    <a:pt x="503" y="377"/>
                    <a:pt x="490" y="371"/>
                  </a:cubicBezTo>
                  <a:cubicBezTo>
                    <a:pt x="476" y="365"/>
                    <a:pt x="457" y="369"/>
                    <a:pt x="435" y="382"/>
                  </a:cubicBezTo>
                  <a:cubicBezTo>
                    <a:pt x="380" y="414"/>
                    <a:pt x="380" y="414"/>
                    <a:pt x="380" y="414"/>
                  </a:cubicBezTo>
                  <a:cubicBezTo>
                    <a:pt x="378" y="414"/>
                    <a:pt x="378" y="417"/>
                    <a:pt x="378" y="418"/>
                  </a:cubicBezTo>
                  <a:cubicBezTo>
                    <a:pt x="379" y="420"/>
                    <a:pt x="381" y="420"/>
                    <a:pt x="383" y="419"/>
                  </a:cubicBezTo>
                  <a:cubicBezTo>
                    <a:pt x="438" y="388"/>
                    <a:pt x="438" y="388"/>
                    <a:pt x="438" y="388"/>
                  </a:cubicBezTo>
                  <a:cubicBezTo>
                    <a:pt x="459" y="376"/>
                    <a:pt x="475" y="373"/>
                    <a:pt x="488" y="378"/>
                  </a:cubicBezTo>
                  <a:cubicBezTo>
                    <a:pt x="501" y="383"/>
                    <a:pt x="505" y="397"/>
                    <a:pt x="505" y="397"/>
                  </a:cubicBezTo>
                  <a:cubicBezTo>
                    <a:pt x="506" y="399"/>
                    <a:pt x="506" y="399"/>
                    <a:pt x="506" y="399"/>
                  </a:cubicBezTo>
                  <a:cubicBezTo>
                    <a:pt x="509" y="400"/>
                    <a:pt x="509" y="400"/>
                    <a:pt x="509" y="400"/>
                  </a:cubicBezTo>
                  <a:cubicBezTo>
                    <a:pt x="524" y="396"/>
                    <a:pt x="536" y="397"/>
                    <a:pt x="544" y="403"/>
                  </a:cubicBezTo>
                  <a:cubicBezTo>
                    <a:pt x="554" y="410"/>
                    <a:pt x="555" y="424"/>
                    <a:pt x="555" y="424"/>
                  </a:cubicBezTo>
                  <a:cubicBezTo>
                    <a:pt x="555" y="425"/>
                    <a:pt x="555" y="425"/>
                    <a:pt x="555" y="425"/>
                  </a:cubicBezTo>
                  <a:cubicBezTo>
                    <a:pt x="555" y="426"/>
                    <a:pt x="555" y="427"/>
                    <a:pt x="556" y="427"/>
                  </a:cubicBezTo>
                  <a:cubicBezTo>
                    <a:pt x="557" y="431"/>
                    <a:pt x="562" y="432"/>
                    <a:pt x="565" y="430"/>
                  </a:cubicBezTo>
                  <a:cubicBezTo>
                    <a:pt x="584" y="421"/>
                    <a:pt x="593" y="425"/>
                    <a:pt x="593" y="425"/>
                  </a:cubicBezTo>
                  <a:cubicBezTo>
                    <a:pt x="594" y="426"/>
                    <a:pt x="594" y="426"/>
                    <a:pt x="594" y="426"/>
                  </a:cubicBezTo>
                  <a:cubicBezTo>
                    <a:pt x="601" y="428"/>
                    <a:pt x="605" y="431"/>
                    <a:pt x="606" y="435"/>
                  </a:cubicBezTo>
                  <a:cubicBezTo>
                    <a:pt x="609" y="441"/>
                    <a:pt x="606" y="450"/>
                    <a:pt x="604" y="454"/>
                  </a:cubicBezTo>
                  <a:cubicBezTo>
                    <a:pt x="445" y="563"/>
                    <a:pt x="445" y="563"/>
                    <a:pt x="445" y="563"/>
                  </a:cubicBezTo>
                  <a:cubicBezTo>
                    <a:pt x="395" y="599"/>
                    <a:pt x="326" y="575"/>
                    <a:pt x="325" y="575"/>
                  </a:cubicBezTo>
                  <a:cubicBezTo>
                    <a:pt x="244" y="542"/>
                    <a:pt x="244" y="542"/>
                    <a:pt x="244" y="542"/>
                  </a:cubicBezTo>
                  <a:cubicBezTo>
                    <a:pt x="221" y="530"/>
                    <a:pt x="200" y="527"/>
                    <a:pt x="183" y="533"/>
                  </a:cubicBezTo>
                  <a:cubicBezTo>
                    <a:pt x="164" y="540"/>
                    <a:pt x="156" y="556"/>
                    <a:pt x="156" y="556"/>
                  </a:cubicBezTo>
                  <a:cubicBezTo>
                    <a:pt x="155" y="560"/>
                    <a:pt x="156" y="564"/>
                    <a:pt x="160" y="565"/>
                  </a:cubicBezTo>
                  <a:cubicBezTo>
                    <a:pt x="163" y="567"/>
                    <a:pt x="167" y="565"/>
                    <a:pt x="169" y="562"/>
                  </a:cubicBezTo>
                  <a:cubicBezTo>
                    <a:pt x="169" y="562"/>
                    <a:pt x="174" y="550"/>
                    <a:pt x="188" y="546"/>
                  </a:cubicBezTo>
                  <a:cubicBezTo>
                    <a:pt x="201" y="541"/>
                    <a:pt x="218" y="544"/>
                    <a:pt x="238" y="554"/>
                  </a:cubicBezTo>
                  <a:cubicBezTo>
                    <a:pt x="320" y="588"/>
                    <a:pt x="320" y="588"/>
                    <a:pt x="320" y="588"/>
                  </a:cubicBezTo>
                  <a:cubicBezTo>
                    <a:pt x="322" y="588"/>
                    <a:pt x="346" y="597"/>
                    <a:pt x="377" y="597"/>
                  </a:cubicBezTo>
                  <a:cubicBezTo>
                    <a:pt x="401" y="597"/>
                    <a:pt x="428" y="592"/>
                    <a:pt x="453" y="574"/>
                  </a:cubicBezTo>
                  <a:cubicBezTo>
                    <a:pt x="613" y="465"/>
                    <a:pt x="613" y="465"/>
                    <a:pt x="613" y="465"/>
                  </a:cubicBezTo>
                  <a:cubicBezTo>
                    <a:pt x="615" y="462"/>
                    <a:pt x="615" y="462"/>
                    <a:pt x="615" y="462"/>
                  </a:cubicBezTo>
                  <a:cubicBezTo>
                    <a:pt x="616" y="462"/>
                    <a:pt x="625" y="445"/>
                    <a:pt x="619" y="430"/>
                  </a:cubicBezTo>
                  <a:close/>
                  <a:moveTo>
                    <a:pt x="92" y="426"/>
                  </a:moveTo>
                  <a:cubicBezTo>
                    <a:pt x="93" y="425"/>
                    <a:pt x="169" y="364"/>
                    <a:pt x="233" y="372"/>
                  </a:cubicBezTo>
                  <a:cubicBezTo>
                    <a:pt x="233" y="372"/>
                    <a:pt x="267" y="372"/>
                    <a:pt x="295" y="418"/>
                  </a:cubicBezTo>
                  <a:cubicBezTo>
                    <a:pt x="298" y="420"/>
                    <a:pt x="298" y="420"/>
                    <a:pt x="298" y="420"/>
                  </a:cubicBezTo>
                  <a:cubicBezTo>
                    <a:pt x="299" y="421"/>
                    <a:pt x="329" y="438"/>
                    <a:pt x="381" y="439"/>
                  </a:cubicBezTo>
                  <a:cubicBezTo>
                    <a:pt x="393" y="440"/>
                    <a:pt x="414" y="443"/>
                    <a:pt x="421" y="449"/>
                  </a:cubicBezTo>
                  <a:cubicBezTo>
                    <a:pt x="422" y="450"/>
                    <a:pt x="424" y="451"/>
                    <a:pt x="423" y="454"/>
                  </a:cubicBezTo>
                  <a:cubicBezTo>
                    <a:pt x="423" y="457"/>
                    <a:pt x="420" y="468"/>
                    <a:pt x="386" y="486"/>
                  </a:cubicBezTo>
                  <a:cubicBezTo>
                    <a:pt x="385" y="486"/>
                    <a:pt x="344" y="508"/>
                    <a:pt x="274" y="488"/>
                  </a:cubicBezTo>
                  <a:cubicBezTo>
                    <a:pt x="270" y="487"/>
                    <a:pt x="267" y="489"/>
                    <a:pt x="266" y="493"/>
                  </a:cubicBezTo>
                  <a:cubicBezTo>
                    <a:pt x="265" y="496"/>
                    <a:pt x="267" y="500"/>
                    <a:pt x="270" y="501"/>
                  </a:cubicBezTo>
                  <a:cubicBezTo>
                    <a:pt x="294" y="508"/>
                    <a:pt x="314" y="510"/>
                    <a:pt x="331" y="510"/>
                  </a:cubicBezTo>
                  <a:cubicBezTo>
                    <a:pt x="369" y="510"/>
                    <a:pt x="391" y="499"/>
                    <a:pt x="392" y="498"/>
                  </a:cubicBezTo>
                  <a:cubicBezTo>
                    <a:pt x="422" y="482"/>
                    <a:pt x="437" y="468"/>
                    <a:pt x="437" y="454"/>
                  </a:cubicBezTo>
                  <a:cubicBezTo>
                    <a:pt x="437" y="445"/>
                    <a:pt x="432" y="440"/>
                    <a:pt x="430" y="438"/>
                  </a:cubicBezTo>
                  <a:cubicBezTo>
                    <a:pt x="417" y="428"/>
                    <a:pt x="385" y="426"/>
                    <a:pt x="382" y="426"/>
                  </a:cubicBezTo>
                  <a:cubicBezTo>
                    <a:pt x="339" y="425"/>
                    <a:pt x="312" y="412"/>
                    <a:pt x="306" y="409"/>
                  </a:cubicBezTo>
                  <a:cubicBezTo>
                    <a:pt x="274" y="358"/>
                    <a:pt x="235" y="358"/>
                    <a:pt x="234" y="359"/>
                  </a:cubicBezTo>
                  <a:cubicBezTo>
                    <a:pt x="165" y="349"/>
                    <a:pt x="87" y="412"/>
                    <a:pt x="84" y="415"/>
                  </a:cubicBezTo>
                  <a:cubicBezTo>
                    <a:pt x="81" y="417"/>
                    <a:pt x="80" y="422"/>
                    <a:pt x="83" y="425"/>
                  </a:cubicBezTo>
                  <a:cubicBezTo>
                    <a:pt x="85" y="427"/>
                    <a:pt x="89" y="428"/>
                    <a:pt x="92" y="426"/>
                  </a:cubicBezTo>
                  <a:close/>
                  <a:moveTo>
                    <a:pt x="353" y="358"/>
                  </a:moveTo>
                  <a:cubicBezTo>
                    <a:pt x="406" y="358"/>
                    <a:pt x="449" y="315"/>
                    <a:pt x="449" y="262"/>
                  </a:cubicBezTo>
                  <a:cubicBezTo>
                    <a:pt x="449" y="209"/>
                    <a:pt x="406" y="166"/>
                    <a:pt x="353" y="166"/>
                  </a:cubicBezTo>
                  <a:cubicBezTo>
                    <a:pt x="300" y="166"/>
                    <a:pt x="257" y="209"/>
                    <a:pt x="257" y="262"/>
                  </a:cubicBezTo>
                  <a:cubicBezTo>
                    <a:pt x="257" y="315"/>
                    <a:pt x="300" y="358"/>
                    <a:pt x="353" y="358"/>
                  </a:cubicBezTo>
                  <a:close/>
                  <a:moveTo>
                    <a:pt x="353" y="193"/>
                  </a:moveTo>
                  <a:cubicBezTo>
                    <a:pt x="391" y="193"/>
                    <a:pt x="422" y="224"/>
                    <a:pt x="422" y="262"/>
                  </a:cubicBezTo>
                  <a:cubicBezTo>
                    <a:pt x="422" y="300"/>
                    <a:pt x="391" y="330"/>
                    <a:pt x="353" y="330"/>
                  </a:cubicBezTo>
                  <a:cubicBezTo>
                    <a:pt x="315" y="330"/>
                    <a:pt x="284" y="300"/>
                    <a:pt x="284" y="262"/>
                  </a:cubicBezTo>
                  <a:cubicBezTo>
                    <a:pt x="284" y="224"/>
                    <a:pt x="315" y="193"/>
                    <a:pt x="353" y="193"/>
                  </a:cubicBezTo>
                  <a:close/>
                  <a:moveTo>
                    <a:pt x="337" y="291"/>
                  </a:moveTo>
                  <a:cubicBezTo>
                    <a:pt x="343" y="295"/>
                    <a:pt x="350" y="297"/>
                    <a:pt x="357" y="297"/>
                  </a:cubicBezTo>
                  <a:cubicBezTo>
                    <a:pt x="365" y="297"/>
                    <a:pt x="372" y="295"/>
                    <a:pt x="378" y="291"/>
                  </a:cubicBezTo>
                  <a:cubicBezTo>
                    <a:pt x="384" y="287"/>
                    <a:pt x="388" y="281"/>
                    <a:pt x="390" y="274"/>
                  </a:cubicBezTo>
                  <a:cubicBezTo>
                    <a:pt x="370" y="274"/>
                    <a:pt x="370" y="274"/>
                    <a:pt x="370" y="274"/>
                  </a:cubicBezTo>
                  <a:cubicBezTo>
                    <a:pt x="368" y="279"/>
                    <a:pt x="363" y="282"/>
                    <a:pt x="357" y="282"/>
                  </a:cubicBezTo>
                  <a:cubicBezTo>
                    <a:pt x="351" y="282"/>
                    <a:pt x="346" y="280"/>
                    <a:pt x="343" y="275"/>
                  </a:cubicBezTo>
                  <a:cubicBezTo>
                    <a:pt x="357" y="275"/>
                    <a:pt x="357" y="275"/>
                    <a:pt x="357" y="275"/>
                  </a:cubicBezTo>
                  <a:cubicBezTo>
                    <a:pt x="357" y="265"/>
                    <a:pt x="357" y="265"/>
                    <a:pt x="357" y="265"/>
                  </a:cubicBezTo>
                  <a:cubicBezTo>
                    <a:pt x="339" y="265"/>
                    <a:pt x="339" y="265"/>
                    <a:pt x="339" y="265"/>
                  </a:cubicBezTo>
                  <a:cubicBezTo>
                    <a:pt x="339" y="262"/>
                    <a:pt x="339" y="262"/>
                    <a:pt x="339" y="262"/>
                  </a:cubicBezTo>
                  <a:cubicBezTo>
                    <a:pt x="339" y="259"/>
                    <a:pt x="339" y="259"/>
                    <a:pt x="339" y="259"/>
                  </a:cubicBezTo>
                  <a:cubicBezTo>
                    <a:pt x="357" y="259"/>
                    <a:pt x="357" y="259"/>
                    <a:pt x="357" y="259"/>
                  </a:cubicBezTo>
                  <a:cubicBezTo>
                    <a:pt x="357" y="249"/>
                    <a:pt x="357" y="249"/>
                    <a:pt x="357" y="249"/>
                  </a:cubicBezTo>
                  <a:cubicBezTo>
                    <a:pt x="343" y="249"/>
                    <a:pt x="343" y="249"/>
                    <a:pt x="343" y="249"/>
                  </a:cubicBezTo>
                  <a:cubicBezTo>
                    <a:pt x="346" y="244"/>
                    <a:pt x="351" y="242"/>
                    <a:pt x="357" y="242"/>
                  </a:cubicBezTo>
                  <a:cubicBezTo>
                    <a:pt x="363" y="242"/>
                    <a:pt x="368" y="244"/>
                    <a:pt x="370" y="249"/>
                  </a:cubicBezTo>
                  <a:cubicBezTo>
                    <a:pt x="390" y="249"/>
                    <a:pt x="390" y="249"/>
                    <a:pt x="390" y="249"/>
                  </a:cubicBezTo>
                  <a:cubicBezTo>
                    <a:pt x="388" y="242"/>
                    <a:pt x="384" y="237"/>
                    <a:pt x="378" y="233"/>
                  </a:cubicBezTo>
                  <a:cubicBezTo>
                    <a:pt x="372" y="228"/>
                    <a:pt x="365" y="226"/>
                    <a:pt x="357" y="226"/>
                  </a:cubicBezTo>
                  <a:cubicBezTo>
                    <a:pt x="350" y="226"/>
                    <a:pt x="343" y="228"/>
                    <a:pt x="337" y="232"/>
                  </a:cubicBezTo>
                  <a:cubicBezTo>
                    <a:pt x="331" y="236"/>
                    <a:pt x="327" y="242"/>
                    <a:pt x="324" y="249"/>
                  </a:cubicBezTo>
                  <a:cubicBezTo>
                    <a:pt x="316" y="249"/>
                    <a:pt x="316" y="249"/>
                    <a:pt x="316" y="249"/>
                  </a:cubicBezTo>
                  <a:cubicBezTo>
                    <a:pt x="316" y="259"/>
                    <a:pt x="316" y="259"/>
                    <a:pt x="316" y="259"/>
                  </a:cubicBezTo>
                  <a:cubicBezTo>
                    <a:pt x="322" y="259"/>
                    <a:pt x="322" y="259"/>
                    <a:pt x="322" y="259"/>
                  </a:cubicBezTo>
                  <a:cubicBezTo>
                    <a:pt x="322" y="262"/>
                    <a:pt x="322" y="262"/>
                    <a:pt x="322" y="262"/>
                  </a:cubicBezTo>
                  <a:cubicBezTo>
                    <a:pt x="322" y="265"/>
                    <a:pt x="322" y="265"/>
                    <a:pt x="322" y="265"/>
                  </a:cubicBezTo>
                  <a:cubicBezTo>
                    <a:pt x="316" y="265"/>
                    <a:pt x="316" y="265"/>
                    <a:pt x="316" y="265"/>
                  </a:cubicBezTo>
                  <a:cubicBezTo>
                    <a:pt x="316" y="275"/>
                    <a:pt x="316" y="275"/>
                    <a:pt x="316" y="275"/>
                  </a:cubicBezTo>
                  <a:cubicBezTo>
                    <a:pt x="324" y="275"/>
                    <a:pt x="324" y="275"/>
                    <a:pt x="324" y="275"/>
                  </a:cubicBezTo>
                  <a:cubicBezTo>
                    <a:pt x="327" y="282"/>
                    <a:pt x="331" y="287"/>
                    <a:pt x="337" y="291"/>
                  </a:cubicBezTo>
                  <a:close/>
                  <a:moveTo>
                    <a:pt x="353" y="103"/>
                  </a:moveTo>
                  <a:cubicBezTo>
                    <a:pt x="382" y="103"/>
                    <a:pt x="405" y="80"/>
                    <a:pt x="405" y="52"/>
                  </a:cubicBezTo>
                  <a:cubicBezTo>
                    <a:pt x="405" y="23"/>
                    <a:pt x="382" y="0"/>
                    <a:pt x="353" y="0"/>
                  </a:cubicBezTo>
                  <a:cubicBezTo>
                    <a:pt x="324" y="0"/>
                    <a:pt x="301" y="23"/>
                    <a:pt x="301" y="52"/>
                  </a:cubicBezTo>
                  <a:cubicBezTo>
                    <a:pt x="301" y="80"/>
                    <a:pt x="324" y="103"/>
                    <a:pt x="353" y="103"/>
                  </a:cubicBezTo>
                  <a:close/>
                  <a:moveTo>
                    <a:pt x="324" y="54"/>
                  </a:moveTo>
                  <a:cubicBezTo>
                    <a:pt x="328" y="54"/>
                    <a:pt x="328" y="54"/>
                    <a:pt x="328" y="54"/>
                  </a:cubicBezTo>
                  <a:cubicBezTo>
                    <a:pt x="328" y="52"/>
                    <a:pt x="328" y="52"/>
                    <a:pt x="328" y="52"/>
                  </a:cubicBezTo>
                  <a:cubicBezTo>
                    <a:pt x="328" y="50"/>
                    <a:pt x="328" y="50"/>
                    <a:pt x="328" y="50"/>
                  </a:cubicBezTo>
                  <a:cubicBezTo>
                    <a:pt x="324" y="50"/>
                    <a:pt x="324" y="50"/>
                    <a:pt x="324" y="50"/>
                  </a:cubicBezTo>
                  <a:cubicBezTo>
                    <a:pt x="324" y="41"/>
                    <a:pt x="324" y="41"/>
                    <a:pt x="324" y="41"/>
                  </a:cubicBezTo>
                  <a:cubicBezTo>
                    <a:pt x="330" y="41"/>
                    <a:pt x="330" y="41"/>
                    <a:pt x="330" y="41"/>
                  </a:cubicBezTo>
                  <a:cubicBezTo>
                    <a:pt x="332" y="36"/>
                    <a:pt x="336" y="32"/>
                    <a:pt x="340" y="29"/>
                  </a:cubicBezTo>
                  <a:cubicBezTo>
                    <a:pt x="345" y="25"/>
                    <a:pt x="350" y="24"/>
                    <a:pt x="356" y="24"/>
                  </a:cubicBezTo>
                  <a:cubicBezTo>
                    <a:pt x="362" y="24"/>
                    <a:pt x="368" y="25"/>
                    <a:pt x="373" y="29"/>
                  </a:cubicBezTo>
                  <a:cubicBezTo>
                    <a:pt x="377" y="32"/>
                    <a:pt x="381" y="36"/>
                    <a:pt x="382" y="42"/>
                  </a:cubicBezTo>
                  <a:cubicBezTo>
                    <a:pt x="367" y="42"/>
                    <a:pt x="367" y="42"/>
                    <a:pt x="367" y="42"/>
                  </a:cubicBezTo>
                  <a:cubicBezTo>
                    <a:pt x="364" y="38"/>
                    <a:pt x="361" y="36"/>
                    <a:pt x="356" y="36"/>
                  </a:cubicBezTo>
                  <a:cubicBezTo>
                    <a:pt x="351" y="36"/>
                    <a:pt x="348" y="38"/>
                    <a:pt x="345" y="41"/>
                  </a:cubicBezTo>
                  <a:cubicBezTo>
                    <a:pt x="356" y="41"/>
                    <a:pt x="356" y="41"/>
                    <a:pt x="356" y="41"/>
                  </a:cubicBezTo>
                  <a:cubicBezTo>
                    <a:pt x="356" y="50"/>
                    <a:pt x="356" y="50"/>
                    <a:pt x="356" y="50"/>
                  </a:cubicBezTo>
                  <a:cubicBezTo>
                    <a:pt x="342" y="50"/>
                    <a:pt x="342" y="50"/>
                    <a:pt x="342" y="50"/>
                  </a:cubicBezTo>
                  <a:cubicBezTo>
                    <a:pt x="342" y="52"/>
                    <a:pt x="342" y="52"/>
                    <a:pt x="342" y="52"/>
                  </a:cubicBezTo>
                  <a:cubicBezTo>
                    <a:pt x="342" y="54"/>
                    <a:pt x="342" y="54"/>
                    <a:pt x="342" y="54"/>
                  </a:cubicBezTo>
                  <a:cubicBezTo>
                    <a:pt x="356" y="54"/>
                    <a:pt x="356" y="54"/>
                    <a:pt x="356" y="54"/>
                  </a:cubicBezTo>
                  <a:cubicBezTo>
                    <a:pt x="356" y="62"/>
                    <a:pt x="356" y="62"/>
                    <a:pt x="356" y="62"/>
                  </a:cubicBezTo>
                  <a:cubicBezTo>
                    <a:pt x="345" y="62"/>
                    <a:pt x="345" y="62"/>
                    <a:pt x="345" y="62"/>
                  </a:cubicBezTo>
                  <a:cubicBezTo>
                    <a:pt x="348" y="66"/>
                    <a:pt x="351" y="67"/>
                    <a:pt x="356" y="67"/>
                  </a:cubicBezTo>
                  <a:cubicBezTo>
                    <a:pt x="361" y="67"/>
                    <a:pt x="364" y="65"/>
                    <a:pt x="367" y="61"/>
                  </a:cubicBezTo>
                  <a:cubicBezTo>
                    <a:pt x="382" y="61"/>
                    <a:pt x="382" y="61"/>
                    <a:pt x="382" y="61"/>
                  </a:cubicBezTo>
                  <a:cubicBezTo>
                    <a:pt x="381" y="67"/>
                    <a:pt x="377" y="72"/>
                    <a:pt x="373" y="75"/>
                  </a:cubicBezTo>
                  <a:cubicBezTo>
                    <a:pt x="368" y="78"/>
                    <a:pt x="362" y="80"/>
                    <a:pt x="356" y="80"/>
                  </a:cubicBezTo>
                  <a:cubicBezTo>
                    <a:pt x="350" y="80"/>
                    <a:pt x="345" y="78"/>
                    <a:pt x="340" y="75"/>
                  </a:cubicBezTo>
                  <a:cubicBezTo>
                    <a:pt x="336" y="72"/>
                    <a:pt x="332" y="67"/>
                    <a:pt x="330" y="62"/>
                  </a:cubicBezTo>
                  <a:cubicBezTo>
                    <a:pt x="324" y="62"/>
                    <a:pt x="324" y="62"/>
                    <a:pt x="324" y="62"/>
                  </a:cubicBezTo>
                  <a:lnTo>
                    <a:pt x="324" y="54"/>
                  </a:lnTo>
                  <a:close/>
                  <a:moveTo>
                    <a:pt x="478" y="189"/>
                  </a:moveTo>
                  <a:cubicBezTo>
                    <a:pt x="515" y="189"/>
                    <a:pt x="545" y="159"/>
                    <a:pt x="545" y="122"/>
                  </a:cubicBezTo>
                  <a:cubicBezTo>
                    <a:pt x="545" y="85"/>
                    <a:pt x="515" y="55"/>
                    <a:pt x="478" y="55"/>
                  </a:cubicBezTo>
                  <a:cubicBezTo>
                    <a:pt x="441" y="55"/>
                    <a:pt x="411" y="85"/>
                    <a:pt x="411" y="122"/>
                  </a:cubicBezTo>
                  <a:cubicBezTo>
                    <a:pt x="411" y="159"/>
                    <a:pt x="441" y="189"/>
                    <a:pt x="478" y="189"/>
                  </a:cubicBezTo>
                  <a:close/>
                  <a:moveTo>
                    <a:pt x="441" y="125"/>
                  </a:moveTo>
                  <a:cubicBezTo>
                    <a:pt x="447" y="125"/>
                    <a:pt x="447" y="125"/>
                    <a:pt x="447" y="125"/>
                  </a:cubicBezTo>
                  <a:cubicBezTo>
                    <a:pt x="447" y="122"/>
                    <a:pt x="447" y="122"/>
                    <a:pt x="447" y="122"/>
                  </a:cubicBezTo>
                  <a:cubicBezTo>
                    <a:pt x="447" y="119"/>
                    <a:pt x="447" y="119"/>
                    <a:pt x="447" y="119"/>
                  </a:cubicBezTo>
                  <a:cubicBezTo>
                    <a:pt x="441" y="119"/>
                    <a:pt x="441" y="119"/>
                    <a:pt x="441" y="119"/>
                  </a:cubicBezTo>
                  <a:cubicBezTo>
                    <a:pt x="441" y="109"/>
                    <a:pt x="441" y="109"/>
                    <a:pt x="441" y="109"/>
                  </a:cubicBezTo>
                  <a:cubicBezTo>
                    <a:pt x="449" y="109"/>
                    <a:pt x="449" y="109"/>
                    <a:pt x="449" y="109"/>
                  </a:cubicBezTo>
                  <a:cubicBezTo>
                    <a:pt x="452" y="102"/>
                    <a:pt x="456" y="96"/>
                    <a:pt x="462" y="92"/>
                  </a:cubicBezTo>
                  <a:cubicBezTo>
                    <a:pt x="468" y="88"/>
                    <a:pt x="475" y="86"/>
                    <a:pt x="482" y="86"/>
                  </a:cubicBezTo>
                  <a:cubicBezTo>
                    <a:pt x="490" y="86"/>
                    <a:pt x="497" y="88"/>
                    <a:pt x="503" y="92"/>
                  </a:cubicBezTo>
                  <a:cubicBezTo>
                    <a:pt x="509" y="96"/>
                    <a:pt x="513" y="102"/>
                    <a:pt x="515" y="109"/>
                  </a:cubicBezTo>
                  <a:cubicBezTo>
                    <a:pt x="495" y="109"/>
                    <a:pt x="495" y="109"/>
                    <a:pt x="495" y="109"/>
                  </a:cubicBezTo>
                  <a:cubicBezTo>
                    <a:pt x="493" y="104"/>
                    <a:pt x="488" y="102"/>
                    <a:pt x="482" y="102"/>
                  </a:cubicBezTo>
                  <a:cubicBezTo>
                    <a:pt x="476" y="102"/>
                    <a:pt x="471" y="104"/>
                    <a:pt x="468" y="109"/>
                  </a:cubicBezTo>
                  <a:cubicBezTo>
                    <a:pt x="482" y="109"/>
                    <a:pt x="482" y="109"/>
                    <a:pt x="482" y="109"/>
                  </a:cubicBezTo>
                  <a:cubicBezTo>
                    <a:pt x="482" y="119"/>
                    <a:pt x="482" y="119"/>
                    <a:pt x="482" y="119"/>
                  </a:cubicBezTo>
                  <a:cubicBezTo>
                    <a:pt x="464" y="119"/>
                    <a:pt x="464" y="119"/>
                    <a:pt x="464" y="119"/>
                  </a:cubicBezTo>
                  <a:cubicBezTo>
                    <a:pt x="464" y="122"/>
                    <a:pt x="464" y="122"/>
                    <a:pt x="464" y="122"/>
                  </a:cubicBezTo>
                  <a:cubicBezTo>
                    <a:pt x="464" y="125"/>
                    <a:pt x="464" y="125"/>
                    <a:pt x="464" y="125"/>
                  </a:cubicBezTo>
                  <a:cubicBezTo>
                    <a:pt x="482" y="125"/>
                    <a:pt x="482" y="125"/>
                    <a:pt x="482" y="125"/>
                  </a:cubicBezTo>
                  <a:cubicBezTo>
                    <a:pt x="482" y="135"/>
                    <a:pt x="482" y="135"/>
                    <a:pt x="482" y="135"/>
                  </a:cubicBezTo>
                  <a:cubicBezTo>
                    <a:pt x="468" y="135"/>
                    <a:pt x="468" y="135"/>
                    <a:pt x="468" y="135"/>
                  </a:cubicBezTo>
                  <a:cubicBezTo>
                    <a:pt x="471" y="139"/>
                    <a:pt x="476" y="142"/>
                    <a:pt x="482" y="142"/>
                  </a:cubicBezTo>
                  <a:cubicBezTo>
                    <a:pt x="488" y="142"/>
                    <a:pt x="493" y="139"/>
                    <a:pt x="495" y="134"/>
                  </a:cubicBezTo>
                  <a:cubicBezTo>
                    <a:pt x="515" y="134"/>
                    <a:pt x="515" y="134"/>
                    <a:pt x="515" y="134"/>
                  </a:cubicBezTo>
                  <a:cubicBezTo>
                    <a:pt x="513" y="141"/>
                    <a:pt x="509" y="147"/>
                    <a:pt x="503" y="151"/>
                  </a:cubicBezTo>
                  <a:cubicBezTo>
                    <a:pt x="497" y="155"/>
                    <a:pt x="490" y="157"/>
                    <a:pt x="482" y="157"/>
                  </a:cubicBezTo>
                  <a:cubicBezTo>
                    <a:pt x="475" y="157"/>
                    <a:pt x="468" y="155"/>
                    <a:pt x="462" y="151"/>
                  </a:cubicBezTo>
                  <a:cubicBezTo>
                    <a:pt x="456" y="147"/>
                    <a:pt x="452" y="142"/>
                    <a:pt x="449" y="135"/>
                  </a:cubicBezTo>
                  <a:cubicBezTo>
                    <a:pt x="441" y="135"/>
                    <a:pt x="441" y="135"/>
                    <a:pt x="441" y="135"/>
                  </a:cubicBezTo>
                  <a:lnTo>
                    <a:pt x="441" y="125"/>
                  </a:lnTo>
                  <a:close/>
                  <a:moveTo>
                    <a:pt x="0" y="293"/>
                  </a:moveTo>
                  <a:cubicBezTo>
                    <a:pt x="14" y="317"/>
                    <a:pt x="14" y="317"/>
                    <a:pt x="14" y="317"/>
                  </a:cubicBezTo>
                  <a:cubicBezTo>
                    <a:pt x="20" y="313"/>
                    <a:pt x="20" y="313"/>
                    <a:pt x="20" y="313"/>
                  </a:cubicBezTo>
                  <a:cubicBezTo>
                    <a:pt x="6" y="290"/>
                    <a:pt x="6" y="290"/>
                    <a:pt x="6" y="290"/>
                  </a:cubicBezTo>
                  <a:lnTo>
                    <a:pt x="0" y="293"/>
                  </a:lnTo>
                  <a:close/>
                  <a:moveTo>
                    <a:pt x="167" y="575"/>
                  </a:moveTo>
                  <a:cubicBezTo>
                    <a:pt x="181" y="598"/>
                    <a:pt x="181" y="598"/>
                    <a:pt x="181" y="598"/>
                  </a:cubicBezTo>
                  <a:cubicBezTo>
                    <a:pt x="187" y="595"/>
                    <a:pt x="187" y="595"/>
                    <a:pt x="187" y="595"/>
                  </a:cubicBezTo>
                  <a:cubicBezTo>
                    <a:pt x="173" y="572"/>
                    <a:pt x="173" y="572"/>
                    <a:pt x="173" y="572"/>
                  </a:cubicBezTo>
                  <a:lnTo>
                    <a:pt x="167" y="575"/>
                  </a:lnTo>
                  <a:close/>
                  <a:moveTo>
                    <a:pt x="195" y="622"/>
                  </a:moveTo>
                  <a:cubicBezTo>
                    <a:pt x="209" y="645"/>
                    <a:pt x="209" y="645"/>
                    <a:pt x="209" y="645"/>
                  </a:cubicBezTo>
                  <a:cubicBezTo>
                    <a:pt x="215" y="642"/>
                    <a:pt x="215" y="642"/>
                    <a:pt x="215" y="642"/>
                  </a:cubicBezTo>
                  <a:cubicBezTo>
                    <a:pt x="201" y="618"/>
                    <a:pt x="201" y="618"/>
                    <a:pt x="201" y="618"/>
                  </a:cubicBezTo>
                  <a:lnTo>
                    <a:pt x="195" y="622"/>
                  </a:lnTo>
                  <a:close/>
                  <a:moveTo>
                    <a:pt x="145" y="525"/>
                  </a:moveTo>
                  <a:cubicBezTo>
                    <a:pt x="139" y="528"/>
                    <a:pt x="139" y="528"/>
                    <a:pt x="139" y="528"/>
                  </a:cubicBezTo>
                  <a:cubicBezTo>
                    <a:pt x="153" y="551"/>
                    <a:pt x="153" y="551"/>
                    <a:pt x="153" y="551"/>
                  </a:cubicBezTo>
                  <a:cubicBezTo>
                    <a:pt x="159" y="548"/>
                    <a:pt x="159" y="548"/>
                    <a:pt x="159" y="548"/>
                  </a:cubicBezTo>
                  <a:lnTo>
                    <a:pt x="145" y="525"/>
                  </a:lnTo>
                  <a:close/>
                  <a:moveTo>
                    <a:pt x="223" y="669"/>
                  </a:moveTo>
                  <a:cubicBezTo>
                    <a:pt x="230" y="681"/>
                    <a:pt x="230" y="681"/>
                    <a:pt x="230" y="681"/>
                  </a:cubicBezTo>
                  <a:cubicBezTo>
                    <a:pt x="236" y="677"/>
                    <a:pt x="236" y="677"/>
                    <a:pt x="236" y="677"/>
                  </a:cubicBezTo>
                  <a:cubicBezTo>
                    <a:pt x="229" y="665"/>
                    <a:pt x="229" y="665"/>
                    <a:pt x="229" y="665"/>
                  </a:cubicBezTo>
                  <a:lnTo>
                    <a:pt x="223" y="669"/>
                  </a:lnTo>
                  <a:close/>
                  <a:moveTo>
                    <a:pt x="112" y="481"/>
                  </a:moveTo>
                  <a:cubicBezTo>
                    <a:pt x="125" y="505"/>
                    <a:pt x="125" y="505"/>
                    <a:pt x="125" y="505"/>
                  </a:cubicBezTo>
                  <a:cubicBezTo>
                    <a:pt x="131" y="501"/>
                    <a:pt x="131" y="501"/>
                    <a:pt x="131" y="501"/>
                  </a:cubicBezTo>
                  <a:cubicBezTo>
                    <a:pt x="117" y="478"/>
                    <a:pt x="117" y="478"/>
                    <a:pt x="117" y="478"/>
                  </a:cubicBezTo>
                  <a:lnTo>
                    <a:pt x="112" y="481"/>
                  </a:lnTo>
                  <a:close/>
                  <a:moveTo>
                    <a:pt x="56" y="387"/>
                  </a:moveTo>
                  <a:cubicBezTo>
                    <a:pt x="70" y="411"/>
                    <a:pt x="70" y="411"/>
                    <a:pt x="70" y="411"/>
                  </a:cubicBezTo>
                  <a:cubicBezTo>
                    <a:pt x="76" y="407"/>
                    <a:pt x="76" y="407"/>
                    <a:pt x="76" y="407"/>
                  </a:cubicBezTo>
                  <a:cubicBezTo>
                    <a:pt x="62" y="384"/>
                    <a:pt x="62" y="384"/>
                    <a:pt x="62" y="384"/>
                  </a:cubicBezTo>
                  <a:lnTo>
                    <a:pt x="56" y="387"/>
                  </a:lnTo>
                  <a:close/>
                  <a:moveTo>
                    <a:pt x="84" y="434"/>
                  </a:moveTo>
                  <a:cubicBezTo>
                    <a:pt x="98" y="458"/>
                    <a:pt x="98" y="458"/>
                    <a:pt x="98" y="458"/>
                  </a:cubicBezTo>
                  <a:cubicBezTo>
                    <a:pt x="103" y="454"/>
                    <a:pt x="103" y="454"/>
                    <a:pt x="103" y="454"/>
                  </a:cubicBezTo>
                  <a:cubicBezTo>
                    <a:pt x="90" y="431"/>
                    <a:pt x="90" y="431"/>
                    <a:pt x="90" y="431"/>
                  </a:cubicBezTo>
                  <a:lnTo>
                    <a:pt x="84" y="434"/>
                  </a:lnTo>
                  <a:close/>
                  <a:moveTo>
                    <a:pt x="28" y="340"/>
                  </a:moveTo>
                  <a:cubicBezTo>
                    <a:pt x="42" y="364"/>
                    <a:pt x="42" y="364"/>
                    <a:pt x="42" y="364"/>
                  </a:cubicBezTo>
                  <a:cubicBezTo>
                    <a:pt x="48" y="360"/>
                    <a:pt x="48" y="360"/>
                    <a:pt x="48" y="360"/>
                  </a:cubicBezTo>
                  <a:cubicBezTo>
                    <a:pt x="34" y="337"/>
                    <a:pt x="34" y="337"/>
                    <a:pt x="34" y="337"/>
                  </a:cubicBezTo>
                  <a:lnTo>
                    <a:pt x="28" y="34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1600">
                <a:solidFill>
                  <a:srgbClr val="333333"/>
                </a:solidFill>
              </a:endParaRPr>
            </a:p>
          </p:txBody>
        </p:sp>
      </p:grpSp>
      <p:sp>
        <p:nvSpPr>
          <p:cNvPr id="56" name="Rectangle 55">
            <a:extLst>
              <a:ext uri="{FF2B5EF4-FFF2-40B4-BE49-F238E27FC236}">
                <a16:creationId xmlns:a16="http://schemas.microsoft.com/office/drawing/2014/main" id="{F135AE5C-08EC-4362-A5D5-762212F7C827}"/>
              </a:ext>
            </a:extLst>
          </p:cNvPr>
          <p:cNvSpPr/>
          <p:nvPr/>
        </p:nvSpPr>
        <p:spPr>
          <a:xfrm>
            <a:off x="9711380" y="2257425"/>
            <a:ext cx="2235000" cy="33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prstClr val="white"/>
              </a:solidFill>
            </a:endParaRPr>
          </a:p>
        </p:txBody>
      </p:sp>
      <p:sp>
        <p:nvSpPr>
          <p:cNvPr id="57" name="ZoneTexte 56">
            <a:extLst>
              <a:ext uri="{FF2B5EF4-FFF2-40B4-BE49-F238E27FC236}">
                <a16:creationId xmlns:a16="http://schemas.microsoft.com/office/drawing/2014/main" id="{CCAC8510-8F9F-4697-AFD7-449DCDC4CB6A}"/>
              </a:ext>
            </a:extLst>
          </p:cNvPr>
          <p:cNvSpPr txBox="1"/>
          <p:nvPr/>
        </p:nvSpPr>
        <p:spPr>
          <a:xfrm>
            <a:off x="10159466" y="4616629"/>
            <a:ext cx="1338828" cy="523220"/>
          </a:xfrm>
          <a:prstGeom prst="rect">
            <a:avLst/>
          </a:prstGeom>
          <a:noFill/>
        </p:spPr>
        <p:txBody>
          <a:bodyPr wrap="none" rtlCol="0">
            <a:spAutoFit/>
          </a:bodyPr>
          <a:lstStyle/>
          <a:p>
            <a:pPr algn="ctr"/>
            <a:r>
              <a:rPr lang="fr-FR" sz="1400" dirty="0" err="1">
                <a:solidFill>
                  <a:srgbClr val="333333"/>
                </a:solidFill>
              </a:rPr>
              <a:t>accreditations</a:t>
            </a:r>
            <a:r>
              <a:rPr lang="fr-FR" sz="1400" dirty="0">
                <a:solidFill>
                  <a:srgbClr val="333333"/>
                </a:solidFill>
              </a:rPr>
              <a:t> </a:t>
            </a:r>
            <a:br>
              <a:rPr lang="fr-FR" sz="1400" dirty="0">
                <a:solidFill>
                  <a:srgbClr val="333333"/>
                </a:solidFill>
              </a:rPr>
            </a:br>
            <a:r>
              <a:rPr lang="fr-FR" sz="1400" dirty="0">
                <a:solidFill>
                  <a:srgbClr val="333333"/>
                </a:solidFill>
              </a:rPr>
              <a:t>&amp; </a:t>
            </a:r>
            <a:r>
              <a:rPr lang="fr-FR" sz="1400" dirty="0" err="1">
                <a:solidFill>
                  <a:srgbClr val="333333"/>
                </a:solidFill>
              </a:rPr>
              <a:t>agreements</a:t>
            </a:r>
            <a:endParaRPr lang="fr-FR" sz="1400" dirty="0">
              <a:solidFill>
                <a:srgbClr val="333333"/>
              </a:solidFill>
            </a:endParaRPr>
          </a:p>
        </p:txBody>
      </p:sp>
      <p:sp>
        <p:nvSpPr>
          <p:cNvPr id="58" name="ZoneTexte 57">
            <a:extLst>
              <a:ext uri="{FF2B5EF4-FFF2-40B4-BE49-F238E27FC236}">
                <a16:creationId xmlns:a16="http://schemas.microsoft.com/office/drawing/2014/main" id="{39B6A8C8-0C43-43E5-BCF3-AB30A6C978FE}"/>
              </a:ext>
            </a:extLst>
          </p:cNvPr>
          <p:cNvSpPr txBox="1"/>
          <p:nvPr/>
        </p:nvSpPr>
        <p:spPr>
          <a:xfrm>
            <a:off x="9870926" y="3610491"/>
            <a:ext cx="1915909" cy="923330"/>
          </a:xfrm>
          <a:prstGeom prst="rect">
            <a:avLst/>
          </a:prstGeom>
          <a:noFill/>
        </p:spPr>
        <p:txBody>
          <a:bodyPr wrap="none" rtlCol="0">
            <a:spAutoFit/>
          </a:bodyPr>
          <a:lstStyle/>
          <a:p>
            <a:r>
              <a:rPr lang="fr-FR" sz="5400" b="1" dirty="0">
                <a:solidFill>
                  <a:srgbClr val="72E4C9"/>
                </a:solidFill>
              </a:rPr>
              <a:t>3,500</a:t>
            </a:r>
            <a:endParaRPr lang="fr-FR" sz="4400" b="1" baseline="20000" dirty="0">
              <a:solidFill>
                <a:srgbClr val="72E4C9"/>
              </a:solidFill>
            </a:endParaRPr>
          </a:p>
        </p:txBody>
      </p:sp>
      <p:grpSp>
        <p:nvGrpSpPr>
          <p:cNvPr id="35" name="Group 4">
            <a:extLst>
              <a:ext uri="{FF2B5EF4-FFF2-40B4-BE49-F238E27FC236}">
                <a16:creationId xmlns:a16="http://schemas.microsoft.com/office/drawing/2014/main" id="{BEEF6113-3F6A-4482-B459-E509150B6D3C}"/>
              </a:ext>
            </a:extLst>
          </p:cNvPr>
          <p:cNvGrpSpPr>
            <a:grpSpLocks noChangeAspect="1"/>
          </p:cNvGrpSpPr>
          <p:nvPr/>
        </p:nvGrpSpPr>
        <p:grpSpPr bwMode="auto">
          <a:xfrm>
            <a:off x="10609011" y="2753519"/>
            <a:ext cx="439738" cy="650875"/>
            <a:chOff x="6704" y="-703"/>
            <a:chExt cx="277" cy="410"/>
          </a:xfrm>
        </p:grpSpPr>
        <p:sp>
          <p:nvSpPr>
            <p:cNvPr id="61" name="Freeform 5">
              <a:extLst>
                <a:ext uri="{FF2B5EF4-FFF2-40B4-BE49-F238E27FC236}">
                  <a16:creationId xmlns:a16="http://schemas.microsoft.com/office/drawing/2014/main" id="{15B98C1E-F1D6-4C22-A2A3-374075BAC0CA}"/>
                </a:ext>
              </a:extLst>
            </p:cNvPr>
            <p:cNvSpPr>
              <a:spLocks/>
            </p:cNvSpPr>
            <p:nvPr/>
          </p:nvSpPr>
          <p:spPr bwMode="auto">
            <a:xfrm>
              <a:off x="6744" y="-424"/>
              <a:ext cx="25" cy="25"/>
            </a:xfrm>
            <a:custGeom>
              <a:avLst/>
              <a:gdLst>
                <a:gd name="T0" fmla="*/ 2 w 12"/>
                <a:gd name="T1" fmla="*/ 2 h 12"/>
                <a:gd name="T2" fmla="*/ 2 w 12"/>
                <a:gd name="T3" fmla="*/ 10 h 12"/>
                <a:gd name="T4" fmla="*/ 10 w 12"/>
                <a:gd name="T5" fmla="*/ 10 h 12"/>
                <a:gd name="T6" fmla="*/ 10 w 12"/>
                <a:gd name="T7" fmla="*/ 2 h 12"/>
                <a:gd name="T8" fmla="*/ 2 w 12"/>
                <a:gd name="T9" fmla="*/ 2 h 12"/>
              </a:gdLst>
              <a:ahLst/>
              <a:cxnLst>
                <a:cxn ang="0">
                  <a:pos x="T0" y="T1"/>
                </a:cxn>
                <a:cxn ang="0">
                  <a:pos x="T2" y="T3"/>
                </a:cxn>
                <a:cxn ang="0">
                  <a:pos x="T4" y="T5"/>
                </a:cxn>
                <a:cxn ang="0">
                  <a:pos x="T6" y="T7"/>
                </a:cxn>
                <a:cxn ang="0">
                  <a:pos x="T8" y="T9"/>
                </a:cxn>
              </a:cxnLst>
              <a:rect l="0" t="0" r="r" b="b"/>
              <a:pathLst>
                <a:path w="12" h="12">
                  <a:moveTo>
                    <a:pt x="2" y="2"/>
                  </a:moveTo>
                  <a:cubicBezTo>
                    <a:pt x="0" y="4"/>
                    <a:pt x="0" y="8"/>
                    <a:pt x="2" y="10"/>
                  </a:cubicBezTo>
                  <a:cubicBezTo>
                    <a:pt x="4" y="12"/>
                    <a:pt x="8" y="12"/>
                    <a:pt x="10" y="10"/>
                  </a:cubicBezTo>
                  <a:cubicBezTo>
                    <a:pt x="12" y="8"/>
                    <a:pt x="12" y="4"/>
                    <a:pt x="10" y="2"/>
                  </a:cubicBezTo>
                  <a:cubicBezTo>
                    <a:pt x="8" y="0"/>
                    <a:pt x="4" y="0"/>
                    <a:pt x="2"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2" name="Freeform 6">
              <a:extLst>
                <a:ext uri="{FF2B5EF4-FFF2-40B4-BE49-F238E27FC236}">
                  <a16:creationId xmlns:a16="http://schemas.microsoft.com/office/drawing/2014/main" id="{BB70E39A-F03D-402F-B3C3-4C5E511A83BA}"/>
                </a:ext>
              </a:extLst>
            </p:cNvPr>
            <p:cNvSpPr>
              <a:spLocks/>
            </p:cNvSpPr>
            <p:nvPr/>
          </p:nvSpPr>
          <p:spPr bwMode="auto">
            <a:xfrm>
              <a:off x="6784" y="-424"/>
              <a:ext cx="27" cy="25"/>
            </a:xfrm>
            <a:custGeom>
              <a:avLst/>
              <a:gdLst>
                <a:gd name="T0" fmla="*/ 2 w 13"/>
                <a:gd name="T1" fmla="*/ 2 h 12"/>
                <a:gd name="T2" fmla="*/ 2 w 13"/>
                <a:gd name="T3" fmla="*/ 10 h 12"/>
                <a:gd name="T4" fmla="*/ 10 w 13"/>
                <a:gd name="T5" fmla="*/ 10 h 12"/>
                <a:gd name="T6" fmla="*/ 10 w 13"/>
                <a:gd name="T7" fmla="*/ 2 h 12"/>
                <a:gd name="T8" fmla="*/ 2 w 13"/>
                <a:gd name="T9" fmla="*/ 2 h 12"/>
              </a:gdLst>
              <a:ahLst/>
              <a:cxnLst>
                <a:cxn ang="0">
                  <a:pos x="T0" y="T1"/>
                </a:cxn>
                <a:cxn ang="0">
                  <a:pos x="T2" y="T3"/>
                </a:cxn>
                <a:cxn ang="0">
                  <a:pos x="T4" y="T5"/>
                </a:cxn>
                <a:cxn ang="0">
                  <a:pos x="T6" y="T7"/>
                </a:cxn>
                <a:cxn ang="0">
                  <a:pos x="T8" y="T9"/>
                </a:cxn>
              </a:cxnLst>
              <a:rect l="0" t="0" r="r" b="b"/>
              <a:pathLst>
                <a:path w="13" h="12">
                  <a:moveTo>
                    <a:pt x="2" y="2"/>
                  </a:moveTo>
                  <a:cubicBezTo>
                    <a:pt x="0" y="4"/>
                    <a:pt x="0" y="8"/>
                    <a:pt x="2" y="10"/>
                  </a:cubicBezTo>
                  <a:cubicBezTo>
                    <a:pt x="4" y="12"/>
                    <a:pt x="8" y="12"/>
                    <a:pt x="10" y="10"/>
                  </a:cubicBezTo>
                  <a:cubicBezTo>
                    <a:pt x="13" y="8"/>
                    <a:pt x="13" y="4"/>
                    <a:pt x="10" y="2"/>
                  </a:cubicBezTo>
                  <a:cubicBezTo>
                    <a:pt x="8" y="0"/>
                    <a:pt x="4" y="0"/>
                    <a:pt x="2"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3" name="Freeform 7">
              <a:extLst>
                <a:ext uri="{FF2B5EF4-FFF2-40B4-BE49-F238E27FC236}">
                  <a16:creationId xmlns:a16="http://schemas.microsoft.com/office/drawing/2014/main" id="{DB0A1592-8328-4703-9DC4-975610691A16}"/>
                </a:ext>
              </a:extLst>
            </p:cNvPr>
            <p:cNvSpPr>
              <a:spLocks/>
            </p:cNvSpPr>
            <p:nvPr/>
          </p:nvSpPr>
          <p:spPr bwMode="auto">
            <a:xfrm>
              <a:off x="6744" y="-586"/>
              <a:ext cx="101" cy="4"/>
            </a:xfrm>
            <a:custGeom>
              <a:avLst/>
              <a:gdLst>
                <a:gd name="T0" fmla="*/ 1 w 48"/>
                <a:gd name="T1" fmla="*/ 2 h 2"/>
                <a:gd name="T2" fmla="*/ 47 w 48"/>
                <a:gd name="T3" fmla="*/ 2 h 2"/>
                <a:gd name="T4" fmla="*/ 48 w 48"/>
                <a:gd name="T5" fmla="*/ 1 h 2"/>
                <a:gd name="T6" fmla="*/ 47 w 48"/>
                <a:gd name="T7" fmla="*/ 0 h 2"/>
                <a:gd name="T8" fmla="*/ 1 w 48"/>
                <a:gd name="T9" fmla="*/ 0 h 2"/>
                <a:gd name="T10" fmla="*/ 0 w 48"/>
                <a:gd name="T11" fmla="*/ 1 h 2"/>
                <a:gd name="T12" fmla="*/ 1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1" y="2"/>
                  </a:moveTo>
                  <a:cubicBezTo>
                    <a:pt x="47" y="2"/>
                    <a:pt x="47" y="2"/>
                    <a:pt x="47" y="2"/>
                  </a:cubicBezTo>
                  <a:cubicBezTo>
                    <a:pt x="48" y="2"/>
                    <a:pt x="48" y="2"/>
                    <a:pt x="48" y="1"/>
                  </a:cubicBezTo>
                  <a:cubicBezTo>
                    <a:pt x="48" y="1"/>
                    <a:pt x="48" y="0"/>
                    <a:pt x="47" y="0"/>
                  </a:cubicBezTo>
                  <a:cubicBezTo>
                    <a:pt x="1" y="0"/>
                    <a:pt x="1" y="0"/>
                    <a:pt x="1" y="0"/>
                  </a:cubicBezTo>
                  <a:cubicBezTo>
                    <a:pt x="0" y="0"/>
                    <a:pt x="0" y="1"/>
                    <a:pt x="0" y="1"/>
                  </a:cubicBezTo>
                  <a:cubicBezTo>
                    <a:pt x="0" y="2"/>
                    <a:pt x="0" y="2"/>
                    <a:pt x="1"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4" name="Freeform 8">
              <a:extLst>
                <a:ext uri="{FF2B5EF4-FFF2-40B4-BE49-F238E27FC236}">
                  <a16:creationId xmlns:a16="http://schemas.microsoft.com/office/drawing/2014/main" id="{2548F032-6F47-48DF-BAF4-461991F5E0D9}"/>
                </a:ext>
              </a:extLst>
            </p:cNvPr>
            <p:cNvSpPr>
              <a:spLocks/>
            </p:cNvSpPr>
            <p:nvPr/>
          </p:nvSpPr>
          <p:spPr bwMode="auto">
            <a:xfrm>
              <a:off x="6744" y="-545"/>
              <a:ext cx="204" cy="4"/>
            </a:xfrm>
            <a:custGeom>
              <a:avLst/>
              <a:gdLst>
                <a:gd name="T0" fmla="*/ 96 w 97"/>
                <a:gd name="T1" fmla="*/ 0 h 2"/>
                <a:gd name="T2" fmla="*/ 1 w 97"/>
                <a:gd name="T3" fmla="*/ 0 h 2"/>
                <a:gd name="T4" fmla="*/ 0 w 97"/>
                <a:gd name="T5" fmla="*/ 1 h 2"/>
                <a:gd name="T6" fmla="*/ 1 w 97"/>
                <a:gd name="T7" fmla="*/ 2 h 2"/>
                <a:gd name="T8" fmla="*/ 96 w 97"/>
                <a:gd name="T9" fmla="*/ 2 h 2"/>
                <a:gd name="T10" fmla="*/ 97 w 97"/>
                <a:gd name="T11" fmla="*/ 1 h 2"/>
                <a:gd name="T12" fmla="*/ 96 w 9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7" h="2">
                  <a:moveTo>
                    <a:pt x="96" y="0"/>
                  </a:moveTo>
                  <a:cubicBezTo>
                    <a:pt x="1" y="0"/>
                    <a:pt x="1" y="0"/>
                    <a:pt x="1" y="0"/>
                  </a:cubicBezTo>
                  <a:cubicBezTo>
                    <a:pt x="0" y="0"/>
                    <a:pt x="0" y="1"/>
                    <a:pt x="0" y="1"/>
                  </a:cubicBezTo>
                  <a:cubicBezTo>
                    <a:pt x="0" y="2"/>
                    <a:pt x="0" y="2"/>
                    <a:pt x="1" y="2"/>
                  </a:cubicBezTo>
                  <a:cubicBezTo>
                    <a:pt x="96" y="2"/>
                    <a:pt x="96" y="2"/>
                    <a:pt x="96" y="2"/>
                  </a:cubicBezTo>
                  <a:cubicBezTo>
                    <a:pt x="97" y="2"/>
                    <a:pt x="97" y="2"/>
                    <a:pt x="97" y="1"/>
                  </a:cubicBezTo>
                  <a:cubicBezTo>
                    <a:pt x="97" y="1"/>
                    <a:pt x="97" y="0"/>
                    <a:pt x="96"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5" name="Freeform 9">
              <a:extLst>
                <a:ext uri="{FF2B5EF4-FFF2-40B4-BE49-F238E27FC236}">
                  <a16:creationId xmlns:a16="http://schemas.microsoft.com/office/drawing/2014/main" id="{4CAB7E41-A050-46CB-9CDB-540B698BD9B2}"/>
                </a:ext>
              </a:extLst>
            </p:cNvPr>
            <p:cNvSpPr>
              <a:spLocks/>
            </p:cNvSpPr>
            <p:nvPr/>
          </p:nvSpPr>
          <p:spPr bwMode="auto">
            <a:xfrm>
              <a:off x="6744" y="-503"/>
              <a:ext cx="199" cy="4"/>
            </a:xfrm>
            <a:custGeom>
              <a:avLst/>
              <a:gdLst>
                <a:gd name="T0" fmla="*/ 94 w 95"/>
                <a:gd name="T1" fmla="*/ 0 h 2"/>
                <a:gd name="T2" fmla="*/ 1 w 95"/>
                <a:gd name="T3" fmla="*/ 0 h 2"/>
                <a:gd name="T4" fmla="*/ 0 w 95"/>
                <a:gd name="T5" fmla="*/ 1 h 2"/>
                <a:gd name="T6" fmla="*/ 1 w 95"/>
                <a:gd name="T7" fmla="*/ 2 h 2"/>
                <a:gd name="T8" fmla="*/ 94 w 95"/>
                <a:gd name="T9" fmla="*/ 2 h 2"/>
                <a:gd name="T10" fmla="*/ 95 w 95"/>
                <a:gd name="T11" fmla="*/ 1 h 2"/>
                <a:gd name="T12" fmla="*/ 94 w 95"/>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5" h="2">
                  <a:moveTo>
                    <a:pt x="94" y="0"/>
                  </a:moveTo>
                  <a:cubicBezTo>
                    <a:pt x="1" y="0"/>
                    <a:pt x="1" y="0"/>
                    <a:pt x="1" y="0"/>
                  </a:cubicBezTo>
                  <a:cubicBezTo>
                    <a:pt x="0" y="0"/>
                    <a:pt x="0" y="1"/>
                    <a:pt x="0" y="1"/>
                  </a:cubicBezTo>
                  <a:cubicBezTo>
                    <a:pt x="0" y="2"/>
                    <a:pt x="0" y="2"/>
                    <a:pt x="1" y="2"/>
                  </a:cubicBezTo>
                  <a:cubicBezTo>
                    <a:pt x="94" y="2"/>
                    <a:pt x="94" y="2"/>
                    <a:pt x="94" y="2"/>
                  </a:cubicBezTo>
                  <a:cubicBezTo>
                    <a:pt x="94" y="2"/>
                    <a:pt x="95" y="2"/>
                    <a:pt x="95" y="1"/>
                  </a:cubicBezTo>
                  <a:cubicBezTo>
                    <a:pt x="95" y="1"/>
                    <a:pt x="94" y="0"/>
                    <a:pt x="9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6" name="Freeform 10">
              <a:extLst>
                <a:ext uri="{FF2B5EF4-FFF2-40B4-BE49-F238E27FC236}">
                  <a16:creationId xmlns:a16="http://schemas.microsoft.com/office/drawing/2014/main" id="{072D47D8-0C6A-4CCC-903A-9CBC05D45177}"/>
                </a:ext>
              </a:extLst>
            </p:cNvPr>
            <p:cNvSpPr>
              <a:spLocks/>
            </p:cNvSpPr>
            <p:nvPr/>
          </p:nvSpPr>
          <p:spPr bwMode="auto">
            <a:xfrm>
              <a:off x="6744" y="-461"/>
              <a:ext cx="13" cy="4"/>
            </a:xfrm>
            <a:custGeom>
              <a:avLst/>
              <a:gdLst>
                <a:gd name="T0" fmla="*/ 5 w 6"/>
                <a:gd name="T1" fmla="*/ 2 h 2"/>
                <a:gd name="T2" fmla="*/ 6 w 6"/>
                <a:gd name="T3" fmla="*/ 1 h 2"/>
                <a:gd name="T4" fmla="*/ 5 w 6"/>
                <a:gd name="T5" fmla="*/ 0 h 2"/>
                <a:gd name="T6" fmla="*/ 1 w 6"/>
                <a:gd name="T7" fmla="*/ 0 h 2"/>
                <a:gd name="T8" fmla="*/ 0 w 6"/>
                <a:gd name="T9" fmla="*/ 1 h 2"/>
                <a:gd name="T10" fmla="*/ 1 w 6"/>
                <a:gd name="T11" fmla="*/ 2 h 2"/>
                <a:gd name="T12" fmla="*/ 5 w 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5" y="2"/>
                  </a:moveTo>
                  <a:cubicBezTo>
                    <a:pt x="5" y="2"/>
                    <a:pt x="6" y="2"/>
                    <a:pt x="6" y="1"/>
                  </a:cubicBezTo>
                  <a:cubicBezTo>
                    <a:pt x="6" y="1"/>
                    <a:pt x="5" y="0"/>
                    <a:pt x="5" y="0"/>
                  </a:cubicBezTo>
                  <a:cubicBezTo>
                    <a:pt x="1" y="0"/>
                    <a:pt x="1" y="0"/>
                    <a:pt x="1" y="0"/>
                  </a:cubicBezTo>
                  <a:cubicBezTo>
                    <a:pt x="0" y="0"/>
                    <a:pt x="0" y="1"/>
                    <a:pt x="0" y="1"/>
                  </a:cubicBezTo>
                  <a:cubicBezTo>
                    <a:pt x="0" y="2"/>
                    <a:pt x="0" y="2"/>
                    <a:pt x="1" y="2"/>
                  </a:cubicBez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7" name="Freeform 11">
              <a:extLst>
                <a:ext uri="{FF2B5EF4-FFF2-40B4-BE49-F238E27FC236}">
                  <a16:creationId xmlns:a16="http://schemas.microsoft.com/office/drawing/2014/main" id="{A72E7B1C-34F5-4DE0-B294-466EF86CC17D}"/>
                </a:ext>
              </a:extLst>
            </p:cNvPr>
            <p:cNvSpPr>
              <a:spLocks/>
            </p:cNvSpPr>
            <p:nvPr/>
          </p:nvSpPr>
          <p:spPr bwMode="auto">
            <a:xfrm>
              <a:off x="6767" y="-461"/>
              <a:ext cx="19" cy="4"/>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1"/>
                    <a:pt x="9" y="0"/>
                    <a:pt x="8" y="0"/>
                  </a:cubicBezTo>
                  <a:cubicBezTo>
                    <a:pt x="1" y="0"/>
                    <a:pt x="1" y="0"/>
                    <a:pt x="1" y="0"/>
                  </a:cubicBezTo>
                  <a:cubicBezTo>
                    <a:pt x="0" y="0"/>
                    <a:pt x="0" y="1"/>
                    <a:pt x="0" y="1"/>
                  </a:cubicBezTo>
                  <a:cubicBezTo>
                    <a:pt x="0" y="2"/>
                    <a:pt x="0" y="2"/>
                    <a:pt x="1" y="2"/>
                  </a:cubicBezTo>
                  <a:cubicBezTo>
                    <a:pt x="8" y="2"/>
                    <a:pt x="8" y="2"/>
                    <a:pt x="8" y="2"/>
                  </a:cubicBezTo>
                  <a:cubicBezTo>
                    <a:pt x="9" y="2"/>
                    <a:pt x="9" y="2"/>
                    <a:pt x="9" y="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8" name="Freeform 12">
              <a:extLst>
                <a:ext uri="{FF2B5EF4-FFF2-40B4-BE49-F238E27FC236}">
                  <a16:creationId xmlns:a16="http://schemas.microsoft.com/office/drawing/2014/main" id="{F401E66A-9A1C-474D-8834-3326524F42D9}"/>
                </a:ext>
              </a:extLst>
            </p:cNvPr>
            <p:cNvSpPr>
              <a:spLocks/>
            </p:cNvSpPr>
            <p:nvPr/>
          </p:nvSpPr>
          <p:spPr bwMode="auto">
            <a:xfrm>
              <a:off x="6797" y="-461"/>
              <a:ext cx="20" cy="4"/>
            </a:xfrm>
            <a:custGeom>
              <a:avLst/>
              <a:gdLst>
                <a:gd name="T0" fmla="*/ 8 w 10"/>
                <a:gd name="T1" fmla="*/ 0 h 2"/>
                <a:gd name="T2" fmla="*/ 1 w 10"/>
                <a:gd name="T3" fmla="*/ 0 h 2"/>
                <a:gd name="T4" fmla="*/ 0 w 10"/>
                <a:gd name="T5" fmla="*/ 1 h 2"/>
                <a:gd name="T6" fmla="*/ 1 w 10"/>
                <a:gd name="T7" fmla="*/ 2 h 2"/>
                <a:gd name="T8" fmla="*/ 8 w 10"/>
                <a:gd name="T9" fmla="*/ 2 h 2"/>
                <a:gd name="T10" fmla="*/ 10 w 10"/>
                <a:gd name="T11" fmla="*/ 1 h 2"/>
                <a:gd name="T12" fmla="*/ 8 w 10"/>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8" y="0"/>
                  </a:moveTo>
                  <a:cubicBezTo>
                    <a:pt x="1" y="0"/>
                    <a:pt x="1" y="0"/>
                    <a:pt x="1" y="0"/>
                  </a:cubicBezTo>
                  <a:cubicBezTo>
                    <a:pt x="1" y="0"/>
                    <a:pt x="0" y="1"/>
                    <a:pt x="0" y="1"/>
                  </a:cubicBezTo>
                  <a:cubicBezTo>
                    <a:pt x="0" y="2"/>
                    <a:pt x="1" y="2"/>
                    <a:pt x="1" y="2"/>
                  </a:cubicBezTo>
                  <a:cubicBezTo>
                    <a:pt x="8" y="2"/>
                    <a:pt x="8" y="2"/>
                    <a:pt x="8" y="2"/>
                  </a:cubicBezTo>
                  <a:cubicBezTo>
                    <a:pt x="9" y="2"/>
                    <a:pt x="10" y="2"/>
                    <a:pt x="10" y="1"/>
                  </a:cubicBezTo>
                  <a:cubicBezTo>
                    <a:pt x="10" y="1"/>
                    <a:pt x="9" y="0"/>
                    <a:pt x="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69" name="Freeform 13">
              <a:extLst>
                <a:ext uri="{FF2B5EF4-FFF2-40B4-BE49-F238E27FC236}">
                  <a16:creationId xmlns:a16="http://schemas.microsoft.com/office/drawing/2014/main" id="{20841C3C-DC4F-4614-89F9-4AB89CBEF04D}"/>
                </a:ext>
              </a:extLst>
            </p:cNvPr>
            <p:cNvSpPr>
              <a:spLocks/>
            </p:cNvSpPr>
            <p:nvPr/>
          </p:nvSpPr>
          <p:spPr bwMode="auto">
            <a:xfrm>
              <a:off x="6828" y="-461"/>
              <a:ext cx="13" cy="4"/>
            </a:xfrm>
            <a:custGeom>
              <a:avLst/>
              <a:gdLst>
                <a:gd name="T0" fmla="*/ 5 w 6"/>
                <a:gd name="T1" fmla="*/ 0 h 2"/>
                <a:gd name="T2" fmla="*/ 1 w 6"/>
                <a:gd name="T3" fmla="*/ 0 h 2"/>
                <a:gd name="T4" fmla="*/ 0 w 6"/>
                <a:gd name="T5" fmla="*/ 1 h 2"/>
                <a:gd name="T6" fmla="*/ 1 w 6"/>
                <a:gd name="T7" fmla="*/ 2 h 2"/>
                <a:gd name="T8" fmla="*/ 5 w 6"/>
                <a:gd name="T9" fmla="*/ 2 h 2"/>
                <a:gd name="T10" fmla="*/ 6 w 6"/>
                <a:gd name="T11" fmla="*/ 1 h 2"/>
                <a:gd name="T12" fmla="*/ 5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5" y="0"/>
                  </a:moveTo>
                  <a:cubicBezTo>
                    <a:pt x="1" y="0"/>
                    <a:pt x="1" y="0"/>
                    <a:pt x="1" y="0"/>
                  </a:cubicBezTo>
                  <a:cubicBezTo>
                    <a:pt x="0" y="0"/>
                    <a:pt x="0" y="1"/>
                    <a:pt x="0" y="1"/>
                  </a:cubicBezTo>
                  <a:cubicBezTo>
                    <a:pt x="0" y="2"/>
                    <a:pt x="0" y="2"/>
                    <a:pt x="1" y="2"/>
                  </a:cubicBezTo>
                  <a:cubicBezTo>
                    <a:pt x="5" y="2"/>
                    <a:pt x="5" y="2"/>
                    <a:pt x="5" y="2"/>
                  </a:cubicBezTo>
                  <a:cubicBezTo>
                    <a:pt x="5" y="2"/>
                    <a:pt x="6" y="2"/>
                    <a:pt x="6" y="1"/>
                  </a:cubicBezTo>
                  <a:cubicBezTo>
                    <a:pt x="6" y="1"/>
                    <a:pt x="5" y="0"/>
                    <a:pt x="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sp>
          <p:nvSpPr>
            <p:cNvPr id="70" name="Freeform 14">
              <a:extLst>
                <a:ext uri="{FF2B5EF4-FFF2-40B4-BE49-F238E27FC236}">
                  <a16:creationId xmlns:a16="http://schemas.microsoft.com/office/drawing/2014/main" id="{0E23E3A6-FCF2-4319-AFA9-F1299FB46705}"/>
                </a:ext>
              </a:extLst>
            </p:cNvPr>
            <p:cNvSpPr>
              <a:spLocks noEditPoints="1"/>
            </p:cNvSpPr>
            <p:nvPr/>
          </p:nvSpPr>
          <p:spPr bwMode="auto">
            <a:xfrm>
              <a:off x="6704" y="-703"/>
              <a:ext cx="277" cy="410"/>
            </a:xfrm>
            <a:custGeom>
              <a:avLst/>
              <a:gdLst>
                <a:gd name="T0" fmla="*/ 91 w 132"/>
                <a:gd name="T1" fmla="*/ 2 h 197"/>
                <a:gd name="T2" fmla="*/ 90 w 132"/>
                <a:gd name="T3" fmla="*/ 1 h 197"/>
                <a:gd name="T4" fmla="*/ 2 w 132"/>
                <a:gd name="T5" fmla="*/ 0 h 197"/>
                <a:gd name="T6" fmla="*/ 0 w 132"/>
                <a:gd name="T7" fmla="*/ 163 h 197"/>
                <a:gd name="T8" fmla="*/ 73 w 132"/>
                <a:gd name="T9" fmla="*/ 165 h 197"/>
                <a:gd name="T10" fmla="*/ 63 w 132"/>
                <a:gd name="T11" fmla="*/ 189 h 197"/>
                <a:gd name="T12" fmla="*/ 79 w 132"/>
                <a:gd name="T13" fmla="*/ 196 h 197"/>
                <a:gd name="T14" fmla="*/ 80 w 132"/>
                <a:gd name="T15" fmla="*/ 196 h 197"/>
                <a:gd name="T16" fmla="*/ 108 w 132"/>
                <a:gd name="T17" fmla="*/ 196 h 197"/>
                <a:gd name="T18" fmla="*/ 109 w 132"/>
                <a:gd name="T19" fmla="*/ 197 h 197"/>
                <a:gd name="T20" fmla="*/ 125 w 132"/>
                <a:gd name="T21" fmla="*/ 190 h 197"/>
                <a:gd name="T22" fmla="*/ 115 w 132"/>
                <a:gd name="T23" fmla="*/ 165 h 197"/>
                <a:gd name="T24" fmla="*/ 132 w 132"/>
                <a:gd name="T25" fmla="*/ 163 h 197"/>
                <a:gd name="T26" fmla="*/ 131 w 132"/>
                <a:gd name="T27" fmla="*/ 42 h 197"/>
                <a:gd name="T28" fmla="*/ 125 w 132"/>
                <a:gd name="T29" fmla="*/ 41 h 197"/>
                <a:gd name="T30" fmla="*/ 91 w 132"/>
                <a:gd name="T31" fmla="*/ 8 h 197"/>
                <a:gd name="T32" fmla="*/ 64 w 132"/>
                <a:gd name="T33" fmla="*/ 188 h 197"/>
                <a:gd name="T34" fmla="*/ 95 w 132"/>
                <a:gd name="T35" fmla="*/ 158 h 197"/>
                <a:gd name="T36" fmla="*/ 79 w 132"/>
                <a:gd name="T37" fmla="*/ 194 h 197"/>
                <a:gd name="T38" fmla="*/ 95 w 132"/>
                <a:gd name="T39" fmla="*/ 119 h 197"/>
                <a:gd name="T40" fmla="*/ 95 w 132"/>
                <a:gd name="T41" fmla="*/ 150 h 197"/>
                <a:gd name="T42" fmla="*/ 124 w 132"/>
                <a:gd name="T43" fmla="*/ 188 h 197"/>
                <a:gd name="T44" fmla="*/ 95 w 132"/>
                <a:gd name="T45" fmla="*/ 164 h 197"/>
                <a:gd name="T46" fmla="*/ 98 w 132"/>
                <a:gd name="T47" fmla="*/ 158 h 197"/>
                <a:gd name="T48" fmla="*/ 124 w 132"/>
                <a:gd name="T49" fmla="*/ 188 h 197"/>
                <a:gd name="T50" fmla="*/ 113 w 132"/>
                <a:gd name="T51" fmla="*/ 161 h 197"/>
                <a:gd name="T52" fmla="*/ 120 w 132"/>
                <a:gd name="T53" fmla="*/ 134 h 197"/>
                <a:gd name="T54" fmla="*/ 70 w 132"/>
                <a:gd name="T55" fmla="*/ 134 h 197"/>
                <a:gd name="T56" fmla="*/ 75 w 132"/>
                <a:gd name="T57" fmla="*/ 161 h 197"/>
                <a:gd name="T58" fmla="*/ 4 w 132"/>
                <a:gd name="T59" fmla="*/ 4 h 197"/>
                <a:gd name="T60" fmla="*/ 89 w 132"/>
                <a:gd name="T61" fmla="*/ 6 h 197"/>
                <a:gd name="T62" fmla="*/ 90 w 132"/>
                <a:gd name="T63" fmla="*/ 43 h 197"/>
                <a:gd name="T64" fmla="*/ 127 w 132"/>
                <a:gd name="T65" fmla="*/ 4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197">
                  <a:moveTo>
                    <a:pt x="131" y="42"/>
                  </a:moveTo>
                  <a:cubicBezTo>
                    <a:pt x="91" y="2"/>
                    <a:pt x="91" y="2"/>
                    <a:pt x="91" y="2"/>
                  </a:cubicBezTo>
                  <a:cubicBezTo>
                    <a:pt x="91" y="2"/>
                    <a:pt x="91" y="2"/>
                    <a:pt x="91" y="2"/>
                  </a:cubicBezTo>
                  <a:cubicBezTo>
                    <a:pt x="90" y="1"/>
                    <a:pt x="90" y="1"/>
                    <a:pt x="90" y="1"/>
                  </a:cubicBezTo>
                  <a:cubicBezTo>
                    <a:pt x="90" y="1"/>
                    <a:pt x="89" y="0"/>
                    <a:pt x="89" y="0"/>
                  </a:cubicBezTo>
                  <a:cubicBezTo>
                    <a:pt x="2" y="0"/>
                    <a:pt x="2" y="0"/>
                    <a:pt x="2" y="0"/>
                  </a:cubicBezTo>
                  <a:cubicBezTo>
                    <a:pt x="1" y="0"/>
                    <a:pt x="0" y="1"/>
                    <a:pt x="0" y="2"/>
                  </a:cubicBezTo>
                  <a:cubicBezTo>
                    <a:pt x="0" y="163"/>
                    <a:pt x="0" y="163"/>
                    <a:pt x="0" y="163"/>
                  </a:cubicBezTo>
                  <a:cubicBezTo>
                    <a:pt x="0" y="164"/>
                    <a:pt x="1" y="165"/>
                    <a:pt x="2" y="165"/>
                  </a:cubicBezTo>
                  <a:cubicBezTo>
                    <a:pt x="73" y="165"/>
                    <a:pt x="73" y="165"/>
                    <a:pt x="73" y="165"/>
                  </a:cubicBezTo>
                  <a:cubicBezTo>
                    <a:pt x="62" y="188"/>
                    <a:pt x="62" y="188"/>
                    <a:pt x="62" y="188"/>
                  </a:cubicBezTo>
                  <a:cubicBezTo>
                    <a:pt x="62" y="189"/>
                    <a:pt x="62" y="189"/>
                    <a:pt x="63" y="189"/>
                  </a:cubicBezTo>
                  <a:cubicBezTo>
                    <a:pt x="79" y="196"/>
                    <a:pt x="79" y="196"/>
                    <a:pt x="79" y="196"/>
                  </a:cubicBezTo>
                  <a:cubicBezTo>
                    <a:pt x="79" y="196"/>
                    <a:pt x="79" y="196"/>
                    <a:pt x="79" y="196"/>
                  </a:cubicBezTo>
                  <a:cubicBezTo>
                    <a:pt x="80" y="196"/>
                    <a:pt x="80" y="196"/>
                    <a:pt x="80" y="196"/>
                  </a:cubicBezTo>
                  <a:cubicBezTo>
                    <a:pt x="80" y="196"/>
                    <a:pt x="80" y="196"/>
                    <a:pt x="80" y="196"/>
                  </a:cubicBezTo>
                  <a:cubicBezTo>
                    <a:pt x="94" y="166"/>
                    <a:pt x="94" y="166"/>
                    <a:pt x="94" y="166"/>
                  </a:cubicBezTo>
                  <a:cubicBezTo>
                    <a:pt x="108" y="196"/>
                    <a:pt x="108" y="196"/>
                    <a:pt x="108" y="196"/>
                  </a:cubicBezTo>
                  <a:cubicBezTo>
                    <a:pt x="108" y="197"/>
                    <a:pt x="108" y="197"/>
                    <a:pt x="108" y="197"/>
                  </a:cubicBezTo>
                  <a:cubicBezTo>
                    <a:pt x="109" y="197"/>
                    <a:pt x="109" y="197"/>
                    <a:pt x="109" y="197"/>
                  </a:cubicBezTo>
                  <a:cubicBezTo>
                    <a:pt x="109" y="196"/>
                    <a:pt x="109" y="196"/>
                    <a:pt x="109" y="196"/>
                  </a:cubicBezTo>
                  <a:cubicBezTo>
                    <a:pt x="125" y="190"/>
                    <a:pt x="125" y="190"/>
                    <a:pt x="125" y="190"/>
                  </a:cubicBezTo>
                  <a:cubicBezTo>
                    <a:pt x="126" y="190"/>
                    <a:pt x="126" y="189"/>
                    <a:pt x="126" y="189"/>
                  </a:cubicBezTo>
                  <a:cubicBezTo>
                    <a:pt x="115" y="165"/>
                    <a:pt x="115" y="165"/>
                    <a:pt x="115" y="165"/>
                  </a:cubicBezTo>
                  <a:cubicBezTo>
                    <a:pt x="129" y="165"/>
                    <a:pt x="129" y="165"/>
                    <a:pt x="129" y="165"/>
                  </a:cubicBezTo>
                  <a:cubicBezTo>
                    <a:pt x="131" y="165"/>
                    <a:pt x="132" y="164"/>
                    <a:pt x="132" y="163"/>
                  </a:cubicBezTo>
                  <a:cubicBezTo>
                    <a:pt x="132" y="43"/>
                    <a:pt x="132" y="43"/>
                    <a:pt x="132" y="43"/>
                  </a:cubicBezTo>
                  <a:cubicBezTo>
                    <a:pt x="132" y="43"/>
                    <a:pt x="131" y="42"/>
                    <a:pt x="131" y="42"/>
                  </a:cubicBezTo>
                  <a:moveTo>
                    <a:pt x="91" y="8"/>
                  </a:moveTo>
                  <a:cubicBezTo>
                    <a:pt x="125" y="41"/>
                    <a:pt x="125" y="41"/>
                    <a:pt x="125" y="41"/>
                  </a:cubicBezTo>
                  <a:cubicBezTo>
                    <a:pt x="91" y="41"/>
                    <a:pt x="91" y="41"/>
                    <a:pt x="91" y="41"/>
                  </a:cubicBezTo>
                  <a:lnTo>
                    <a:pt x="91" y="8"/>
                  </a:lnTo>
                  <a:close/>
                  <a:moveTo>
                    <a:pt x="79" y="194"/>
                  </a:moveTo>
                  <a:cubicBezTo>
                    <a:pt x="64" y="188"/>
                    <a:pt x="64" y="188"/>
                    <a:pt x="64" y="188"/>
                  </a:cubicBezTo>
                  <a:cubicBezTo>
                    <a:pt x="81" y="153"/>
                    <a:pt x="81" y="153"/>
                    <a:pt x="81" y="153"/>
                  </a:cubicBezTo>
                  <a:cubicBezTo>
                    <a:pt x="85" y="156"/>
                    <a:pt x="90" y="158"/>
                    <a:pt x="95" y="158"/>
                  </a:cubicBezTo>
                  <a:cubicBezTo>
                    <a:pt x="94" y="162"/>
                    <a:pt x="94" y="162"/>
                    <a:pt x="94" y="162"/>
                  </a:cubicBezTo>
                  <a:lnTo>
                    <a:pt x="79" y="194"/>
                  </a:lnTo>
                  <a:close/>
                  <a:moveTo>
                    <a:pt x="79" y="134"/>
                  </a:moveTo>
                  <a:cubicBezTo>
                    <a:pt x="79" y="126"/>
                    <a:pt x="86" y="119"/>
                    <a:pt x="95" y="119"/>
                  </a:cubicBezTo>
                  <a:cubicBezTo>
                    <a:pt x="104" y="119"/>
                    <a:pt x="112" y="126"/>
                    <a:pt x="112" y="134"/>
                  </a:cubicBezTo>
                  <a:cubicBezTo>
                    <a:pt x="112" y="143"/>
                    <a:pt x="104" y="150"/>
                    <a:pt x="95" y="150"/>
                  </a:cubicBezTo>
                  <a:cubicBezTo>
                    <a:pt x="86" y="150"/>
                    <a:pt x="79" y="143"/>
                    <a:pt x="79" y="134"/>
                  </a:cubicBezTo>
                  <a:moveTo>
                    <a:pt x="124" y="188"/>
                  </a:moveTo>
                  <a:cubicBezTo>
                    <a:pt x="109" y="194"/>
                    <a:pt x="109" y="194"/>
                    <a:pt x="109" y="194"/>
                  </a:cubicBezTo>
                  <a:cubicBezTo>
                    <a:pt x="95" y="164"/>
                    <a:pt x="95" y="164"/>
                    <a:pt x="95" y="164"/>
                  </a:cubicBezTo>
                  <a:cubicBezTo>
                    <a:pt x="98" y="158"/>
                    <a:pt x="98" y="158"/>
                    <a:pt x="98" y="158"/>
                  </a:cubicBezTo>
                  <a:cubicBezTo>
                    <a:pt x="98" y="158"/>
                    <a:pt x="98" y="158"/>
                    <a:pt x="98" y="158"/>
                  </a:cubicBezTo>
                  <a:cubicBezTo>
                    <a:pt x="102" y="157"/>
                    <a:pt x="105" y="156"/>
                    <a:pt x="108" y="155"/>
                  </a:cubicBezTo>
                  <a:lnTo>
                    <a:pt x="124" y="188"/>
                  </a:lnTo>
                  <a:close/>
                  <a:moveTo>
                    <a:pt x="127" y="161"/>
                  </a:moveTo>
                  <a:cubicBezTo>
                    <a:pt x="113" y="161"/>
                    <a:pt x="113" y="161"/>
                    <a:pt x="113" y="161"/>
                  </a:cubicBezTo>
                  <a:cubicBezTo>
                    <a:pt x="110" y="154"/>
                    <a:pt x="110" y="154"/>
                    <a:pt x="110" y="154"/>
                  </a:cubicBezTo>
                  <a:cubicBezTo>
                    <a:pt x="116" y="149"/>
                    <a:pt x="120" y="142"/>
                    <a:pt x="120" y="134"/>
                  </a:cubicBezTo>
                  <a:cubicBezTo>
                    <a:pt x="120" y="122"/>
                    <a:pt x="109" y="111"/>
                    <a:pt x="95" y="111"/>
                  </a:cubicBezTo>
                  <a:cubicBezTo>
                    <a:pt x="81" y="111"/>
                    <a:pt x="70" y="122"/>
                    <a:pt x="70" y="134"/>
                  </a:cubicBezTo>
                  <a:cubicBezTo>
                    <a:pt x="70" y="142"/>
                    <a:pt x="74" y="148"/>
                    <a:pt x="79" y="152"/>
                  </a:cubicBezTo>
                  <a:cubicBezTo>
                    <a:pt x="75" y="161"/>
                    <a:pt x="75" y="161"/>
                    <a:pt x="75" y="161"/>
                  </a:cubicBezTo>
                  <a:cubicBezTo>
                    <a:pt x="4" y="161"/>
                    <a:pt x="4" y="161"/>
                    <a:pt x="4" y="161"/>
                  </a:cubicBezTo>
                  <a:cubicBezTo>
                    <a:pt x="4" y="4"/>
                    <a:pt x="4" y="4"/>
                    <a:pt x="4" y="4"/>
                  </a:cubicBezTo>
                  <a:cubicBezTo>
                    <a:pt x="88" y="4"/>
                    <a:pt x="88" y="4"/>
                    <a:pt x="88" y="4"/>
                  </a:cubicBezTo>
                  <a:cubicBezTo>
                    <a:pt x="89" y="6"/>
                    <a:pt x="89" y="6"/>
                    <a:pt x="89" y="6"/>
                  </a:cubicBezTo>
                  <a:cubicBezTo>
                    <a:pt x="89" y="42"/>
                    <a:pt x="89" y="42"/>
                    <a:pt x="89" y="42"/>
                  </a:cubicBezTo>
                  <a:cubicBezTo>
                    <a:pt x="89" y="43"/>
                    <a:pt x="90" y="43"/>
                    <a:pt x="90" y="43"/>
                  </a:cubicBezTo>
                  <a:cubicBezTo>
                    <a:pt x="126" y="43"/>
                    <a:pt x="126" y="43"/>
                    <a:pt x="126" y="43"/>
                  </a:cubicBezTo>
                  <a:cubicBezTo>
                    <a:pt x="127" y="44"/>
                    <a:pt x="127" y="44"/>
                    <a:pt x="127" y="44"/>
                  </a:cubicBezTo>
                  <a:lnTo>
                    <a:pt x="127"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333333"/>
                </a:solidFill>
              </a:endParaRPr>
            </a:p>
          </p:txBody>
        </p:sp>
      </p:grpSp>
      <p:sp>
        <p:nvSpPr>
          <p:cNvPr id="41" name="ZoneTexte 12">
            <a:extLst>
              <a:ext uri="{FF2B5EF4-FFF2-40B4-BE49-F238E27FC236}">
                <a16:creationId xmlns:a16="http://schemas.microsoft.com/office/drawing/2014/main" id="{F0CC122A-8E75-4EAC-ABEE-99EFF2033BE3}"/>
              </a:ext>
            </a:extLst>
          </p:cNvPr>
          <p:cNvSpPr txBox="1"/>
          <p:nvPr/>
        </p:nvSpPr>
        <p:spPr>
          <a:xfrm>
            <a:off x="623174" y="4905004"/>
            <a:ext cx="1479893" cy="523220"/>
          </a:xfrm>
          <a:prstGeom prst="rect">
            <a:avLst/>
          </a:prstGeom>
          <a:noFill/>
        </p:spPr>
        <p:txBody>
          <a:bodyPr wrap="none" rtlCol="0">
            <a:spAutoFit/>
          </a:bodyPr>
          <a:lstStyle/>
          <a:p>
            <a:pPr algn="ctr"/>
            <a:r>
              <a:rPr lang="fr-FR" sz="1400" dirty="0">
                <a:solidFill>
                  <a:srgbClr val="333333"/>
                </a:solidFill>
              </a:rPr>
              <a:t>20</a:t>
            </a:r>
            <a:r>
              <a:rPr lang="en-US" altLang="zh-TW" sz="1400" dirty="0">
                <a:solidFill>
                  <a:srgbClr val="333333"/>
                </a:solidFill>
              </a:rPr>
              <a:t>21</a:t>
            </a:r>
            <a:r>
              <a:rPr lang="zh-TW" altLang="en-US" sz="1400" dirty="0">
                <a:solidFill>
                  <a:srgbClr val="333333"/>
                </a:solidFill>
              </a:rPr>
              <a:t>年營業收入</a:t>
            </a:r>
            <a:endParaRPr lang="en-US" altLang="zh-TW" sz="1400" dirty="0">
              <a:solidFill>
                <a:srgbClr val="333333"/>
              </a:solidFill>
            </a:endParaRPr>
          </a:p>
          <a:p>
            <a:pPr algn="ctr"/>
            <a:r>
              <a:rPr lang="zh-TW" altLang="en-US" sz="1400" dirty="0">
                <a:solidFill>
                  <a:srgbClr val="333333"/>
                </a:solidFill>
              </a:rPr>
              <a:t>達</a:t>
            </a:r>
            <a:r>
              <a:rPr lang="en-US" altLang="zh-TW" sz="1400" dirty="0">
                <a:solidFill>
                  <a:srgbClr val="333333"/>
                </a:solidFill>
              </a:rPr>
              <a:t>50</a:t>
            </a:r>
            <a:r>
              <a:rPr lang="zh-TW" altLang="en-US" sz="1400" dirty="0">
                <a:solidFill>
                  <a:srgbClr val="333333"/>
                </a:solidFill>
              </a:rPr>
              <a:t>億歐元</a:t>
            </a:r>
            <a:endParaRPr lang="fr-FR" sz="1400" dirty="0">
              <a:solidFill>
                <a:srgbClr val="333333"/>
              </a:solidFill>
            </a:endParaRPr>
          </a:p>
        </p:txBody>
      </p:sp>
      <p:sp>
        <p:nvSpPr>
          <p:cNvPr id="42" name="ZoneTexte 12">
            <a:extLst>
              <a:ext uri="{FF2B5EF4-FFF2-40B4-BE49-F238E27FC236}">
                <a16:creationId xmlns:a16="http://schemas.microsoft.com/office/drawing/2014/main" id="{F0CC122A-8E75-4EAC-ABEE-99EFF2033BE3}"/>
              </a:ext>
            </a:extLst>
          </p:cNvPr>
          <p:cNvSpPr txBox="1"/>
          <p:nvPr/>
        </p:nvSpPr>
        <p:spPr>
          <a:xfrm>
            <a:off x="3131503" y="5058892"/>
            <a:ext cx="1281120" cy="738664"/>
          </a:xfrm>
          <a:prstGeom prst="rect">
            <a:avLst/>
          </a:prstGeom>
          <a:noFill/>
        </p:spPr>
        <p:txBody>
          <a:bodyPr wrap="none" rtlCol="0">
            <a:spAutoFit/>
          </a:bodyPr>
          <a:lstStyle/>
          <a:p>
            <a:pPr algn="ctr"/>
            <a:r>
              <a:rPr lang="zh-TW" altLang="en-US" sz="1400" dirty="0">
                <a:solidFill>
                  <a:srgbClr val="333333"/>
                </a:solidFill>
              </a:rPr>
              <a:t>全球擁有超過</a:t>
            </a:r>
            <a:endParaRPr lang="en-US" altLang="zh-TW" sz="1400" dirty="0">
              <a:solidFill>
                <a:srgbClr val="333333"/>
              </a:solidFill>
            </a:endParaRPr>
          </a:p>
          <a:p>
            <a:pPr algn="ctr"/>
            <a:r>
              <a:rPr lang="en-US" altLang="zh-TW" sz="1400" dirty="0">
                <a:solidFill>
                  <a:srgbClr val="333333"/>
                </a:solidFill>
              </a:rPr>
              <a:t>8</a:t>
            </a:r>
            <a:r>
              <a:rPr lang="zh-TW" altLang="en-US" sz="1400" dirty="0">
                <a:solidFill>
                  <a:srgbClr val="333333"/>
                </a:solidFill>
              </a:rPr>
              <a:t>萬名員工</a:t>
            </a:r>
            <a:endParaRPr lang="en-US" altLang="zh-TW" sz="1400" dirty="0">
              <a:solidFill>
                <a:srgbClr val="333333"/>
              </a:solidFill>
            </a:endParaRPr>
          </a:p>
          <a:p>
            <a:pPr algn="ctr"/>
            <a:r>
              <a:rPr lang="zh-TW" altLang="en-US" sz="1400" dirty="0">
                <a:solidFill>
                  <a:srgbClr val="333333"/>
                </a:solidFill>
              </a:rPr>
              <a:t>並持續增長中</a:t>
            </a:r>
            <a:endParaRPr lang="fr-FR" sz="1400" dirty="0">
              <a:solidFill>
                <a:srgbClr val="333333"/>
              </a:solidFill>
            </a:endParaRPr>
          </a:p>
        </p:txBody>
      </p:sp>
      <p:sp>
        <p:nvSpPr>
          <p:cNvPr id="43" name="ZoneTexte 12">
            <a:extLst>
              <a:ext uri="{FF2B5EF4-FFF2-40B4-BE49-F238E27FC236}">
                <a16:creationId xmlns:a16="http://schemas.microsoft.com/office/drawing/2014/main" id="{F0CC122A-8E75-4EAC-ABEE-99EFF2033BE3}"/>
              </a:ext>
            </a:extLst>
          </p:cNvPr>
          <p:cNvSpPr txBox="1"/>
          <p:nvPr/>
        </p:nvSpPr>
        <p:spPr>
          <a:xfrm>
            <a:off x="5468576" y="5065780"/>
            <a:ext cx="1281120" cy="523220"/>
          </a:xfrm>
          <a:prstGeom prst="rect">
            <a:avLst/>
          </a:prstGeom>
          <a:noFill/>
        </p:spPr>
        <p:txBody>
          <a:bodyPr wrap="none" rtlCol="0">
            <a:spAutoFit/>
          </a:bodyPr>
          <a:lstStyle/>
          <a:p>
            <a:pPr algn="ctr"/>
            <a:r>
              <a:rPr lang="zh-TW" altLang="en-US" sz="1400" dirty="0">
                <a:solidFill>
                  <a:srgbClr val="333333"/>
                </a:solidFill>
              </a:rPr>
              <a:t>為</a:t>
            </a:r>
            <a:r>
              <a:rPr lang="en-US" altLang="zh-TW" sz="1400" dirty="0">
                <a:solidFill>
                  <a:srgbClr val="333333"/>
                </a:solidFill>
              </a:rPr>
              <a:t>40</a:t>
            </a:r>
            <a:r>
              <a:rPr lang="zh-TW" altLang="en-US" sz="1400" dirty="0">
                <a:solidFill>
                  <a:srgbClr val="333333"/>
                </a:solidFill>
              </a:rPr>
              <a:t>萬家客戶</a:t>
            </a:r>
            <a:endParaRPr lang="en-US" altLang="zh-TW" sz="1400" dirty="0">
              <a:solidFill>
                <a:srgbClr val="333333"/>
              </a:solidFill>
            </a:endParaRPr>
          </a:p>
          <a:p>
            <a:pPr algn="ctr"/>
            <a:r>
              <a:rPr lang="zh-TW" altLang="en-US" sz="1400" dirty="0">
                <a:solidFill>
                  <a:srgbClr val="333333"/>
                </a:solidFill>
              </a:rPr>
              <a:t>提供服務</a:t>
            </a:r>
            <a:endParaRPr lang="fr-FR" sz="1400" dirty="0">
              <a:solidFill>
                <a:srgbClr val="333333"/>
              </a:solidFill>
            </a:endParaRPr>
          </a:p>
        </p:txBody>
      </p:sp>
      <p:sp>
        <p:nvSpPr>
          <p:cNvPr id="44" name="ZoneTexte 12">
            <a:extLst>
              <a:ext uri="{FF2B5EF4-FFF2-40B4-BE49-F238E27FC236}">
                <a16:creationId xmlns:a16="http://schemas.microsoft.com/office/drawing/2014/main" id="{F0CC122A-8E75-4EAC-ABEE-99EFF2033BE3}"/>
              </a:ext>
            </a:extLst>
          </p:cNvPr>
          <p:cNvSpPr txBox="1"/>
          <p:nvPr/>
        </p:nvSpPr>
        <p:spPr>
          <a:xfrm>
            <a:off x="7503266" y="5325021"/>
            <a:ext cx="1919115" cy="738664"/>
          </a:xfrm>
          <a:prstGeom prst="rect">
            <a:avLst/>
          </a:prstGeom>
          <a:noFill/>
        </p:spPr>
        <p:txBody>
          <a:bodyPr wrap="none" rtlCol="0">
            <a:spAutoFit/>
          </a:bodyPr>
          <a:lstStyle/>
          <a:p>
            <a:pPr algn="ctr"/>
            <a:r>
              <a:rPr lang="zh-TW" altLang="en-US" sz="1400" dirty="0">
                <a:solidFill>
                  <a:srgbClr val="333333"/>
                </a:solidFill>
              </a:rPr>
              <a:t>超過</a:t>
            </a:r>
            <a:r>
              <a:rPr lang="en-US" altLang="zh-TW" sz="1400" dirty="0">
                <a:solidFill>
                  <a:srgbClr val="333333"/>
                </a:solidFill>
              </a:rPr>
              <a:t>1400</a:t>
            </a:r>
            <a:r>
              <a:rPr lang="zh-TW" altLang="en-US" sz="1400" dirty="0">
                <a:solidFill>
                  <a:srgbClr val="333333"/>
                </a:solidFill>
              </a:rPr>
              <a:t>個營業據點</a:t>
            </a:r>
            <a:endParaRPr lang="en-US" altLang="zh-TW" sz="1400" dirty="0">
              <a:solidFill>
                <a:srgbClr val="333333"/>
              </a:solidFill>
            </a:endParaRPr>
          </a:p>
          <a:p>
            <a:pPr algn="ctr"/>
            <a:r>
              <a:rPr lang="zh-TW" altLang="en-US" sz="1400" dirty="0">
                <a:solidFill>
                  <a:srgbClr val="333333"/>
                </a:solidFill>
              </a:rPr>
              <a:t>分散在全球</a:t>
            </a:r>
            <a:r>
              <a:rPr lang="en-US" altLang="zh-TW" sz="1400" dirty="0">
                <a:solidFill>
                  <a:srgbClr val="333333"/>
                </a:solidFill>
              </a:rPr>
              <a:t>140</a:t>
            </a:r>
            <a:r>
              <a:rPr lang="zh-TW" altLang="en-US" sz="1400" dirty="0">
                <a:solidFill>
                  <a:srgbClr val="333333"/>
                </a:solidFill>
              </a:rPr>
              <a:t>個國家</a:t>
            </a:r>
            <a:endParaRPr lang="en-US" altLang="zh-TW" sz="1400" dirty="0">
              <a:solidFill>
                <a:srgbClr val="333333"/>
              </a:solidFill>
            </a:endParaRPr>
          </a:p>
          <a:p>
            <a:pPr algn="ctr"/>
            <a:r>
              <a:rPr lang="zh-TW" altLang="en-US" sz="1400" dirty="0">
                <a:solidFill>
                  <a:srgbClr val="333333"/>
                </a:solidFill>
              </a:rPr>
              <a:t>並持續拓展中</a:t>
            </a:r>
            <a:endParaRPr lang="fr-FR" sz="1400" dirty="0">
              <a:solidFill>
                <a:srgbClr val="333333"/>
              </a:solidFill>
            </a:endParaRPr>
          </a:p>
        </p:txBody>
      </p:sp>
      <p:sp>
        <p:nvSpPr>
          <p:cNvPr id="45" name="ZoneTexte 12">
            <a:extLst>
              <a:ext uri="{FF2B5EF4-FFF2-40B4-BE49-F238E27FC236}">
                <a16:creationId xmlns:a16="http://schemas.microsoft.com/office/drawing/2014/main" id="{F0CC122A-8E75-4EAC-ABEE-99EFF2033BE3}"/>
              </a:ext>
            </a:extLst>
          </p:cNvPr>
          <p:cNvSpPr txBox="1"/>
          <p:nvPr/>
        </p:nvSpPr>
        <p:spPr>
          <a:xfrm>
            <a:off x="10255770" y="5208435"/>
            <a:ext cx="1120820" cy="523220"/>
          </a:xfrm>
          <a:prstGeom prst="rect">
            <a:avLst/>
          </a:prstGeom>
          <a:noFill/>
        </p:spPr>
        <p:txBody>
          <a:bodyPr wrap="none" rtlCol="0">
            <a:spAutoFit/>
          </a:bodyPr>
          <a:lstStyle/>
          <a:p>
            <a:pPr algn="ctr"/>
            <a:r>
              <a:rPr lang="zh-TW" altLang="en-US" sz="1400" dirty="0">
                <a:solidFill>
                  <a:srgbClr val="333333"/>
                </a:solidFill>
              </a:rPr>
              <a:t>通過</a:t>
            </a:r>
            <a:r>
              <a:rPr lang="en-US" altLang="zh-TW" sz="1400" dirty="0">
                <a:solidFill>
                  <a:srgbClr val="333333"/>
                </a:solidFill>
              </a:rPr>
              <a:t>3500</a:t>
            </a:r>
            <a:r>
              <a:rPr lang="zh-TW" altLang="en-US" sz="1400" dirty="0">
                <a:solidFill>
                  <a:srgbClr val="333333"/>
                </a:solidFill>
              </a:rPr>
              <a:t>項</a:t>
            </a:r>
            <a:endParaRPr lang="en-US" altLang="zh-TW" sz="1400" dirty="0">
              <a:solidFill>
                <a:srgbClr val="333333"/>
              </a:solidFill>
            </a:endParaRPr>
          </a:p>
          <a:p>
            <a:pPr algn="ctr"/>
            <a:r>
              <a:rPr lang="zh-TW" altLang="en-US" sz="1400" dirty="0">
                <a:solidFill>
                  <a:srgbClr val="333333"/>
                </a:solidFill>
              </a:rPr>
              <a:t>國際認證</a:t>
            </a:r>
            <a:endParaRPr lang="fr-FR" sz="1400" dirty="0">
              <a:solidFill>
                <a:srgbClr val="333333"/>
              </a:solidFill>
            </a:endParaRPr>
          </a:p>
        </p:txBody>
      </p:sp>
    </p:spTree>
    <p:extLst>
      <p:ext uri="{BB962C8B-B14F-4D97-AF65-F5344CB8AC3E}">
        <p14:creationId xmlns:p14="http://schemas.microsoft.com/office/powerpoint/2010/main" val="4270485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Image 6">
            <a:extLst>
              <a:ext uri="{FF2B5EF4-FFF2-40B4-BE49-F238E27FC236}">
                <a16:creationId xmlns:a16="http://schemas.microsoft.com/office/drawing/2014/main" id="{D717B177-F473-478C-AA05-B17C22CB870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432" t="25096" r="65429"/>
          <a:stretch/>
        </p:blipFill>
        <p:spPr>
          <a:xfrm>
            <a:off x="8134348" y="-13685"/>
            <a:ext cx="2029275" cy="5136946"/>
          </a:xfrm>
          <a:prstGeom prst="rect">
            <a:avLst/>
          </a:prstGeom>
        </p:spPr>
      </p:pic>
      <p:pic>
        <p:nvPicPr>
          <p:cNvPr id="68" name="Image 3">
            <a:extLst>
              <a:ext uri="{FF2B5EF4-FFF2-40B4-BE49-F238E27FC236}">
                <a16:creationId xmlns:a16="http://schemas.microsoft.com/office/drawing/2014/main" id="{5462FB41-FCBD-40EF-BF2D-B3BA1572EA78}"/>
              </a:ext>
            </a:extLst>
          </p:cNvPr>
          <p:cNvPicPr>
            <a:picLocks noChangeAspect="1"/>
          </p:cNvPicPr>
          <p:nvPr/>
        </p:nvPicPr>
        <p:blipFill rotWithShape="1">
          <a:blip r:embed="rId4">
            <a:extLst>
              <a:ext uri="{28A0092B-C50C-407E-A947-70E740481C1C}">
                <a14:useLocalDpi xmlns:a14="http://schemas.microsoft.com/office/drawing/2010/main" val="0"/>
              </a:ext>
            </a:extLst>
          </a:blip>
          <a:srcRect l="29008" t="26043" r="54499" b="-11409"/>
          <a:stretch/>
        </p:blipFill>
        <p:spPr>
          <a:xfrm>
            <a:off x="6146" y="0"/>
            <a:ext cx="2026075" cy="5854398"/>
          </a:xfrm>
          <a:prstGeom prst="rect">
            <a:avLst/>
          </a:prstGeom>
        </p:spPr>
      </p:pic>
      <p:pic>
        <p:nvPicPr>
          <p:cNvPr id="70" name="Image 18">
            <a:extLst>
              <a:ext uri="{FF2B5EF4-FFF2-40B4-BE49-F238E27FC236}">
                <a16:creationId xmlns:a16="http://schemas.microsoft.com/office/drawing/2014/main" id="{F8DFDB61-025A-46CA-844D-055E23E886FC}"/>
              </a:ext>
            </a:extLst>
          </p:cNvPr>
          <p:cNvPicPr>
            <a:picLocks noChangeAspect="1"/>
          </p:cNvPicPr>
          <p:nvPr/>
        </p:nvPicPr>
        <p:blipFill rotWithShape="1">
          <a:blip r:embed="rId5"/>
          <a:srcRect l="53344" r="25099"/>
          <a:stretch/>
        </p:blipFill>
        <p:spPr>
          <a:xfrm>
            <a:off x="10162724" y="0"/>
            <a:ext cx="2029275" cy="6858000"/>
          </a:xfrm>
          <a:prstGeom prst="rect">
            <a:avLst/>
          </a:prstGeom>
        </p:spPr>
      </p:pic>
      <p:pic>
        <p:nvPicPr>
          <p:cNvPr id="71" name="Image 22">
            <a:extLst>
              <a:ext uri="{FF2B5EF4-FFF2-40B4-BE49-F238E27FC236}">
                <a16:creationId xmlns:a16="http://schemas.microsoft.com/office/drawing/2014/main" id="{5C5844E4-0174-4D91-9B3B-BBB516987047}"/>
              </a:ext>
            </a:extLst>
          </p:cNvPr>
          <p:cNvPicPr>
            <a:picLocks noChangeAspect="1"/>
          </p:cNvPicPr>
          <p:nvPr/>
        </p:nvPicPr>
        <p:blipFill rotWithShape="1">
          <a:blip r:embed="rId6"/>
          <a:srcRect l="15542" t="24847" r="64974"/>
          <a:stretch/>
        </p:blipFill>
        <p:spPr>
          <a:xfrm>
            <a:off x="2008127" y="0"/>
            <a:ext cx="2034534" cy="5154006"/>
          </a:xfrm>
          <a:prstGeom prst="rect">
            <a:avLst/>
          </a:prstGeom>
        </p:spPr>
      </p:pic>
      <p:pic>
        <p:nvPicPr>
          <p:cNvPr id="72" name="Image 11">
            <a:extLst>
              <a:ext uri="{FF2B5EF4-FFF2-40B4-BE49-F238E27FC236}">
                <a16:creationId xmlns:a16="http://schemas.microsoft.com/office/drawing/2014/main" id="{0DF01445-A60A-4469-8E27-D577B6DB6DB4}"/>
              </a:ext>
            </a:extLst>
          </p:cNvPr>
          <p:cNvPicPr>
            <a:picLocks noChangeAspect="1"/>
          </p:cNvPicPr>
          <p:nvPr/>
        </p:nvPicPr>
        <p:blipFill rotWithShape="1">
          <a:blip r:embed="rId7"/>
          <a:srcRect l="44879" r="35641"/>
          <a:stretch/>
        </p:blipFill>
        <p:spPr>
          <a:xfrm>
            <a:off x="4012444" y="-13685"/>
            <a:ext cx="2079466" cy="6858000"/>
          </a:xfrm>
          <a:prstGeom prst="rect">
            <a:avLst/>
          </a:prstGeom>
        </p:spPr>
      </p:pic>
      <p:pic>
        <p:nvPicPr>
          <p:cNvPr id="73" name="Image 14">
            <a:extLst>
              <a:ext uri="{FF2B5EF4-FFF2-40B4-BE49-F238E27FC236}">
                <a16:creationId xmlns:a16="http://schemas.microsoft.com/office/drawing/2014/main" id="{CD6FAF4D-C9BD-4FBE-850A-E88CC15E3DE3}"/>
              </a:ext>
            </a:extLst>
          </p:cNvPr>
          <p:cNvPicPr>
            <a:picLocks noChangeAspect="1"/>
          </p:cNvPicPr>
          <p:nvPr/>
        </p:nvPicPr>
        <p:blipFill rotWithShape="1">
          <a:blip r:embed="rId8"/>
          <a:srcRect l="42302" r="28472"/>
          <a:stretch/>
        </p:blipFill>
        <p:spPr>
          <a:xfrm>
            <a:off x="6096000" y="0"/>
            <a:ext cx="2030168" cy="6858000"/>
          </a:xfrm>
          <a:prstGeom prst="rect">
            <a:avLst/>
          </a:prstGeom>
        </p:spPr>
      </p:pic>
      <p:sp>
        <p:nvSpPr>
          <p:cNvPr id="74" name="Rectangle 42">
            <a:extLst>
              <a:ext uri="{FF2B5EF4-FFF2-40B4-BE49-F238E27FC236}">
                <a16:creationId xmlns:a16="http://schemas.microsoft.com/office/drawing/2014/main" id="{59D67841-571E-46C0-A4B2-3A4A638C4567}"/>
              </a:ext>
            </a:extLst>
          </p:cNvPr>
          <p:cNvSpPr/>
          <p:nvPr/>
        </p:nvSpPr>
        <p:spPr>
          <a:xfrm>
            <a:off x="-1" y="4326151"/>
            <a:ext cx="12192001" cy="2540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prstClr val="white"/>
              </a:solidFill>
            </a:endParaRPr>
          </a:p>
        </p:txBody>
      </p:sp>
      <p:sp>
        <p:nvSpPr>
          <p:cNvPr id="78" name="Rectangle 48">
            <a:extLst>
              <a:ext uri="{FF2B5EF4-FFF2-40B4-BE49-F238E27FC236}">
                <a16:creationId xmlns:a16="http://schemas.microsoft.com/office/drawing/2014/main" id="{229E19E3-DA2E-417B-BDA9-B95D50A5AA0B}"/>
              </a:ext>
            </a:extLst>
          </p:cNvPr>
          <p:cNvSpPr/>
          <p:nvPr/>
        </p:nvSpPr>
        <p:spPr>
          <a:xfrm>
            <a:off x="10167263" y="5201004"/>
            <a:ext cx="2004317" cy="886397"/>
          </a:xfrm>
          <a:prstGeom prst="rect">
            <a:avLst/>
          </a:prstGeom>
        </p:spPr>
        <p:txBody>
          <a:bodyPr wrap="square" lIns="72000" tIns="0" rIns="72000" bIns="0">
            <a:spAutoFit/>
          </a:bodyPr>
          <a:lstStyle/>
          <a:p>
            <a:pPr algn="ctr">
              <a:lnSpc>
                <a:spcPct val="90000"/>
              </a:lnSpc>
              <a:defRPr/>
            </a:pPr>
            <a:r>
              <a:rPr lang="zh-TW" altLang="en-US" sz="1600" dirty="0">
                <a:solidFill>
                  <a:prstClr val="black"/>
                </a:solidFill>
              </a:rPr>
              <a:t>測試和驗證消費品的合規性、質量、安全性和性能，並提高供應鏈效率</a:t>
            </a:r>
            <a:endParaRPr lang="en-GB" sz="1600" dirty="0">
              <a:solidFill>
                <a:prstClr val="black"/>
              </a:solidFill>
            </a:endParaRPr>
          </a:p>
        </p:txBody>
      </p:sp>
      <p:sp>
        <p:nvSpPr>
          <p:cNvPr id="84" name="Rectangle 50">
            <a:extLst>
              <a:ext uri="{FF2B5EF4-FFF2-40B4-BE49-F238E27FC236}">
                <a16:creationId xmlns:a16="http://schemas.microsoft.com/office/drawing/2014/main" id="{F44D8BE3-4E66-41F8-903A-89A1898F0680}"/>
              </a:ext>
            </a:extLst>
          </p:cNvPr>
          <p:cNvSpPr/>
          <p:nvPr/>
        </p:nvSpPr>
        <p:spPr>
          <a:xfrm>
            <a:off x="10505053" y="4531825"/>
            <a:ext cx="1328736" cy="332399"/>
          </a:xfrm>
          <a:prstGeom prst="rect">
            <a:avLst/>
          </a:prstGeom>
        </p:spPr>
        <p:txBody>
          <a:bodyPr wrap="square" lIns="72000" tIns="0" rIns="72000" bIns="0">
            <a:spAutoFit/>
          </a:bodyPr>
          <a:lstStyle/>
          <a:p>
            <a:pPr algn="ctr">
              <a:lnSpc>
                <a:spcPct val="90000"/>
              </a:lnSpc>
              <a:defRPr/>
            </a:pPr>
            <a:r>
              <a:rPr lang="en-GB" sz="1200" b="1" dirty="0">
                <a:solidFill>
                  <a:srgbClr val="CC023B"/>
                </a:solidFill>
              </a:rPr>
              <a:t>CONSUMER PRODUCTS</a:t>
            </a:r>
          </a:p>
        </p:txBody>
      </p:sp>
      <p:sp>
        <p:nvSpPr>
          <p:cNvPr id="87" name="Rectangle 35">
            <a:extLst>
              <a:ext uri="{FF2B5EF4-FFF2-40B4-BE49-F238E27FC236}">
                <a16:creationId xmlns:a16="http://schemas.microsoft.com/office/drawing/2014/main" id="{1E008D17-06AE-40B4-AEE9-53D5445FDB96}"/>
              </a:ext>
            </a:extLst>
          </p:cNvPr>
          <p:cNvSpPr/>
          <p:nvPr/>
        </p:nvSpPr>
        <p:spPr>
          <a:xfrm>
            <a:off x="3810" y="5201004"/>
            <a:ext cx="2004317" cy="886397"/>
          </a:xfrm>
          <a:prstGeom prst="rect">
            <a:avLst/>
          </a:prstGeom>
        </p:spPr>
        <p:txBody>
          <a:bodyPr wrap="square" lIns="72000" tIns="0" rIns="72000" bIns="0">
            <a:spAutoFit/>
          </a:bodyPr>
          <a:lstStyle/>
          <a:p>
            <a:pPr algn="ctr">
              <a:lnSpc>
                <a:spcPct val="90000"/>
              </a:lnSpc>
              <a:defRPr/>
            </a:pPr>
            <a:r>
              <a:rPr lang="zh-TW" altLang="en-US" sz="1600" dirty="0">
                <a:solidFill>
                  <a:prstClr val="black"/>
                </a:solidFill>
              </a:rPr>
              <a:t>提供船舶和海上平台分類服務和技術專業知識，以評估和管理風險並提高績效</a:t>
            </a:r>
            <a:endParaRPr lang="en-US" sz="1600" dirty="0">
              <a:solidFill>
                <a:prstClr val="black"/>
              </a:solidFill>
            </a:endParaRPr>
          </a:p>
        </p:txBody>
      </p:sp>
      <p:sp>
        <p:nvSpPr>
          <p:cNvPr id="90" name="Rectangle 45">
            <a:extLst>
              <a:ext uri="{FF2B5EF4-FFF2-40B4-BE49-F238E27FC236}">
                <a16:creationId xmlns:a16="http://schemas.microsoft.com/office/drawing/2014/main" id="{8D7ABE7E-BF9F-4619-BBFF-532514CB6B73}"/>
              </a:ext>
            </a:extLst>
          </p:cNvPr>
          <p:cNvSpPr/>
          <p:nvPr/>
        </p:nvSpPr>
        <p:spPr>
          <a:xfrm>
            <a:off x="370314" y="4531825"/>
            <a:ext cx="1304388" cy="332399"/>
          </a:xfrm>
          <a:prstGeom prst="rect">
            <a:avLst/>
          </a:prstGeom>
        </p:spPr>
        <p:txBody>
          <a:bodyPr wrap="square" lIns="72000" tIns="0" rIns="72000" bIns="0">
            <a:spAutoFit/>
          </a:bodyPr>
          <a:lstStyle/>
          <a:p>
            <a:pPr algn="ctr">
              <a:lnSpc>
                <a:spcPct val="90000"/>
              </a:lnSpc>
              <a:defRPr/>
            </a:pPr>
            <a:r>
              <a:rPr lang="en-GB" sz="1200" b="1" dirty="0">
                <a:solidFill>
                  <a:srgbClr val="CC023B"/>
                </a:solidFill>
              </a:rPr>
              <a:t>MARINE </a:t>
            </a:r>
            <a:br>
              <a:rPr lang="en-GB" sz="1200" b="1" dirty="0">
                <a:solidFill>
                  <a:srgbClr val="CC023B"/>
                </a:solidFill>
              </a:rPr>
            </a:br>
            <a:r>
              <a:rPr lang="en-GB" sz="1200" b="1" dirty="0">
                <a:solidFill>
                  <a:srgbClr val="CC023B"/>
                </a:solidFill>
              </a:rPr>
              <a:t>&amp; OFFSHORE</a:t>
            </a:r>
          </a:p>
        </p:txBody>
      </p:sp>
      <p:sp>
        <p:nvSpPr>
          <p:cNvPr id="92" name="Rectangle 21">
            <a:extLst>
              <a:ext uri="{FF2B5EF4-FFF2-40B4-BE49-F238E27FC236}">
                <a16:creationId xmlns:a16="http://schemas.microsoft.com/office/drawing/2014/main" id="{E82E1A01-5B44-4EDD-992F-2028314539A6}"/>
              </a:ext>
            </a:extLst>
          </p:cNvPr>
          <p:cNvSpPr/>
          <p:nvPr/>
        </p:nvSpPr>
        <p:spPr>
          <a:xfrm>
            <a:off x="2063129" y="5201004"/>
            <a:ext cx="2004317" cy="1107996"/>
          </a:xfrm>
          <a:prstGeom prst="rect">
            <a:avLst/>
          </a:prstGeom>
        </p:spPr>
        <p:txBody>
          <a:bodyPr wrap="square" lIns="72000" tIns="0" rIns="72000" bIns="0">
            <a:spAutoFit/>
          </a:bodyPr>
          <a:lstStyle/>
          <a:p>
            <a:pPr algn="ctr">
              <a:lnSpc>
                <a:spcPct val="90000"/>
              </a:lnSpc>
              <a:defRPr/>
            </a:pPr>
            <a:r>
              <a:rPr lang="zh-TW" altLang="en-US" sz="1600" dirty="0">
                <a:solidFill>
                  <a:prstClr val="black"/>
                </a:solidFill>
              </a:rPr>
              <a:t>保持工業資產的安全性、可靠性和完整性，並評估是否符合國家，國際和自願</a:t>
            </a:r>
            <a:r>
              <a:rPr lang="en-US" altLang="zh-TW" sz="1600" dirty="0">
                <a:solidFill>
                  <a:prstClr val="black"/>
                </a:solidFill>
              </a:rPr>
              <a:t>QHSE</a:t>
            </a:r>
          </a:p>
          <a:p>
            <a:pPr algn="ctr">
              <a:lnSpc>
                <a:spcPct val="90000"/>
              </a:lnSpc>
              <a:defRPr/>
            </a:pPr>
            <a:r>
              <a:rPr lang="zh-TW" altLang="en-US" sz="1600" dirty="0">
                <a:solidFill>
                  <a:prstClr val="black"/>
                </a:solidFill>
              </a:rPr>
              <a:t>標準</a:t>
            </a:r>
            <a:endParaRPr lang="en-US" sz="1600" dirty="0">
              <a:solidFill>
                <a:prstClr val="black"/>
              </a:solidFill>
            </a:endParaRPr>
          </a:p>
        </p:txBody>
      </p:sp>
      <p:sp>
        <p:nvSpPr>
          <p:cNvPr id="96" name="Rectangle 25">
            <a:extLst>
              <a:ext uri="{FF2B5EF4-FFF2-40B4-BE49-F238E27FC236}">
                <a16:creationId xmlns:a16="http://schemas.microsoft.com/office/drawing/2014/main" id="{186274CC-CF2D-4439-9256-77A4E50D8BE4}"/>
              </a:ext>
            </a:extLst>
          </p:cNvPr>
          <p:cNvSpPr/>
          <p:nvPr/>
        </p:nvSpPr>
        <p:spPr>
          <a:xfrm>
            <a:off x="2043849" y="4614925"/>
            <a:ext cx="2004317" cy="166199"/>
          </a:xfrm>
          <a:prstGeom prst="rect">
            <a:avLst/>
          </a:prstGeom>
        </p:spPr>
        <p:txBody>
          <a:bodyPr wrap="square" lIns="72000" tIns="0" rIns="72000" bIns="0">
            <a:spAutoFit/>
          </a:bodyPr>
          <a:lstStyle/>
          <a:p>
            <a:pPr algn="ctr">
              <a:lnSpc>
                <a:spcPct val="90000"/>
              </a:lnSpc>
              <a:defRPr/>
            </a:pPr>
            <a:r>
              <a:rPr lang="en-GB" sz="1200" b="1" dirty="0">
                <a:solidFill>
                  <a:srgbClr val="CC023B"/>
                </a:solidFill>
              </a:rPr>
              <a:t>INDUSTRY</a:t>
            </a:r>
          </a:p>
        </p:txBody>
      </p:sp>
      <p:sp>
        <p:nvSpPr>
          <p:cNvPr id="97" name="Rectangle 27">
            <a:extLst>
              <a:ext uri="{FF2B5EF4-FFF2-40B4-BE49-F238E27FC236}">
                <a16:creationId xmlns:a16="http://schemas.microsoft.com/office/drawing/2014/main" id="{DBEA1336-6F6B-4EE2-AFDF-E33B6842B1FA}"/>
              </a:ext>
            </a:extLst>
          </p:cNvPr>
          <p:cNvSpPr/>
          <p:nvPr/>
        </p:nvSpPr>
        <p:spPr>
          <a:xfrm>
            <a:off x="4080126" y="5201004"/>
            <a:ext cx="2004317" cy="1107996"/>
          </a:xfrm>
          <a:prstGeom prst="rect">
            <a:avLst/>
          </a:prstGeom>
        </p:spPr>
        <p:txBody>
          <a:bodyPr wrap="square" lIns="72000" tIns="0" rIns="72000" bIns="0">
            <a:spAutoFit/>
          </a:bodyPr>
          <a:lstStyle/>
          <a:p>
            <a:pPr algn="ctr">
              <a:lnSpc>
                <a:spcPct val="90000"/>
              </a:lnSpc>
              <a:defRPr/>
            </a:pPr>
            <a:r>
              <a:rPr lang="zh-TW" altLang="en-US" sz="1600" dirty="0">
                <a:solidFill>
                  <a:prstClr val="black"/>
                </a:solidFill>
              </a:rPr>
              <a:t>為使用中或在建造中的建築物和基礎設施提供合規和節能的保障，評估在職設施的安全性和性能</a:t>
            </a:r>
            <a:endParaRPr lang="en-US" sz="1600" dirty="0">
              <a:solidFill>
                <a:prstClr val="black"/>
              </a:solidFill>
            </a:endParaRPr>
          </a:p>
        </p:txBody>
      </p:sp>
      <p:sp>
        <p:nvSpPr>
          <p:cNvPr id="101" name="Rectangle 29">
            <a:extLst>
              <a:ext uri="{FF2B5EF4-FFF2-40B4-BE49-F238E27FC236}">
                <a16:creationId xmlns:a16="http://schemas.microsoft.com/office/drawing/2014/main" id="{79E57F2D-E08E-4E9B-BC1C-FD629A76E23F}"/>
              </a:ext>
            </a:extLst>
          </p:cNvPr>
          <p:cNvSpPr/>
          <p:nvPr/>
        </p:nvSpPr>
        <p:spPr>
          <a:xfrm>
            <a:off x="4065917" y="4551777"/>
            <a:ext cx="2004317" cy="332399"/>
          </a:xfrm>
          <a:prstGeom prst="rect">
            <a:avLst/>
          </a:prstGeom>
        </p:spPr>
        <p:txBody>
          <a:bodyPr wrap="square" lIns="72000" tIns="0" rIns="72000" bIns="0">
            <a:spAutoFit/>
          </a:bodyPr>
          <a:lstStyle/>
          <a:p>
            <a:pPr algn="ctr">
              <a:lnSpc>
                <a:spcPct val="90000"/>
              </a:lnSpc>
              <a:defRPr/>
            </a:pPr>
            <a:r>
              <a:rPr lang="en-GB" sz="1200" b="1" dirty="0">
                <a:solidFill>
                  <a:srgbClr val="CC023B"/>
                </a:solidFill>
              </a:rPr>
              <a:t>BUILDINGS &amp; INFRASTRUCTURE</a:t>
            </a:r>
          </a:p>
        </p:txBody>
      </p:sp>
      <p:sp>
        <p:nvSpPr>
          <p:cNvPr id="102" name="Rectangle 31">
            <a:extLst>
              <a:ext uri="{FF2B5EF4-FFF2-40B4-BE49-F238E27FC236}">
                <a16:creationId xmlns:a16="http://schemas.microsoft.com/office/drawing/2014/main" id="{95DF9104-A56F-4ACD-8280-9169A10A300F}"/>
              </a:ext>
            </a:extLst>
          </p:cNvPr>
          <p:cNvSpPr/>
          <p:nvPr/>
        </p:nvSpPr>
        <p:spPr>
          <a:xfrm>
            <a:off x="6134303" y="5201004"/>
            <a:ext cx="2004317" cy="886397"/>
          </a:xfrm>
          <a:prstGeom prst="rect">
            <a:avLst/>
          </a:prstGeom>
        </p:spPr>
        <p:txBody>
          <a:bodyPr wrap="square" lIns="72000" tIns="0" rIns="72000" bIns="0">
            <a:spAutoFit/>
          </a:bodyPr>
          <a:lstStyle/>
          <a:p>
            <a:pPr algn="ctr">
              <a:lnSpc>
                <a:spcPct val="90000"/>
              </a:lnSpc>
              <a:defRPr/>
            </a:pPr>
            <a:r>
              <a:rPr lang="zh-TW" altLang="en-US" sz="1600" dirty="0">
                <a:solidFill>
                  <a:prstClr val="black"/>
                </a:solidFill>
              </a:rPr>
              <a:t>證明質量、健康、安全和環境管理系統符合國際、國家、行業或公司特定標準</a:t>
            </a:r>
            <a:endParaRPr lang="en-GB" sz="1600" dirty="0">
              <a:solidFill>
                <a:prstClr val="black"/>
              </a:solidFill>
            </a:endParaRPr>
          </a:p>
        </p:txBody>
      </p:sp>
      <p:sp>
        <p:nvSpPr>
          <p:cNvPr id="105" name="Rectangle 33">
            <a:extLst>
              <a:ext uri="{FF2B5EF4-FFF2-40B4-BE49-F238E27FC236}">
                <a16:creationId xmlns:a16="http://schemas.microsoft.com/office/drawing/2014/main" id="{031A8F66-E35B-41E1-ACD8-36602F3C6036}"/>
              </a:ext>
            </a:extLst>
          </p:cNvPr>
          <p:cNvSpPr/>
          <p:nvPr/>
        </p:nvSpPr>
        <p:spPr>
          <a:xfrm>
            <a:off x="6253804" y="4614925"/>
            <a:ext cx="1706648" cy="166199"/>
          </a:xfrm>
          <a:prstGeom prst="rect">
            <a:avLst/>
          </a:prstGeom>
        </p:spPr>
        <p:txBody>
          <a:bodyPr wrap="square" lIns="72000" tIns="0" rIns="72000" bIns="0">
            <a:spAutoFit/>
          </a:bodyPr>
          <a:lstStyle/>
          <a:p>
            <a:pPr algn="ctr">
              <a:lnSpc>
                <a:spcPct val="90000"/>
              </a:lnSpc>
              <a:defRPr/>
            </a:pPr>
            <a:r>
              <a:rPr lang="en-GB" sz="1200" b="1" dirty="0">
                <a:solidFill>
                  <a:srgbClr val="CC023B"/>
                </a:solidFill>
              </a:rPr>
              <a:t>CERTIFICATION</a:t>
            </a:r>
          </a:p>
        </p:txBody>
      </p:sp>
      <p:sp>
        <p:nvSpPr>
          <p:cNvPr id="107" name="Rectangle 41">
            <a:extLst>
              <a:ext uri="{FF2B5EF4-FFF2-40B4-BE49-F238E27FC236}">
                <a16:creationId xmlns:a16="http://schemas.microsoft.com/office/drawing/2014/main" id="{90235BBD-F4EA-47A7-AE22-5006D2AD620F}"/>
              </a:ext>
            </a:extLst>
          </p:cNvPr>
          <p:cNvSpPr/>
          <p:nvPr/>
        </p:nvSpPr>
        <p:spPr>
          <a:xfrm>
            <a:off x="8136991" y="5201004"/>
            <a:ext cx="2004317" cy="1107996"/>
          </a:xfrm>
          <a:prstGeom prst="rect">
            <a:avLst/>
          </a:prstGeom>
        </p:spPr>
        <p:txBody>
          <a:bodyPr wrap="square" lIns="72000" tIns="0" rIns="72000" bIns="0">
            <a:spAutoFit/>
          </a:bodyPr>
          <a:lstStyle/>
          <a:p>
            <a:pPr algn="ctr">
              <a:lnSpc>
                <a:spcPct val="90000"/>
              </a:lnSpc>
              <a:defRPr/>
            </a:pPr>
            <a:r>
              <a:rPr lang="zh-TW" altLang="en-US" sz="1600" dirty="0">
                <a:solidFill>
                  <a:prstClr val="black"/>
                </a:solidFill>
              </a:rPr>
              <a:t>提高透明度，驗證整個價值鏈中商品的構成、質量和數量，從鑽井到交易，從農場到餐桌</a:t>
            </a:r>
            <a:endParaRPr lang="en-US" sz="1600" dirty="0">
              <a:solidFill>
                <a:prstClr val="black"/>
              </a:solidFill>
            </a:endParaRPr>
          </a:p>
        </p:txBody>
      </p:sp>
      <p:sp>
        <p:nvSpPr>
          <p:cNvPr id="110" name="Rectangle 46">
            <a:extLst>
              <a:ext uri="{FF2B5EF4-FFF2-40B4-BE49-F238E27FC236}">
                <a16:creationId xmlns:a16="http://schemas.microsoft.com/office/drawing/2014/main" id="{186C4B69-8A7F-45C4-801C-76AD0274C1E5}"/>
              </a:ext>
            </a:extLst>
          </p:cNvPr>
          <p:cNvSpPr/>
          <p:nvPr/>
        </p:nvSpPr>
        <p:spPr>
          <a:xfrm>
            <a:off x="8402811" y="4531825"/>
            <a:ext cx="1472677" cy="332399"/>
          </a:xfrm>
          <a:prstGeom prst="rect">
            <a:avLst/>
          </a:prstGeom>
        </p:spPr>
        <p:txBody>
          <a:bodyPr wrap="square" lIns="72000" tIns="0" rIns="72000" bIns="0">
            <a:spAutoFit/>
          </a:bodyPr>
          <a:lstStyle/>
          <a:p>
            <a:pPr algn="ctr">
              <a:lnSpc>
                <a:spcPct val="90000"/>
              </a:lnSpc>
              <a:defRPr/>
            </a:pPr>
            <a:r>
              <a:rPr lang="en-GB" sz="1200" b="1" dirty="0">
                <a:solidFill>
                  <a:srgbClr val="CC023B"/>
                </a:solidFill>
              </a:rPr>
              <a:t>AGRI-FOOD &amp; COMMODITIES</a:t>
            </a:r>
          </a:p>
        </p:txBody>
      </p:sp>
      <p:sp>
        <p:nvSpPr>
          <p:cNvPr id="112" name="Rectangle 65">
            <a:extLst>
              <a:ext uri="{FF2B5EF4-FFF2-40B4-BE49-F238E27FC236}">
                <a16:creationId xmlns:a16="http://schemas.microsoft.com/office/drawing/2014/main" id="{E775BC54-3D4E-4D74-8F71-8AA2ABABAA3F}"/>
              </a:ext>
            </a:extLst>
          </p:cNvPr>
          <p:cNvSpPr/>
          <p:nvPr/>
        </p:nvSpPr>
        <p:spPr>
          <a:xfrm>
            <a:off x="11101388" y="6781800"/>
            <a:ext cx="1090612"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114" name="Image 49">
            <a:extLst>
              <a:ext uri="{FF2B5EF4-FFF2-40B4-BE49-F238E27FC236}">
                <a16:creationId xmlns:a16="http://schemas.microsoft.com/office/drawing/2014/main" id="{E009AAC0-D282-4EF0-9D92-E5C577F110D3}"/>
              </a:ext>
            </a:extLst>
          </p:cNvPr>
          <p:cNvPicPr>
            <a:picLocks noChangeAspect="1"/>
          </p:cNvPicPr>
          <p:nvPr/>
        </p:nvPicPr>
        <p:blipFill>
          <a:blip r:embed="rId9"/>
          <a:stretch>
            <a:fillRect/>
          </a:stretch>
        </p:blipFill>
        <p:spPr>
          <a:xfrm>
            <a:off x="188362" y="6079331"/>
            <a:ext cx="506185" cy="623888"/>
          </a:xfrm>
          <a:prstGeom prst="rect">
            <a:avLst/>
          </a:prstGeom>
        </p:spPr>
      </p:pic>
      <p:sp>
        <p:nvSpPr>
          <p:cNvPr id="115" name="Espace réservé du numéro de diapositive 2">
            <a:extLst>
              <a:ext uri="{FF2B5EF4-FFF2-40B4-BE49-F238E27FC236}">
                <a16:creationId xmlns:a16="http://schemas.microsoft.com/office/drawing/2014/main" id="{671C341C-999D-4169-B91F-03491AA8EF5A}"/>
              </a:ext>
            </a:extLst>
          </p:cNvPr>
          <p:cNvSpPr>
            <a:spLocks noGrp="1"/>
          </p:cNvSpPr>
          <p:nvPr>
            <p:ph type="sldNum" sz="quarter" idx="10"/>
          </p:nvPr>
        </p:nvSpPr>
        <p:spPr>
          <a:xfrm>
            <a:off x="11273133" y="6549922"/>
            <a:ext cx="744114" cy="138499"/>
          </a:xfrm>
        </p:spPr>
        <p:txBody>
          <a:bodyPr/>
          <a:lstStyle/>
          <a:p>
            <a:r>
              <a:rPr lang="fr-FR" dirty="0">
                <a:solidFill>
                  <a:srgbClr val="333333">
                    <a:tint val="75000"/>
                  </a:srgbClr>
                </a:solidFill>
              </a:rPr>
              <a:t>Slide / </a:t>
            </a:r>
            <a:fld id="{3EA6A558-C4CA-4506-B5EC-E793D5AE9532}" type="slidenum">
              <a:rPr lang="fr-FR" smtClean="0">
                <a:solidFill>
                  <a:srgbClr val="333333">
                    <a:tint val="75000"/>
                  </a:srgbClr>
                </a:solidFill>
              </a:rPr>
              <a:pPr/>
              <a:t>6</a:t>
            </a:fld>
            <a:endParaRPr lang="fr-FR" dirty="0">
              <a:solidFill>
                <a:srgbClr val="333333">
                  <a:tint val="75000"/>
                </a:srgbClr>
              </a:solidFill>
            </a:endParaRPr>
          </a:p>
        </p:txBody>
      </p:sp>
      <p:sp>
        <p:nvSpPr>
          <p:cNvPr id="116" name="矩形 115"/>
          <p:cNvSpPr/>
          <p:nvPr/>
        </p:nvSpPr>
        <p:spPr>
          <a:xfrm>
            <a:off x="-48939" y="-36453"/>
            <a:ext cx="12209948" cy="4364829"/>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sp>
        <p:nvSpPr>
          <p:cNvPr id="75" name="Titre 1">
            <a:extLst>
              <a:ext uri="{FF2B5EF4-FFF2-40B4-BE49-F238E27FC236}">
                <a16:creationId xmlns:a16="http://schemas.microsoft.com/office/drawing/2014/main" id="{0347E6DB-C9D8-4675-A9DF-63B07E805560}"/>
              </a:ext>
            </a:extLst>
          </p:cNvPr>
          <p:cNvSpPr>
            <a:spLocks noGrp="1"/>
          </p:cNvSpPr>
          <p:nvPr>
            <p:ph type="title"/>
          </p:nvPr>
        </p:nvSpPr>
        <p:spPr>
          <a:xfrm>
            <a:off x="336000" y="369001"/>
            <a:ext cx="11520000" cy="719999"/>
          </a:xfrm>
        </p:spPr>
        <p:txBody>
          <a:bodyPr>
            <a:noAutofit/>
          </a:bodyPr>
          <a:lstStyle/>
          <a:p>
            <a:pPr>
              <a:spcBef>
                <a:spcPts val="0"/>
              </a:spcBef>
              <a:defRPr/>
            </a:pPr>
            <a:r>
              <a:rPr lang="fr-FR" sz="3200" cap="none" dirty="0">
                <a:ea typeface="+mn-ea"/>
                <a:cs typeface="+mn-cs"/>
              </a:rPr>
              <a:t>Bureau Veritas – The Group </a:t>
            </a:r>
            <a:br>
              <a:rPr lang="fr-FR" sz="3200" cap="none" dirty="0">
                <a:ea typeface="+mn-ea"/>
                <a:cs typeface="+mn-cs"/>
              </a:rPr>
            </a:br>
            <a:r>
              <a:rPr lang="zh-TW" altLang="en-US" sz="3200" cap="none" dirty="0">
                <a:ea typeface="+mn-ea"/>
                <a:cs typeface="+mn-cs"/>
              </a:rPr>
              <a:t>六大事業部</a:t>
            </a:r>
            <a:endParaRPr lang="fr-FR" sz="3200" cap="none" dirty="0">
              <a:latin typeface="Arial"/>
              <a:ea typeface="+mn-ea"/>
              <a:cs typeface="+mn-cs"/>
            </a:endParaRPr>
          </a:p>
        </p:txBody>
      </p:sp>
      <p:sp>
        <p:nvSpPr>
          <p:cNvPr id="76" name="Rectangle 58">
            <a:extLst>
              <a:ext uri="{FF2B5EF4-FFF2-40B4-BE49-F238E27FC236}">
                <a16:creationId xmlns:a16="http://schemas.microsoft.com/office/drawing/2014/main" id="{74B20902-35B7-4B50-AF5C-86A53C116AD7}"/>
              </a:ext>
            </a:extLst>
          </p:cNvPr>
          <p:cNvSpPr/>
          <p:nvPr/>
        </p:nvSpPr>
        <p:spPr>
          <a:xfrm>
            <a:off x="336000" y="12690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80" name="Rectangle 36">
            <a:extLst>
              <a:ext uri="{FF2B5EF4-FFF2-40B4-BE49-F238E27FC236}">
                <a16:creationId xmlns:a16="http://schemas.microsoft.com/office/drawing/2014/main" id="{C5F17C2E-86D5-4EC3-B972-181DB9D8029E}"/>
              </a:ext>
            </a:extLst>
          </p:cNvPr>
          <p:cNvSpPr/>
          <p:nvPr/>
        </p:nvSpPr>
        <p:spPr>
          <a:xfrm>
            <a:off x="10167263" y="3969000"/>
            <a:ext cx="2004317" cy="249299"/>
          </a:xfrm>
          <a:prstGeom prst="rect">
            <a:avLst/>
          </a:prstGeom>
        </p:spPr>
        <p:txBody>
          <a:bodyPr wrap="square" lIns="72000" tIns="0" rIns="72000" bIns="0">
            <a:spAutoFit/>
          </a:bodyPr>
          <a:lstStyle/>
          <a:p>
            <a:pPr algn="ctr">
              <a:lnSpc>
                <a:spcPct val="90000"/>
              </a:lnSpc>
              <a:defRPr/>
            </a:pPr>
            <a:r>
              <a:rPr lang="zh-TW" altLang="en-US" b="1" dirty="0">
                <a:solidFill>
                  <a:prstClr val="white"/>
                </a:solidFill>
              </a:rPr>
              <a:t>消費性產品</a:t>
            </a:r>
            <a:endParaRPr lang="en-GB" b="1" dirty="0">
              <a:solidFill>
                <a:prstClr val="white"/>
              </a:solidFill>
            </a:endParaRPr>
          </a:p>
        </p:txBody>
      </p:sp>
      <p:sp>
        <p:nvSpPr>
          <p:cNvPr id="88" name="Rectangle 56">
            <a:extLst>
              <a:ext uri="{FF2B5EF4-FFF2-40B4-BE49-F238E27FC236}">
                <a16:creationId xmlns:a16="http://schemas.microsoft.com/office/drawing/2014/main" id="{81E52F91-6AC7-4BFA-BBE4-A75B4B26BD8B}"/>
              </a:ext>
            </a:extLst>
          </p:cNvPr>
          <p:cNvSpPr/>
          <p:nvPr/>
        </p:nvSpPr>
        <p:spPr>
          <a:xfrm>
            <a:off x="27904" y="3986344"/>
            <a:ext cx="2004317" cy="249299"/>
          </a:xfrm>
          <a:prstGeom prst="rect">
            <a:avLst/>
          </a:prstGeom>
        </p:spPr>
        <p:txBody>
          <a:bodyPr wrap="square" lIns="72000" tIns="0" rIns="72000" bIns="0">
            <a:spAutoFit/>
          </a:bodyPr>
          <a:lstStyle/>
          <a:p>
            <a:pPr algn="ctr">
              <a:lnSpc>
                <a:spcPct val="90000"/>
              </a:lnSpc>
              <a:defRPr/>
            </a:pPr>
            <a:r>
              <a:rPr lang="zh-TW" altLang="en-US" b="1" dirty="0">
                <a:solidFill>
                  <a:prstClr val="white"/>
                </a:solidFill>
              </a:rPr>
              <a:t>船級檢驗服務</a:t>
            </a:r>
          </a:p>
        </p:txBody>
      </p:sp>
      <p:sp>
        <p:nvSpPr>
          <p:cNvPr id="93" name="Rectangle 40">
            <a:extLst>
              <a:ext uri="{FF2B5EF4-FFF2-40B4-BE49-F238E27FC236}">
                <a16:creationId xmlns:a16="http://schemas.microsoft.com/office/drawing/2014/main" id="{3DB08C73-82F4-4F47-979E-4CA5E505767B}"/>
              </a:ext>
            </a:extLst>
          </p:cNvPr>
          <p:cNvSpPr/>
          <p:nvPr/>
        </p:nvSpPr>
        <p:spPr>
          <a:xfrm>
            <a:off x="2043849" y="3969000"/>
            <a:ext cx="2004317" cy="249299"/>
          </a:xfrm>
          <a:prstGeom prst="rect">
            <a:avLst/>
          </a:prstGeom>
        </p:spPr>
        <p:txBody>
          <a:bodyPr wrap="square" lIns="72000" tIns="0" rIns="72000" bIns="0">
            <a:spAutoFit/>
          </a:bodyPr>
          <a:lstStyle/>
          <a:p>
            <a:pPr algn="ctr">
              <a:lnSpc>
                <a:spcPct val="90000"/>
              </a:lnSpc>
              <a:defRPr/>
            </a:pPr>
            <a:r>
              <a:rPr lang="zh-TW" altLang="en-US" b="1" dirty="0">
                <a:solidFill>
                  <a:prstClr val="white"/>
                </a:solidFill>
              </a:rPr>
              <a:t>工業</a:t>
            </a:r>
            <a:endParaRPr lang="en-US" b="1" dirty="0">
              <a:solidFill>
                <a:prstClr val="white"/>
              </a:solidFill>
            </a:endParaRPr>
          </a:p>
        </p:txBody>
      </p:sp>
      <p:sp>
        <p:nvSpPr>
          <p:cNvPr id="98" name="Rectangle 39">
            <a:extLst>
              <a:ext uri="{FF2B5EF4-FFF2-40B4-BE49-F238E27FC236}">
                <a16:creationId xmlns:a16="http://schemas.microsoft.com/office/drawing/2014/main" id="{76DCB050-BB3E-439F-BA4E-D7A32979EB58}"/>
              </a:ext>
            </a:extLst>
          </p:cNvPr>
          <p:cNvSpPr/>
          <p:nvPr/>
        </p:nvSpPr>
        <p:spPr>
          <a:xfrm>
            <a:off x="4065917" y="3969000"/>
            <a:ext cx="2004317" cy="249299"/>
          </a:xfrm>
          <a:prstGeom prst="rect">
            <a:avLst/>
          </a:prstGeom>
        </p:spPr>
        <p:txBody>
          <a:bodyPr wrap="square" lIns="72000" tIns="0" rIns="72000" bIns="0">
            <a:spAutoFit/>
          </a:bodyPr>
          <a:lstStyle/>
          <a:p>
            <a:pPr algn="ctr">
              <a:lnSpc>
                <a:spcPct val="90000"/>
              </a:lnSpc>
              <a:defRPr/>
            </a:pPr>
            <a:r>
              <a:rPr lang="zh-TW" altLang="en-US" b="1" dirty="0">
                <a:solidFill>
                  <a:prstClr val="white"/>
                </a:solidFill>
              </a:rPr>
              <a:t>建築與基礎設施</a:t>
            </a:r>
          </a:p>
        </p:txBody>
      </p:sp>
      <p:sp>
        <p:nvSpPr>
          <p:cNvPr id="103" name="Rectangle 38">
            <a:extLst>
              <a:ext uri="{FF2B5EF4-FFF2-40B4-BE49-F238E27FC236}">
                <a16:creationId xmlns:a16="http://schemas.microsoft.com/office/drawing/2014/main" id="{DC7E4B1C-6654-44AC-8F56-D31104D8032A}"/>
              </a:ext>
            </a:extLst>
          </p:cNvPr>
          <p:cNvSpPr/>
          <p:nvPr/>
        </p:nvSpPr>
        <p:spPr>
          <a:xfrm>
            <a:off x="6104970" y="3969000"/>
            <a:ext cx="2004317" cy="249299"/>
          </a:xfrm>
          <a:prstGeom prst="rect">
            <a:avLst/>
          </a:prstGeom>
        </p:spPr>
        <p:txBody>
          <a:bodyPr wrap="square" lIns="72000" tIns="0" rIns="72000" bIns="0">
            <a:spAutoFit/>
          </a:bodyPr>
          <a:lstStyle/>
          <a:p>
            <a:pPr algn="ctr">
              <a:lnSpc>
                <a:spcPct val="90000"/>
              </a:lnSpc>
              <a:defRPr/>
            </a:pPr>
            <a:r>
              <a:rPr lang="zh-TW" altLang="en-US" b="1" dirty="0">
                <a:solidFill>
                  <a:prstClr val="white"/>
                </a:solidFill>
              </a:rPr>
              <a:t>認證</a:t>
            </a:r>
            <a:endParaRPr lang="en-GB" b="1" dirty="0">
              <a:solidFill>
                <a:prstClr val="white"/>
              </a:solidFill>
            </a:endParaRPr>
          </a:p>
        </p:txBody>
      </p:sp>
      <p:sp>
        <p:nvSpPr>
          <p:cNvPr id="108" name="Rectangle 37">
            <a:extLst>
              <a:ext uri="{FF2B5EF4-FFF2-40B4-BE49-F238E27FC236}">
                <a16:creationId xmlns:a16="http://schemas.microsoft.com/office/drawing/2014/main" id="{0FD2B42F-9D2E-4FF0-A2D6-135DE5324E05}"/>
              </a:ext>
            </a:extLst>
          </p:cNvPr>
          <p:cNvSpPr/>
          <p:nvPr/>
        </p:nvSpPr>
        <p:spPr>
          <a:xfrm>
            <a:off x="8136991" y="3969000"/>
            <a:ext cx="2004317" cy="249299"/>
          </a:xfrm>
          <a:prstGeom prst="rect">
            <a:avLst/>
          </a:prstGeom>
        </p:spPr>
        <p:txBody>
          <a:bodyPr wrap="square" lIns="72000" tIns="0" rIns="72000" bIns="0">
            <a:spAutoFit/>
          </a:bodyPr>
          <a:lstStyle/>
          <a:p>
            <a:pPr algn="ctr">
              <a:lnSpc>
                <a:spcPct val="90000"/>
              </a:lnSpc>
              <a:defRPr/>
            </a:pPr>
            <a:r>
              <a:rPr lang="zh-TW" altLang="en-US" b="1" dirty="0">
                <a:solidFill>
                  <a:prstClr val="white"/>
                </a:solidFill>
              </a:rPr>
              <a:t>大宗商品</a:t>
            </a:r>
            <a:endParaRPr lang="en-US" b="1" dirty="0">
              <a:solidFill>
                <a:prstClr val="white"/>
              </a:solidFill>
            </a:endParaRPr>
          </a:p>
        </p:txBody>
      </p:sp>
      <p:sp>
        <p:nvSpPr>
          <p:cNvPr id="82" name="Rectangle 64">
            <a:extLst>
              <a:ext uri="{FF2B5EF4-FFF2-40B4-BE49-F238E27FC236}">
                <a16:creationId xmlns:a16="http://schemas.microsoft.com/office/drawing/2014/main" id="{0D7220FD-67D1-4751-AC59-6F0E631F1912}"/>
              </a:ext>
            </a:extLst>
          </p:cNvPr>
          <p:cNvSpPr/>
          <p:nvPr/>
        </p:nvSpPr>
        <p:spPr>
          <a:xfrm>
            <a:off x="10889593" y="42528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89" name="Rectangle 59">
            <a:extLst>
              <a:ext uri="{FF2B5EF4-FFF2-40B4-BE49-F238E27FC236}">
                <a16:creationId xmlns:a16="http://schemas.microsoft.com/office/drawing/2014/main" id="{0EB11732-1D3A-4A75-AB29-4AD3F4CFC487}"/>
              </a:ext>
            </a:extLst>
          </p:cNvPr>
          <p:cNvSpPr/>
          <p:nvPr/>
        </p:nvSpPr>
        <p:spPr>
          <a:xfrm>
            <a:off x="726140" y="42528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333333"/>
              </a:solidFill>
            </a:endParaRPr>
          </a:p>
        </p:txBody>
      </p:sp>
      <p:sp>
        <p:nvSpPr>
          <p:cNvPr id="94" name="Rectangle 60">
            <a:extLst>
              <a:ext uri="{FF2B5EF4-FFF2-40B4-BE49-F238E27FC236}">
                <a16:creationId xmlns:a16="http://schemas.microsoft.com/office/drawing/2014/main" id="{43EAB507-224C-4FCE-95A0-4364D53E3DE7}"/>
              </a:ext>
            </a:extLst>
          </p:cNvPr>
          <p:cNvSpPr/>
          <p:nvPr/>
        </p:nvSpPr>
        <p:spPr>
          <a:xfrm>
            <a:off x="2766179" y="42528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9" name="Rectangle 61">
            <a:extLst>
              <a:ext uri="{FF2B5EF4-FFF2-40B4-BE49-F238E27FC236}">
                <a16:creationId xmlns:a16="http://schemas.microsoft.com/office/drawing/2014/main" id="{F3160C85-CA51-488A-B34E-BEA8CAA2F9A1}"/>
              </a:ext>
            </a:extLst>
          </p:cNvPr>
          <p:cNvSpPr/>
          <p:nvPr/>
        </p:nvSpPr>
        <p:spPr>
          <a:xfrm>
            <a:off x="4788247" y="42528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4" name="Rectangle 62">
            <a:extLst>
              <a:ext uri="{FF2B5EF4-FFF2-40B4-BE49-F238E27FC236}">
                <a16:creationId xmlns:a16="http://schemas.microsoft.com/office/drawing/2014/main" id="{181EE903-D415-4F1B-8A2F-D0345542EF5B}"/>
              </a:ext>
            </a:extLst>
          </p:cNvPr>
          <p:cNvSpPr/>
          <p:nvPr/>
        </p:nvSpPr>
        <p:spPr>
          <a:xfrm>
            <a:off x="6827300" y="42528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9" name="Rectangle 63">
            <a:extLst>
              <a:ext uri="{FF2B5EF4-FFF2-40B4-BE49-F238E27FC236}">
                <a16:creationId xmlns:a16="http://schemas.microsoft.com/office/drawing/2014/main" id="{B884CAE6-9046-4679-91AB-261A727CE5D6}"/>
              </a:ext>
            </a:extLst>
          </p:cNvPr>
          <p:cNvSpPr/>
          <p:nvPr/>
        </p:nvSpPr>
        <p:spPr>
          <a:xfrm>
            <a:off x="8859321" y="4252800"/>
            <a:ext cx="559657" cy="7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Tree>
    <p:extLst>
      <p:ext uri="{BB962C8B-B14F-4D97-AF65-F5344CB8AC3E}">
        <p14:creationId xmlns:p14="http://schemas.microsoft.com/office/powerpoint/2010/main" val="31231420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7322322" y="2362603"/>
            <a:ext cx="5073678" cy="886397"/>
          </a:xfrm>
        </p:spPr>
        <p:txBody>
          <a:bodyPr/>
          <a:lstStyle/>
          <a:p>
            <a:r>
              <a:rPr lang="en-US" altLang="zh-TW" sz="2600" cap="none" dirty="0">
                <a:solidFill>
                  <a:srgbClr val="867D76"/>
                </a:solidFill>
                <a:latin typeface="微軟正黑體" panose="020B0604030504040204" pitchFamily="34" charset="-120"/>
              </a:rPr>
              <a:t>Bureau Veritas</a:t>
            </a:r>
            <a:br>
              <a:rPr lang="en-US" altLang="zh-TW" sz="2600" cap="none" dirty="0">
                <a:solidFill>
                  <a:srgbClr val="867D76"/>
                </a:solidFill>
                <a:latin typeface="微軟正黑體" panose="020B0604030504040204" pitchFamily="34" charset="-120"/>
              </a:rPr>
            </a:br>
            <a:r>
              <a:rPr lang="en-US" altLang="zh-TW" sz="2600" cap="none" dirty="0">
                <a:solidFill>
                  <a:srgbClr val="867D76"/>
                </a:solidFill>
                <a:latin typeface="微軟正黑體" panose="020B0604030504040204" pitchFamily="34" charset="-120"/>
              </a:rPr>
              <a:t>Consumer Products Services</a:t>
            </a:r>
            <a:endParaRPr lang="zh-TW" altLang="en-US" sz="2600" dirty="0">
              <a:solidFill>
                <a:srgbClr val="867D76"/>
              </a:solidFill>
            </a:endParaRPr>
          </a:p>
        </p:txBody>
      </p:sp>
      <p:sp>
        <p:nvSpPr>
          <p:cNvPr id="4" name="文字版面配置區 3"/>
          <p:cNvSpPr>
            <a:spLocks noGrp="1"/>
          </p:cNvSpPr>
          <p:nvPr>
            <p:ph type="body" idx="1"/>
          </p:nvPr>
        </p:nvSpPr>
        <p:spPr>
          <a:xfrm>
            <a:off x="7331579" y="3483766"/>
            <a:ext cx="4487300" cy="999262"/>
          </a:xfrm>
        </p:spPr>
        <p:txBody>
          <a:bodyPr>
            <a:normAutofit/>
          </a:bodyPr>
          <a:lstStyle/>
          <a:p>
            <a:r>
              <a:rPr lang="zh-TW" altLang="en-US" sz="2800" b="1" dirty="0">
                <a:solidFill>
                  <a:srgbClr val="CC023B"/>
                </a:solidFill>
              </a:rPr>
              <a:t> 消費性產品檢驗事業部</a:t>
            </a:r>
          </a:p>
        </p:txBody>
      </p:sp>
      <p:sp>
        <p:nvSpPr>
          <p:cNvPr id="5" name="投影片編號版面配置區 4"/>
          <p:cNvSpPr>
            <a:spLocks noGrp="1"/>
          </p:cNvSpPr>
          <p:nvPr>
            <p:ph type="sldNum" sz="quarter" idx="10"/>
          </p:nvPr>
        </p:nvSpPr>
        <p:spPr/>
        <p:txBody>
          <a:bodyPr/>
          <a:lstStyle/>
          <a:p>
            <a:r>
              <a:rPr lang="en-GB"/>
              <a:t>Slide / </a:t>
            </a:r>
            <a:fld id="{3EA6A558-C4CA-4506-B5EC-E793D5AE9532}" type="slidenum">
              <a:rPr lang="en-GB" smtClean="0"/>
              <a:pPr/>
              <a:t>7</a:t>
            </a:fld>
            <a:endParaRPr lang="en-GB" dirty="0"/>
          </a:p>
        </p:txBody>
      </p:sp>
      <p:sp>
        <p:nvSpPr>
          <p:cNvPr id="6" name="文字版面配置區 5"/>
          <p:cNvSpPr>
            <a:spLocks noGrp="1"/>
          </p:cNvSpPr>
          <p:nvPr>
            <p:ph type="body" sz="quarter" idx="12"/>
          </p:nvPr>
        </p:nvSpPr>
        <p:spPr/>
        <p:txBody>
          <a:bodyPr/>
          <a:lstStyle/>
          <a:p>
            <a:r>
              <a:rPr lang="en-US" altLang="zh-TW" dirty="0"/>
              <a:t>02</a:t>
            </a:r>
            <a:endParaRPr lang="zh-TW" altLang="en-US" dirty="0"/>
          </a:p>
        </p:txBody>
      </p:sp>
      <p:pic>
        <p:nvPicPr>
          <p:cNvPr id="8" name="圖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97248" y="180393"/>
            <a:ext cx="719999" cy="892173"/>
          </a:xfrm>
          <a:prstGeom prst="rect">
            <a:avLst/>
          </a:prstGeom>
        </p:spPr>
      </p:pic>
      <p:pic>
        <p:nvPicPr>
          <p:cNvPr id="9" name="圖片版面配置區 8"/>
          <p:cNvPicPr>
            <a:picLocks noGrp="1" noChangeAspect="1"/>
          </p:cNvPicPr>
          <p:nvPr>
            <p:ph type="pic" sz="quarter" idx="11"/>
          </p:nvPr>
        </p:nvPicPr>
        <p:blipFill rotWithShape="1">
          <a:blip r:embed="rId4">
            <a:extLst>
              <a:ext uri="{28A0092B-C50C-407E-A947-70E740481C1C}">
                <a14:useLocalDpi xmlns:a14="http://schemas.microsoft.com/office/drawing/2010/main" val="0"/>
              </a:ext>
            </a:extLst>
          </a:blip>
          <a:srcRect l="43055" t="-131" r="91" b="131"/>
          <a:stretch/>
        </p:blipFill>
        <p:spPr/>
      </p:pic>
    </p:spTree>
    <p:extLst>
      <p:ext uri="{BB962C8B-B14F-4D97-AF65-F5344CB8AC3E}">
        <p14:creationId xmlns:p14="http://schemas.microsoft.com/office/powerpoint/2010/main" val="3356957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0" name="Object 279" hidden="1"/>
          <p:cNvGraphicFramePr>
            <a:graphicFrameLocks noChangeAspect="1"/>
          </p:cNvGraphicFramePr>
          <p:nvPr>
            <p:custDataLst>
              <p:tags r:id="rId1"/>
            </p:custDataLst>
            <p:extLst>
              <p:ext uri="{D42A27DB-BD31-4B8C-83A1-F6EECF244321}">
                <p14:modId xmlns:p14="http://schemas.microsoft.com/office/powerpoint/2010/main" val="3927217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9" name="Rectangle 278"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12"/>
          </p:nvPr>
        </p:nvSpPr>
        <p:spPr/>
        <p:txBody>
          <a:bodyPr/>
          <a:lstStyle/>
          <a:p>
            <a:r>
              <a:rPr lang="en-GB" dirty="0"/>
              <a:t>Slide / </a:t>
            </a:r>
            <a:fld id="{3EA6A558-C4CA-4506-B5EC-E793D5AE9532}" type="slidenum">
              <a:rPr lang="en-GB" smtClean="0"/>
              <a:pPr/>
              <a:t>8</a:t>
            </a:fld>
            <a:endParaRPr lang="en-GB" dirty="0"/>
          </a:p>
        </p:txBody>
      </p:sp>
      <p:sp>
        <p:nvSpPr>
          <p:cNvPr id="4" name="Title 3"/>
          <p:cNvSpPr>
            <a:spLocks noGrp="1"/>
          </p:cNvSpPr>
          <p:nvPr>
            <p:ph type="title"/>
          </p:nvPr>
        </p:nvSpPr>
        <p:spPr/>
        <p:txBody>
          <a:bodyPr/>
          <a:lstStyle/>
          <a:p>
            <a:r>
              <a:rPr lang="en-US" dirty="0"/>
              <a:t>Enabling a client aligned value proposition</a:t>
            </a:r>
            <a:br>
              <a:rPr lang="en-US" dirty="0"/>
            </a:br>
            <a:r>
              <a:rPr lang="zh-TW" altLang="en-US" dirty="0">
                <a:solidFill>
                  <a:schemeClr val="tx1">
                    <a:lumMod val="75000"/>
                  </a:schemeClr>
                </a:solidFill>
                <a:latin typeface="微軟正黑體" panose="020B0604030504040204" pitchFamily="34" charset="-120"/>
              </a:rPr>
              <a:t>我們的價值定位</a:t>
            </a:r>
            <a:br>
              <a:rPr lang="zh-TW" altLang="en-US" dirty="0">
                <a:solidFill>
                  <a:schemeClr val="hlink"/>
                </a:solidFill>
                <a:latin typeface="微軟正黑體" panose="020B0604030504040204" pitchFamily="34" charset="-120"/>
              </a:rPr>
            </a:br>
            <a:endParaRPr lang="en-US" dirty="0"/>
          </a:p>
        </p:txBody>
      </p:sp>
      <p:sp>
        <p:nvSpPr>
          <p:cNvPr id="5" name="Freeform 1"/>
          <p:cNvSpPr>
            <a:spLocks noChangeArrowheads="1"/>
          </p:cNvSpPr>
          <p:nvPr/>
        </p:nvSpPr>
        <p:spPr bwMode="auto">
          <a:xfrm>
            <a:off x="3155950" y="5580558"/>
            <a:ext cx="5880100" cy="987863"/>
          </a:xfrm>
          <a:custGeom>
            <a:avLst/>
            <a:gdLst>
              <a:gd name="T0" fmla="*/ 4536 w 16334"/>
              <a:gd name="T1" fmla="*/ 0 h 2021"/>
              <a:gd name="T2" fmla="*/ 181 w 16334"/>
              <a:gd name="T3" fmla="*/ 0 h 2021"/>
              <a:gd name="T4" fmla="*/ 0 w 16334"/>
              <a:gd name="T5" fmla="*/ 181 h 2021"/>
              <a:gd name="T6" fmla="*/ 0 w 16334"/>
              <a:gd name="T7" fmla="*/ 1839 h 2021"/>
              <a:gd name="T8" fmla="*/ 181 w 16334"/>
              <a:gd name="T9" fmla="*/ 2020 h 2021"/>
              <a:gd name="T10" fmla="*/ 16152 w 16334"/>
              <a:gd name="T11" fmla="*/ 2020 h 2021"/>
              <a:gd name="T12" fmla="*/ 16333 w 16334"/>
              <a:gd name="T13" fmla="*/ 1839 h 2021"/>
              <a:gd name="T14" fmla="*/ 16333 w 16334"/>
              <a:gd name="T15" fmla="*/ 181 h 2021"/>
              <a:gd name="T16" fmla="*/ 16152 w 16334"/>
              <a:gd name="T17" fmla="*/ 0 h 2021"/>
              <a:gd name="T18" fmla="*/ 10320 w 16334"/>
              <a:gd name="T19" fmla="*/ 0 h 2021"/>
              <a:gd name="T20" fmla="*/ 4536 w 16334"/>
              <a:gd name="T21" fmla="*/ 0 h 20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34"/>
              <a:gd name="T34" fmla="*/ 0 h 2021"/>
              <a:gd name="T35" fmla="*/ 16334 w 16334"/>
              <a:gd name="T36" fmla="*/ 2021 h 20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34" h="2021">
                <a:moveTo>
                  <a:pt x="4536" y="0"/>
                </a:moveTo>
                <a:lnTo>
                  <a:pt x="181" y="0"/>
                </a:lnTo>
                <a:cubicBezTo>
                  <a:pt x="81" y="0"/>
                  <a:pt x="0" y="81"/>
                  <a:pt x="0" y="181"/>
                </a:cubicBezTo>
                <a:lnTo>
                  <a:pt x="0" y="1839"/>
                </a:lnTo>
                <a:cubicBezTo>
                  <a:pt x="0" y="1939"/>
                  <a:pt x="81" y="2020"/>
                  <a:pt x="181" y="2020"/>
                </a:cubicBezTo>
                <a:lnTo>
                  <a:pt x="16152" y="2020"/>
                </a:lnTo>
                <a:cubicBezTo>
                  <a:pt x="16252" y="2020"/>
                  <a:pt x="16333" y="1939"/>
                  <a:pt x="16333" y="1839"/>
                </a:cubicBezTo>
                <a:lnTo>
                  <a:pt x="16333" y="181"/>
                </a:lnTo>
                <a:cubicBezTo>
                  <a:pt x="16333" y="81"/>
                  <a:pt x="16252" y="0"/>
                  <a:pt x="16152" y="0"/>
                </a:cubicBezTo>
                <a:lnTo>
                  <a:pt x="10320" y="0"/>
                </a:lnTo>
                <a:lnTo>
                  <a:pt x="4536" y="0"/>
                </a:lnTo>
              </a:path>
            </a:pathLst>
          </a:custGeom>
          <a:solidFill>
            <a:srgbClr val="E0DCD7"/>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6" name="Freeform 5"/>
          <p:cNvSpPr>
            <a:spLocks noChangeArrowheads="1"/>
          </p:cNvSpPr>
          <p:nvPr/>
        </p:nvSpPr>
        <p:spPr bwMode="auto">
          <a:xfrm>
            <a:off x="4872039" y="1201739"/>
            <a:ext cx="2447925" cy="4048125"/>
          </a:xfrm>
          <a:custGeom>
            <a:avLst/>
            <a:gdLst>
              <a:gd name="T0" fmla="*/ 6779 w 6798"/>
              <a:gd name="T1" fmla="*/ 11150 h 11245"/>
              <a:gd name="T2" fmla="*/ 6726 w 6798"/>
              <a:gd name="T3" fmla="*/ 11244 h 11245"/>
              <a:gd name="T4" fmla="*/ 6565 w 6798"/>
              <a:gd name="T5" fmla="*/ 10915 h 11245"/>
              <a:gd name="T6" fmla="*/ 6630 w 6798"/>
              <a:gd name="T7" fmla="*/ 11022 h 11245"/>
              <a:gd name="T8" fmla="*/ 6544 w 6798"/>
              <a:gd name="T9" fmla="*/ 11001 h 11245"/>
              <a:gd name="T10" fmla="*/ 6523 w 6798"/>
              <a:gd name="T11" fmla="*/ 10723 h 11245"/>
              <a:gd name="T12" fmla="*/ 6470 w 6798"/>
              <a:gd name="T13" fmla="*/ 10817 h 11245"/>
              <a:gd name="T14" fmla="*/ 6309 w 6798"/>
              <a:gd name="T15" fmla="*/ 10487 h 11245"/>
              <a:gd name="T16" fmla="*/ 6374 w 6798"/>
              <a:gd name="T17" fmla="*/ 10594 h 11245"/>
              <a:gd name="T18" fmla="*/ 6288 w 6798"/>
              <a:gd name="T19" fmla="*/ 10573 h 11245"/>
              <a:gd name="T20" fmla="*/ 6267 w 6798"/>
              <a:gd name="T21" fmla="*/ 10295 h 11245"/>
              <a:gd name="T22" fmla="*/ 6213 w 6798"/>
              <a:gd name="T23" fmla="*/ 10390 h 11245"/>
              <a:gd name="T24" fmla="*/ 6054 w 6798"/>
              <a:gd name="T25" fmla="*/ 10060 h 11245"/>
              <a:gd name="T26" fmla="*/ 6118 w 6798"/>
              <a:gd name="T27" fmla="*/ 10167 h 11245"/>
              <a:gd name="T28" fmla="*/ 6032 w 6798"/>
              <a:gd name="T29" fmla="*/ 10146 h 11245"/>
              <a:gd name="T30" fmla="*/ 6011 w 6798"/>
              <a:gd name="T31" fmla="*/ 9868 h 11245"/>
              <a:gd name="T32" fmla="*/ 5958 w 6798"/>
              <a:gd name="T33" fmla="*/ 9962 h 11245"/>
              <a:gd name="T34" fmla="*/ 5797 w 6798"/>
              <a:gd name="T35" fmla="*/ 9632 h 11245"/>
              <a:gd name="T36" fmla="*/ 5862 w 6798"/>
              <a:gd name="T37" fmla="*/ 9740 h 11245"/>
              <a:gd name="T38" fmla="*/ 5776 w 6798"/>
              <a:gd name="T39" fmla="*/ 9718 h 11245"/>
              <a:gd name="T40" fmla="*/ 5755 w 6798"/>
              <a:gd name="T41" fmla="*/ 9441 h 11245"/>
              <a:gd name="T42" fmla="*/ 5702 w 6798"/>
              <a:gd name="T43" fmla="*/ 9535 h 11245"/>
              <a:gd name="T44" fmla="*/ 5542 w 6798"/>
              <a:gd name="T45" fmla="*/ 9205 h 11245"/>
              <a:gd name="T46" fmla="*/ 5606 w 6798"/>
              <a:gd name="T47" fmla="*/ 9312 h 11245"/>
              <a:gd name="T48" fmla="*/ 5520 w 6798"/>
              <a:gd name="T49" fmla="*/ 9291 h 11245"/>
              <a:gd name="T50" fmla="*/ 5499 w 6798"/>
              <a:gd name="T51" fmla="*/ 9013 h 11245"/>
              <a:gd name="T52" fmla="*/ 5446 w 6798"/>
              <a:gd name="T53" fmla="*/ 9108 h 11245"/>
              <a:gd name="T54" fmla="*/ 5286 w 6798"/>
              <a:gd name="T55" fmla="*/ 8778 h 11245"/>
              <a:gd name="T56" fmla="*/ 5350 w 6798"/>
              <a:gd name="T57" fmla="*/ 8885 h 11245"/>
              <a:gd name="T58" fmla="*/ 5264 w 6798"/>
              <a:gd name="T59" fmla="*/ 8864 h 11245"/>
              <a:gd name="T60" fmla="*/ 5244 w 6798"/>
              <a:gd name="T61" fmla="*/ 8586 h 11245"/>
              <a:gd name="T62" fmla="*/ 5190 w 6798"/>
              <a:gd name="T63" fmla="*/ 8680 h 11245"/>
              <a:gd name="T64" fmla="*/ 1319 w 6798"/>
              <a:gd name="T65" fmla="*/ 2155 h 11245"/>
              <a:gd name="T66" fmla="*/ 1384 w 6798"/>
              <a:gd name="T67" fmla="*/ 2262 h 11245"/>
              <a:gd name="T68" fmla="*/ 1298 w 6798"/>
              <a:gd name="T69" fmla="*/ 2241 h 11245"/>
              <a:gd name="T70" fmla="*/ 1277 w 6798"/>
              <a:gd name="T71" fmla="*/ 1962 h 11245"/>
              <a:gd name="T72" fmla="*/ 1223 w 6798"/>
              <a:gd name="T73" fmla="*/ 2057 h 11245"/>
              <a:gd name="T74" fmla="*/ 1063 w 6798"/>
              <a:gd name="T75" fmla="*/ 1727 h 11245"/>
              <a:gd name="T76" fmla="*/ 1127 w 6798"/>
              <a:gd name="T77" fmla="*/ 1835 h 11245"/>
              <a:gd name="T78" fmla="*/ 1041 w 6798"/>
              <a:gd name="T79" fmla="*/ 1813 h 11245"/>
              <a:gd name="T80" fmla="*/ 1021 w 6798"/>
              <a:gd name="T81" fmla="*/ 1535 h 11245"/>
              <a:gd name="T82" fmla="*/ 967 w 6798"/>
              <a:gd name="T83" fmla="*/ 1630 h 11245"/>
              <a:gd name="T84" fmla="*/ 807 w 6798"/>
              <a:gd name="T85" fmla="*/ 1300 h 11245"/>
              <a:gd name="T86" fmla="*/ 872 w 6798"/>
              <a:gd name="T87" fmla="*/ 1407 h 11245"/>
              <a:gd name="T88" fmla="*/ 786 w 6798"/>
              <a:gd name="T89" fmla="*/ 1386 h 11245"/>
              <a:gd name="T90" fmla="*/ 765 w 6798"/>
              <a:gd name="T91" fmla="*/ 1108 h 11245"/>
              <a:gd name="T92" fmla="*/ 711 w 6798"/>
              <a:gd name="T93" fmla="*/ 1203 h 11245"/>
              <a:gd name="T94" fmla="*/ 551 w 6798"/>
              <a:gd name="T95" fmla="*/ 873 h 11245"/>
              <a:gd name="T96" fmla="*/ 616 w 6798"/>
              <a:gd name="T97" fmla="*/ 980 h 11245"/>
              <a:gd name="T98" fmla="*/ 530 w 6798"/>
              <a:gd name="T99" fmla="*/ 958 h 11245"/>
              <a:gd name="T100" fmla="*/ 509 w 6798"/>
              <a:gd name="T101" fmla="*/ 680 h 11245"/>
              <a:gd name="T102" fmla="*/ 456 w 6798"/>
              <a:gd name="T103" fmla="*/ 775 h 11245"/>
              <a:gd name="T104" fmla="*/ 295 w 6798"/>
              <a:gd name="T105" fmla="*/ 445 h 11245"/>
              <a:gd name="T106" fmla="*/ 359 w 6798"/>
              <a:gd name="T107" fmla="*/ 552 h 11245"/>
              <a:gd name="T108" fmla="*/ 274 w 6798"/>
              <a:gd name="T109" fmla="*/ 531 h 11245"/>
              <a:gd name="T110" fmla="*/ 253 w 6798"/>
              <a:gd name="T111" fmla="*/ 253 h 11245"/>
              <a:gd name="T112" fmla="*/ 199 w 6798"/>
              <a:gd name="T113" fmla="*/ 348 h 11245"/>
              <a:gd name="T114" fmla="*/ 39 w 6798"/>
              <a:gd name="T115" fmla="*/ 18 h 11245"/>
              <a:gd name="T116" fmla="*/ 104 w 6798"/>
              <a:gd name="T117" fmla="*/ 125 h 11245"/>
              <a:gd name="T118" fmla="*/ 18 w 6798"/>
              <a:gd name="T119" fmla="*/ 104 h 112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798"/>
              <a:gd name="T181" fmla="*/ 0 h 11245"/>
              <a:gd name="T182" fmla="*/ 6798 w 6798"/>
              <a:gd name="T183" fmla="*/ 11245 h 112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798" h="11245">
                <a:moveTo>
                  <a:pt x="6672" y="11214"/>
                </a:moveTo>
                <a:cubicBezTo>
                  <a:pt x="6654" y="11185"/>
                  <a:pt x="6664" y="11146"/>
                  <a:pt x="6694" y="11128"/>
                </a:cubicBezTo>
                <a:cubicBezTo>
                  <a:pt x="6723" y="11111"/>
                  <a:pt x="6762" y="11120"/>
                  <a:pt x="6779" y="11150"/>
                </a:cubicBezTo>
                <a:cubicBezTo>
                  <a:pt x="6797" y="11180"/>
                  <a:pt x="6787" y="11218"/>
                  <a:pt x="6758" y="11236"/>
                </a:cubicBezTo>
                <a:cubicBezTo>
                  <a:pt x="6748" y="11242"/>
                  <a:pt x="6737" y="11244"/>
                  <a:pt x="6726" y="11244"/>
                </a:cubicBezTo>
                <a:cubicBezTo>
                  <a:pt x="6704" y="11244"/>
                  <a:pt x="6683" y="11234"/>
                  <a:pt x="6672" y="11214"/>
                </a:cubicBezTo>
                <a:close/>
                <a:moveTo>
                  <a:pt x="6544" y="11001"/>
                </a:moveTo>
                <a:cubicBezTo>
                  <a:pt x="6526" y="10971"/>
                  <a:pt x="6536" y="10933"/>
                  <a:pt x="6565" y="10915"/>
                </a:cubicBezTo>
                <a:cubicBezTo>
                  <a:pt x="6595" y="10897"/>
                  <a:pt x="6633" y="10907"/>
                  <a:pt x="6651" y="10936"/>
                </a:cubicBezTo>
                <a:cubicBezTo>
                  <a:pt x="6669" y="10966"/>
                  <a:pt x="6659" y="11004"/>
                  <a:pt x="6630" y="11022"/>
                </a:cubicBezTo>
                <a:cubicBezTo>
                  <a:pt x="6620" y="11028"/>
                  <a:pt x="6608" y="11031"/>
                  <a:pt x="6597" y="11031"/>
                </a:cubicBezTo>
                <a:cubicBezTo>
                  <a:pt x="6576" y="11031"/>
                  <a:pt x="6556" y="11020"/>
                  <a:pt x="6544" y="11001"/>
                </a:cubicBezTo>
                <a:close/>
                <a:moveTo>
                  <a:pt x="6416" y="10787"/>
                </a:moveTo>
                <a:cubicBezTo>
                  <a:pt x="6398" y="10757"/>
                  <a:pt x="6408" y="10719"/>
                  <a:pt x="6438" y="10701"/>
                </a:cubicBezTo>
                <a:cubicBezTo>
                  <a:pt x="6467" y="10683"/>
                  <a:pt x="6506" y="10693"/>
                  <a:pt x="6523" y="10723"/>
                </a:cubicBezTo>
                <a:cubicBezTo>
                  <a:pt x="6541" y="10752"/>
                  <a:pt x="6532" y="10791"/>
                  <a:pt x="6502" y="10808"/>
                </a:cubicBezTo>
                <a:cubicBezTo>
                  <a:pt x="6492" y="10814"/>
                  <a:pt x="6480" y="10817"/>
                  <a:pt x="6470" y="10817"/>
                </a:cubicBezTo>
                <a:cubicBezTo>
                  <a:pt x="6448" y="10817"/>
                  <a:pt x="6428" y="10806"/>
                  <a:pt x="6416" y="10787"/>
                </a:cubicBezTo>
                <a:close/>
                <a:moveTo>
                  <a:pt x="6288" y="10573"/>
                </a:moveTo>
                <a:cubicBezTo>
                  <a:pt x="6270" y="10543"/>
                  <a:pt x="6280" y="10505"/>
                  <a:pt x="6309" y="10487"/>
                </a:cubicBezTo>
                <a:cubicBezTo>
                  <a:pt x="6339" y="10469"/>
                  <a:pt x="6378" y="10479"/>
                  <a:pt x="6395" y="10509"/>
                </a:cubicBezTo>
                <a:cubicBezTo>
                  <a:pt x="6413" y="10538"/>
                  <a:pt x="6403" y="10577"/>
                  <a:pt x="6374" y="10594"/>
                </a:cubicBezTo>
                <a:cubicBezTo>
                  <a:pt x="6364" y="10601"/>
                  <a:pt x="6353" y="10604"/>
                  <a:pt x="6342" y="10604"/>
                </a:cubicBezTo>
                <a:cubicBezTo>
                  <a:pt x="6321" y="10604"/>
                  <a:pt x="6300" y="10593"/>
                  <a:pt x="6288" y="10573"/>
                </a:cubicBezTo>
                <a:close/>
                <a:moveTo>
                  <a:pt x="6160" y="10359"/>
                </a:moveTo>
                <a:cubicBezTo>
                  <a:pt x="6142" y="10330"/>
                  <a:pt x="6152" y="10291"/>
                  <a:pt x="6181" y="10274"/>
                </a:cubicBezTo>
                <a:cubicBezTo>
                  <a:pt x="6211" y="10256"/>
                  <a:pt x="6249" y="10266"/>
                  <a:pt x="6267" y="10295"/>
                </a:cubicBezTo>
                <a:cubicBezTo>
                  <a:pt x="6285" y="10325"/>
                  <a:pt x="6275" y="10363"/>
                  <a:pt x="6246" y="10381"/>
                </a:cubicBezTo>
                <a:cubicBezTo>
                  <a:pt x="6236" y="10387"/>
                  <a:pt x="6225" y="10390"/>
                  <a:pt x="6213" y="10390"/>
                </a:cubicBezTo>
                <a:cubicBezTo>
                  <a:pt x="6192" y="10390"/>
                  <a:pt x="6172" y="10379"/>
                  <a:pt x="6160" y="10359"/>
                </a:cubicBezTo>
                <a:close/>
                <a:moveTo>
                  <a:pt x="6032" y="10146"/>
                </a:moveTo>
                <a:cubicBezTo>
                  <a:pt x="6014" y="10116"/>
                  <a:pt x="6024" y="10078"/>
                  <a:pt x="6054" y="10060"/>
                </a:cubicBezTo>
                <a:cubicBezTo>
                  <a:pt x="6083" y="10042"/>
                  <a:pt x="6122" y="10052"/>
                  <a:pt x="6139" y="10081"/>
                </a:cubicBezTo>
                <a:cubicBezTo>
                  <a:pt x="6157" y="10111"/>
                  <a:pt x="6148" y="10149"/>
                  <a:pt x="6118" y="10167"/>
                </a:cubicBezTo>
                <a:cubicBezTo>
                  <a:pt x="6108" y="10173"/>
                  <a:pt x="6097" y="10176"/>
                  <a:pt x="6086" y="10176"/>
                </a:cubicBezTo>
                <a:cubicBezTo>
                  <a:pt x="6064" y="10176"/>
                  <a:pt x="6044" y="10165"/>
                  <a:pt x="6032" y="10146"/>
                </a:cubicBezTo>
                <a:close/>
                <a:moveTo>
                  <a:pt x="5904" y="9932"/>
                </a:moveTo>
                <a:cubicBezTo>
                  <a:pt x="5886" y="9903"/>
                  <a:pt x="5896" y="9864"/>
                  <a:pt x="5926" y="9846"/>
                </a:cubicBezTo>
                <a:cubicBezTo>
                  <a:pt x="5955" y="9829"/>
                  <a:pt x="5994" y="9838"/>
                  <a:pt x="6011" y="9868"/>
                </a:cubicBezTo>
                <a:cubicBezTo>
                  <a:pt x="6029" y="9897"/>
                  <a:pt x="6019" y="9936"/>
                  <a:pt x="5990" y="9954"/>
                </a:cubicBezTo>
                <a:cubicBezTo>
                  <a:pt x="5980" y="9960"/>
                  <a:pt x="5969" y="9962"/>
                  <a:pt x="5958" y="9962"/>
                </a:cubicBezTo>
                <a:cubicBezTo>
                  <a:pt x="5937" y="9962"/>
                  <a:pt x="5916" y="9952"/>
                  <a:pt x="5904" y="9932"/>
                </a:cubicBezTo>
                <a:close/>
                <a:moveTo>
                  <a:pt x="5776" y="9718"/>
                </a:moveTo>
                <a:cubicBezTo>
                  <a:pt x="5758" y="9689"/>
                  <a:pt x="5768" y="9650"/>
                  <a:pt x="5797" y="9632"/>
                </a:cubicBezTo>
                <a:cubicBezTo>
                  <a:pt x="5827" y="9615"/>
                  <a:pt x="5866" y="9624"/>
                  <a:pt x="5883" y="9654"/>
                </a:cubicBezTo>
                <a:cubicBezTo>
                  <a:pt x="5901" y="9684"/>
                  <a:pt x="5891" y="9722"/>
                  <a:pt x="5862" y="9740"/>
                </a:cubicBezTo>
                <a:cubicBezTo>
                  <a:pt x="5852" y="9746"/>
                  <a:pt x="5841" y="9749"/>
                  <a:pt x="5830" y="9749"/>
                </a:cubicBezTo>
                <a:cubicBezTo>
                  <a:pt x="5808" y="9749"/>
                  <a:pt x="5788" y="9738"/>
                  <a:pt x="5776" y="9718"/>
                </a:cubicBezTo>
                <a:close/>
                <a:moveTo>
                  <a:pt x="5648" y="9505"/>
                </a:moveTo>
                <a:cubicBezTo>
                  <a:pt x="5630" y="9475"/>
                  <a:pt x="5640" y="9437"/>
                  <a:pt x="5670" y="9419"/>
                </a:cubicBezTo>
                <a:cubicBezTo>
                  <a:pt x="5699" y="9401"/>
                  <a:pt x="5738" y="9411"/>
                  <a:pt x="5755" y="9441"/>
                </a:cubicBezTo>
                <a:cubicBezTo>
                  <a:pt x="5773" y="9470"/>
                  <a:pt x="5764" y="9509"/>
                  <a:pt x="5734" y="9526"/>
                </a:cubicBezTo>
                <a:cubicBezTo>
                  <a:pt x="5724" y="9532"/>
                  <a:pt x="5713" y="9535"/>
                  <a:pt x="5702" y="9535"/>
                </a:cubicBezTo>
                <a:cubicBezTo>
                  <a:pt x="5680" y="9535"/>
                  <a:pt x="5660" y="9524"/>
                  <a:pt x="5648" y="9505"/>
                </a:cubicBezTo>
                <a:close/>
                <a:moveTo>
                  <a:pt x="5520" y="9291"/>
                </a:moveTo>
                <a:cubicBezTo>
                  <a:pt x="5502" y="9261"/>
                  <a:pt x="5512" y="9223"/>
                  <a:pt x="5542" y="9205"/>
                </a:cubicBezTo>
                <a:cubicBezTo>
                  <a:pt x="5571" y="9187"/>
                  <a:pt x="5610" y="9197"/>
                  <a:pt x="5627" y="9227"/>
                </a:cubicBezTo>
                <a:cubicBezTo>
                  <a:pt x="5645" y="9256"/>
                  <a:pt x="5635" y="9295"/>
                  <a:pt x="5606" y="9312"/>
                </a:cubicBezTo>
                <a:cubicBezTo>
                  <a:pt x="5596" y="9318"/>
                  <a:pt x="5585" y="9322"/>
                  <a:pt x="5574" y="9322"/>
                </a:cubicBezTo>
                <a:cubicBezTo>
                  <a:pt x="5553" y="9322"/>
                  <a:pt x="5532" y="9311"/>
                  <a:pt x="5520" y="9291"/>
                </a:cubicBezTo>
                <a:close/>
                <a:moveTo>
                  <a:pt x="5392" y="9077"/>
                </a:moveTo>
                <a:cubicBezTo>
                  <a:pt x="5374" y="9048"/>
                  <a:pt x="5384" y="9009"/>
                  <a:pt x="5413" y="8992"/>
                </a:cubicBezTo>
                <a:cubicBezTo>
                  <a:pt x="5443" y="8974"/>
                  <a:pt x="5482" y="8983"/>
                  <a:pt x="5499" y="9013"/>
                </a:cubicBezTo>
                <a:cubicBezTo>
                  <a:pt x="5517" y="9043"/>
                  <a:pt x="5507" y="9081"/>
                  <a:pt x="5478" y="9099"/>
                </a:cubicBezTo>
                <a:cubicBezTo>
                  <a:pt x="5468" y="9105"/>
                  <a:pt x="5457" y="9108"/>
                  <a:pt x="5446" y="9108"/>
                </a:cubicBezTo>
                <a:cubicBezTo>
                  <a:pt x="5424" y="9108"/>
                  <a:pt x="5404" y="9097"/>
                  <a:pt x="5392" y="9077"/>
                </a:cubicBezTo>
                <a:close/>
                <a:moveTo>
                  <a:pt x="5264" y="8864"/>
                </a:moveTo>
                <a:cubicBezTo>
                  <a:pt x="5246" y="8834"/>
                  <a:pt x="5256" y="8795"/>
                  <a:pt x="5286" y="8778"/>
                </a:cubicBezTo>
                <a:cubicBezTo>
                  <a:pt x="5315" y="8760"/>
                  <a:pt x="5354" y="8770"/>
                  <a:pt x="5371" y="8799"/>
                </a:cubicBezTo>
                <a:cubicBezTo>
                  <a:pt x="5389" y="8829"/>
                  <a:pt x="5380" y="8867"/>
                  <a:pt x="5350" y="8885"/>
                </a:cubicBezTo>
                <a:cubicBezTo>
                  <a:pt x="5340" y="8891"/>
                  <a:pt x="5329" y="8894"/>
                  <a:pt x="5318" y="8894"/>
                </a:cubicBezTo>
                <a:cubicBezTo>
                  <a:pt x="5296" y="8894"/>
                  <a:pt x="5276" y="8883"/>
                  <a:pt x="5264" y="8864"/>
                </a:cubicBezTo>
                <a:close/>
                <a:moveTo>
                  <a:pt x="5136" y="8650"/>
                </a:moveTo>
                <a:cubicBezTo>
                  <a:pt x="5118" y="8620"/>
                  <a:pt x="5128" y="8582"/>
                  <a:pt x="5158" y="8564"/>
                </a:cubicBezTo>
                <a:cubicBezTo>
                  <a:pt x="5187" y="8547"/>
                  <a:pt x="5226" y="8556"/>
                  <a:pt x="5244" y="8586"/>
                </a:cubicBezTo>
                <a:cubicBezTo>
                  <a:pt x="5261" y="8615"/>
                  <a:pt x="5252" y="8654"/>
                  <a:pt x="5222" y="8672"/>
                </a:cubicBezTo>
                <a:cubicBezTo>
                  <a:pt x="5212" y="8678"/>
                  <a:pt x="5201" y="8680"/>
                  <a:pt x="5190" y="8680"/>
                </a:cubicBezTo>
                <a:cubicBezTo>
                  <a:pt x="5169" y="8680"/>
                  <a:pt x="5148" y="8669"/>
                  <a:pt x="5136" y="8650"/>
                </a:cubicBezTo>
                <a:close/>
                <a:moveTo>
                  <a:pt x="1298" y="2241"/>
                </a:moveTo>
                <a:cubicBezTo>
                  <a:pt x="1280" y="2211"/>
                  <a:pt x="1290" y="2172"/>
                  <a:pt x="1319" y="2155"/>
                </a:cubicBezTo>
                <a:cubicBezTo>
                  <a:pt x="1349" y="2137"/>
                  <a:pt x="1387" y="2147"/>
                  <a:pt x="1405" y="2176"/>
                </a:cubicBezTo>
                <a:cubicBezTo>
                  <a:pt x="1423" y="2206"/>
                  <a:pt x="1413" y="2244"/>
                  <a:pt x="1384" y="2262"/>
                </a:cubicBezTo>
                <a:cubicBezTo>
                  <a:pt x="1373" y="2268"/>
                  <a:pt x="1362" y="2271"/>
                  <a:pt x="1351" y="2271"/>
                </a:cubicBezTo>
                <a:cubicBezTo>
                  <a:pt x="1330" y="2271"/>
                  <a:pt x="1309" y="2260"/>
                  <a:pt x="1298" y="2241"/>
                </a:cubicBezTo>
                <a:close/>
                <a:moveTo>
                  <a:pt x="1170" y="2027"/>
                </a:moveTo>
                <a:cubicBezTo>
                  <a:pt x="1152" y="1997"/>
                  <a:pt x="1162" y="1959"/>
                  <a:pt x="1191" y="1941"/>
                </a:cubicBezTo>
                <a:cubicBezTo>
                  <a:pt x="1221" y="1923"/>
                  <a:pt x="1259" y="1933"/>
                  <a:pt x="1277" y="1962"/>
                </a:cubicBezTo>
                <a:cubicBezTo>
                  <a:pt x="1295" y="1992"/>
                  <a:pt x="1285" y="2030"/>
                  <a:pt x="1255" y="2048"/>
                </a:cubicBezTo>
                <a:cubicBezTo>
                  <a:pt x="1245" y="2054"/>
                  <a:pt x="1234" y="2057"/>
                  <a:pt x="1223" y="2057"/>
                </a:cubicBezTo>
                <a:cubicBezTo>
                  <a:pt x="1202" y="2057"/>
                  <a:pt x="1181" y="2046"/>
                  <a:pt x="1170" y="2027"/>
                </a:cubicBezTo>
                <a:close/>
                <a:moveTo>
                  <a:pt x="1041" y="1813"/>
                </a:moveTo>
                <a:cubicBezTo>
                  <a:pt x="1024" y="1784"/>
                  <a:pt x="1033" y="1745"/>
                  <a:pt x="1063" y="1727"/>
                </a:cubicBezTo>
                <a:cubicBezTo>
                  <a:pt x="1093" y="1710"/>
                  <a:pt x="1131" y="1719"/>
                  <a:pt x="1149" y="1749"/>
                </a:cubicBezTo>
                <a:cubicBezTo>
                  <a:pt x="1167" y="1778"/>
                  <a:pt x="1157" y="1817"/>
                  <a:pt x="1127" y="1835"/>
                </a:cubicBezTo>
                <a:cubicBezTo>
                  <a:pt x="1118" y="1841"/>
                  <a:pt x="1106" y="1843"/>
                  <a:pt x="1095" y="1843"/>
                </a:cubicBezTo>
                <a:cubicBezTo>
                  <a:pt x="1074" y="1843"/>
                  <a:pt x="1053" y="1832"/>
                  <a:pt x="1041" y="1813"/>
                </a:cubicBezTo>
                <a:close/>
                <a:moveTo>
                  <a:pt x="914" y="1599"/>
                </a:moveTo>
                <a:cubicBezTo>
                  <a:pt x="896" y="1570"/>
                  <a:pt x="905" y="1531"/>
                  <a:pt x="935" y="1513"/>
                </a:cubicBezTo>
                <a:cubicBezTo>
                  <a:pt x="965" y="1496"/>
                  <a:pt x="1003" y="1505"/>
                  <a:pt x="1021" y="1535"/>
                </a:cubicBezTo>
                <a:cubicBezTo>
                  <a:pt x="1039" y="1565"/>
                  <a:pt x="1029" y="1603"/>
                  <a:pt x="1000" y="1621"/>
                </a:cubicBezTo>
                <a:cubicBezTo>
                  <a:pt x="989" y="1627"/>
                  <a:pt x="978" y="1630"/>
                  <a:pt x="967" y="1630"/>
                </a:cubicBezTo>
                <a:cubicBezTo>
                  <a:pt x="946" y="1630"/>
                  <a:pt x="925" y="1619"/>
                  <a:pt x="914" y="1599"/>
                </a:cubicBezTo>
                <a:close/>
                <a:moveTo>
                  <a:pt x="786" y="1386"/>
                </a:moveTo>
                <a:cubicBezTo>
                  <a:pt x="768" y="1356"/>
                  <a:pt x="778" y="1318"/>
                  <a:pt x="807" y="1300"/>
                </a:cubicBezTo>
                <a:cubicBezTo>
                  <a:pt x="837" y="1282"/>
                  <a:pt x="875" y="1292"/>
                  <a:pt x="893" y="1322"/>
                </a:cubicBezTo>
                <a:cubicBezTo>
                  <a:pt x="911" y="1351"/>
                  <a:pt x="901" y="1389"/>
                  <a:pt x="872" y="1407"/>
                </a:cubicBezTo>
                <a:cubicBezTo>
                  <a:pt x="861" y="1413"/>
                  <a:pt x="850" y="1416"/>
                  <a:pt x="839" y="1416"/>
                </a:cubicBezTo>
                <a:cubicBezTo>
                  <a:pt x="818" y="1416"/>
                  <a:pt x="797" y="1405"/>
                  <a:pt x="786" y="1386"/>
                </a:cubicBezTo>
                <a:close/>
                <a:moveTo>
                  <a:pt x="658" y="1172"/>
                </a:moveTo>
                <a:cubicBezTo>
                  <a:pt x="640" y="1142"/>
                  <a:pt x="650" y="1104"/>
                  <a:pt x="679" y="1086"/>
                </a:cubicBezTo>
                <a:cubicBezTo>
                  <a:pt x="709" y="1068"/>
                  <a:pt x="747" y="1078"/>
                  <a:pt x="765" y="1108"/>
                </a:cubicBezTo>
                <a:cubicBezTo>
                  <a:pt x="783" y="1137"/>
                  <a:pt x="773" y="1176"/>
                  <a:pt x="743" y="1193"/>
                </a:cubicBezTo>
                <a:cubicBezTo>
                  <a:pt x="734" y="1200"/>
                  <a:pt x="722" y="1203"/>
                  <a:pt x="711" y="1203"/>
                </a:cubicBezTo>
                <a:cubicBezTo>
                  <a:pt x="690" y="1203"/>
                  <a:pt x="669" y="1192"/>
                  <a:pt x="658" y="1172"/>
                </a:cubicBezTo>
                <a:close/>
                <a:moveTo>
                  <a:pt x="530" y="958"/>
                </a:moveTo>
                <a:cubicBezTo>
                  <a:pt x="512" y="929"/>
                  <a:pt x="522" y="890"/>
                  <a:pt x="551" y="873"/>
                </a:cubicBezTo>
                <a:cubicBezTo>
                  <a:pt x="581" y="855"/>
                  <a:pt x="619" y="864"/>
                  <a:pt x="637" y="894"/>
                </a:cubicBezTo>
                <a:cubicBezTo>
                  <a:pt x="655" y="924"/>
                  <a:pt x="645" y="962"/>
                  <a:pt x="616" y="980"/>
                </a:cubicBezTo>
                <a:cubicBezTo>
                  <a:pt x="605" y="986"/>
                  <a:pt x="594" y="989"/>
                  <a:pt x="584" y="989"/>
                </a:cubicBezTo>
                <a:cubicBezTo>
                  <a:pt x="562" y="989"/>
                  <a:pt x="542" y="978"/>
                  <a:pt x="530" y="958"/>
                </a:cubicBezTo>
                <a:close/>
                <a:moveTo>
                  <a:pt x="402" y="745"/>
                </a:moveTo>
                <a:cubicBezTo>
                  <a:pt x="384" y="715"/>
                  <a:pt x="394" y="676"/>
                  <a:pt x="423" y="659"/>
                </a:cubicBezTo>
                <a:cubicBezTo>
                  <a:pt x="453" y="641"/>
                  <a:pt x="491" y="651"/>
                  <a:pt x="509" y="680"/>
                </a:cubicBezTo>
                <a:cubicBezTo>
                  <a:pt x="527" y="710"/>
                  <a:pt x="517" y="748"/>
                  <a:pt x="488" y="766"/>
                </a:cubicBezTo>
                <a:cubicBezTo>
                  <a:pt x="477" y="772"/>
                  <a:pt x="466" y="775"/>
                  <a:pt x="456" y="775"/>
                </a:cubicBezTo>
                <a:cubicBezTo>
                  <a:pt x="434" y="775"/>
                  <a:pt x="413" y="764"/>
                  <a:pt x="402" y="745"/>
                </a:cubicBezTo>
                <a:close/>
                <a:moveTo>
                  <a:pt x="274" y="531"/>
                </a:moveTo>
                <a:cubicBezTo>
                  <a:pt x="256" y="501"/>
                  <a:pt x="266" y="463"/>
                  <a:pt x="295" y="445"/>
                </a:cubicBezTo>
                <a:cubicBezTo>
                  <a:pt x="325" y="428"/>
                  <a:pt x="363" y="437"/>
                  <a:pt x="381" y="467"/>
                </a:cubicBezTo>
                <a:cubicBezTo>
                  <a:pt x="399" y="496"/>
                  <a:pt x="389" y="535"/>
                  <a:pt x="359" y="552"/>
                </a:cubicBezTo>
                <a:cubicBezTo>
                  <a:pt x="350" y="558"/>
                  <a:pt x="338" y="561"/>
                  <a:pt x="327" y="561"/>
                </a:cubicBezTo>
                <a:cubicBezTo>
                  <a:pt x="306" y="561"/>
                  <a:pt x="285" y="550"/>
                  <a:pt x="274" y="531"/>
                </a:cubicBezTo>
                <a:close/>
                <a:moveTo>
                  <a:pt x="146" y="317"/>
                </a:moveTo>
                <a:cubicBezTo>
                  <a:pt x="128" y="288"/>
                  <a:pt x="137" y="249"/>
                  <a:pt x="167" y="231"/>
                </a:cubicBezTo>
                <a:cubicBezTo>
                  <a:pt x="197" y="214"/>
                  <a:pt x="235" y="223"/>
                  <a:pt x="253" y="253"/>
                </a:cubicBezTo>
                <a:cubicBezTo>
                  <a:pt x="271" y="283"/>
                  <a:pt x="261" y="321"/>
                  <a:pt x="232" y="339"/>
                </a:cubicBezTo>
                <a:cubicBezTo>
                  <a:pt x="222" y="345"/>
                  <a:pt x="210" y="348"/>
                  <a:pt x="199" y="348"/>
                </a:cubicBezTo>
                <a:cubicBezTo>
                  <a:pt x="178" y="348"/>
                  <a:pt x="158" y="337"/>
                  <a:pt x="146" y="317"/>
                </a:cubicBezTo>
                <a:close/>
                <a:moveTo>
                  <a:pt x="18" y="104"/>
                </a:moveTo>
                <a:cubicBezTo>
                  <a:pt x="0" y="74"/>
                  <a:pt x="10" y="36"/>
                  <a:pt x="39" y="18"/>
                </a:cubicBezTo>
                <a:cubicBezTo>
                  <a:pt x="69" y="0"/>
                  <a:pt x="108" y="10"/>
                  <a:pt x="125" y="39"/>
                </a:cubicBezTo>
                <a:cubicBezTo>
                  <a:pt x="143" y="69"/>
                  <a:pt x="133" y="107"/>
                  <a:pt x="104" y="125"/>
                </a:cubicBezTo>
                <a:cubicBezTo>
                  <a:pt x="93" y="131"/>
                  <a:pt x="83" y="134"/>
                  <a:pt x="72" y="134"/>
                </a:cubicBezTo>
                <a:cubicBezTo>
                  <a:pt x="50" y="134"/>
                  <a:pt x="29" y="123"/>
                  <a:pt x="18" y="104"/>
                </a:cubicBezTo>
                <a:close/>
              </a:path>
            </a:pathLst>
          </a:custGeom>
          <a:solidFill>
            <a:srgbClr val="BD1839"/>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 name="Freeform 6"/>
          <p:cNvSpPr>
            <a:spLocks noChangeArrowheads="1"/>
          </p:cNvSpPr>
          <p:nvPr/>
        </p:nvSpPr>
        <p:spPr bwMode="auto">
          <a:xfrm>
            <a:off x="7316789" y="5280026"/>
            <a:ext cx="46037" cy="47625"/>
          </a:xfrm>
          <a:custGeom>
            <a:avLst/>
            <a:gdLst>
              <a:gd name="T0" fmla="*/ 63 w 126"/>
              <a:gd name="T1" fmla="*/ 130 h 131"/>
              <a:gd name="T2" fmla="*/ 18 w 126"/>
              <a:gd name="T3" fmla="*/ 112 h 131"/>
              <a:gd name="T4" fmla="*/ 0 w 126"/>
              <a:gd name="T5" fmla="*/ 68 h 131"/>
              <a:gd name="T6" fmla="*/ 18 w 126"/>
              <a:gd name="T7" fmla="*/ 24 h 131"/>
              <a:gd name="T8" fmla="*/ 107 w 126"/>
              <a:gd name="T9" fmla="*/ 24 h 131"/>
              <a:gd name="T10" fmla="*/ 125 w 126"/>
              <a:gd name="T11" fmla="*/ 68 h 131"/>
              <a:gd name="T12" fmla="*/ 107 w 126"/>
              <a:gd name="T13" fmla="*/ 112 h 131"/>
              <a:gd name="T14" fmla="*/ 63 w 126"/>
              <a:gd name="T15" fmla="*/ 130 h 131"/>
              <a:gd name="T16" fmla="*/ 0 60000 65536"/>
              <a:gd name="T17" fmla="*/ 0 60000 65536"/>
              <a:gd name="T18" fmla="*/ 0 60000 65536"/>
              <a:gd name="T19" fmla="*/ 0 60000 65536"/>
              <a:gd name="T20" fmla="*/ 0 60000 65536"/>
              <a:gd name="T21" fmla="*/ 0 60000 65536"/>
              <a:gd name="T22" fmla="*/ 0 60000 65536"/>
              <a:gd name="T23" fmla="*/ 0 60000 65536"/>
              <a:gd name="T24" fmla="*/ 0 w 126"/>
              <a:gd name="T25" fmla="*/ 0 h 131"/>
              <a:gd name="T26" fmla="*/ 126 w 126"/>
              <a:gd name="T27" fmla="*/ 131 h 1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6" h="131">
                <a:moveTo>
                  <a:pt x="63" y="130"/>
                </a:moveTo>
                <a:cubicBezTo>
                  <a:pt x="46" y="130"/>
                  <a:pt x="30" y="124"/>
                  <a:pt x="18" y="112"/>
                </a:cubicBezTo>
                <a:cubicBezTo>
                  <a:pt x="7" y="100"/>
                  <a:pt x="0" y="84"/>
                  <a:pt x="0" y="68"/>
                </a:cubicBezTo>
                <a:cubicBezTo>
                  <a:pt x="0" y="51"/>
                  <a:pt x="7" y="35"/>
                  <a:pt x="18" y="24"/>
                </a:cubicBezTo>
                <a:cubicBezTo>
                  <a:pt x="41" y="0"/>
                  <a:pt x="84" y="0"/>
                  <a:pt x="107" y="24"/>
                </a:cubicBezTo>
                <a:cubicBezTo>
                  <a:pt x="119" y="35"/>
                  <a:pt x="125" y="51"/>
                  <a:pt x="125" y="68"/>
                </a:cubicBezTo>
                <a:cubicBezTo>
                  <a:pt x="125" y="84"/>
                  <a:pt x="119" y="100"/>
                  <a:pt x="107" y="112"/>
                </a:cubicBezTo>
                <a:cubicBezTo>
                  <a:pt x="95" y="124"/>
                  <a:pt x="79" y="130"/>
                  <a:pt x="63" y="13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8" name="Freeform 6"/>
          <p:cNvSpPr>
            <a:spLocks noChangeArrowheads="1"/>
          </p:cNvSpPr>
          <p:nvPr/>
        </p:nvSpPr>
        <p:spPr bwMode="auto">
          <a:xfrm>
            <a:off x="2852738" y="2257426"/>
            <a:ext cx="6483350" cy="2024063"/>
          </a:xfrm>
          <a:custGeom>
            <a:avLst/>
            <a:gdLst>
              <a:gd name="T0" fmla="*/ 17938 w 18010"/>
              <a:gd name="T1" fmla="*/ 5623 h 5624"/>
              <a:gd name="T2" fmla="*/ 17754 w 18010"/>
              <a:gd name="T3" fmla="*/ 5502 h 5624"/>
              <a:gd name="T4" fmla="*/ 17467 w 18010"/>
              <a:gd name="T5" fmla="*/ 5347 h 5624"/>
              <a:gd name="T6" fmla="*/ 17142 w 18010"/>
              <a:gd name="T7" fmla="*/ 5314 h 5624"/>
              <a:gd name="T8" fmla="*/ 17184 w 18010"/>
              <a:gd name="T9" fmla="*/ 5394 h 5624"/>
              <a:gd name="T10" fmla="*/ 16959 w 18010"/>
              <a:gd name="T11" fmla="*/ 5322 h 5624"/>
              <a:gd name="T12" fmla="*/ 16775 w 18010"/>
              <a:gd name="T13" fmla="*/ 5202 h 5624"/>
              <a:gd name="T14" fmla="*/ 16488 w 18010"/>
              <a:gd name="T15" fmla="*/ 5047 h 5624"/>
              <a:gd name="T16" fmla="*/ 16163 w 18010"/>
              <a:gd name="T17" fmla="*/ 5013 h 5624"/>
              <a:gd name="T18" fmla="*/ 16205 w 18010"/>
              <a:gd name="T19" fmla="*/ 5093 h 5624"/>
              <a:gd name="T20" fmla="*/ 15980 w 18010"/>
              <a:gd name="T21" fmla="*/ 5021 h 5624"/>
              <a:gd name="T22" fmla="*/ 15796 w 18010"/>
              <a:gd name="T23" fmla="*/ 4901 h 5624"/>
              <a:gd name="T24" fmla="*/ 15509 w 18010"/>
              <a:gd name="T25" fmla="*/ 4746 h 5624"/>
              <a:gd name="T26" fmla="*/ 15184 w 18010"/>
              <a:gd name="T27" fmla="*/ 4713 h 5624"/>
              <a:gd name="T28" fmla="*/ 15226 w 18010"/>
              <a:gd name="T29" fmla="*/ 4793 h 5624"/>
              <a:gd name="T30" fmla="*/ 15001 w 18010"/>
              <a:gd name="T31" fmla="*/ 4720 h 5624"/>
              <a:gd name="T32" fmla="*/ 14817 w 18010"/>
              <a:gd name="T33" fmla="*/ 4600 h 5624"/>
              <a:gd name="T34" fmla="*/ 14530 w 18010"/>
              <a:gd name="T35" fmla="*/ 4445 h 5624"/>
              <a:gd name="T36" fmla="*/ 14205 w 18010"/>
              <a:gd name="T37" fmla="*/ 4412 h 5624"/>
              <a:gd name="T38" fmla="*/ 14247 w 18010"/>
              <a:gd name="T39" fmla="*/ 4492 h 5624"/>
              <a:gd name="T40" fmla="*/ 14022 w 18010"/>
              <a:gd name="T41" fmla="*/ 4420 h 5624"/>
              <a:gd name="T42" fmla="*/ 13838 w 18010"/>
              <a:gd name="T43" fmla="*/ 4299 h 5624"/>
              <a:gd name="T44" fmla="*/ 13551 w 18010"/>
              <a:gd name="T45" fmla="*/ 4144 h 5624"/>
              <a:gd name="T46" fmla="*/ 13226 w 18010"/>
              <a:gd name="T47" fmla="*/ 4111 h 5624"/>
              <a:gd name="T48" fmla="*/ 13268 w 18010"/>
              <a:gd name="T49" fmla="*/ 4191 h 5624"/>
              <a:gd name="T50" fmla="*/ 13043 w 18010"/>
              <a:gd name="T51" fmla="*/ 4119 h 5624"/>
              <a:gd name="T52" fmla="*/ 12859 w 18010"/>
              <a:gd name="T53" fmla="*/ 3999 h 5624"/>
              <a:gd name="T54" fmla="*/ 12572 w 18010"/>
              <a:gd name="T55" fmla="*/ 3844 h 5624"/>
              <a:gd name="T56" fmla="*/ 12247 w 18010"/>
              <a:gd name="T57" fmla="*/ 3811 h 5624"/>
              <a:gd name="T58" fmla="*/ 12289 w 18010"/>
              <a:gd name="T59" fmla="*/ 3891 h 5624"/>
              <a:gd name="T60" fmla="*/ 12064 w 18010"/>
              <a:gd name="T61" fmla="*/ 3818 h 5624"/>
              <a:gd name="T62" fmla="*/ 11880 w 18010"/>
              <a:gd name="T63" fmla="*/ 3698 h 5624"/>
              <a:gd name="T64" fmla="*/ 5720 w 18010"/>
              <a:gd name="T65" fmla="*/ 1740 h 5624"/>
              <a:gd name="T66" fmla="*/ 5395 w 18010"/>
              <a:gd name="T67" fmla="*/ 1707 h 5624"/>
              <a:gd name="T68" fmla="*/ 5437 w 18010"/>
              <a:gd name="T69" fmla="*/ 1786 h 5624"/>
              <a:gd name="T70" fmla="*/ 5212 w 18010"/>
              <a:gd name="T71" fmla="*/ 1714 h 5624"/>
              <a:gd name="T72" fmla="*/ 5028 w 18010"/>
              <a:gd name="T73" fmla="*/ 1594 h 5624"/>
              <a:gd name="T74" fmla="*/ 4741 w 18010"/>
              <a:gd name="T75" fmla="*/ 1439 h 5624"/>
              <a:gd name="T76" fmla="*/ 4416 w 18010"/>
              <a:gd name="T77" fmla="*/ 1406 h 5624"/>
              <a:gd name="T78" fmla="*/ 4458 w 18010"/>
              <a:gd name="T79" fmla="*/ 1486 h 5624"/>
              <a:gd name="T80" fmla="*/ 4232 w 18010"/>
              <a:gd name="T81" fmla="*/ 1414 h 5624"/>
              <a:gd name="T82" fmla="*/ 4049 w 18010"/>
              <a:gd name="T83" fmla="*/ 1293 h 5624"/>
              <a:gd name="T84" fmla="*/ 3762 w 18010"/>
              <a:gd name="T85" fmla="*/ 1138 h 5624"/>
              <a:gd name="T86" fmla="*/ 3437 w 18010"/>
              <a:gd name="T87" fmla="*/ 1105 h 5624"/>
              <a:gd name="T88" fmla="*/ 3479 w 18010"/>
              <a:gd name="T89" fmla="*/ 1185 h 5624"/>
              <a:gd name="T90" fmla="*/ 3253 w 18010"/>
              <a:gd name="T91" fmla="*/ 1113 h 5624"/>
              <a:gd name="T92" fmla="*/ 3070 w 18010"/>
              <a:gd name="T93" fmla="*/ 992 h 5624"/>
              <a:gd name="T94" fmla="*/ 2783 w 18010"/>
              <a:gd name="T95" fmla="*/ 838 h 5624"/>
              <a:gd name="T96" fmla="*/ 2458 w 18010"/>
              <a:gd name="T97" fmla="*/ 804 h 5624"/>
              <a:gd name="T98" fmla="*/ 2500 w 18010"/>
              <a:gd name="T99" fmla="*/ 884 h 5624"/>
              <a:gd name="T100" fmla="*/ 2274 w 18010"/>
              <a:gd name="T101" fmla="*/ 812 h 5624"/>
              <a:gd name="T102" fmla="*/ 2091 w 18010"/>
              <a:gd name="T103" fmla="*/ 692 h 5624"/>
              <a:gd name="T104" fmla="*/ 1804 w 18010"/>
              <a:gd name="T105" fmla="*/ 537 h 5624"/>
              <a:gd name="T106" fmla="*/ 1479 w 18010"/>
              <a:gd name="T107" fmla="*/ 504 h 5624"/>
              <a:gd name="T108" fmla="*/ 1521 w 18010"/>
              <a:gd name="T109" fmla="*/ 584 h 5624"/>
              <a:gd name="T110" fmla="*/ 1295 w 18010"/>
              <a:gd name="T111" fmla="*/ 511 h 5624"/>
              <a:gd name="T112" fmla="*/ 1112 w 18010"/>
              <a:gd name="T113" fmla="*/ 391 h 5624"/>
              <a:gd name="T114" fmla="*/ 825 w 18010"/>
              <a:gd name="T115" fmla="*/ 236 h 5624"/>
              <a:gd name="T116" fmla="*/ 500 w 18010"/>
              <a:gd name="T117" fmla="*/ 203 h 5624"/>
              <a:gd name="T118" fmla="*/ 542 w 18010"/>
              <a:gd name="T119" fmla="*/ 283 h 5624"/>
              <a:gd name="T120" fmla="*/ 316 w 18010"/>
              <a:gd name="T121" fmla="*/ 210 h 5624"/>
              <a:gd name="T122" fmla="*/ 133 w 18010"/>
              <a:gd name="T123" fmla="*/ 90 h 56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010"/>
              <a:gd name="T187" fmla="*/ 0 h 5624"/>
              <a:gd name="T188" fmla="*/ 18010 w 18010"/>
              <a:gd name="T189" fmla="*/ 5624 h 562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010" h="5624">
                <a:moveTo>
                  <a:pt x="17919" y="5620"/>
                </a:moveTo>
                <a:cubicBezTo>
                  <a:pt x="17885" y="5609"/>
                  <a:pt x="17866" y="5574"/>
                  <a:pt x="17876" y="5540"/>
                </a:cubicBezTo>
                <a:cubicBezTo>
                  <a:pt x="17887" y="5506"/>
                  <a:pt x="17923" y="5487"/>
                  <a:pt x="17956" y="5498"/>
                </a:cubicBezTo>
                <a:cubicBezTo>
                  <a:pt x="17990" y="5508"/>
                  <a:pt x="18009" y="5544"/>
                  <a:pt x="17999" y="5577"/>
                </a:cubicBezTo>
                <a:cubicBezTo>
                  <a:pt x="17990" y="5605"/>
                  <a:pt x="17965" y="5623"/>
                  <a:pt x="17938" y="5623"/>
                </a:cubicBezTo>
                <a:cubicBezTo>
                  <a:pt x="17931" y="5623"/>
                  <a:pt x="17925" y="5622"/>
                  <a:pt x="17919" y="5620"/>
                </a:cubicBezTo>
                <a:close/>
                <a:moveTo>
                  <a:pt x="17674" y="5544"/>
                </a:moveTo>
                <a:cubicBezTo>
                  <a:pt x="17640" y="5534"/>
                  <a:pt x="17621" y="5498"/>
                  <a:pt x="17632" y="5465"/>
                </a:cubicBezTo>
                <a:cubicBezTo>
                  <a:pt x="17642" y="5431"/>
                  <a:pt x="17678" y="5412"/>
                  <a:pt x="17711" y="5422"/>
                </a:cubicBezTo>
                <a:cubicBezTo>
                  <a:pt x="17745" y="5433"/>
                  <a:pt x="17764" y="5468"/>
                  <a:pt x="17754" y="5502"/>
                </a:cubicBezTo>
                <a:cubicBezTo>
                  <a:pt x="17745" y="5530"/>
                  <a:pt x="17720" y="5547"/>
                  <a:pt x="17693" y="5547"/>
                </a:cubicBezTo>
                <a:cubicBezTo>
                  <a:pt x="17687" y="5547"/>
                  <a:pt x="17680" y="5547"/>
                  <a:pt x="17674" y="5544"/>
                </a:cubicBezTo>
                <a:close/>
                <a:moveTo>
                  <a:pt x="17429" y="5469"/>
                </a:moveTo>
                <a:cubicBezTo>
                  <a:pt x="17395" y="5459"/>
                  <a:pt x="17376" y="5423"/>
                  <a:pt x="17387" y="5390"/>
                </a:cubicBezTo>
                <a:cubicBezTo>
                  <a:pt x="17397" y="5356"/>
                  <a:pt x="17433" y="5337"/>
                  <a:pt x="17467" y="5347"/>
                </a:cubicBezTo>
                <a:cubicBezTo>
                  <a:pt x="17500" y="5357"/>
                  <a:pt x="17519" y="5393"/>
                  <a:pt x="17509" y="5427"/>
                </a:cubicBezTo>
                <a:cubicBezTo>
                  <a:pt x="17501" y="5454"/>
                  <a:pt x="17475" y="5472"/>
                  <a:pt x="17448" y="5472"/>
                </a:cubicBezTo>
                <a:cubicBezTo>
                  <a:pt x="17442" y="5472"/>
                  <a:pt x="17436" y="5471"/>
                  <a:pt x="17429" y="5469"/>
                </a:cubicBezTo>
                <a:close/>
                <a:moveTo>
                  <a:pt x="17184" y="5394"/>
                </a:moveTo>
                <a:cubicBezTo>
                  <a:pt x="17151" y="5384"/>
                  <a:pt x="17132" y="5348"/>
                  <a:pt x="17142" y="5314"/>
                </a:cubicBezTo>
                <a:cubicBezTo>
                  <a:pt x="17152" y="5281"/>
                  <a:pt x="17188" y="5262"/>
                  <a:pt x="17222" y="5272"/>
                </a:cubicBezTo>
                <a:cubicBezTo>
                  <a:pt x="17256" y="5282"/>
                  <a:pt x="17275" y="5318"/>
                  <a:pt x="17264" y="5352"/>
                </a:cubicBezTo>
                <a:cubicBezTo>
                  <a:pt x="17256" y="5379"/>
                  <a:pt x="17231" y="5397"/>
                  <a:pt x="17203" y="5397"/>
                </a:cubicBezTo>
                <a:cubicBezTo>
                  <a:pt x="17197" y="5397"/>
                  <a:pt x="17191" y="5396"/>
                  <a:pt x="17184" y="5394"/>
                </a:cubicBezTo>
                <a:close/>
                <a:moveTo>
                  <a:pt x="16940" y="5319"/>
                </a:moveTo>
                <a:cubicBezTo>
                  <a:pt x="16906" y="5308"/>
                  <a:pt x="16887" y="5273"/>
                  <a:pt x="16897" y="5239"/>
                </a:cubicBezTo>
                <a:cubicBezTo>
                  <a:pt x="16908" y="5205"/>
                  <a:pt x="16944" y="5186"/>
                  <a:pt x="16977" y="5197"/>
                </a:cubicBezTo>
                <a:cubicBezTo>
                  <a:pt x="17011" y="5207"/>
                  <a:pt x="17030" y="5243"/>
                  <a:pt x="17020" y="5277"/>
                </a:cubicBezTo>
                <a:cubicBezTo>
                  <a:pt x="17011" y="5304"/>
                  <a:pt x="16986" y="5322"/>
                  <a:pt x="16959" y="5322"/>
                </a:cubicBezTo>
                <a:cubicBezTo>
                  <a:pt x="16952" y="5322"/>
                  <a:pt x="16946" y="5321"/>
                  <a:pt x="16940" y="5319"/>
                </a:cubicBezTo>
                <a:close/>
                <a:moveTo>
                  <a:pt x="16695" y="5244"/>
                </a:moveTo>
                <a:cubicBezTo>
                  <a:pt x="16661" y="5234"/>
                  <a:pt x="16642" y="5198"/>
                  <a:pt x="16653" y="5164"/>
                </a:cubicBezTo>
                <a:cubicBezTo>
                  <a:pt x="16663" y="5130"/>
                  <a:pt x="16699" y="5111"/>
                  <a:pt x="16732" y="5122"/>
                </a:cubicBezTo>
                <a:cubicBezTo>
                  <a:pt x="16766" y="5132"/>
                  <a:pt x="16785" y="5168"/>
                  <a:pt x="16775" y="5202"/>
                </a:cubicBezTo>
                <a:cubicBezTo>
                  <a:pt x="16766" y="5229"/>
                  <a:pt x="16741" y="5247"/>
                  <a:pt x="16714" y="5247"/>
                </a:cubicBezTo>
                <a:cubicBezTo>
                  <a:pt x="16707" y="5247"/>
                  <a:pt x="16701" y="5246"/>
                  <a:pt x="16695" y="5244"/>
                </a:cubicBezTo>
                <a:close/>
                <a:moveTo>
                  <a:pt x="16450" y="5169"/>
                </a:moveTo>
                <a:cubicBezTo>
                  <a:pt x="16416" y="5158"/>
                  <a:pt x="16397" y="5123"/>
                  <a:pt x="16408" y="5089"/>
                </a:cubicBezTo>
                <a:cubicBezTo>
                  <a:pt x="16418" y="5055"/>
                  <a:pt x="16454" y="5036"/>
                  <a:pt x="16488" y="5047"/>
                </a:cubicBezTo>
                <a:cubicBezTo>
                  <a:pt x="16521" y="5057"/>
                  <a:pt x="16540" y="5093"/>
                  <a:pt x="16530" y="5126"/>
                </a:cubicBezTo>
                <a:cubicBezTo>
                  <a:pt x="16522" y="5154"/>
                  <a:pt x="16496" y="5172"/>
                  <a:pt x="16469" y="5172"/>
                </a:cubicBezTo>
                <a:cubicBezTo>
                  <a:pt x="16463" y="5172"/>
                  <a:pt x="16457" y="5170"/>
                  <a:pt x="16450" y="5169"/>
                </a:cubicBezTo>
                <a:close/>
                <a:moveTo>
                  <a:pt x="16205" y="5093"/>
                </a:moveTo>
                <a:cubicBezTo>
                  <a:pt x="16172" y="5083"/>
                  <a:pt x="16153" y="5047"/>
                  <a:pt x="16163" y="5013"/>
                </a:cubicBezTo>
                <a:cubicBezTo>
                  <a:pt x="16173" y="4980"/>
                  <a:pt x="16209" y="4961"/>
                  <a:pt x="16243" y="4971"/>
                </a:cubicBezTo>
                <a:cubicBezTo>
                  <a:pt x="16277" y="4982"/>
                  <a:pt x="16296" y="5017"/>
                  <a:pt x="16285" y="5051"/>
                </a:cubicBezTo>
                <a:cubicBezTo>
                  <a:pt x="16277" y="5079"/>
                  <a:pt x="16252" y="5096"/>
                  <a:pt x="16225" y="5096"/>
                </a:cubicBezTo>
                <a:cubicBezTo>
                  <a:pt x="16218" y="5096"/>
                  <a:pt x="16212" y="5095"/>
                  <a:pt x="16205" y="5093"/>
                </a:cubicBezTo>
                <a:close/>
                <a:moveTo>
                  <a:pt x="15961" y="5018"/>
                </a:moveTo>
                <a:cubicBezTo>
                  <a:pt x="15927" y="5008"/>
                  <a:pt x="15908" y="4972"/>
                  <a:pt x="15918" y="4938"/>
                </a:cubicBezTo>
                <a:cubicBezTo>
                  <a:pt x="15929" y="4905"/>
                  <a:pt x="15965" y="4886"/>
                  <a:pt x="15998" y="4896"/>
                </a:cubicBezTo>
                <a:cubicBezTo>
                  <a:pt x="16032" y="4906"/>
                  <a:pt x="16051" y="4942"/>
                  <a:pt x="16041" y="4976"/>
                </a:cubicBezTo>
                <a:cubicBezTo>
                  <a:pt x="16032" y="5003"/>
                  <a:pt x="16007" y="5021"/>
                  <a:pt x="15980" y="5021"/>
                </a:cubicBezTo>
                <a:cubicBezTo>
                  <a:pt x="15973" y="5021"/>
                  <a:pt x="15967" y="5020"/>
                  <a:pt x="15961" y="5018"/>
                </a:cubicBezTo>
                <a:close/>
                <a:moveTo>
                  <a:pt x="15716" y="4943"/>
                </a:moveTo>
                <a:cubicBezTo>
                  <a:pt x="15682" y="4933"/>
                  <a:pt x="15663" y="4897"/>
                  <a:pt x="15674" y="4863"/>
                </a:cubicBezTo>
                <a:cubicBezTo>
                  <a:pt x="15684" y="4829"/>
                  <a:pt x="15720" y="4811"/>
                  <a:pt x="15753" y="4821"/>
                </a:cubicBezTo>
                <a:cubicBezTo>
                  <a:pt x="15787" y="4831"/>
                  <a:pt x="15806" y="4867"/>
                  <a:pt x="15796" y="4901"/>
                </a:cubicBezTo>
                <a:cubicBezTo>
                  <a:pt x="15787" y="4928"/>
                  <a:pt x="15762" y="4946"/>
                  <a:pt x="15735" y="4946"/>
                </a:cubicBezTo>
                <a:cubicBezTo>
                  <a:pt x="15728" y="4946"/>
                  <a:pt x="15722" y="4945"/>
                  <a:pt x="15716" y="4943"/>
                </a:cubicBezTo>
                <a:close/>
                <a:moveTo>
                  <a:pt x="15471" y="4868"/>
                </a:moveTo>
                <a:cubicBezTo>
                  <a:pt x="15437" y="4857"/>
                  <a:pt x="15418" y="4822"/>
                  <a:pt x="15429" y="4788"/>
                </a:cubicBezTo>
                <a:cubicBezTo>
                  <a:pt x="15439" y="4754"/>
                  <a:pt x="15475" y="4735"/>
                  <a:pt x="15509" y="4746"/>
                </a:cubicBezTo>
                <a:cubicBezTo>
                  <a:pt x="15542" y="4756"/>
                  <a:pt x="15562" y="4792"/>
                  <a:pt x="15551" y="4825"/>
                </a:cubicBezTo>
                <a:cubicBezTo>
                  <a:pt x="15543" y="4853"/>
                  <a:pt x="15517" y="4871"/>
                  <a:pt x="15490" y="4871"/>
                </a:cubicBezTo>
                <a:cubicBezTo>
                  <a:pt x="15484" y="4871"/>
                  <a:pt x="15478" y="4870"/>
                  <a:pt x="15471" y="4868"/>
                </a:cubicBezTo>
                <a:close/>
                <a:moveTo>
                  <a:pt x="15226" y="4793"/>
                </a:moveTo>
                <a:cubicBezTo>
                  <a:pt x="15193" y="4782"/>
                  <a:pt x="15174" y="4746"/>
                  <a:pt x="15184" y="4713"/>
                </a:cubicBezTo>
                <a:cubicBezTo>
                  <a:pt x="15194" y="4679"/>
                  <a:pt x="15230" y="4660"/>
                  <a:pt x="15264" y="4670"/>
                </a:cubicBezTo>
                <a:cubicBezTo>
                  <a:pt x="15298" y="4681"/>
                  <a:pt x="15317" y="4717"/>
                  <a:pt x="15306" y="4750"/>
                </a:cubicBezTo>
                <a:cubicBezTo>
                  <a:pt x="15298" y="4778"/>
                  <a:pt x="15273" y="4795"/>
                  <a:pt x="15246" y="4795"/>
                </a:cubicBezTo>
                <a:cubicBezTo>
                  <a:pt x="15239" y="4795"/>
                  <a:pt x="15233" y="4795"/>
                  <a:pt x="15226" y="4793"/>
                </a:cubicBezTo>
                <a:close/>
                <a:moveTo>
                  <a:pt x="14982" y="4718"/>
                </a:moveTo>
                <a:cubicBezTo>
                  <a:pt x="14948" y="4707"/>
                  <a:pt x="14929" y="4671"/>
                  <a:pt x="14939" y="4638"/>
                </a:cubicBezTo>
                <a:cubicBezTo>
                  <a:pt x="14950" y="4604"/>
                  <a:pt x="14986" y="4585"/>
                  <a:pt x="15019" y="4595"/>
                </a:cubicBezTo>
                <a:cubicBezTo>
                  <a:pt x="15053" y="4606"/>
                  <a:pt x="15072" y="4642"/>
                  <a:pt x="15062" y="4675"/>
                </a:cubicBezTo>
                <a:cubicBezTo>
                  <a:pt x="15053" y="4702"/>
                  <a:pt x="15028" y="4720"/>
                  <a:pt x="15001" y="4720"/>
                </a:cubicBezTo>
                <a:cubicBezTo>
                  <a:pt x="14994" y="4720"/>
                  <a:pt x="14988" y="4719"/>
                  <a:pt x="14982" y="4718"/>
                </a:cubicBezTo>
                <a:close/>
                <a:moveTo>
                  <a:pt x="14737" y="4642"/>
                </a:moveTo>
                <a:cubicBezTo>
                  <a:pt x="14703" y="4632"/>
                  <a:pt x="14684" y="4596"/>
                  <a:pt x="14695" y="4562"/>
                </a:cubicBezTo>
                <a:cubicBezTo>
                  <a:pt x="14705" y="4529"/>
                  <a:pt x="14741" y="4510"/>
                  <a:pt x="14774" y="4520"/>
                </a:cubicBezTo>
                <a:cubicBezTo>
                  <a:pt x="14808" y="4531"/>
                  <a:pt x="14827" y="4566"/>
                  <a:pt x="14817" y="4600"/>
                </a:cubicBezTo>
                <a:cubicBezTo>
                  <a:pt x="14808" y="4628"/>
                  <a:pt x="14783" y="4645"/>
                  <a:pt x="14756" y="4645"/>
                </a:cubicBezTo>
                <a:cubicBezTo>
                  <a:pt x="14749" y="4645"/>
                  <a:pt x="14743" y="4644"/>
                  <a:pt x="14737" y="4642"/>
                </a:cubicBezTo>
                <a:close/>
                <a:moveTo>
                  <a:pt x="14492" y="4567"/>
                </a:moveTo>
                <a:cubicBezTo>
                  <a:pt x="14458" y="4557"/>
                  <a:pt x="14439" y="4521"/>
                  <a:pt x="14450" y="4487"/>
                </a:cubicBezTo>
                <a:cubicBezTo>
                  <a:pt x="14460" y="4454"/>
                  <a:pt x="14496" y="4435"/>
                  <a:pt x="14530" y="4445"/>
                </a:cubicBezTo>
                <a:cubicBezTo>
                  <a:pt x="14563" y="4455"/>
                  <a:pt x="14582" y="4491"/>
                  <a:pt x="14572" y="4525"/>
                </a:cubicBezTo>
                <a:cubicBezTo>
                  <a:pt x="14564" y="4552"/>
                  <a:pt x="14538" y="4570"/>
                  <a:pt x="14511" y="4570"/>
                </a:cubicBezTo>
                <a:cubicBezTo>
                  <a:pt x="14505" y="4570"/>
                  <a:pt x="14499" y="4569"/>
                  <a:pt x="14492" y="4567"/>
                </a:cubicBezTo>
                <a:close/>
                <a:moveTo>
                  <a:pt x="14247" y="4492"/>
                </a:moveTo>
                <a:cubicBezTo>
                  <a:pt x="14214" y="4482"/>
                  <a:pt x="14195" y="4446"/>
                  <a:pt x="14205" y="4412"/>
                </a:cubicBezTo>
                <a:cubicBezTo>
                  <a:pt x="14215" y="4379"/>
                  <a:pt x="14251" y="4360"/>
                  <a:pt x="14285" y="4370"/>
                </a:cubicBezTo>
                <a:cubicBezTo>
                  <a:pt x="14319" y="4380"/>
                  <a:pt x="14338" y="4416"/>
                  <a:pt x="14327" y="4450"/>
                </a:cubicBezTo>
                <a:cubicBezTo>
                  <a:pt x="14319" y="4477"/>
                  <a:pt x="14294" y="4495"/>
                  <a:pt x="14266" y="4495"/>
                </a:cubicBezTo>
                <a:cubicBezTo>
                  <a:pt x="14260" y="4495"/>
                  <a:pt x="14254" y="4494"/>
                  <a:pt x="14247" y="4492"/>
                </a:cubicBezTo>
                <a:close/>
                <a:moveTo>
                  <a:pt x="14003" y="4417"/>
                </a:moveTo>
                <a:cubicBezTo>
                  <a:pt x="13969" y="4406"/>
                  <a:pt x="13950" y="4371"/>
                  <a:pt x="13960" y="4337"/>
                </a:cubicBezTo>
                <a:cubicBezTo>
                  <a:pt x="13971" y="4303"/>
                  <a:pt x="14007" y="4284"/>
                  <a:pt x="14040" y="4295"/>
                </a:cubicBezTo>
                <a:cubicBezTo>
                  <a:pt x="14074" y="4305"/>
                  <a:pt x="14093" y="4341"/>
                  <a:pt x="14083" y="4374"/>
                </a:cubicBezTo>
                <a:cubicBezTo>
                  <a:pt x="14074" y="4402"/>
                  <a:pt x="14049" y="4420"/>
                  <a:pt x="14022" y="4420"/>
                </a:cubicBezTo>
                <a:cubicBezTo>
                  <a:pt x="14015" y="4420"/>
                  <a:pt x="14009" y="4419"/>
                  <a:pt x="14003" y="4417"/>
                </a:cubicBezTo>
                <a:close/>
                <a:moveTo>
                  <a:pt x="13758" y="4342"/>
                </a:moveTo>
                <a:cubicBezTo>
                  <a:pt x="13724" y="4331"/>
                  <a:pt x="13705" y="4295"/>
                  <a:pt x="13716" y="4262"/>
                </a:cubicBezTo>
                <a:cubicBezTo>
                  <a:pt x="13726" y="4228"/>
                  <a:pt x="13762" y="4209"/>
                  <a:pt x="13795" y="4219"/>
                </a:cubicBezTo>
                <a:cubicBezTo>
                  <a:pt x="13829" y="4230"/>
                  <a:pt x="13848" y="4266"/>
                  <a:pt x="13838" y="4299"/>
                </a:cubicBezTo>
                <a:cubicBezTo>
                  <a:pt x="13829" y="4327"/>
                  <a:pt x="13804" y="4344"/>
                  <a:pt x="13777" y="4344"/>
                </a:cubicBezTo>
                <a:cubicBezTo>
                  <a:pt x="13770" y="4344"/>
                  <a:pt x="13764" y="4343"/>
                  <a:pt x="13758" y="4342"/>
                </a:cubicBezTo>
                <a:close/>
                <a:moveTo>
                  <a:pt x="13513" y="4267"/>
                </a:moveTo>
                <a:cubicBezTo>
                  <a:pt x="13479" y="4256"/>
                  <a:pt x="13460" y="4220"/>
                  <a:pt x="13471" y="4187"/>
                </a:cubicBezTo>
                <a:cubicBezTo>
                  <a:pt x="13481" y="4153"/>
                  <a:pt x="13517" y="4134"/>
                  <a:pt x="13551" y="4144"/>
                </a:cubicBezTo>
                <a:cubicBezTo>
                  <a:pt x="13584" y="4155"/>
                  <a:pt x="13603" y="4191"/>
                  <a:pt x="13593" y="4224"/>
                </a:cubicBezTo>
                <a:cubicBezTo>
                  <a:pt x="13585" y="4252"/>
                  <a:pt x="13559" y="4269"/>
                  <a:pt x="13532" y="4269"/>
                </a:cubicBezTo>
                <a:cubicBezTo>
                  <a:pt x="13526" y="4269"/>
                  <a:pt x="13520" y="4268"/>
                  <a:pt x="13513" y="4267"/>
                </a:cubicBezTo>
                <a:close/>
                <a:moveTo>
                  <a:pt x="13268" y="4191"/>
                </a:moveTo>
                <a:cubicBezTo>
                  <a:pt x="13235" y="4181"/>
                  <a:pt x="13216" y="4145"/>
                  <a:pt x="13226" y="4111"/>
                </a:cubicBezTo>
                <a:cubicBezTo>
                  <a:pt x="13236" y="4078"/>
                  <a:pt x="13272" y="4059"/>
                  <a:pt x="13306" y="4069"/>
                </a:cubicBezTo>
                <a:cubicBezTo>
                  <a:pt x="13340" y="4080"/>
                  <a:pt x="13359" y="4115"/>
                  <a:pt x="13348" y="4149"/>
                </a:cubicBezTo>
                <a:cubicBezTo>
                  <a:pt x="13340" y="4176"/>
                  <a:pt x="13315" y="4194"/>
                  <a:pt x="13287" y="4194"/>
                </a:cubicBezTo>
                <a:cubicBezTo>
                  <a:pt x="13281" y="4194"/>
                  <a:pt x="13275" y="4193"/>
                  <a:pt x="13268" y="4191"/>
                </a:cubicBezTo>
                <a:close/>
                <a:moveTo>
                  <a:pt x="13024" y="4116"/>
                </a:moveTo>
                <a:cubicBezTo>
                  <a:pt x="12990" y="4106"/>
                  <a:pt x="12971" y="4070"/>
                  <a:pt x="12981" y="4036"/>
                </a:cubicBezTo>
                <a:cubicBezTo>
                  <a:pt x="12992" y="4002"/>
                  <a:pt x="13027" y="3983"/>
                  <a:pt x="13061" y="3994"/>
                </a:cubicBezTo>
                <a:cubicBezTo>
                  <a:pt x="13095" y="4004"/>
                  <a:pt x="13114" y="4040"/>
                  <a:pt x="13104" y="4074"/>
                </a:cubicBezTo>
                <a:cubicBezTo>
                  <a:pt x="13095" y="4101"/>
                  <a:pt x="13070" y="4119"/>
                  <a:pt x="13043" y="4119"/>
                </a:cubicBezTo>
                <a:cubicBezTo>
                  <a:pt x="13036" y="4119"/>
                  <a:pt x="13030" y="4118"/>
                  <a:pt x="13024" y="4116"/>
                </a:cubicBezTo>
                <a:close/>
                <a:moveTo>
                  <a:pt x="12779" y="4041"/>
                </a:moveTo>
                <a:cubicBezTo>
                  <a:pt x="12745" y="4031"/>
                  <a:pt x="12726" y="3995"/>
                  <a:pt x="12737" y="3961"/>
                </a:cubicBezTo>
                <a:cubicBezTo>
                  <a:pt x="12747" y="3927"/>
                  <a:pt x="12783" y="3908"/>
                  <a:pt x="12816" y="3919"/>
                </a:cubicBezTo>
                <a:cubicBezTo>
                  <a:pt x="12850" y="3929"/>
                  <a:pt x="12869" y="3965"/>
                  <a:pt x="12859" y="3999"/>
                </a:cubicBezTo>
                <a:cubicBezTo>
                  <a:pt x="12850" y="4026"/>
                  <a:pt x="12825" y="4044"/>
                  <a:pt x="12798" y="4044"/>
                </a:cubicBezTo>
                <a:cubicBezTo>
                  <a:pt x="12791" y="4044"/>
                  <a:pt x="12785" y="4043"/>
                  <a:pt x="12779" y="4041"/>
                </a:cubicBezTo>
                <a:close/>
                <a:moveTo>
                  <a:pt x="12534" y="3966"/>
                </a:moveTo>
                <a:cubicBezTo>
                  <a:pt x="12500" y="3955"/>
                  <a:pt x="12481" y="3920"/>
                  <a:pt x="12492" y="3886"/>
                </a:cubicBezTo>
                <a:cubicBezTo>
                  <a:pt x="12502" y="3852"/>
                  <a:pt x="12538" y="3833"/>
                  <a:pt x="12572" y="3844"/>
                </a:cubicBezTo>
                <a:cubicBezTo>
                  <a:pt x="12605" y="3854"/>
                  <a:pt x="12624" y="3889"/>
                  <a:pt x="12614" y="3923"/>
                </a:cubicBezTo>
                <a:cubicBezTo>
                  <a:pt x="12606" y="3951"/>
                  <a:pt x="12580" y="3969"/>
                  <a:pt x="12553" y="3969"/>
                </a:cubicBezTo>
                <a:cubicBezTo>
                  <a:pt x="12547" y="3969"/>
                  <a:pt x="12540" y="3968"/>
                  <a:pt x="12534" y="3966"/>
                </a:cubicBezTo>
                <a:close/>
                <a:moveTo>
                  <a:pt x="12289" y="3891"/>
                </a:moveTo>
                <a:cubicBezTo>
                  <a:pt x="12256" y="3880"/>
                  <a:pt x="12237" y="3844"/>
                  <a:pt x="12247" y="3811"/>
                </a:cubicBezTo>
                <a:cubicBezTo>
                  <a:pt x="12257" y="3777"/>
                  <a:pt x="12293" y="3758"/>
                  <a:pt x="12327" y="3768"/>
                </a:cubicBezTo>
                <a:cubicBezTo>
                  <a:pt x="12361" y="3779"/>
                  <a:pt x="12380" y="3814"/>
                  <a:pt x="12369" y="3848"/>
                </a:cubicBezTo>
                <a:cubicBezTo>
                  <a:pt x="12361" y="3876"/>
                  <a:pt x="12336" y="3893"/>
                  <a:pt x="12308" y="3893"/>
                </a:cubicBezTo>
                <a:cubicBezTo>
                  <a:pt x="12302" y="3893"/>
                  <a:pt x="12296" y="3892"/>
                  <a:pt x="12289" y="3891"/>
                </a:cubicBezTo>
                <a:close/>
                <a:moveTo>
                  <a:pt x="12045" y="3815"/>
                </a:moveTo>
                <a:cubicBezTo>
                  <a:pt x="12011" y="3805"/>
                  <a:pt x="11992" y="3769"/>
                  <a:pt x="12002" y="3736"/>
                </a:cubicBezTo>
                <a:cubicBezTo>
                  <a:pt x="12013" y="3702"/>
                  <a:pt x="12048" y="3683"/>
                  <a:pt x="12082" y="3693"/>
                </a:cubicBezTo>
                <a:cubicBezTo>
                  <a:pt x="12116" y="3704"/>
                  <a:pt x="12135" y="3739"/>
                  <a:pt x="12125" y="3773"/>
                </a:cubicBezTo>
                <a:cubicBezTo>
                  <a:pt x="12116" y="3801"/>
                  <a:pt x="12091" y="3818"/>
                  <a:pt x="12064" y="3818"/>
                </a:cubicBezTo>
                <a:cubicBezTo>
                  <a:pt x="12057" y="3818"/>
                  <a:pt x="12051" y="3817"/>
                  <a:pt x="12045" y="3815"/>
                </a:cubicBezTo>
                <a:close/>
                <a:moveTo>
                  <a:pt x="11800" y="3740"/>
                </a:moveTo>
                <a:cubicBezTo>
                  <a:pt x="11766" y="3730"/>
                  <a:pt x="11747" y="3694"/>
                  <a:pt x="11758" y="3660"/>
                </a:cubicBezTo>
                <a:cubicBezTo>
                  <a:pt x="11768" y="3627"/>
                  <a:pt x="11804" y="3608"/>
                  <a:pt x="11837" y="3618"/>
                </a:cubicBezTo>
                <a:cubicBezTo>
                  <a:pt x="11871" y="3629"/>
                  <a:pt x="11890" y="3664"/>
                  <a:pt x="11880" y="3698"/>
                </a:cubicBezTo>
                <a:cubicBezTo>
                  <a:pt x="11871" y="3725"/>
                  <a:pt x="11846" y="3743"/>
                  <a:pt x="11819" y="3743"/>
                </a:cubicBezTo>
                <a:cubicBezTo>
                  <a:pt x="11812" y="3743"/>
                  <a:pt x="11806" y="3742"/>
                  <a:pt x="11800" y="3740"/>
                </a:cubicBezTo>
                <a:close/>
                <a:moveTo>
                  <a:pt x="5682" y="1861"/>
                </a:moveTo>
                <a:cubicBezTo>
                  <a:pt x="5648" y="1851"/>
                  <a:pt x="5629" y="1815"/>
                  <a:pt x="5640" y="1782"/>
                </a:cubicBezTo>
                <a:cubicBezTo>
                  <a:pt x="5650" y="1748"/>
                  <a:pt x="5686" y="1729"/>
                  <a:pt x="5720" y="1740"/>
                </a:cubicBezTo>
                <a:cubicBezTo>
                  <a:pt x="5753" y="1750"/>
                  <a:pt x="5772" y="1785"/>
                  <a:pt x="5762" y="1819"/>
                </a:cubicBezTo>
                <a:cubicBezTo>
                  <a:pt x="5753" y="1847"/>
                  <a:pt x="5728" y="1864"/>
                  <a:pt x="5701" y="1864"/>
                </a:cubicBezTo>
                <a:cubicBezTo>
                  <a:pt x="5695" y="1864"/>
                  <a:pt x="5688" y="1864"/>
                  <a:pt x="5682" y="1861"/>
                </a:cubicBezTo>
                <a:close/>
                <a:moveTo>
                  <a:pt x="5437" y="1786"/>
                </a:moveTo>
                <a:cubicBezTo>
                  <a:pt x="5404" y="1776"/>
                  <a:pt x="5385" y="1740"/>
                  <a:pt x="5395" y="1707"/>
                </a:cubicBezTo>
                <a:cubicBezTo>
                  <a:pt x="5405" y="1673"/>
                  <a:pt x="5441" y="1654"/>
                  <a:pt x="5475" y="1664"/>
                </a:cubicBezTo>
                <a:cubicBezTo>
                  <a:pt x="5509" y="1675"/>
                  <a:pt x="5528" y="1710"/>
                  <a:pt x="5517" y="1744"/>
                </a:cubicBezTo>
                <a:cubicBezTo>
                  <a:pt x="5509" y="1772"/>
                  <a:pt x="5484" y="1789"/>
                  <a:pt x="5456" y="1789"/>
                </a:cubicBezTo>
                <a:cubicBezTo>
                  <a:pt x="5450" y="1789"/>
                  <a:pt x="5444" y="1788"/>
                  <a:pt x="5437" y="1786"/>
                </a:cubicBezTo>
                <a:close/>
                <a:moveTo>
                  <a:pt x="5193" y="1711"/>
                </a:moveTo>
                <a:cubicBezTo>
                  <a:pt x="5159" y="1701"/>
                  <a:pt x="5140" y="1665"/>
                  <a:pt x="5150" y="1632"/>
                </a:cubicBezTo>
                <a:cubicBezTo>
                  <a:pt x="5160" y="1598"/>
                  <a:pt x="5196" y="1579"/>
                  <a:pt x="5230" y="1589"/>
                </a:cubicBezTo>
                <a:cubicBezTo>
                  <a:pt x="5264" y="1600"/>
                  <a:pt x="5283" y="1635"/>
                  <a:pt x="5272" y="1669"/>
                </a:cubicBezTo>
                <a:cubicBezTo>
                  <a:pt x="5264" y="1696"/>
                  <a:pt x="5239" y="1714"/>
                  <a:pt x="5212" y="1714"/>
                </a:cubicBezTo>
                <a:cubicBezTo>
                  <a:pt x="5205" y="1714"/>
                  <a:pt x="5199" y="1713"/>
                  <a:pt x="5193" y="1711"/>
                </a:cubicBezTo>
                <a:close/>
                <a:moveTo>
                  <a:pt x="4948" y="1636"/>
                </a:moveTo>
                <a:cubicBezTo>
                  <a:pt x="4914" y="1626"/>
                  <a:pt x="4895" y="1590"/>
                  <a:pt x="4905" y="1556"/>
                </a:cubicBezTo>
                <a:cubicBezTo>
                  <a:pt x="4916" y="1522"/>
                  <a:pt x="4952" y="1503"/>
                  <a:pt x="4985" y="1514"/>
                </a:cubicBezTo>
                <a:cubicBezTo>
                  <a:pt x="5019" y="1524"/>
                  <a:pt x="5038" y="1560"/>
                  <a:pt x="5028" y="1594"/>
                </a:cubicBezTo>
                <a:cubicBezTo>
                  <a:pt x="5019" y="1621"/>
                  <a:pt x="4994" y="1639"/>
                  <a:pt x="4967" y="1639"/>
                </a:cubicBezTo>
                <a:cubicBezTo>
                  <a:pt x="4960" y="1639"/>
                  <a:pt x="4954" y="1638"/>
                  <a:pt x="4948" y="1636"/>
                </a:cubicBezTo>
                <a:close/>
                <a:moveTo>
                  <a:pt x="4703" y="1561"/>
                </a:moveTo>
                <a:cubicBezTo>
                  <a:pt x="4669" y="1551"/>
                  <a:pt x="4650" y="1515"/>
                  <a:pt x="4661" y="1481"/>
                </a:cubicBezTo>
                <a:cubicBezTo>
                  <a:pt x="4671" y="1447"/>
                  <a:pt x="4707" y="1428"/>
                  <a:pt x="4741" y="1439"/>
                </a:cubicBezTo>
                <a:cubicBezTo>
                  <a:pt x="4774" y="1449"/>
                  <a:pt x="4793" y="1485"/>
                  <a:pt x="4783" y="1519"/>
                </a:cubicBezTo>
                <a:cubicBezTo>
                  <a:pt x="4774" y="1546"/>
                  <a:pt x="4749" y="1564"/>
                  <a:pt x="4722" y="1564"/>
                </a:cubicBezTo>
                <a:cubicBezTo>
                  <a:pt x="4716" y="1564"/>
                  <a:pt x="4709" y="1563"/>
                  <a:pt x="4703" y="1561"/>
                </a:cubicBezTo>
                <a:close/>
                <a:moveTo>
                  <a:pt x="4458" y="1486"/>
                </a:moveTo>
                <a:cubicBezTo>
                  <a:pt x="4425" y="1476"/>
                  <a:pt x="4405" y="1440"/>
                  <a:pt x="4416" y="1406"/>
                </a:cubicBezTo>
                <a:cubicBezTo>
                  <a:pt x="4426" y="1372"/>
                  <a:pt x="4462" y="1353"/>
                  <a:pt x="4496" y="1364"/>
                </a:cubicBezTo>
                <a:cubicBezTo>
                  <a:pt x="4529" y="1374"/>
                  <a:pt x="4549" y="1410"/>
                  <a:pt x="4538" y="1444"/>
                </a:cubicBezTo>
                <a:cubicBezTo>
                  <a:pt x="4529" y="1471"/>
                  <a:pt x="4504" y="1489"/>
                  <a:pt x="4477" y="1489"/>
                </a:cubicBezTo>
                <a:cubicBezTo>
                  <a:pt x="4471" y="1489"/>
                  <a:pt x="4465" y="1488"/>
                  <a:pt x="4458" y="1486"/>
                </a:cubicBezTo>
                <a:close/>
                <a:moveTo>
                  <a:pt x="4213" y="1410"/>
                </a:moveTo>
                <a:cubicBezTo>
                  <a:pt x="4180" y="1400"/>
                  <a:pt x="4161" y="1364"/>
                  <a:pt x="4171" y="1331"/>
                </a:cubicBezTo>
                <a:cubicBezTo>
                  <a:pt x="4181" y="1297"/>
                  <a:pt x="4217" y="1278"/>
                  <a:pt x="4251" y="1289"/>
                </a:cubicBezTo>
                <a:cubicBezTo>
                  <a:pt x="4285" y="1299"/>
                  <a:pt x="4304" y="1334"/>
                  <a:pt x="4293" y="1368"/>
                </a:cubicBezTo>
                <a:cubicBezTo>
                  <a:pt x="4285" y="1396"/>
                  <a:pt x="4260" y="1414"/>
                  <a:pt x="4232" y="1414"/>
                </a:cubicBezTo>
                <a:cubicBezTo>
                  <a:pt x="4226" y="1414"/>
                  <a:pt x="4220" y="1413"/>
                  <a:pt x="4213" y="1410"/>
                </a:cubicBezTo>
                <a:close/>
                <a:moveTo>
                  <a:pt x="3969" y="1335"/>
                </a:moveTo>
                <a:cubicBezTo>
                  <a:pt x="3935" y="1325"/>
                  <a:pt x="3916" y="1289"/>
                  <a:pt x="3926" y="1255"/>
                </a:cubicBezTo>
                <a:cubicBezTo>
                  <a:pt x="3937" y="1222"/>
                  <a:pt x="3973" y="1203"/>
                  <a:pt x="4006" y="1213"/>
                </a:cubicBezTo>
                <a:cubicBezTo>
                  <a:pt x="4040" y="1223"/>
                  <a:pt x="4059" y="1259"/>
                  <a:pt x="4049" y="1293"/>
                </a:cubicBezTo>
                <a:cubicBezTo>
                  <a:pt x="4040" y="1321"/>
                  <a:pt x="4015" y="1338"/>
                  <a:pt x="3988" y="1338"/>
                </a:cubicBezTo>
                <a:cubicBezTo>
                  <a:pt x="3981" y="1338"/>
                  <a:pt x="3975" y="1337"/>
                  <a:pt x="3969" y="1335"/>
                </a:cubicBezTo>
                <a:close/>
                <a:moveTo>
                  <a:pt x="3724" y="1260"/>
                </a:moveTo>
                <a:cubicBezTo>
                  <a:pt x="3690" y="1250"/>
                  <a:pt x="3671" y="1214"/>
                  <a:pt x="3682" y="1180"/>
                </a:cubicBezTo>
                <a:cubicBezTo>
                  <a:pt x="3692" y="1147"/>
                  <a:pt x="3728" y="1128"/>
                  <a:pt x="3762" y="1138"/>
                </a:cubicBezTo>
                <a:cubicBezTo>
                  <a:pt x="3795" y="1148"/>
                  <a:pt x="3814" y="1184"/>
                  <a:pt x="3804" y="1218"/>
                </a:cubicBezTo>
                <a:cubicBezTo>
                  <a:pt x="3795" y="1245"/>
                  <a:pt x="3770" y="1263"/>
                  <a:pt x="3743" y="1263"/>
                </a:cubicBezTo>
                <a:cubicBezTo>
                  <a:pt x="3736" y="1263"/>
                  <a:pt x="3730" y="1262"/>
                  <a:pt x="3724" y="1260"/>
                </a:cubicBezTo>
                <a:close/>
                <a:moveTo>
                  <a:pt x="3479" y="1185"/>
                </a:moveTo>
                <a:cubicBezTo>
                  <a:pt x="3446" y="1175"/>
                  <a:pt x="3426" y="1139"/>
                  <a:pt x="3437" y="1105"/>
                </a:cubicBezTo>
                <a:cubicBezTo>
                  <a:pt x="3447" y="1071"/>
                  <a:pt x="3483" y="1053"/>
                  <a:pt x="3517" y="1063"/>
                </a:cubicBezTo>
                <a:cubicBezTo>
                  <a:pt x="3550" y="1073"/>
                  <a:pt x="3570" y="1109"/>
                  <a:pt x="3559" y="1143"/>
                </a:cubicBezTo>
                <a:cubicBezTo>
                  <a:pt x="3550" y="1170"/>
                  <a:pt x="3525" y="1188"/>
                  <a:pt x="3498" y="1188"/>
                </a:cubicBezTo>
                <a:cubicBezTo>
                  <a:pt x="3492" y="1188"/>
                  <a:pt x="3486" y="1187"/>
                  <a:pt x="3479" y="1185"/>
                </a:cubicBezTo>
                <a:close/>
                <a:moveTo>
                  <a:pt x="3234" y="1110"/>
                </a:moveTo>
                <a:cubicBezTo>
                  <a:pt x="3201" y="1099"/>
                  <a:pt x="3182" y="1064"/>
                  <a:pt x="3192" y="1030"/>
                </a:cubicBezTo>
                <a:cubicBezTo>
                  <a:pt x="3202" y="996"/>
                  <a:pt x="3238" y="977"/>
                  <a:pt x="3272" y="988"/>
                </a:cubicBezTo>
                <a:cubicBezTo>
                  <a:pt x="3306" y="998"/>
                  <a:pt x="3325" y="1034"/>
                  <a:pt x="3314" y="1067"/>
                </a:cubicBezTo>
                <a:cubicBezTo>
                  <a:pt x="3306" y="1095"/>
                  <a:pt x="3281" y="1113"/>
                  <a:pt x="3253" y="1113"/>
                </a:cubicBezTo>
                <a:cubicBezTo>
                  <a:pt x="3247" y="1113"/>
                  <a:pt x="3241" y="1112"/>
                  <a:pt x="3234" y="1110"/>
                </a:cubicBezTo>
                <a:close/>
                <a:moveTo>
                  <a:pt x="2990" y="1035"/>
                </a:moveTo>
                <a:cubicBezTo>
                  <a:pt x="2956" y="1024"/>
                  <a:pt x="2937" y="989"/>
                  <a:pt x="2947" y="955"/>
                </a:cubicBezTo>
                <a:cubicBezTo>
                  <a:pt x="2958" y="921"/>
                  <a:pt x="2994" y="902"/>
                  <a:pt x="3027" y="913"/>
                </a:cubicBezTo>
                <a:cubicBezTo>
                  <a:pt x="3061" y="923"/>
                  <a:pt x="3080" y="959"/>
                  <a:pt x="3070" y="992"/>
                </a:cubicBezTo>
                <a:cubicBezTo>
                  <a:pt x="3061" y="1020"/>
                  <a:pt x="3036" y="1038"/>
                  <a:pt x="3009" y="1038"/>
                </a:cubicBezTo>
                <a:cubicBezTo>
                  <a:pt x="3002" y="1038"/>
                  <a:pt x="2996" y="1036"/>
                  <a:pt x="2990" y="1035"/>
                </a:cubicBezTo>
                <a:close/>
                <a:moveTo>
                  <a:pt x="2745" y="959"/>
                </a:moveTo>
                <a:cubicBezTo>
                  <a:pt x="2711" y="949"/>
                  <a:pt x="2692" y="913"/>
                  <a:pt x="2703" y="880"/>
                </a:cubicBezTo>
                <a:cubicBezTo>
                  <a:pt x="2713" y="846"/>
                  <a:pt x="2749" y="827"/>
                  <a:pt x="2783" y="838"/>
                </a:cubicBezTo>
                <a:cubicBezTo>
                  <a:pt x="2816" y="848"/>
                  <a:pt x="2835" y="883"/>
                  <a:pt x="2825" y="917"/>
                </a:cubicBezTo>
                <a:cubicBezTo>
                  <a:pt x="2816" y="945"/>
                  <a:pt x="2791" y="962"/>
                  <a:pt x="2764" y="962"/>
                </a:cubicBezTo>
                <a:cubicBezTo>
                  <a:pt x="2757" y="962"/>
                  <a:pt x="2751" y="961"/>
                  <a:pt x="2745" y="959"/>
                </a:cubicBezTo>
                <a:close/>
                <a:moveTo>
                  <a:pt x="2500" y="884"/>
                </a:moveTo>
                <a:cubicBezTo>
                  <a:pt x="2466" y="874"/>
                  <a:pt x="2447" y="838"/>
                  <a:pt x="2458" y="804"/>
                </a:cubicBezTo>
                <a:cubicBezTo>
                  <a:pt x="2468" y="771"/>
                  <a:pt x="2504" y="752"/>
                  <a:pt x="2538" y="762"/>
                </a:cubicBezTo>
                <a:cubicBezTo>
                  <a:pt x="2571" y="772"/>
                  <a:pt x="2591" y="808"/>
                  <a:pt x="2580" y="842"/>
                </a:cubicBezTo>
                <a:cubicBezTo>
                  <a:pt x="2571" y="870"/>
                  <a:pt x="2546" y="887"/>
                  <a:pt x="2519" y="887"/>
                </a:cubicBezTo>
                <a:cubicBezTo>
                  <a:pt x="2513" y="887"/>
                  <a:pt x="2507" y="886"/>
                  <a:pt x="2500" y="884"/>
                </a:cubicBezTo>
                <a:close/>
                <a:moveTo>
                  <a:pt x="2255" y="809"/>
                </a:moveTo>
                <a:cubicBezTo>
                  <a:pt x="2222" y="799"/>
                  <a:pt x="2203" y="763"/>
                  <a:pt x="2213" y="729"/>
                </a:cubicBezTo>
                <a:cubicBezTo>
                  <a:pt x="2223" y="696"/>
                  <a:pt x="2259" y="677"/>
                  <a:pt x="2293" y="687"/>
                </a:cubicBezTo>
                <a:cubicBezTo>
                  <a:pt x="2327" y="697"/>
                  <a:pt x="2346" y="733"/>
                  <a:pt x="2335" y="767"/>
                </a:cubicBezTo>
                <a:cubicBezTo>
                  <a:pt x="2327" y="794"/>
                  <a:pt x="2302" y="812"/>
                  <a:pt x="2274" y="812"/>
                </a:cubicBezTo>
                <a:cubicBezTo>
                  <a:pt x="2268" y="812"/>
                  <a:pt x="2262" y="811"/>
                  <a:pt x="2255" y="809"/>
                </a:cubicBezTo>
                <a:close/>
                <a:moveTo>
                  <a:pt x="2011" y="734"/>
                </a:moveTo>
                <a:cubicBezTo>
                  <a:pt x="1977" y="723"/>
                  <a:pt x="1958" y="688"/>
                  <a:pt x="1968" y="654"/>
                </a:cubicBezTo>
                <a:cubicBezTo>
                  <a:pt x="1979" y="620"/>
                  <a:pt x="2015" y="601"/>
                  <a:pt x="2048" y="612"/>
                </a:cubicBezTo>
                <a:cubicBezTo>
                  <a:pt x="2082" y="622"/>
                  <a:pt x="2101" y="658"/>
                  <a:pt x="2091" y="692"/>
                </a:cubicBezTo>
                <a:cubicBezTo>
                  <a:pt x="2082" y="719"/>
                  <a:pt x="2057" y="737"/>
                  <a:pt x="2030" y="737"/>
                </a:cubicBezTo>
                <a:cubicBezTo>
                  <a:pt x="2023" y="737"/>
                  <a:pt x="2017" y="736"/>
                  <a:pt x="2011" y="734"/>
                </a:cubicBezTo>
                <a:close/>
                <a:moveTo>
                  <a:pt x="1766" y="659"/>
                </a:moveTo>
                <a:cubicBezTo>
                  <a:pt x="1732" y="648"/>
                  <a:pt x="1713" y="613"/>
                  <a:pt x="1724" y="579"/>
                </a:cubicBezTo>
                <a:cubicBezTo>
                  <a:pt x="1734" y="545"/>
                  <a:pt x="1770" y="526"/>
                  <a:pt x="1804" y="537"/>
                </a:cubicBezTo>
                <a:cubicBezTo>
                  <a:pt x="1837" y="547"/>
                  <a:pt x="1856" y="583"/>
                  <a:pt x="1846" y="616"/>
                </a:cubicBezTo>
                <a:cubicBezTo>
                  <a:pt x="1837" y="644"/>
                  <a:pt x="1812" y="661"/>
                  <a:pt x="1785" y="661"/>
                </a:cubicBezTo>
                <a:cubicBezTo>
                  <a:pt x="1778" y="661"/>
                  <a:pt x="1772" y="661"/>
                  <a:pt x="1766" y="659"/>
                </a:cubicBezTo>
                <a:close/>
                <a:moveTo>
                  <a:pt x="1521" y="584"/>
                </a:moveTo>
                <a:cubicBezTo>
                  <a:pt x="1487" y="573"/>
                  <a:pt x="1468" y="538"/>
                  <a:pt x="1479" y="504"/>
                </a:cubicBezTo>
                <a:cubicBezTo>
                  <a:pt x="1489" y="470"/>
                  <a:pt x="1525" y="451"/>
                  <a:pt x="1559" y="461"/>
                </a:cubicBezTo>
                <a:cubicBezTo>
                  <a:pt x="1592" y="472"/>
                  <a:pt x="1611" y="508"/>
                  <a:pt x="1601" y="541"/>
                </a:cubicBezTo>
                <a:cubicBezTo>
                  <a:pt x="1592" y="569"/>
                  <a:pt x="1567" y="586"/>
                  <a:pt x="1540" y="586"/>
                </a:cubicBezTo>
                <a:cubicBezTo>
                  <a:pt x="1534" y="586"/>
                  <a:pt x="1527" y="585"/>
                  <a:pt x="1521" y="584"/>
                </a:cubicBezTo>
                <a:close/>
                <a:moveTo>
                  <a:pt x="1276" y="508"/>
                </a:moveTo>
                <a:cubicBezTo>
                  <a:pt x="1243" y="498"/>
                  <a:pt x="1224" y="462"/>
                  <a:pt x="1234" y="429"/>
                </a:cubicBezTo>
                <a:cubicBezTo>
                  <a:pt x="1244" y="395"/>
                  <a:pt x="1280" y="376"/>
                  <a:pt x="1314" y="386"/>
                </a:cubicBezTo>
                <a:cubicBezTo>
                  <a:pt x="1348" y="397"/>
                  <a:pt x="1367" y="432"/>
                  <a:pt x="1356" y="466"/>
                </a:cubicBezTo>
                <a:cubicBezTo>
                  <a:pt x="1348" y="493"/>
                  <a:pt x="1323" y="511"/>
                  <a:pt x="1295" y="511"/>
                </a:cubicBezTo>
                <a:cubicBezTo>
                  <a:pt x="1289" y="511"/>
                  <a:pt x="1283" y="510"/>
                  <a:pt x="1276" y="508"/>
                </a:cubicBezTo>
                <a:close/>
                <a:moveTo>
                  <a:pt x="1032" y="433"/>
                </a:moveTo>
                <a:cubicBezTo>
                  <a:pt x="998" y="423"/>
                  <a:pt x="979" y="387"/>
                  <a:pt x="989" y="353"/>
                </a:cubicBezTo>
                <a:cubicBezTo>
                  <a:pt x="1000" y="320"/>
                  <a:pt x="1036" y="300"/>
                  <a:pt x="1069" y="311"/>
                </a:cubicBezTo>
                <a:cubicBezTo>
                  <a:pt x="1103" y="321"/>
                  <a:pt x="1122" y="357"/>
                  <a:pt x="1112" y="391"/>
                </a:cubicBezTo>
                <a:cubicBezTo>
                  <a:pt x="1103" y="418"/>
                  <a:pt x="1078" y="436"/>
                  <a:pt x="1051" y="436"/>
                </a:cubicBezTo>
                <a:cubicBezTo>
                  <a:pt x="1044" y="436"/>
                  <a:pt x="1038" y="435"/>
                  <a:pt x="1032" y="433"/>
                </a:cubicBezTo>
                <a:close/>
                <a:moveTo>
                  <a:pt x="787" y="358"/>
                </a:moveTo>
                <a:cubicBezTo>
                  <a:pt x="753" y="348"/>
                  <a:pt x="734" y="312"/>
                  <a:pt x="745" y="278"/>
                </a:cubicBezTo>
                <a:cubicBezTo>
                  <a:pt x="755" y="245"/>
                  <a:pt x="791" y="226"/>
                  <a:pt x="825" y="236"/>
                </a:cubicBezTo>
                <a:cubicBezTo>
                  <a:pt x="858" y="246"/>
                  <a:pt x="877" y="282"/>
                  <a:pt x="867" y="316"/>
                </a:cubicBezTo>
                <a:cubicBezTo>
                  <a:pt x="858" y="343"/>
                  <a:pt x="833" y="361"/>
                  <a:pt x="806" y="361"/>
                </a:cubicBezTo>
                <a:cubicBezTo>
                  <a:pt x="799" y="361"/>
                  <a:pt x="793" y="360"/>
                  <a:pt x="787" y="358"/>
                </a:cubicBezTo>
                <a:close/>
                <a:moveTo>
                  <a:pt x="542" y="283"/>
                </a:moveTo>
                <a:cubicBezTo>
                  <a:pt x="508" y="272"/>
                  <a:pt x="489" y="237"/>
                  <a:pt x="500" y="203"/>
                </a:cubicBezTo>
                <a:cubicBezTo>
                  <a:pt x="510" y="169"/>
                  <a:pt x="546" y="150"/>
                  <a:pt x="580" y="161"/>
                </a:cubicBezTo>
                <a:cubicBezTo>
                  <a:pt x="613" y="171"/>
                  <a:pt x="632" y="207"/>
                  <a:pt x="622" y="241"/>
                </a:cubicBezTo>
                <a:cubicBezTo>
                  <a:pt x="613" y="268"/>
                  <a:pt x="588" y="286"/>
                  <a:pt x="561" y="286"/>
                </a:cubicBezTo>
                <a:cubicBezTo>
                  <a:pt x="555" y="286"/>
                  <a:pt x="548" y="285"/>
                  <a:pt x="542" y="283"/>
                </a:cubicBezTo>
                <a:close/>
                <a:moveTo>
                  <a:pt x="297" y="208"/>
                </a:moveTo>
                <a:cubicBezTo>
                  <a:pt x="264" y="197"/>
                  <a:pt x="245" y="161"/>
                  <a:pt x="255" y="128"/>
                </a:cubicBezTo>
                <a:cubicBezTo>
                  <a:pt x="265" y="94"/>
                  <a:pt x="301" y="75"/>
                  <a:pt x="335" y="85"/>
                </a:cubicBezTo>
                <a:cubicBezTo>
                  <a:pt x="369" y="96"/>
                  <a:pt x="388" y="132"/>
                  <a:pt x="377" y="165"/>
                </a:cubicBezTo>
                <a:cubicBezTo>
                  <a:pt x="369" y="193"/>
                  <a:pt x="344" y="210"/>
                  <a:pt x="316" y="210"/>
                </a:cubicBezTo>
                <a:cubicBezTo>
                  <a:pt x="310" y="210"/>
                  <a:pt x="304" y="210"/>
                  <a:pt x="297" y="208"/>
                </a:cubicBezTo>
                <a:close/>
                <a:moveTo>
                  <a:pt x="53" y="133"/>
                </a:moveTo>
                <a:cubicBezTo>
                  <a:pt x="19" y="122"/>
                  <a:pt x="0" y="86"/>
                  <a:pt x="10" y="53"/>
                </a:cubicBezTo>
                <a:cubicBezTo>
                  <a:pt x="21" y="19"/>
                  <a:pt x="57" y="0"/>
                  <a:pt x="90" y="10"/>
                </a:cubicBezTo>
                <a:cubicBezTo>
                  <a:pt x="124" y="21"/>
                  <a:pt x="143" y="57"/>
                  <a:pt x="133" y="90"/>
                </a:cubicBezTo>
                <a:cubicBezTo>
                  <a:pt x="124" y="118"/>
                  <a:pt x="99" y="135"/>
                  <a:pt x="72" y="135"/>
                </a:cubicBezTo>
                <a:cubicBezTo>
                  <a:pt x="65" y="135"/>
                  <a:pt x="59" y="134"/>
                  <a:pt x="53" y="133"/>
                </a:cubicBezTo>
                <a:close/>
              </a:path>
            </a:pathLst>
          </a:custGeom>
          <a:solidFill>
            <a:srgbClr val="BD1839"/>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 name="Freeform 9"/>
          <p:cNvSpPr>
            <a:spLocks noChangeArrowheads="1"/>
          </p:cNvSpPr>
          <p:nvPr/>
        </p:nvSpPr>
        <p:spPr bwMode="auto">
          <a:xfrm>
            <a:off x="2852738" y="2257426"/>
            <a:ext cx="6483350" cy="2024063"/>
          </a:xfrm>
          <a:custGeom>
            <a:avLst/>
            <a:gdLst>
              <a:gd name="T0" fmla="*/ 72 w 18010"/>
              <a:gd name="T1" fmla="*/ 5623 h 5624"/>
              <a:gd name="T2" fmla="*/ 335 w 18010"/>
              <a:gd name="T3" fmla="*/ 5544 h 5624"/>
              <a:gd name="T4" fmla="*/ 622 w 18010"/>
              <a:gd name="T5" fmla="*/ 5390 h 5624"/>
              <a:gd name="T6" fmla="*/ 787 w 18010"/>
              <a:gd name="T7" fmla="*/ 5272 h 5624"/>
              <a:gd name="T8" fmla="*/ 745 w 18010"/>
              <a:gd name="T9" fmla="*/ 5352 h 5624"/>
              <a:gd name="T10" fmla="*/ 1050 w 18010"/>
              <a:gd name="T11" fmla="*/ 5322 h 5624"/>
              <a:gd name="T12" fmla="*/ 1314 w 18010"/>
              <a:gd name="T13" fmla="*/ 5244 h 5624"/>
              <a:gd name="T14" fmla="*/ 1601 w 18010"/>
              <a:gd name="T15" fmla="*/ 5089 h 5624"/>
              <a:gd name="T16" fmla="*/ 1766 w 18010"/>
              <a:gd name="T17" fmla="*/ 4971 h 5624"/>
              <a:gd name="T18" fmla="*/ 1724 w 18010"/>
              <a:gd name="T19" fmla="*/ 5051 h 5624"/>
              <a:gd name="T20" fmla="*/ 2030 w 18010"/>
              <a:gd name="T21" fmla="*/ 5021 h 5624"/>
              <a:gd name="T22" fmla="*/ 2293 w 18010"/>
              <a:gd name="T23" fmla="*/ 4943 h 5624"/>
              <a:gd name="T24" fmla="*/ 2580 w 18010"/>
              <a:gd name="T25" fmla="*/ 4788 h 5624"/>
              <a:gd name="T26" fmla="*/ 2745 w 18010"/>
              <a:gd name="T27" fmla="*/ 4670 h 5624"/>
              <a:gd name="T28" fmla="*/ 2703 w 18010"/>
              <a:gd name="T29" fmla="*/ 4750 h 5624"/>
              <a:gd name="T30" fmla="*/ 3008 w 18010"/>
              <a:gd name="T31" fmla="*/ 4720 h 5624"/>
              <a:gd name="T32" fmla="*/ 3272 w 18010"/>
              <a:gd name="T33" fmla="*/ 4642 h 5624"/>
              <a:gd name="T34" fmla="*/ 3559 w 18010"/>
              <a:gd name="T35" fmla="*/ 4487 h 5624"/>
              <a:gd name="T36" fmla="*/ 3724 w 18010"/>
              <a:gd name="T37" fmla="*/ 4370 h 5624"/>
              <a:gd name="T38" fmla="*/ 3682 w 18010"/>
              <a:gd name="T39" fmla="*/ 4450 h 5624"/>
              <a:gd name="T40" fmla="*/ 3987 w 18010"/>
              <a:gd name="T41" fmla="*/ 4420 h 5624"/>
              <a:gd name="T42" fmla="*/ 4251 w 18010"/>
              <a:gd name="T43" fmla="*/ 4342 h 5624"/>
              <a:gd name="T44" fmla="*/ 4538 w 18010"/>
              <a:gd name="T45" fmla="*/ 4187 h 5624"/>
              <a:gd name="T46" fmla="*/ 4703 w 18010"/>
              <a:gd name="T47" fmla="*/ 4069 h 5624"/>
              <a:gd name="T48" fmla="*/ 4661 w 18010"/>
              <a:gd name="T49" fmla="*/ 4149 h 5624"/>
              <a:gd name="T50" fmla="*/ 4967 w 18010"/>
              <a:gd name="T51" fmla="*/ 4119 h 5624"/>
              <a:gd name="T52" fmla="*/ 5230 w 18010"/>
              <a:gd name="T53" fmla="*/ 4041 h 5624"/>
              <a:gd name="T54" fmla="*/ 5517 w 18010"/>
              <a:gd name="T55" fmla="*/ 3886 h 5624"/>
              <a:gd name="T56" fmla="*/ 5682 w 18010"/>
              <a:gd name="T57" fmla="*/ 3768 h 5624"/>
              <a:gd name="T58" fmla="*/ 5640 w 18010"/>
              <a:gd name="T59" fmla="*/ 3848 h 5624"/>
              <a:gd name="T60" fmla="*/ 5945 w 18010"/>
              <a:gd name="T61" fmla="*/ 3818 h 5624"/>
              <a:gd name="T62" fmla="*/ 6209 w 18010"/>
              <a:gd name="T63" fmla="*/ 3740 h 5624"/>
              <a:gd name="T64" fmla="*/ 12369 w 18010"/>
              <a:gd name="T65" fmla="*/ 1782 h 5624"/>
              <a:gd name="T66" fmla="*/ 12534 w 18010"/>
              <a:gd name="T67" fmla="*/ 1664 h 5624"/>
              <a:gd name="T68" fmla="*/ 12492 w 18010"/>
              <a:gd name="T69" fmla="*/ 1744 h 5624"/>
              <a:gd name="T70" fmla="*/ 12798 w 18010"/>
              <a:gd name="T71" fmla="*/ 1714 h 5624"/>
              <a:gd name="T72" fmla="*/ 13061 w 18010"/>
              <a:gd name="T73" fmla="*/ 1636 h 5624"/>
              <a:gd name="T74" fmla="*/ 13348 w 18010"/>
              <a:gd name="T75" fmla="*/ 1481 h 5624"/>
              <a:gd name="T76" fmla="*/ 13513 w 18010"/>
              <a:gd name="T77" fmla="*/ 1364 h 5624"/>
              <a:gd name="T78" fmla="*/ 13471 w 18010"/>
              <a:gd name="T79" fmla="*/ 1444 h 5624"/>
              <a:gd name="T80" fmla="*/ 13777 w 18010"/>
              <a:gd name="T81" fmla="*/ 1414 h 5624"/>
              <a:gd name="T82" fmla="*/ 14040 w 18010"/>
              <a:gd name="T83" fmla="*/ 1335 h 5624"/>
              <a:gd name="T84" fmla="*/ 14327 w 18010"/>
              <a:gd name="T85" fmla="*/ 1180 h 5624"/>
              <a:gd name="T86" fmla="*/ 14492 w 18010"/>
              <a:gd name="T87" fmla="*/ 1063 h 5624"/>
              <a:gd name="T88" fmla="*/ 14450 w 18010"/>
              <a:gd name="T89" fmla="*/ 1143 h 5624"/>
              <a:gd name="T90" fmla="*/ 14756 w 18010"/>
              <a:gd name="T91" fmla="*/ 1113 h 5624"/>
              <a:gd name="T92" fmla="*/ 15019 w 18010"/>
              <a:gd name="T93" fmla="*/ 1035 h 5624"/>
              <a:gd name="T94" fmla="*/ 15306 w 18010"/>
              <a:gd name="T95" fmla="*/ 880 h 5624"/>
              <a:gd name="T96" fmla="*/ 15471 w 18010"/>
              <a:gd name="T97" fmla="*/ 762 h 5624"/>
              <a:gd name="T98" fmla="*/ 15429 w 18010"/>
              <a:gd name="T99" fmla="*/ 842 h 5624"/>
              <a:gd name="T100" fmla="*/ 15735 w 18010"/>
              <a:gd name="T101" fmla="*/ 812 h 5624"/>
              <a:gd name="T102" fmla="*/ 15998 w 18010"/>
              <a:gd name="T103" fmla="*/ 734 h 5624"/>
              <a:gd name="T104" fmla="*/ 16285 w 18010"/>
              <a:gd name="T105" fmla="*/ 579 h 5624"/>
              <a:gd name="T106" fmla="*/ 16450 w 18010"/>
              <a:gd name="T107" fmla="*/ 461 h 5624"/>
              <a:gd name="T108" fmla="*/ 16408 w 18010"/>
              <a:gd name="T109" fmla="*/ 541 h 5624"/>
              <a:gd name="T110" fmla="*/ 16714 w 18010"/>
              <a:gd name="T111" fmla="*/ 511 h 5624"/>
              <a:gd name="T112" fmla="*/ 16977 w 18010"/>
              <a:gd name="T113" fmla="*/ 433 h 5624"/>
              <a:gd name="T114" fmla="*/ 17264 w 18010"/>
              <a:gd name="T115" fmla="*/ 278 h 5624"/>
              <a:gd name="T116" fmla="*/ 17429 w 18010"/>
              <a:gd name="T117" fmla="*/ 161 h 5624"/>
              <a:gd name="T118" fmla="*/ 17387 w 18010"/>
              <a:gd name="T119" fmla="*/ 241 h 5624"/>
              <a:gd name="T120" fmla="*/ 17693 w 18010"/>
              <a:gd name="T121" fmla="*/ 210 h 5624"/>
              <a:gd name="T122" fmla="*/ 17956 w 18010"/>
              <a:gd name="T123" fmla="*/ 133 h 56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010"/>
              <a:gd name="T187" fmla="*/ 0 h 5624"/>
              <a:gd name="T188" fmla="*/ 18010 w 18010"/>
              <a:gd name="T189" fmla="*/ 5624 h 562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010" h="5624">
                <a:moveTo>
                  <a:pt x="10" y="5577"/>
                </a:moveTo>
                <a:cubicBezTo>
                  <a:pt x="0" y="5544"/>
                  <a:pt x="19" y="5508"/>
                  <a:pt x="53" y="5498"/>
                </a:cubicBezTo>
                <a:cubicBezTo>
                  <a:pt x="86" y="5487"/>
                  <a:pt x="122" y="5506"/>
                  <a:pt x="133" y="5540"/>
                </a:cubicBezTo>
                <a:cubicBezTo>
                  <a:pt x="143" y="5574"/>
                  <a:pt x="124" y="5609"/>
                  <a:pt x="90" y="5620"/>
                </a:cubicBezTo>
                <a:cubicBezTo>
                  <a:pt x="84" y="5622"/>
                  <a:pt x="78" y="5623"/>
                  <a:pt x="72" y="5623"/>
                </a:cubicBezTo>
                <a:cubicBezTo>
                  <a:pt x="44" y="5623"/>
                  <a:pt x="19" y="5605"/>
                  <a:pt x="10" y="5577"/>
                </a:cubicBezTo>
                <a:close/>
                <a:moveTo>
                  <a:pt x="255" y="5502"/>
                </a:moveTo>
                <a:cubicBezTo>
                  <a:pt x="245" y="5468"/>
                  <a:pt x="264" y="5433"/>
                  <a:pt x="297" y="5422"/>
                </a:cubicBezTo>
                <a:cubicBezTo>
                  <a:pt x="331" y="5412"/>
                  <a:pt x="367" y="5431"/>
                  <a:pt x="377" y="5465"/>
                </a:cubicBezTo>
                <a:cubicBezTo>
                  <a:pt x="388" y="5498"/>
                  <a:pt x="369" y="5534"/>
                  <a:pt x="335" y="5544"/>
                </a:cubicBezTo>
                <a:cubicBezTo>
                  <a:pt x="329" y="5547"/>
                  <a:pt x="322" y="5547"/>
                  <a:pt x="316" y="5547"/>
                </a:cubicBezTo>
                <a:cubicBezTo>
                  <a:pt x="289" y="5547"/>
                  <a:pt x="264" y="5530"/>
                  <a:pt x="255" y="5502"/>
                </a:cubicBezTo>
                <a:close/>
                <a:moveTo>
                  <a:pt x="500" y="5427"/>
                </a:moveTo>
                <a:cubicBezTo>
                  <a:pt x="489" y="5393"/>
                  <a:pt x="508" y="5357"/>
                  <a:pt x="542" y="5347"/>
                </a:cubicBezTo>
                <a:cubicBezTo>
                  <a:pt x="576" y="5337"/>
                  <a:pt x="612" y="5356"/>
                  <a:pt x="622" y="5390"/>
                </a:cubicBezTo>
                <a:cubicBezTo>
                  <a:pt x="632" y="5423"/>
                  <a:pt x="613" y="5459"/>
                  <a:pt x="580" y="5469"/>
                </a:cubicBezTo>
                <a:cubicBezTo>
                  <a:pt x="574" y="5471"/>
                  <a:pt x="567" y="5472"/>
                  <a:pt x="561" y="5472"/>
                </a:cubicBezTo>
                <a:cubicBezTo>
                  <a:pt x="533" y="5472"/>
                  <a:pt x="508" y="5455"/>
                  <a:pt x="500" y="5427"/>
                </a:cubicBezTo>
                <a:close/>
                <a:moveTo>
                  <a:pt x="745" y="5352"/>
                </a:moveTo>
                <a:cubicBezTo>
                  <a:pt x="734" y="5318"/>
                  <a:pt x="753" y="5282"/>
                  <a:pt x="787" y="5272"/>
                </a:cubicBezTo>
                <a:cubicBezTo>
                  <a:pt x="821" y="5262"/>
                  <a:pt x="857" y="5281"/>
                  <a:pt x="867" y="5314"/>
                </a:cubicBezTo>
                <a:cubicBezTo>
                  <a:pt x="877" y="5348"/>
                  <a:pt x="858" y="5384"/>
                  <a:pt x="825" y="5394"/>
                </a:cubicBezTo>
                <a:cubicBezTo>
                  <a:pt x="818" y="5396"/>
                  <a:pt x="812" y="5397"/>
                  <a:pt x="806" y="5397"/>
                </a:cubicBezTo>
                <a:cubicBezTo>
                  <a:pt x="778" y="5397"/>
                  <a:pt x="753" y="5379"/>
                  <a:pt x="745" y="5352"/>
                </a:cubicBezTo>
                <a:close/>
                <a:moveTo>
                  <a:pt x="989" y="5277"/>
                </a:moveTo>
                <a:cubicBezTo>
                  <a:pt x="979" y="5243"/>
                  <a:pt x="998" y="5207"/>
                  <a:pt x="1032" y="5197"/>
                </a:cubicBezTo>
                <a:cubicBezTo>
                  <a:pt x="1065" y="5186"/>
                  <a:pt x="1101" y="5205"/>
                  <a:pt x="1112" y="5239"/>
                </a:cubicBezTo>
                <a:cubicBezTo>
                  <a:pt x="1122" y="5273"/>
                  <a:pt x="1103" y="5308"/>
                  <a:pt x="1069" y="5319"/>
                </a:cubicBezTo>
                <a:cubicBezTo>
                  <a:pt x="1063" y="5321"/>
                  <a:pt x="1057" y="5322"/>
                  <a:pt x="1050" y="5322"/>
                </a:cubicBezTo>
                <a:cubicBezTo>
                  <a:pt x="1023" y="5322"/>
                  <a:pt x="998" y="5304"/>
                  <a:pt x="989" y="5277"/>
                </a:cubicBezTo>
                <a:close/>
                <a:moveTo>
                  <a:pt x="1234" y="5202"/>
                </a:moveTo>
                <a:cubicBezTo>
                  <a:pt x="1224" y="5168"/>
                  <a:pt x="1243" y="5132"/>
                  <a:pt x="1276" y="5122"/>
                </a:cubicBezTo>
                <a:cubicBezTo>
                  <a:pt x="1310" y="5111"/>
                  <a:pt x="1346" y="5130"/>
                  <a:pt x="1356" y="5164"/>
                </a:cubicBezTo>
                <a:cubicBezTo>
                  <a:pt x="1367" y="5198"/>
                  <a:pt x="1348" y="5233"/>
                  <a:pt x="1314" y="5244"/>
                </a:cubicBezTo>
                <a:cubicBezTo>
                  <a:pt x="1308" y="5246"/>
                  <a:pt x="1301" y="5247"/>
                  <a:pt x="1295" y="5247"/>
                </a:cubicBezTo>
                <a:cubicBezTo>
                  <a:pt x="1268" y="5247"/>
                  <a:pt x="1243" y="5229"/>
                  <a:pt x="1234" y="5202"/>
                </a:cubicBezTo>
                <a:close/>
                <a:moveTo>
                  <a:pt x="1479" y="5126"/>
                </a:moveTo>
                <a:cubicBezTo>
                  <a:pt x="1468" y="5093"/>
                  <a:pt x="1487" y="5057"/>
                  <a:pt x="1521" y="5047"/>
                </a:cubicBezTo>
                <a:cubicBezTo>
                  <a:pt x="1555" y="5036"/>
                  <a:pt x="1591" y="5055"/>
                  <a:pt x="1601" y="5089"/>
                </a:cubicBezTo>
                <a:cubicBezTo>
                  <a:pt x="1611" y="5123"/>
                  <a:pt x="1592" y="5158"/>
                  <a:pt x="1559" y="5169"/>
                </a:cubicBezTo>
                <a:cubicBezTo>
                  <a:pt x="1553" y="5170"/>
                  <a:pt x="1546" y="5172"/>
                  <a:pt x="1540" y="5172"/>
                </a:cubicBezTo>
                <a:cubicBezTo>
                  <a:pt x="1512" y="5172"/>
                  <a:pt x="1487" y="5154"/>
                  <a:pt x="1479" y="5126"/>
                </a:cubicBezTo>
                <a:close/>
                <a:moveTo>
                  <a:pt x="1724" y="5051"/>
                </a:moveTo>
                <a:cubicBezTo>
                  <a:pt x="1713" y="5017"/>
                  <a:pt x="1732" y="4982"/>
                  <a:pt x="1766" y="4971"/>
                </a:cubicBezTo>
                <a:cubicBezTo>
                  <a:pt x="1800" y="4961"/>
                  <a:pt x="1836" y="4980"/>
                  <a:pt x="1846" y="5014"/>
                </a:cubicBezTo>
                <a:cubicBezTo>
                  <a:pt x="1856" y="5047"/>
                  <a:pt x="1837" y="5083"/>
                  <a:pt x="1804" y="5093"/>
                </a:cubicBezTo>
                <a:cubicBezTo>
                  <a:pt x="1797" y="5095"/>
                  <a:pt x="1791" y="5096"/>
                  <a:pt x="1785" y="5096"/>
                </a:cubicBezTo>
                <a:cubicBezTo>
                  <a:pt x="1757" y="5096"/>
                  <a:pt x="1732" y="5079"/>
                  <a:pt x="1724" y="5051"/>
                </a:cubicBezTo>
                <a:close/>
                <a:moveTo>
                  <a:pt x="1968" y="4976"/>
                </a:moveTo>
                <a:cubicBezTo>
                  <a:pt x="1958" y="4942"/>
                  <a:pt x="1977" y="4906"/>
                  <a:pt x="2011" y="4896"/>
                </a:cubicBezTo>
                <a:cubicBezTo>
                  <a:pt x="2044" y="4886"/>
                  <a:pt x="2080" y="4905"/>
                  <a:pt x="2091" y="4938"/>
                </a:cubicBezTo>
                <a:cubicBezTo>
                  <a:pt x="2101" y="4972"/>
                  <a:pt x="2082" y="5008"/>
                  <a:pt x="2048" y="5018"/>
                </a:cubicBezTo>
                <a:cubicBezTo>
                  <a:pt x="2042" y="5020"/>
                  <a:pt x="2036" y="5021"/>
                  <a:pt x="2030" y="5021"/>
                </a:cubicBezTo>
                <a:cubicBezTo>
                  <a:pt x="2002" y="5021"/>
                  <a:pt x="1977" y="5003"/>
                  <a:pt x="1968" y="4976"/>
                </a:cubicBezTo>
                <a:close/>
                <a:moveTo>
                  <a:pt x="2213" y="4901"/>
                </a:moveTo>
                <a:cubicBezTo>
                  <a:pt x="2203" y="4867"/>
                  <a:pt x="2222" y="4831"/>
                  <a:pt x="2255" y="4821"/>
                </a:cubicBezTo>
                <a:cubicBezTo>
                  <a:pt x="2289" y="4811"/>
                  <a:pt x="2325" y="4830"/>
                  <a:pt x="2335" y="4863"/>
                </a:cubicBezTo>
                <a:cubicBezTo>
                  <a:pt x="2346" y="4897"/>
                  <a:pt x="2327" y="4933"/>
                  <a:pt x="2293" y="4943"/>
                </a:cubicBezTo>
                <a:cubicBezTo>
                  <a:pt x="2287" y="4945"/>
                  <a:pt x="2280" y="4946"/>
                  <a:pt x="2274" y="4946"/>
                </a:cubicBezTo>
                <a:cubicBezTo>
                  <a:pt x="2247" y="4946"/>
                  <a:pt x="2222" y="4928"/>
                  <a:pt x="2213" y="4901"/>
                </a:cubicBezTo>
                <a:close/>
                <a:moveTo>
                  <a:pt x="2458" y="4826"/>
                </a:moveTo>
                <a:cubicBezTo>
                  <a:pt x="2447" y="4792"/>
                  <a:pt x="2466" y="4756"/>
                  <a:pt x="2500" y="4746"/>
                </a:cubicBezTo>
                <a:cubicBezTo>
                  <a:pt x="2534" y="4735"/>
                  <a:pt x="2570" y="4754"/>
                  <a:pt x="2580" y="4788"/>
                </a:cubicBezTo>
                <a:cubicBezTo>
                  <a:pt x="2591" y="4822"/>
                  <a:pt x="2571" y="4857"/>
                  <a:pt x="2538" y="4868"/>
                </a:cubicBezTo>
                <a:cubicBezTo>
                  <a:pt x="2532" y="4870"/>
                  <a:pt x="2525" y="4871"/>
                  <a:pt x="2519" y="4871"/>
                </a:cubicBezTo>
                <a:cubicBezTo>
                  <a:pt x="2492" y="4871"/>
                  <a:pt x="2466" y="4853"/>
                  <a:pt x="2458" y="4826"/>
                </a:cubicBezTo>
                <a:close/>
                <a:moveTo>
                  <a:pt x="2703" y="4750"/>
                </a:moveTo>
                <a:cubicBezTo>
                  <a:pt x="2692" y="4717"/>
                  <a:pt x="2711" y="4681"/>
                  <a:pt x="2745" y="4670"/>
                </a:cubicBezTo>
                <a:cubicBezTo>
                  <a:pt x="2779" y="4660"/>
                  <a:pt x="2815" y="4679"/>
                  <a:pt x="2825" y="4713"/>
                </a:cubicBezTo>
                <a:cubicBezTo>
                  <a:pt x="2835" y="4746"/>
                  <a:pt x="2816" y="4782"/>
                  <a:pt x="2783" y="4793"/>
                </a:cubicBezTo>
                <a:cubicBezTo>
                  <a:pt x="2776" y="4795"/>
                  <a:pt x="2770" y="4795"/>
                  <a:pt x="2764" y="4795"/>
                </a:cubicBezTo>
                <a:cubicBezTo>
                  <a:pt x="2736" y="4795"/>
                  <a:pt x="2711" y="4778"/>
                  <a:pt x="2703" y="4750"/>
                </a:cubicBezTo>
                <a:close/>
                <a:moveTo>
                  <a:pt x="2947" y="4675"/>
                </a:moveTo>
                <a:cubicBezTo>
                  <a:pt x="2937" y="4642"/>
                  <a:pt x="2956" y="4606"/>
                  <a:pt x="2990" y="4595"/>
                </a:cubicBezTo>
                <a:cubicBezTo>
                  <a:pt x="3023" y="4585"/>
                  <a:pt x="3059" y="4604"/>
                  <a:pt x="3070" y="4638"/>
                </a:cubicBezTo>
                <a:cubicBezTo>
                  <a:pt x="3080" y="4671"/>
                  <a:pt x="3061" y="4707"/>
                  <a:pt x="3027" y="4718"/>
                </a:cubicBezTo>
                <a:cubicBezTo>
                  <a:pt x="3021" y="4719"/>
                  <a:pt x="3015" y="4720"/>
                  <a:pt x="3008" y="4720"/>
                </a:cubicBezTo>
                <a:cubicBezTo>
                  <a:pt x="2981" y="4720"/>
                  <a:pt x="2956" y="4703"/>
                  <a:pt x="2947" y="4675"/>
                </a:cubicBezTo>
                <a:close/>
                <a:moveTo>
                  <a:pt x="3192" y="4600"/>
                </a:moveTo>
                <a:cubicBezTo>
                  <a:pt x="3182" y="4566"/>
                  <a:pt x="3201" y="4531"/>
                  <a:pt x="3234" y="4520"/>
                </a:cubicBezTo>
                <a:cubicBezTo>
                  <a:pt x="3268" y="4510"/>
                  <a:pt x="3304" y="4529"/>
                  <a:pt x="3314" y="4563"/>
                </a:cubicBezTo>
                <a:cubicBezTo>
                  <a:pt x="3325" y="4596"/>
                  <a:pt x="3306" y="4632"/>
                  <a:pt x="3272" y="4642"/>
                </a:cubicBezTo>
                <a:cubicBezTo>
                  <a:pt x="3266" y="4644"/>
                  <a:pt x="3260" y="4645"/>
                  <a:pt x="3253" y="4645"/>
                </a:cubicBezTo>
                <a:cubicBezTo>
                  <a:pt x="3226" y="4645"/>
                  <a:pt x="3201" y="4628"/>
                  <a:pt x="3192" y="4600"/>
                </a:cubicBezTo>
                <a:close/>
                <a:moveTo>
                  <a:pt x="3437" y="4525"/>
                </a:moveTo>
                <a:cubicBezTo>
                  <a:pt x="3426" y="4491"/>
                  <a:pt x="3446" y="4455"/>
                  <a:pt x="3479" y="4445"/>
                </a:cubicBezTo>
                <a:cubicBezTo>
                  <a:pt x="3513" y="4435"/>
                  <a:pt x="3549" y="4454"/>
                  <a:pt x="3559" y="4487"/>
                </a:cubicBezTo>
                <a:cubicBezTo>
                  <a:pt x="3570" y="4521"/>
                  <a:pt x="3550" y="4557"/>
                  <a:pt x="3517" y="4567"/>
                </a:cubicBezTo>
                <a:cubicBezTo>
                  <a:pt x="3511" y="4569"/>
                  <a:pt x="3504" y="4570"/>
                  <a:pt x="3498" y="4570"/>
                </a:cubicBezTo>
                <a:cubicBezTo>
                  <a:pt x="3471" y="4570"/>
                  <a:pt x="3446" y="4552"/>
                  <a:pt x="3437" y="4525"/>
                </a:cubicBezTo>
                <a:close/>
                <a:moveTo>
                  <a:pt x="3682" y="4450"/>
                </a:moveTo>
                <a:cubicBezTo>
                  <a:pt x="3671" y="4416"/>
                  <a:pt x="3690" y="4380"/>
                  <a:pt x="3724" y="4370"/>
                </a:cubicBezTo>
                <a:cubicBezTo>
                  <a:pt x="3758" y="4360"/>
                  <a:pt x="3794" y="4379"/>
                  <a:pt x="3804" y="4412"/>
                </a:cubicBezTo>
                <a:cubicBezTo>
                  <a:pt x="3814" y="4446"/>
                  <a:pt x="3795" y="4482"/>
                  <a:pt x="3762" y="4492"/>
                </a:cubicBezTo>
                <a:cubicBezTo>
                  <a:pt x="3755" y="4494"/>
                  <a:pt x="3749" y="4495"/>
                  <a:pt x="3743" y="4495"/>
                </a:cubicBezTo>
                <a:cubicBezTo>
                  <a:pt x="3715" y="4495"/>
                  <a:pt x="3690" y="4477"/>
                  <a:pt x="3682" y="4450"/>
                </a:cubicBezTo>
                <a:close/>
                <a:moveTo>
                  <a:pt x="3926" y="4375"/>
                </a:moveTo>
                <a:cubicBezTo>
                  <a:pt x="3916" y="4341"/>
                  <a:pt x="3935" y="4305"/>
                  <a:pt x="3969" y="4295"/>
                </a:cubicBezTo>
                <a:cubicBezTo>
                  <a:pt x="4002" y="4284"/>
                  <a:pt x="4038" y="4303"/>
                  <a:pt x="4049" y="4337"/>
                </a:cubicBezTo>
                <a:cubicBezTo>
                  <a:pt x="4059" y="4371"/>
                  <a:pt x="4040" y="4406"/>
                  <a:pt x="4006" y="4417"/>
                </a:cubicBezTo>
                <a:cubicBezTo>
                  <a:pt x="4000" y="4419"/>
                  <a:pt x="3994" y="4420"/>
                  <a:pt x="3987" y="4420"/>
                </a:cubicBezTo>
                <a:cubicBezTo>
                  <a:pt x="3960" y="4420"/>
                  <a:pt x="3935" y="4402"/>
                  <a:pt x="3926" y="4375"/>
                </a:cubicBezTo>
                <a:close/>
                <a:moveTo>
                  <a:pt x="4171" y="4299"/>
                </a:moveTo>
                <a:cubicBezTo>
                  <a:pt x="4161" y="4266"/>
                  <a:pt x="4180" y="4230"/>
                  <a:pt x="4213" y="4219"/>
                </a:cubicBezTo>
                <a:cubicBezTo>
                  <a:pt x="4247" y="4209"/>
                  <a:pt x="4283" y="4228"/>
                  <a:pt x="4293" y="4262"/>
                </a:cubicBezTo>
                <a:cubicBezTo>
                  <a:pt x="4304" y="4295"/>
                  <a:pt x="4285" y="4331"/>
                  <a:pt x="4251" y="4342"/>
                </a:cubicBezTo>
                <a:cubicBezTo>
                  <a:pt x="4245" y="4344"/>
                  <a:pt x="4239" y="4344"/>
                  <a:pt x="4232" y="4344"/>
                </a:cubicBezTo>
                <a:cubicBezTo>
                  <a:pt x="4205" y="4344"/>
                  <a:pt x="4180" y="4327"/>
                  <a:pt x="4171" y="4299"/>
                </a:cubicBezTo>
                <a:close/>
                <a:moveTo>
                  <a:pt x="4416" y="4224"/>
                </a:moveTo>
                <a:cubicBezTo>
                  <a:pt x="4405" y="4191"/>
                  <a:pt x="4425" y="4155"/>
                  <a:pt x="4458" y="4144"/>
                </a:cubicBezTo>
                <a:cubicBezTo>
                  <a:pt x="4492" y="4134"/>
                  <a:pt x="4528" y="4153"/>
                  <a:pt x="4538" y="4187"/>
                </a:cubicBezTo>
                <a:cubicBezTo>
                  <a:pt x="4549" y="4220"/>
                  <a:pt x="4529" y="4256"/>
                  <a:pt x="4496" y="4267"/>
                </a:cubicBezTo>
                <a:cubicBezTo>
                  <a:pt x="4490" y="4268"/>
                  <a:pt x="4483" y="4269"/>
                  <a:pt x="4477" y="4269"/>
                </a:cubicBezTo>
                <a:cubicBezTo>
                  <a:pt x="4450" y="4269"/>
                  <a:pt x="4425" y="4252"/>
                  <a:pt x="4416" y="4224"/>
                </a:cubicBezTo>
                <a:close/>
                <a:moveTo>
                  <a:pt x="4661" y="4149"/>
                </a:moveTo>
                <a:cubicBezTo>
                  <a:pt x="4650" y="4115"/>
                  <a:pt x="4669" y="4080"/>
                  <a:pt x="4703" y="4069"/>
                </a:cubicBezTo>
                <a:cubicBezTo>
                  <a:pt x="4737" y="4059"/>
                  <a:pt x="4773" y="4078"/>
                  <a:pt x="4783" y="4111"/>
                </a:cubicBezTo>
                <a:cubicBezTo>
                  <a:pt x="4793" y="4145"/>
                  <a:pt x="4774" y="4181"/>
                  <a:pt x="4741" y="4191"/>
                </a:cubicBezTo>
                <a:cubicBezTo>
                  <a:pt x="4734" y="4193"/>
                  <a:pt x="4728" y="4194"/>
                  <a:pt x="4722" y="4194"/>
                </a:cubicBezTo>
                <a:cubicBezTo>
                  <a:pt x="4694" y="4194"/>
                  <a:pt x="4669" y="4176"/>
                  <a:pt x="4661" y="4149"/>
                </a:cubicBezTo>
                <a:close/>
                <a:moveTo>
                  <a:pt x="4905" y="4074"/>
                </a:moveTo>
                <a:cubicBezTo>
                  <a:pt x="4895" y="4040"/>
                  <a:pt x="4914" y="4004"/>
                  <a:pt x="4948" y="3994"/>
                </a:cubicBezTo>
                <a:cubicBezTo>
                  <a:pt x="4981" y="3983"/>
                  <a:pt x="5017" y="4002"/>
                  <a:pt x="5028" y="4036"/>
                </a:cubicBezTo>
                <a:cubicBezTo>
                  <a:pt x="5038" y="4070"/>
                  <a:pt x="5019" y="4106"/>
                  <a:pt x="4985" y="4116"/>
                </a:cubicBezTo>
                <a:cubicBezTo>
                  <a:pt x="4979" y="4118"/>
                  <a:pt x="4973" y="4119"/>
                  <a:pt x="4967" y="4119"/>
                </a:cubicBezTo>
                <a:cubicBezTo>
                  <a:pt x="4939" y="4119"/>
                  <a:pt x="4914" y="4101"/>
                  <a:pt x="4905" y="4074"/>
                </a:cubicBezTo>
                <a:close/>
                <a:moveTo>
                  <a:pt x="5150" y="3999"/>
                </a:moveTo>
                <a:cubicBezTo>
                  <a:pt x="5140" y="3965"/>
                  <a:pt x="5159" y="3929"/>
                  <a:pt x="5193" y="3919"/>
                </a:cubicBezTo>
                <a:cubicBezTo>
                  <a:pt x="5226" y="3908"/>
                  <a:pt x="5262" y="3927"/>
                  <a:pt x="5272" y="3961"/>
                </a:cubicBezTo>
                <a:cubicBezTo>
                  <a:pt x="5283" y="3995"/>
                  <a:pt x="5264" y="4031"/>
                  <a:pt x="5230" y="4041"/>
                </a:cubicBezTo>
                <a:cubicBezTo>
                  <a:pt x="5224" y="4043"/>
                  <a:pt x="5218" y="4044"/>
                  <a:pt x="5211" y="4044"/>
                </a:cubicBezTo>
                <a:cubicBezTo>
                  <a:pt x="5184" y="4044"/>
                  <a:pt x="5159" y="4026"/>
                  <a:pt x="5150" y="3999"/>
                </a:cubicBezTo>
                <a:close/>
                <a:moveTo>
                  <a:pt x="5395" y="3923"/>
                </a:moveTo>
                <a:cubicBezTo>
                  <a:pt x="5385" y="3889"/>
                  <a:pt x="5404" y="3854"/>
                  <a:pt x="5437" y="3844"/>
                </a:cubicBezTo>
                <a:cubicBezTo>
                  <a:pt x="5471" y="3833"/>
                  <a:pt x="5507" y="3852"/>
                  <a:pt x="5517" y="3886"/>
                </a:cubicBezTo>
                <a:cubicBezTo>
                  <a:pt x="5528" y="3920"/>
                  <a:pt x="5509" y="3955"/>
                  <a:pt x="5475" y="3966"/>
                </a:cubicBezTo>
                <a:cubicBezTo>
                  <a:pt x="5469" y="3968"/>
                  <a:pt x="5462" y="3969"/>
                  <a:pt x="5456" y="3969"/>
                </a:cubicBezTo>
                <a:cubicBezTo>
                  <a:pt x="5429" y="3969"/>
                  <a:pt x="5404" y="3951"/>
                  <a:pt x="5395" y="3923"/>
                </a:cubicBezTo>
                <a:close/>
                <a:moveTo>
                  <a:pt x="5640" y="3848"/>
                </a:moveTo>
                <a:cubicBezTo>
                  <a:pt x="5629" y="3814"/>
                  <a:pt x="5648" y="3779"/>
                  <a:pt x="5682" y="3768"/>
                </a:cubicBezTo>
                <a:cubicBezTo>
                  <a:pt x="5716" y="3758"/>
                  <a:pt x="5752" y="3777"/>
                  <a:pt x="5762" y="3811"/>
                </a:cubicBezTo>
                <a:cubicBezTo>
                  <a:pt x="5772" y="3844"/>
                  <a:pt x="5753" y="3880"/>
                  <a:pt x="5720" y="3891"/>
                </a:cubicBezTo>
                <a:cubicBezTo>
                  <a:pt x="5713" y="3892"/>
                  <a:pt x="5707" y="3893"/>
                  <a:pt x="5701" y="3893"/>
                </a:cubicBezTo>
                <a:cubicBezTo>
                  <a:pt x="5673" y="3893"/>
                  <a:pt x="5648" y="3876"/>
                  <a:pt x="5640" y="3848"/>
                </a:cubicBezTo>
                <a:close/>
                <a:moveTo>
                  <a:pt x="5884" y="3773"/>
                </a:moveTo>
                <a:cubicBezTo>
                  <a:pt x="5874" y="3739"/>
                  <a:pt x="5893" y="3704"/>
                  <a:pt x="5927" y="3693"/>
                </a:cubicBezTo>
                <a:cubicBezTo>
                  <a:pt x="5960" y="3683"/>
                  <a:pt x="5996" y="3702"/>
                  <a:pt x="6007" y="3736"/>
                </a:cubicBezTo>
                <a:cubicBezTo>
                  <a:pt x="6017" y="3769"/>
                  <a:pt x="5998" y="3805"/>
                  <a:pt x="5964" y="3815"/>
                </a:cubicBezTo>
                <a:cubicBezTo>
                  <a:pt x="5958" y="3817"/>
                  <a:pt x="5952" y="3818"/>
                  <a:pt x="5945" y="3818"/>
                </a:cubicBezTo>
                <a:cubicBezTo>
                  <a:pt x="5918" y="3818"/>
                  <a:pt x="5893" y="3800"/>
                  <a:pt x="5884" y="3773"/>
                </a:cubicBezTo>
                <a:close/>
                <a:moveTo>
                  <a:pt x="6129" y="3698"/>
                </a:moveTo>
                <a:cubicBezTo>
                  <a:pt x="6119" y="3664"/>
                  <a:pt x="6138" y="3628"/>
                  <a:pt x="6172" y="3618"/>
                </a:cubicBezTo>
                <a:cubicBezTo>
                  <a:pt x="6205" y="3608"/>
                  <a:pt x="6241" y="3627"/>
                  <a:pt x="6251" y="3660"/>
                </a:cubicBezTo>
                <a:cubicBezTo>
                  <a:pt x="6262" y="3694"/>
                  <a:pt x="6243" y="3730"/>
                  <a:pt x="6209" y="3740"/>
                </a:cubicBezTo>
                <a:cubicBezTo>
                  <a:pt x="6203" y="3742"/>
                  <a:pt x="6197" y="3743"/>
                  <a:pt x="6190" y="3743"/>
                </a:cubicBezTo>
                <a:cubicBezTo>
                  <a:pt x="6163" y="3743"/>
                  <a:pt x="6138" y="3725"/>
                  <a:pt x="6129" y="3698"/>
                </a:cubicBezTo>
                <a:close/>
                <a:moveTo>
                  <a:pt x="12247" y="1819"/>
                </a:moveTo>
                <a:cubicBezTo>
                  <a:pt x="12237" y="1786"/>
                  <a:pt x="12256" y="1750"/>
                  <a:pt x="12289" y="1740"/>
                </a:cubicBezTo>
                <a:cubicBezTo>
                  <a:pt x="12323" y="1729"/>
                  <a:pt x="12359" y="1748"/>
                  <a:pt x="12369" y="1782"/>
                </a:cubicBezTo>
                <a:cubicBezTo>
                  <a:pt x="12380" y="1815"/>
                  <a:pt x="12361" y="1851"/>
                  <a:pt x="12327" y="1861"/>
                </a:cubicBezTo>
                <a:cubicBezTo>
                  <a:pt x="12321" y="1864"/>
                  <a:pt x="12314" y="1864"/>
                  <a:pt x="12308" y="1864"/>
                </a:cubicBezTo>
                <a:cubicBezTo>
                  <a:pt x="12281" y="1864"/>
                  <a:pt x="12256" y="1847"/>
                  <a:pt x="12247" y="1819"/>
                </a:cubicBezTo>
                <a:close/>
                <a:moveTo>
                  <a:pt x="12492" y="1744"/>
                </a:moveTo>
                <a:cubicBezTo>
                  <a:pt x="12481" y="1710"/>
                  <a:pt x="12500" y="1675"/>
                  <a:pt x="12534" y="1664"/>
                </a:cubicBezTo>
                <a:cubicBezTo>
                  <a:pt x="12568" y="1654"/>
                  <a:pt x="12604" y="1673"/>
                  <a:pt x="12614" y="1707"/>
                </a:cubicBezTo>
                <a:cubicBezTo>
                  <a:pt x="12624" y="1740"/>
                  <a:pt x="12605" y="1776"/>
                  <a:pt x="12572" y="1786"/>
                </a:cubicBezTo>
                <a:cubicBezTo>
                  <a:pt x="12565" y="1788"/>
                  <a:pt x="12559" y="1789"/>
                  <a:pt x="12553" y="1789"/>
                </a:cubicBezTo>
                <a:cubicBezTo>
                  <a:pt x="12525" y="1789"/>
                  <a:pt x="12500" y="1772"/>
                  <a:pt x="12492" y="1744"/>
                </a:cubicBezTo>
                <a:close/>
                <a:moveTo>
                  <a:pt x="12737" y="1669"/>
                </a:moveTo>
                <a:cubicBezTo>
                  <a:pt x="12726" y="1635"/>
                  <a:pt x="12745" y="1600"/>
                  <a:pt x="12779" y="1589"/>
                </a:cubicBezTo>
                <a:cubicBezTo>
                  <a:pt x="12813" y="1579"/>
                  <a:pt x="12848" y="1598"/>
                  <a:pt x="12859" y="1632"/>
                </a:cubicBezTo>
                <a:cubicBezTo>
                  <a:pt x="12869" y="1665"/>
                  <a:pt x="12850" y="1701"/>
                  <a:pt x="12816" y="1711"/>
                </a:cubicBezTo>
                <a:cubicBezTo>
                  <a:pt x="12810" y="1713"/>
                  <a:pt x="12804" y="1714"/>
                  <a:pt x="12798" y="1714"/>
                </a:cubicBezTo>
                <a:cubicBezTo>
                  <a:pt x="12770" y="1714"/>
                  <a:pt x="12745" y="1696"/>
                  <a:pt x="12737" y="1669"/>
                </a:cubicBezTo>
                <a:close/>
                <a:moveTo>
                  <a:pt x="12981" y="1594"/>
                </a:moveTo>
                <a:cubicBezTo>
                  <a:pt x="12971" y="1560"/>
                  <a:pt x="12990" y="1525"/>
                  <a:pt x="13024" y="1514"/>
                </a:cubicBezTo>
                <a:cubicBezTo>
                  <a:pt x="13057" y="1504"/>
                  <a:pt x="13093" y="1523"/>
                  <a:pt x="13104" y="1556"/>
                </a:cubicBezTo>
                <a:cubicBezTo>
                  <a:pt x="13114" y="1590"/>
                  <a:pt x="13095" y="1626"/>
                  <a:pt x="13061" y="1636"/>
                </a:cubicBezTo>
                <a:cubicBezTo>
                  <a:pt x="13055" y="1638"/>
                  <a:pt x="13049" y="1639"/>
                  <a:pt x="13042" y="1639"/>
                </a:cubicBezTo>
                <a:cubicBezTo>
                  <a:pt x="13015" y="1639"/>
                  <a:pt x="12990" y="1621"/>
                  <a:pt x="12981" y="1594"/>
                </a:cubicBezTo>
                <a:close/>
                <a:moveTo>
                  <a:pt x="13226" y="1519"/>
                </a:moveTo>
                <a:cubicBezTo>
                  <a:pt x="13216" y="1485"/>
                  <a:pt x="13235" y="1449"/>
                  <a:pt x="13268" y="1439"/>
                </a:cubicBezTo>
                <a:cubicBezTo>
                  <a:pt x="13302" y="1428"/>
                  <a:pt x="13338" y="1447"/>
                  <a:pt x="13348" y="1481"/>
                </a:cubicBezTo>
                <a:cubicBezTo>
                  <a:pt x="13359" y="1515"/>
                  <a:pt x="13340" y="1551"/>
                  <a:pt x="13306" y="1561"/>
                </a:cubicBezTo>
                <a:cubicBezTo>
                  <a:pt x="13300" y="1563"/>
                  <a:pt x="13293" y="1564"/>
                  <a:pt x="13287" y="1564"/>
                </a:cubicBezTo>
                <a:cubicBezTo>
                  <a:pt x="13260" y="1564"/>
                  <a:pt x="13235" y="1546"/>
                  <a:pt x="13226" y="1519"/>
                </a:cubicBezTo>
                <a:close/>
                <a:moveTo>
                  <a:pt x="13471" y="1444"/>
                </a:moveTo>
                <a:cubicBezTo>
                  <a:pt x="13460" y="1410"/>
                  <a:pt x="13479" y="1374"/>
                  <a:pt x="13513" y="1364"/>
                </a:cubicBezTo>
                <a:cubicBezTo>
                  <a:pt x="13547" y="1353"/>
                  <a:pt x="13583" y="1372"/>
                  <a:pt x="13593" y="1406"/>
                </a:cubicBezTo>
                <a:cubicBezTo>
                  <a:pt x="13603" y="1440"/>
                  <a:pt x="13584" y="1476"/>
                  <a:pt x="13551" y="1486"/>
                </a:cubicBezTo>
                <a:cubicBezTo>
                  <a:pt x="13545" y="1488"/>
                  <a:pt x="13538" y="1489"/>
                  <a:pt x="13532" y="1489"/>
                </a:cubicBezTo>
                <a:cubicBezTo>
                  <a:pt x="13504" y="1489"/>
                  <a:pt x="13479" y="1471"/>
                  <a:pt x="13471" y="1444"/>
                </a:cubicBezTo>
                <a:close/>
                <a:moveTo>
                  <a:pt x="13716" y="1368"/>
                </a:moveTo>
                <a:cubicBezTo>
                  <a:pt x="13705" y="1335"/>
                  <a:pt x="13724" y="1299"/>
                  <a:pt x="13758" y="1289"/>
                </a:cubicBezTo>
                <a:cubicBezTo>
                  <a:pt x="13792" y="1278"/>
                  <a:pt x="13828" y="1297"/>
                  <a:pt x="13838" y="1331"/>
                </a:cubicBezTo>
                <a:cubicBezTo>
                  <a:pt x="13848" y="1365"/>
                  <a:pt x="13829" y="1400"/>
                  <a:pt x="13795" y="1410"/>
                </a:cubicBezTo>
                <a:cubicBezTo>
                  <a:pt x="13789" y="1413"/>
                  <a:pt x="13783" y="1414"/>
                  <a:pt x="13777" y="1414"/>
                </a:cubicBezTo>
                <a:cubicBezTo>
                  <a:pt x="13749" y="1414"/>
                  <a:pt x="13724" y="1396"/>
                  <a:pt x="13716" y="1368"/>
                </a:cubicBezTo>
                <a:close/>
                <a:moveTo>
                  <a:pt x="13960" y="1293"/>
                </a:moveTo>
                <a:cubicBezTo>
                  <a:pt x="13950" y="1259"/>
                  <a:pt x="13969" y="1224"/>
                  <a:pt x="14003" y="1213"/>
                </a:cubicBezTo>
                <a:cubicBezTo>
                  <a:pt x="14036" y="1203"/>
                  <a:pt x="14072" y="1222"/>
                  <a:pt x="14083" y="1255"/>
                </a:cubicBezTo>
                <a:cubicBezTo>
                  <a:pt x="14093" y="1289"/>
                  <a:pt x="14074" y="1325"/>
                  <a:pt x="14040" y="1335"/>
                </a:cubicBezTo>
                <a:cubicBezTo>
                  <a:pt x="14034" y="1337"/>
                  <a:pt x="14028" y="1338"/>
                  <a:pt x="14021" y="1338"/>
                </a:cubicBezTo>
                <a:cubicBezTo>
                  <a:pt x="13994" y="1338"/>
                  <a:pt x="13969" y="1321"/>
                  <a:pt x="13960" y="1293"/>
                </a:cubicBezTo>
                <a:close/>
                <a:moveTo>
                  <a:pt x="14205" y="1218"/>
                </a:moveTo>
                <a:cubicBezTo>
                  <a:pt x="14195" y="1184"/>
                  <a:pt x="14214" y="1148"/>
                  <a:pt x="14247" y="1138"/>
                </a:cubicBezTo>
                <a:cubicBezTo>
                  <a:pt x="14281" y="1128"/>
                  <a:pt x="14317" y="1147"/>
                  <a:pt x="14327" y="1180"/>
                </a:cubicBezTo>
                <a:cubicBezTo>
                  <a:pt x="14338" y="1214"/>
                  <a:pt x="14319" y="1250"/>
                  <a:pt x="14285" y="1260"/>
                </a:cubicBezTo>
                <a:cubicBezTo>
                  <a:pt x="14279" y="1262"/>
                  <a:pt x="14272" y="1263"/>
                  <a:pt x="14266" y="1263"/>
                </a:cubicBezTo>
                <a:cubicBezTo>
                  <a:pt x="14239" y="1263"/>
                  <a:pt x="14214" y="1245"/>
                  <a:pt x="14205" y="1218"/>
                </a:cubicBezTo>
                <a:close/>
                <a:moveTo>
                  <a:pt x="14450" y="1143"/>
                </a:moveTo>
                <a:cubicBezTo>
                  <a:pt x="14439" y="1109"/>
                  <a:pt x="14458" y="1073"/>
                  <a:pt x="14492" y="1063"/>
                </a:cubicBezTo>
                <a:cubicBezTo>
                  <a:pt x="14526" y="1053"/>
                  <a:pt x="14562" y="1072"/>
                  <a:pt x="14572" y="1105"/>
                </a:cubicBezTo>
                <a:cubicBezTo>
                  <a:pt x="14582" y="1139"/>
                  <a:pt x="14563" y="1175"/>
                  <a:pt x="14530" y="1185"/>
                </a:cubicBezTo>
                <a:cubicBezTo>
                  <a:pt x="14524" y="1187"/>
                  <a:pt x="14517" y="1188"/>
                  <a:pt x="14511" y="1188"/>
                </a:cubicBezTo>
                <a:cubicBezTo>
                  <a:pt x="14483" y="1188"/>
                  <a:pt x="14458" y="1170"/>
                  <a:pt x="14450" y="1143"/>
                </a:cubicBezTo>
                <a:close/>
                <a:moveTo>
                  <a:pt x="14695" y="1067"/>
                </a:moveTo>
                <a:cubicBezTo>
                  <a:pt x="14684" y="1034"/>
                  <a:pt x="14703" y="998"/>
                  <a:pt x="14737" y="988"/>
                </a:cubicBezTo>
                <a:cubicBezTo>
                  <a:pt x="14771" y="977"/>
                  <a:pt x="14807" y="996"/>
                  <a:pt x="14817" y="1030"/>
                </a:cubicBezTo>
                <a:cubicBezTo>
                  <a:pt x="14827" y="1064"/>
                  <a:pt x="14808" y="1099"/>
                  <a:pt x="14774" y="1110"/>
                </a:cubicBezTo>
                <a:cubicBezTo>
                  <a:pt x="14768" y="1112"/>
                  <a:pt x="14762" y="1113"/>
                  <a:pt x="14756" y="1113"/>
                </a:cubicBezTo>
                <a:cubicBezTo>
                  <a:pt x="14728" y="1113"/>
                  <a:pt x="14703" y="1095"/>
                  <a:pt x="14695" y="1067"/>
                </a:cubicBezTo>
                <a:close/>
                <a:moveTo>
                  <a:pt x="14939" y="992"/>
                </a:moveTo>
                <a:cubicBezTo>
                  <a:pt x="14929" y="959"/>
                  <a:pt x="14948" y="923"/>
                  <a:pt x="14982" y="913"/>
                </a:cubicBezTo>
                <a:cubicBezTo>
                  <a:pt x="15015" y="902"/>
                  <a:pt x="15051" y="921"/>
                  <a:pt x="15062" y="955"/>
                </a:cubicBezTo>
                <a:cubicBezTo>
                  <a:pt x="15072" y="989"/>
                  <a:pt x="15053" y="1024"/>
                  <a:pt x="15019" y="1035"/>
                </a:cubicBezTo>
                <a:cubicBezTo>
                  <a:pt x="15013" y="1036"/>
                  <a:pt x="15007" y="1038"/>
                  <a:pt x="15001" y="1038"/>
                </a:cubicBezTo>
                <a:cubicBezTo>
                  <a:pt x="14973" y="1038"/>
                  <a:pt x="14948" y="1020"/>
                  <a:pt x="14939" y="992"/>
                </a:cubicBezTo>
                <a:close/>
                <a:moveTo>
                  <a:pt x="15184" y="917"/>
                </a:moveTo>
                <a:cubicBezTo>
                  <a:pt x="15174" y="884"/>
                  <a:pt x="15193" y="848"/>
                  <a:pt x="15226" y="837"/>
                </a:cubicBezTo>
                <a:cubicBezTo>
                  <a:pt x="15260" y="827"/>
                  <a:pt x="15296" y="846"/>
                  <a:pt x="15306" y="880"/>
                </a:cubicBezTo>
                <a:cubicBezTo>
                  <a:pt x="15317" y="913"/>
                  <a:pt x="15298" y="949"/>
                  <a:pt x="15264" y="959"/>
                </a:cubicBezTo>
                <a:cubicBezTo>
                  <a:pt x="15258" y="961"/>
                  <a:pt x="15251" y="962"/>
                  <a:pt x="15245" y="962"/>
                </a:cubicBezTo>
                <a:cubicBezTo>
                  <a:pt x="15218" y="962"/>
                  <a:pt x="15193" y="945"/>
                  <a:pt x="15184" y="917"/>
                </a:cubicBezTo>
                <a:close/>
                <a:moveTo>
                  <a:pt x="15429" y="842"/>
                </a:moveTo>
                <a:cubicBezTo>
                  <a:pt x="15418" y="808"/>
                  <a:pt x="15437" y="773"/>
                  <a:pt x="15471" y="762"/>
                </a:cubicBezTo>
                <a:cubicBezTo>
                  <a:pt x="15505" y="752"/>
                  <a:pt x="15541" y="771"/>
                  <a:pt x="15551" y="804"/>
                </a:cubicBezTo>
                <a:cubicBezTo>
                  <a:pt x="15562" y="838"/>
                  <a:pt x="15542" y="874"/>
                  <a:pt x="15509" y="884"/>
                </a:cubicBezTo>
                <a:cubicBezTo>
                  <a:pt x="15503" y="886"/>
                  <a:pt x="15496" y="887"/>
                  <a:pt x="15490" y="887"/>
                </a:cubicBezTo>
                <a:cubicBezTo>
                  <a:pt x="15463" y="887"/>
                  <a:pt x="15437" y="870"/>
                  <a:pt x="15429" y="842"/>
                </a:cubicBezTo>
                <a:close/>
                <a:moveTo>
                  <a:pt x="15674" y="767"/>
                </a:moveTo>
                <a:cubicBezTo>
                  <a:pt x="15663" y="733"/>
                  <a:pt x="15682" y="697"/>
                  <a:pt x="15716" y="687"/>
                </a:cubicBezTo>
                <a:cubicBezTo>
                  <a:pt x="15750" y="677"/>
                  <a:pt x="15786" y="696"/>
                  <a:pt x="15796" y="729"/>
                </a:cubicBezTo>
                <a:cubicBezTo>
                  <a:pt x="15806" y="763"/>
                  <a:pt x="15787" y="799"/>
                  <a:pt x="15753" y="809"/>
                </a:cubicBezTo>
                <a:cubicBezTo>
                  <a:pt x="15747" y="811"/>
                  <a:pt x="15741" y="812"/>
                  <a:pt x="15735" y="812"/>
                </a:cubicBezTo>
                <a:cubicBezTo>
                  <a:pt x="15707" y="812"/>
                  <a:pt x="15682" y="794"/>
                  <a:pt x="15674" y="767"/>
                </a:cubicBezTo>
                <a:close/>
                <a:moveTo>
                  <a:pt x="15918" y="692"/>
                </a:moveTo>
                <a:cubicBezTo>
                  <a:pt x="15908" y="658"/>
                  <a:pt x="15927" y="622"/>
                  <a:pt x="15961" y="612"/>
                </a:cubicBezTo>
                <a:cubicBezTo>
                  <a:pt x="15994" y="602"/>
                  <a:pt x="16030" y="620"/>
                  <a:pt x="16041" y="654"/>
                </a:cubicBezTo>
                <a:cubicBezTo>
                  <a:pt x="16051" y="688"/>
                  <a:pt x="16032" y="724"/>
                  <a:pt x="15998" y="734"/>
                </a:cubicBezTo>
                <a:cubicBezTo>
                  <a:pt x="15992" y="736"/>
                  <a:pt x="15986" y="737"/>
                  <a:pt x="15980" y="737"/>
                </a:cubicBezTo>
                <a:cubicBezTo>
                  <a:pt x="15952" y="737"/>
                  <a:pt x="15927" y="719"/>
                  <a:pt x="15918" y="692"/>
                </a:cubicBezTo>
                <a:close/>
                <a:moveTo>
                  <a:pt x="16163" y="616"/>
                </a:moveTo>
                <a:cubicBezTo>
                  <a:pt x="16153" y="583"/>
                  <a:pt x="16172" y="547"/>
                  <a:pt x="16205" y="537"/>
                </a:cubicBezTo>
                <a:cubicBezTo>
                  <a:pt x="16239" y="526"/>
                  <a:pt x="16275" y="545"/>
                  <a:pt x="16285" y="579"/>
                </a:cubicBezTo>
                <a:cubicBezTo>
                  <a:pt x="16296" y="613"/>
                  <a:pt x="16277" y="648"/>
                  <a:pt x="16243" y="659"/>
                </a:cubicBezTo>
                <a:cubicBezTo>
                  <a:pt x="16237" y="661"/>
                  <a:pt x="16230" y="662"/>
                  <a:pt x="16225" y="662"/>
                </a:cubicBezTo>
                <a:cubicBezTo>
                  <a:pt x="16197" y="662"/>
                  <a:pt x="16172" y="644"/>
                  <a:pt x="16163" y="616"/>
                </a:cubicBezTo>
                <a:close/>
                <a:moveTo>
                  <a:pt x="16408" y="541"/>
                </a:moveTo>
                <a:cubicBezTo>
                  <a:pt x="16397" y="508"/>
                  <a:pt x="16416" y="472"/>
                  <a:pt x="16450" y="461"/>
                </a:cubicBezTo>
                <a:cubicBezTo>
                  <a:pt x="16484" y="451"/>
                  <a:pt x="16520" y="470"/>
                  <a:pt x="16530" y="504"/>
                </a:cubicBezTo>
                <a:cubicBezTo>
                  <a:pt x="16540" y="538"/>
                  <a:pt x="16521" y="573"/>
                  <a:pt x="16488" y="584"/>
                </a:cubicBezTo>
                <a:cubicBezTo>
                  <a:pt x="16482" y="585"/>
                  <a:pt x="16475" y="586"/>
                  <a:pt x="16469" y="586"/>
                </a:cubicBezTo>
                <a:cubicBezTo>
                  <a:pt x="16441" y="586"/>
                  <a:pt x="16416" y="569"/>
                  <a:pt x="16408" y="541"/>
                </a:cubicBezTo>
                <a:close/>
                <a:moveTo>
                  <a:pt x="16653" y="466"/>
                </a:moveTo>
                <a:cubicBezTo>
                  <a:pt x="16642" y="432"/>
                  <a:pt x="16661" y="397"/>
                  <a:pt x="16695" y="386"/>
                </a:cubicBezTo>
                <a:cubicBezTo>
                  <a:pt x="16729" y="376"/>
                  <a:pt x="16765" y="395"/>
                  <a:pt x="16775" y="429"/>
                </a:cubicBezTo>
                <a:cubicBezTo>
                  <a:pt x="16785" y="462"/>
                  <a:pt x="16766" y="498"/>
                  <a:pt x="16732" y="508"/>
                </a:cubicBezTo>
                <a:cubicBezTo>
                  <a:pt x="16726" y="510"/>
                  <a:pt x="16720" y="511"/>
                  <a:pt x="16714" y="511"/>
                </a:cubicBezTo>
                <a:cubicBezTo>
                  <a:pt x="16686" y="511"/>
                  <a:pt x="16661" y="493"/>
                  <a:pt x="16653" y="466"/>
                </a:cubicBezTo>
                <a:close/>
                <a:moveTo>
                  <a:pt x="16897" y="391"/>
                </a:moveTo>
                <a:cubicBezTo>
                  <a:pt x="16887" y="357"/>
                  <a:pt x="16906" y="322"/>
                  <a:pt x="16940" y="311"/>
                </a:cubicBezTo>
                <a:cubicBezTo>
                  <a:pt x="16973" y="300"/>
                  <a:pt x="17009" y="320"/>
                  <a:pt x="17020" y="353"/>
                </a:cubicBezTo>
                <a:cubicBezTo>
                  <a:pt x="17030" y="387"/>
                  <a:pt x="17011" y="423"/>
                  <a:pt x="16977" y="433"/>
                </a:cubicBezTo>
                <a:cubicBezTo>
                  <a:pt x="16971" y="435"/>
                  <a:pt x="16965" y="436"/>
                  <a:pt x="16958" y="436"/>
                </a:cubicBezTo>
                <a:cubicBezTo>
                  <a:pt x="16931" y="436"/>
                  <a:pt x="16906" y="418"/>
                  <a:pt x="16897" y="391"/>
                </a:cubicBezTo>
                <a:close/>
                <a:moveTo>
                  <a:pt x="17142" y="316"/>
                </a:moveTo>
                <a:cubicBezTo>
                  <a:pt x="17132" y="282"/>
                  <a:pt x="17151" y="246"/>
                  <a:pt x="17184" y="236"/>
                </a:cubicBezTo>
                <a:cubicBezTo>
                  <a:pt x="17218" y="225"/>
                  <a:pt x="17254" y="245"/>
                  <a:pt x="17264" y="278"/>
                </a:cubicBezTo>
                <a:cubicBezTo>
                  <a:pt x="17275" y="312"/>
                  <a:pt x="17256" y="348"/>
                  <a:pt x="17222" y="358"/>
                </a:cubicBezTo>
                <a:cubicBezTo>
                  <a:pt x="17216" y="360"/>
                  <a:pt x="17210" y="361"/>
                  <a:pt x="17203" y="361"/>
                </a:cubicBezTo>
                <a:cubicBezTo>
                  <a:pt x="17176" y="361"/>
                  <a:pt x="17151" y="343"/>
                  <a:pt x="17142" y="316"/>
                </a:cubicBezTo>
                <a:close/>
                <a:moveTo>
                  <a:pt x="17387" y="241"/>
                </a:moveTo>
                <a:cubicBezTo>
                  <a:pt x="17376" y="207"/>
                  <a:pt x="17395" y="171"/>
                  <a:pt x="17429" y="161"/>
                </a:cubicBezTo>
                <a:cubicBezTo>
                  <a:pt x="17463" y="150"/>
                  <a:pt x="17499" y="169"/>
                  <a:pt x="17509" y="203"/>
                </a:cubicBezTo>
                <a:cubicBezTo>
                  <a:pt x="17519" y="237"/>
                  <a:pt x="17500" y="272"/>
                  <a:pt x="17467" y="283"/>
                </a:cubicBezTo>
                <a:cubicBezTo>
                  <a:pt x="17461" y="285"/>
                  <a:pt x="17454" y="286"/>
                  <a:pt x="17448" y="286"/>
                </a:cubicBezTo>
                <a:cubicBezTo>
                  <a:pt x="17421" y="286"/>
                  <a:pt x="17395" y="268"/>
                  <a:pt x="17387" y="241"/>
                </a:cubicBezTo>
                <a:close/>
                <a:moveTo>
                  <a:pt x="17632" y="165"/>
                </a:moveTo>
                <a:cubicBezTo>
                  <a:pt x="17621" y="132"/>
                  <a:pt x="17640" y="96"/>
                  <a:pt x="17674" y="86"/>
                </a:cubicBezTo>
                <a:cubicBezTo>
                  <a:pt x="17708" y="75"/>
                  <a:pt x="17744" y="94"/>
                  <a:pt x="17754" y="128"/>
                </a:cubicBezTo>
                <a:cubicBezTo>
                  <a:pt x="17764" y="162"/>
                  <a:pt x="17745" y="197"/>
                  <a:pt x="17711" y="208"/>
                </a:cubicBezTo>
                <a:cubicBezTo>
                  <a:pt x="17705" y="210"/>
                  <a:pt x="17699" y="210"/>
                  <a:pt x="17693" y="210"/>
                </a:cubicBezTo>
                <a:cubicBezTo>
                  <a:pt x="17665" y="210"/>
                  <a:pt x="17640" y="193"/>
                  <a:pt x="17632" y="165"/>
                </a:cubicBezTo>
                <a:close/>
                <a:moveTo>
                  <a:pt x="17876" y="90"/>
                </a:moveTo>
                <a:cubicBezTo>
                  <a:pt x="17866" y="57"/>
                  <a:pt x="17885" y="21"/>
                  <a:pt x="17919" y="10"/>
                </a:cubicBezTo>
                <a:cubicBezTo>
                  <a:pt x="17952" y="0"/>
                  <a:pt x="17988" y="19"/>
                  <a:pt x="17999" y="53"/>
                </a:cubicBezTo>
                <a:cubicBezTo>
                  <a:pt x="18009" y="86"/>
                  <a:pt x="17990" y="122"/>
                  <a:pt x="17956" y="133"/>
                </a:cubicBezTo>
                <a:cubicBezTo>
                  <a:pt x="17950" y="134"/>
                  <a:pt x="17944" y="135"/>
                  <a:pt x="17938" y="135"/>
                </a:cubicBezTo>
                <a:cubicBezTo>
                  <a:pt x="17910" y="135"/>
                  <a:pt x="17885" y="118"/>
                  <a:pt x="17876" y="90"/>
                </a:cubicBezTo>
                <a:close/>
              </a:path>
            </a:pathLst>
          </a:custGeom>
          <a:solidFill>
            <a:srgbClr val="BD1839"/>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0" name="Freeform 12"/>
          <p:cNvSpPr>
            <a:spLocks noChangeArrowheads="1"/>
          </p:cNvSpPr>
          <p:nvPr/>
        </p:nvSpPr>
        <p:spPr bwMode="auto">
          <a:xfrm>
            <a:off x="4872039" y="1201739"/>
            <a:ext cx="2447925" cy="4048125"/>
          </a:xfrm>
          <a:custGeom>
            <a:avLst/>
            <a:gdLst>
              <a:gd name="T0" fmla="*/ 104 w 6798"/>
              <a:gd name="T1" fmla="*/ 11128 h 11246"/>
              <a:gd name="T2" fmla="*/ 72 w 6798"/>
              <a:gd name="T3" fmla="*/ 11245 h 11246"/>
              <a:gd name="T4" fmla="*/ 146 w 6798"/>
              <a:gd name="T5" fmla="*/ 10936 h 11246"/>
              <a:gd name="T6" fmla="*/ 253 w 6798"/>
              <a:gd name="T7" fmla="*/ 11001 h 11246"/>
              <a:gd name="T8" fmla="*/ 167 w 6798"/>
              <a:gd name="T9" fmla="*/ 11022 h 11246"/>
              <a:gd name="T10" fmla="*/ 360 w 6798"/>
              <a:gd name="T11" fmla="*/ 10701 h 11246"/>
              <a:gd name="T12" fmla="*/ 327 w 6798"/>
              <a:gd name="T13" fmla="*/ 10817 h 11246"/>
              <a:gd name="T14" fmla="*/ 402 w 6798"/>
              <a:gd name="T15" fmla="*/ 10509 h 11246"/>
              <a:gd name="T16" fmla="*/ 509 w 6798"/>
              <a:gd name="T17" fmla="*/ 10573 h 11246"/>
              <a:gd name="T18" fmla="*/ 423 w 6798"/>
              <a:gd name="T19" fmla="*/ 10595 h 11246"/>
              <a:gd name="T20" fmla="*/ 616 w 6798"/>
              <a:gd name="T21" fmla="*/ 10274 h 11246"/>
              <a:gd name="T22" fmla="*/ 583 w 6798"/>
              <a:gd name="T23" fmla="*/ 10390 h 11246"/>
              <a:gd name="T24" fmla="*/ 658 w 6798"/>
              <a:gd name="T25" fmla="*/ 10081 h 11246"/>
              <a:gd name="T26" fmla="*/ 765 w 6798"/>
              <a:gd name="T27" fmla="*/ 10146 h 11246"/>
              <a:gd name="T28" fmla="*/ 679 w 6798"/>
              <a:gd name="T29" fmla="*/ 10167 h 11246"/>
              <a:gd name="T30" fmla="*/ 872 w 6798"/>
              <a:gd name="T31" fmla="*/ 9846 h 11246"/>
              <a:gd name="T32" fmla="*/ 839 w 6798"/>
              <a:gd name="T33" fmla="*/ 9963 h 11246"/>
              <a:gd name="T34" fmla="*/ 914 w 6798"/>
              <a:gd name="T35" fmla="*/ 9654 h 11246"/>
              <a:gd name="T36" fmla="*/ 1021 w 6798"/>
              <a:gd name="T37" fmla="*/ 9718 h 11246"/>
              <a:gd name="T38" fmla="*/ 935 w 6798"/>
              <a:gd name="T39" fmla="*/ 9740 h 11246"/>
              <a:gd name="T40" fmla="*/ 1127 w 6798"/>
              <a:gd name="T41" fmla="*/ 9419 h 11246"/>
              <a:gd name="T42" fmla="*/ 1095 w 6798"/>
              <a:gd name="T43" fmla="*/ 9535 h 11246"/>
              <a:gd name="T44" fmla="*/ 1170 w 6798"/>
              <a:gd name="T45" fmla="*/ 9227 h 11246"/>
              <a:gd name="T46" fmla="*/ 1277 w 6798"/>
              <a:gd name="T47" fmla="*/ 9291 h 11246"/>
              <a:gd name="T48" fmla="*/ 1191 w 6798"/>
              <a:gd name="T49" fmla="*/ 9313 h 11246"/>
              <a:gd name="T50" fmla="*/ 1384 w 6798"/>
              <a:gd name="T51" fmla="*/ 8992 h 11246"/>
              <a:gd name="T52" fmla="*/ 1351 w 6798"/>
              <a:gd name="T53" fmla="*/ 9108 h 11246"/>
              <a:gd name="T54" fmla="*/ 1425 w 6798"/>
              <a:gd name="T55" fmla="*/ 8799 h 11246"/>
              <a:gd name="T56" fmla="*/ 1533 w 6798"/>
              <a:gd name="T57" fmla="*/ 8864 h 11246"/>
              <a:gd name="T58" fmla="*/ 1447 w 6798"/>
              <a:gd name="T59" fmla="*/ 8885 h 11246"/>
              <a:gd name="T60" fmla="*/ 1640 w 6798"/>
              <a:gd name="T61" fmla="*/ 8564 h 11246"/>
              <a:gd name="T62" fmla="*/ 1607 w 6798"/>
              <a:gd name="T63" fmla="*/ 8680 h 11246"/>
              <a:gd name="T64" fmla="*/ 5392 w 6798"/>
              <a:gd name="T65" fmla="*/ 2176 h 11246"/>
              <a:gd name="T66" fmla="*/ 5500 w 6798"/>
              <a:gd name="T67" fmla="*/ 2241 h 11246"/>
              <a:gd name="T68" fmla="*/ 5414 w 6798"/>
              <a:gd name="T69" fmla="*/ 2262 h 11246"/>
              <a:gd name="T70" fmla="*/ 5606 w 6798"/>
              <a:gd name="T71" fmla="*/ 1941 h 11246"/>
              <a:gd name="T72" fmla="*/ 5574 w 6798"/>
              <a:gd name="T73" fmla="*/ 2057 h 11246"/>
              <a:gd name="T74" fmla="*/ 5648 w 6798"/>
              <a:gd name="T75" fmla="*/ 1749 h 11246"/>
              <a:gd name="T76" fmla="*/ 5755 w 6798"/>
              <a:gd name="T77" fmla="*/ 1813 h 11246"/>
              <a:gd name="T78" fmla="*/ 5670 w 6798"/>
              <a:gd name="T79" fmla="*/ 1835 h 11246"/>
              <a:gd name="T80" fmla="*/ 5862 w 6798"/>
              <a:gd name="T81" fmla="*/ 1514 h 11246"/>
              <a:gd name="T82" fmla="*/ 5830 w 6798"/>
              <a:gd name="T83" fmla="*/ 1630 h 11246"/>
              <a:gd name="T84" fmla="*/ 5904 w 6798"/>
              <a:gd name="T85" fmla="*/ 1322 h 11246"/>
              <a:gd name="T86" fmla="*/ 6012 w 6798"/>
              <a:gd name="T87" fmla="*/ 1386 h 11246"/>
              <a:gd name="T88" fmla="*/ 5926 w 6798"/>
              <a:gd name="T89" fmla="*/ 1407 h 11246"/>
              <a:gd name="T90" fmla="*/ 6118 w 6798"/>
              <a:gd name="T91" fmla="*/ 1086 h 11246"/>
              <a:gd name="T92" fmla="*/ 6086 w 6798"/>
              <a:gd name="T93" fmla="*/ 1203 h 11246"/>
              <a:gd name="T94" fmla="*/ 6160 w 6798"/>
              <a:gd name="T95" fmla="*/ 894 h 11246"/>
              <a:gd name="T96" fmla="*/ 6267 w 6798"/>
              <a:gd name="T97" fmla="*/ 959 h 11246"/>
              <a:gd name="T98" fmla="*/ 6182 w 6798"/>
              <a:gd name="T99" fmla="*/ 980 h 11246"/>
              <a:gd name="T100" fmla="*/ 6374 w 6798"/>
              <a:gd name="T101" fmla="*/ 659 h 11246"/>
              <a:gd name="T102" fmla="*/ 6342 w 6798"/>
              <a:gd name="T103" fmla="*/ 775 h 11246"/>
              <a:gd name="T104" fmla="*/ 6416 w 6798"/>
              <a:gd name="T105" fmla="*/ 467 h 11246"/>
              <a:gd name="T106" fmla="*/ 6523 w 6798"/>
              <a:gd name="T107" fmla="*/ 531 h 11246"/>
              <a:gd name="T108" fmla="*/ 6438 w 6798"/>
              <a:gd name="T109" fmla="*/ 552 h 11246"/>
              <a:gd name="T110" fmla="*/ 6630 w 6798"/>
              <a:gd name="T111" fmla="*/ 232 h 11246"/>
              <a:gd name="T112" fmla="*/ 6598 w 6798"/>
              <a:gd name="T113" fmla="*/ 348 h 11246"/>
              <a:gd name="T114" fmla="*/ 6672 w 6798"/>
              <a:gd name="T115" fmla="*/ 39 h 11246"/>
              <a:gd name="T116" fmla="*/ 6780 w 6798"/>
              <a:gd name="T117" fmla="*/ 104 h 11246"/>
              <a:gd name="T118" fmla="*/ 6694 w 6798"/>
              <a:gd name="T119" fmla="*/ 125 h 112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798"/>
              <a:gd name="T181" fmla="*/ 0 h 11246"/>
              <a:gd name="T182" fmla="*/ 6798 w 6798"/>
              <a:gd name="T183" fmla="*/ 11246 h 112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798" h="11246">
                <a:moveTo>
                  <a:pt x="39" y="11236"/>
                </a:moveTo>
                <a:cubicBezTo>
                  <a:pt x="10" y="11218"/>
                  <a:pt x="0" y="11180"/>
                  <a:pt x="18" y="11150"/>
                </a:cubicBezTo>
                <a:cubicBezTo>
                  <a:pt x="36" y="11120"/>
                  <a:pt x="74" y="11111"/>
                  <a:pt x="104" y="11128"/>
                </a:cubicBezTo>
                <a:cubicBezTo>
                  <a:pt x="133" y="11146"/>
                  <a:pt x="143" y="11185"/>
                  <a:pt x="125" y="11214"/>
                </a:cubicBezTo>
                <a:cubicBezTo>
                  <a:pt x="114" y="11234"/>
                  <a:pt x="93" y="11245"/>
                  <a:pt x="72" y="11245"/>
                </a:cubicBezTo>
                <a:cubicBezTo>
                  <a:pt x="60" y="11245"/>
                  <a:pt x="49" y="11242"/>
                  <a:pt x="39" y="11236"/>
                </a:cubicBezTo>
                <a:close/>
                <a:moveTo>
                  <a:pt x="167" y="11022"/>
                </a:moveTo>
                <a:cubicBezTo>
                  <a:pt x="137" y="11004"/>
                  <a:pt x="128" y="10966"/>
                  <a:pt x="146" y="10936"/>
                </a:cubicBezTo>
                <a:cubicBezTo>
                  <a:pt x="164" y="10907"/>
                  <a:pt x="202" y="10897"/>
                  <a:pt x="232" y="10915"/>
                </a:cubicBezTo>
                <a:cubicBezTo>
                  <a:pt x="261" y="10933"/>
                  <a:pt x="271" y="10971"/>
                  <a:pt x="253" y="11001"/>
                </a:cubicBezTo>
                <a:cubicBezTo>
                  <a:pt x="241" y="11020"/>
                  <a:pt x="221" y="11031"/>
                  <a:pt x="199" y="11031"/>
                </a:cubicBezTo>
                <a:cubicBezTo>
                  <a:pt x="189" y="11031"/>
                  <a:pt x="177" y="11028"/>
                  <a:pt x="167" y="11022"/>
                </a:cubicBezTo>
                <a:close/>
                <a:moveTo>
                  <a:pt x="295" y="10809"/>
                </a:moveTo>
                <a:cubicBezTo>
                  <a:pt x="266" y="10791"/>
                  <a:pt x="256" y="10752"/>
                  <a:pt x="274" y="10723"/>
                </a:cubicBezTo>
                <a:cubicBezTo>
                  <a:pt x="291" y="10693"/>
                  <a:pt x="330" y="10683"/>
                  <a:pt x="360" y="10701"/>
                </a:cubicBezTo>
                <a:cubicBezTo>
                  <a:pt x="389" y="10719"/>
                  <a:pt x="399" y="10757"/>
                  <a:pt x="381" y="10787"/>
                </a:cubicBezTo>
                <a:cubicBezTo>
                  <a:pt x="369" y="10806"/>
                  <a:pt x="348" y="10817"/>
                  <a:pt x="327" y="10817"/>
                </a:cubicBezTo>
                <a:cubicBezTo>
                  <a:pt x="316" y="10817"/>
                  <a:pt x="305" y="10815"/>
                  <a:pt x="295" y="10809"/>
                </a:cubicBezTo>
                <a:close/>
                <a:moveTo>
                  <a:pt x="423" y="10595"/>
                </a:moveTo>
                <a:cubicBezTo>
                  <a:pt x="394" y="10577"/>
                  <a:pt x="384" y="10538"/>
                  <a:pt x="402" y="10509"/>
                </a:cubicBezTo>
                <a:cubicBezTo>
                  <a:pt x="419" y="10479"/>
                  <a:pt x="458" y="10470"/>
                  <a:pt x="488" y="10487"/>
                </a:cubicBezTo>
                <a:cubicBezTo>
                  <a:pt x="517" y="10505"/>
                  <a:pt x="527" y="10543"/>
                  <a:pt x="509" y="10573"/>
                </a:cubicBezTo>
                <a:cubicBezTo>
                  <a:pt x="497" y="10593"/>
                  <a:pt x="477" y="10604"/>
                  <a:pt x="455" y="10604"/>
                </a:cubicBezTo>
                <a:cubicBezTo>
                  <a:pt x="444" y="10604"/>
                  <a:pt x="433" y="10601"/>
                  <a:pt x="423" y="10595"/>
                </a:cubicBezTo>
                <a:close/>
                <a:moveTo>
                  <a:pt x="551" y="10381"/>
                </a:moveTo>
                <a:cubicBezTo>
                  <a:pt x="521" y="10363"/>
                  <a:pt x="512" y="10325"/>
                  <a:pt x="530" y="10295"/>
                </a:cubicBezTo>
                <a:cubicBezTo>
                  <a:pt x="548" y="10266"/>
                  <a:pt x="586" y="10256"/>
                  <a:pt x="616" y="10274"/>
                </a:cubicBezTo>
                <a:cubicBezTo>
                  <a:pt x="645" y="10291"/>
                  <a:pt x="655" y="10330"/>
                  <a:pt x="637" y="10360"/>
                </a:cubicBezTo>
                <a:cubicBezTo>
                  <a:pt x="625" y="10379"/>
                  <a:pt x="605" y="10390"/>
                  <a:pt x="583" y="10390"/>
                </a:cubicBezTo>
                <a:cubicBezTo>
                  <a:pt x="573" y="10390"/>
                  <a:pt x="561" y="10387"/>
                  <a:pt x="551" y="10381"/>
                </a:cubicBezTo>
                <a:close/>
                <a:moveTo>
                  <a:pt x="679" y="10167"/>
                </a:moveTo>
                <a:cubicBezTo>
                  <a:pt x="650" y="10150"/>
                  <a:pt x="640" y="10111"/>
                  <a:pt x="658" y="10081"/>
                </a:cubicBezTo>
                <a:cubicBezTo>
                  <a:pt x="675" y="10052"/>
                  <a:pt x="714" y="10042"/>
                  <a:pt x="743" y="10060"/>
                </a:cubicBezTo>
                <a:cubicBezTo>
                  <a:pt x="773" y="10078"/>
                  <a:pt x="783" y="10116"/>
                  <a:pt x="765" y="10146"/>
                </a:cubicBezTo>
                <a:cubicBezTo>
                  <a:pt x="753" y="10165"/>
                  <a:pt x="733" y="10176"/>
                  <a:pt x="711" y="10176"/>
                </a:cubicBezTo>
                <a:cubicBezTo>
                  <a:pt x="700" y="10176"/>
                  <a:pt x="689" y="10173"/>
                  <a:pt x="679" y="10167"/>
                </a:cubicBezTo>
                <a:close/>
                <a:moveTo>
                  <a:pt x="807" y="9954"/>
                </a:moveTo>
                <a:cubicBezTo>
                  <a:pt x="778" y="9936"/>
                  <a:pt x="768" y="9898"/>
                  <a:pt x="786" y="9868"/>
                </a:cubicBezTo>
                <a:cubicBezTo>
                  <a:pt x="803" y="9838"/>
                  <a:pt x="842" y="9829"/>
                  <a:pt x="872" y="9846"/>
                </a:cubicBezTo>
                <a:cubicBezTo>
                  <a:pt x="901" y="9864"/>
                  <a:pt x="911" y="9903"/>
                  <a:pt x="893" y="9932"/>
                </a:cubicBezTo>
                <a:cubicBezTo>
                  <a:pt x="882" y="9952"/>
                  <a:pt x="861" y="9963"/>
                  <a:pt x="839" y="9963"/>
                </a:cubicBezTo>
                <a:cubicBezTo>
                  <a:pt x="828" y="9963"/>
                  <a:pt x="817" y="9960"/>
                  <a:pt x="807" y="9954"/>
                </a:cubicBezTo>
                <a:close/>
                <a:moveTo>
                  <a:pt x="935" y="9740"/>
                </a:moveTo>
                <a:cubicBezTo>
                  <a:pt x="905" y="9722"/>
                  <a:pt x="896" y="9684"/>
                  <a:pt x="914" y="9654"/>
                </a:cubicBezTo>
                <a:cubicBezTo>
                  <a:pt x="932" y="9624"/>
                  <a:pt x="970" y="9615"/>
                  <a:pt x="1000" y="9633"/>
                </a:cubicBezTo>
                <a:cubicBezTo>
                  <a:pt x="1029" y="9650"/>
                  <a:pt x="1039" y="9689"/>
                  <a:pt x="1021" y="9718"/>
                </a:cubicBezTo>
                <a:cubicBezTo>
                  <a:pt x="1009" y="9738"/>
                  <a:pt x="989" y="9749"/>
                  <a:pt x="967" y="9749"/>
                </a:cubicBezTo>
                <a:cubicBezTo>
                  <a:pt x="957" y="9749"/>
                  <a:pt x="945" y="9746"/>
                  <a:pt x="935" y="9740"/>
                </a:cubicBezTo>
                <a:close/>
                <a:moveTo>
                  <a:pt x="1063" y="9526"/>
                </a:moveTo>
                <a:cubicBezTo>
                  <a:pt x="1033" y="9509"/>
                  <a:pt x="1024" y="9470"/>
                  <a:pt x="1042" y="9441"/>
                </a:cubicBezTo>
                <a:cubicBezTo>
                  <a:pt x="1059" y="9411"/>
                  <a:pt x="1098" y="9401"/>
                  <a:pt x="1127" y="9419"/>
                </a:cubicBezTo>
                <a:cubicBezTo>
                  <a:pt x="1157" y="9437"/>
                  <a:pt x="1167" y="9475"/>
                  <a:pt x="1149" y="9505"/>
                </a:cubicBezTo>
                <a:cubicBezTo>
                  <a:pt x="1137" y="9524"/>
                  <a:pt x="1116" y="9535"/>
                  <a:pt x="1095" y="9535"/>
                </a:cubicBezTo>
                <a:cubicBezTo>
                  <a:pt x="1084" y="9535"/>
                  <a:pt x="1073" y="9532"/>
                  <a:pt x="1063" y="9526"/>
                </a:cubicBezTo>
                <a:close/>
                <a:moveTo>
                  <a:pt x="1191" y="9313"/>
                </a:moveTo>
                <a:cubicBezTo>
                  <a:pt x="1162" y="9295"/>
                  <a:pt x="1152" y="9256"/>
                  <a:pt x="1170" y="9227"/>
                </a:cubicBezTo>
                <a:cubicBezTo>
                  <a:pt x="1187" y="9197"/>
                  <a:pt x="1226" y="9187"/>
                  <a:pt x="1256" y="9205"/>
                </a:cubicBezTo>
                <a:cubicBezTo>
                  <a:pt x="1285" y="9223"/>
                  <a:pt x="1295" y="9261"/>
                  <a:pt x="1277" y="9291"/>
                </a:cubicBezTo>
                <a:cubicBezTo>
                  <a:pt x="1265" y="9311"/>
                  <a:pt x="1245" y="9322"/>
                  <a:pt x="1223" y="9322"/>
                </a:cubicBezTo>
                <a:cubicBezTo>
                  <a:pt x="1212" y="9322"/>
                  <a:pt x="1201" y="9319"/>
                  <a:pt x="1191" y="9313"/>
                </a:cubicBezTo>
                <a:close/>
                <a:moveTo>
                  <a:pt x="1319" y="9099"/>
                </a:moveTo>
                <a:cubicBezTo>
                  <a:pt x="1289" y="9081"/>
                  <a:pt x="1280" y="9043"/>
                  <a:pt x="1298" y="9013"/>
                </a:cubicBezTo>
                <a:cubicBezTo>
                  <a:pt x="1316" y="8984"/>
                  <a:pt x="1354" y="8974"/>
                  <a:pt x="1384" y="8992"/>
                </a:cubicBezTo>
                <a:cubicBezTo>
                  <a:pt x="1413" y="9009"/>
                  <a:pt x="1423" y="9048"/>
                  <a:pt x="1405" y="9078"/>
                </a:cubicBezTo>
                <a:cubicBezTo>
                  <a:pt x="1393" y="9097"/>
                  <a:pt x="1373" y="9108"/>
                  <a:pt x="1351" y="9108"/>
                </a:cubicBezTo>
                <a:cubicBezTo>
                  <a:pt x="1340" y="9108"/>
                  <a:pt x="1329" y="9105"/>
                  <a:pt x="1319" y="9099"/>
                </a:cubicBezTo>
                <a:close/>
                <a:moveTo>
                  <a:pt x="1447" y="8885"/>
                </a:moveTo>
                <a:cubicBezTo>
                  <a:pt x="1417" y="8868"/>
                  <a:pt x="1408" y="8829"/>
                  <a:pt x="1425" y="8799"/>
                </a:cubicBezTo>
                <a:cubicBezTo>
                  <a:pt x="1443" y="8770"/>
                  <a:pt x="1482" y="8760"/>
                  <a:pt x="1511" y="8778"/>
                </a:cubicBezTo>
                <a:cubicBezTo>
                  <a:pt x="1541" y="8796"/>
                  <a:pt x="1551" y="8834"/>
                  <a:pt x="1533" y="8864"/>
                </a:cubicBezTo>
                <a:cubicBezTo>
                  <a:pt x="1521" y="8883"/>
                  <a:pt x="1500" y="8894"/>
                  <a:pt x="1479" y="8894"/>
                </a:cubicBezTo>
                <a:cubicBezTo>
                  <a:pt x="1468" y="8894"/>
                  <a:pt x="1457" y="8891"/>
                  <a:pt x="1447" y="8885"/>
                </a:cubicBezTo>
                <a:close/>
                <a:moveTo>
                  <a:pt x="1575" y="8672"/>
                </a:moveTo>
                <a:cubicBezTo>
                  <a:pt x="1546" y="8654"/>
                  <a:pt x="1536" y="8616"/>
                  <a:pt x="1554" y="8586"/>
                </a:cubicBezTo>
                <a:cubicBezTo>
                  <a:pt x="1571" y="8556"/>
                  <a:pt x="1610" y="8547"/>
                  <a:pt x="1640" y="8564"/>
                </a:cubicBezTo>
                <a:cubicBezTo>
                  <a:pt x="1669" y="8582"/>
                  <a:pt x="1679" y="8620"/>
                  <a:pt x="1661" y="8650"/>
                </a:cubicBezTo>
                <a:cubicBezTo>
                  <a:pt x="1649" y="8670"/>
                  <a:pt x="1628" y="8680"/>
                  <a:pt x="1607" y="8680"/>
                </a:cubicBezTo>
                <a:cubicBezTo>
                  <a:pt x="1596" y="8680"/>
                  <a:pt x="1585" y="8678"/>
                  <a:pt x="1575" y="8672"/>
                </a:cubicBezTo>
                <a:close/>
                <a:moveTo>
                  <a:pt x="5414" y="2262"/>
                </a:moveTo>
                <a:cubicBezTo>
                  <a:pt x="5384" y="2244"/>
                  <a:pt x="5374" y="2206"/>
                  <a:pt x="5392" y="2176"/>
                </a:cubicBezTo>
                <a:cubicBezTo>
                  <a:pt x="5410" y="2147"/>
                  <a:pt x="5448" y="2137"/>
                  <a:pt x="5478" y="2155"/>
                </a:cubicBezTo>
                <a:cubicBezTo>
                  <a:pt x="5508" y="2172"/>
                  <a:pt x="5517" y="2211"/>
                  <a:pt x="5500" y="2241"/>
                </a:cubicBezTo>
                <a:cubicBezTo>
                  <a:pt x="5488" y="2260"/>
                  <a:pt x="5467" y="2271"/>
                  <a:pt x="5446" y="2271"/>
                </a:cubicBezTo>
                <a:cubicBezTo>
                  <a:pt x="5435" y="2271"/>
                  <a:pt x="5424" y="2268"/>
                  <a:pt x="5414" y="2262"/>
                </a:cubicBezTo>
                <a:close/>
                <a:moveTo>
                  <a:pt x="5542" y="2048"/>
                </a:moveTo>
                <a:cubicBezTo>
                  <a:pt x="5512" y="2031"/>
                  <a:pt x="5503" y="1992"/>
                  <a:pt x="5520" y="1963"/>
                </a:cubicBezTo>
                <a:cubicBezTo>
                  <a:pt x="5538" y="1933"/>
                  <a:pt x="5577" y="1923"/>
                  <a:pt x="5606" y="1941"/>
                </a:cubicBezTo>
                <a:cubicBezTo>
                  <a:pt x="5636" y="1959"/>
                  <a:pt x="5645" y="1997"/>
                  <a:pt x="5628" y="2027"/>
                </a:cubicBezTo>
                <a:cubicBezTo>
                  <a:pt x="5616" y="2047"/>
                  <a:pt x="5595" y="2057"/>
                  <a:pt x="5574" y="2057"/>
                </a:cubicBezTo>
                <a:cubicBezTo>
                  <a:pt x="5563" y="2057"/>
                  <a:pt x="5552" y="2054"/>
                  <a:pt x="5542" y="2048"/>
                </a:cubicBezTo>
                <a:close/>
                <a:moveTo>
                  <a:pt x="5670" y="1835"/>
                </a:moveTo>
                <a:cubicBezTo>
                  <a:pt x="5640" y="1817"/>
                  <a:pt x="5630" y="1779"/>
                  <a:pt x="5648" y="1749"/>
                </a:cubicBezTo>
                <a:cubicBezTo>
                  <a:pt x="5666" y="1719"/>
                  <a:pt x="5704" y="1710"/>
                  <a:pt x="5734" y="1728"/>
                </a:cubicBezTo>
                <a:cubicBezTo>
                  <a:pt x="5764" y="1745"/>
                  <a:pt x="5773" y="1784"/>
                  <a:pt x="5755" y="1813"/>
                </a:cubicBezTo>
                <a:cubicBezTo>
                  <a:pt x="5744" y="1833"/>
                  <a:pt x="5723" y="1844"/>
                  <a:pt x="5702" y="1844"/>
                </a:cubicBezTo>
                <a:cubicBezTo>
                  <a:pt x="5691" y="1844"/>
                  <a:pt x="5680" y="1841"/>
                  <a:pt x="5670" y="1835"/>
                </a:cubicBezTo>
                <a:close/>
                <a:moveTo>
                  <a:pt x="5798" y="1621"/>
                </a:moveTo>
                <a:cubicBezTo>
                  <a:pt x="5768" y="1603"/>
                  <a:pt x="5758" y="1565"/>
                  <a:pt x="5776" y="1535"/>
                </a:cubicBezTo>
                <a:cubicBezTo>
                  <a:pt x="5794" y="1506"/>
                  <a:pt x="5832" y="1496"/>
                  <a:pt x="5862" y="1514"/>
                </a:cubicBezTo>
                <a:cubicBezTo>
                  <a:pt x="5892" y="1531"/>
                  <a:pt x="5901" y="1570"/>
                  <a:pt x="5884" y="1599"/>
                </a:cubicBezTo>
                <a:cubicBezTo>
                  <a:pt x="5872" y="1619"/>
                  <a:pt x="5851" y="1630"/>
                  <a:pt x="5830" y="1630"/>
                </a:cubicBezTo>
                <a:cubicBezTo>
                  <a:pt x="5819" y="1630"/>
                  <a:pt x="5808" y="1627"/>
                  <a:pt x="5798" y="1621"/>
                </a:cubicBezTo>
                <a:close/>
                <a:moveTo>
                  <a:pt x="5926" y="1407"/>
                </a:moveTo>
                <a:cubicBezTo>
                  <a:pt x="5896" y="1389"/>
                  <a:pt x="5887" y="1351"/>
                  <a:pt x="5904" y="1322"/>
                </a:cubicBezTo>
                <a:cubicBezTo>
                  <a:pt x="5922" y="1292"/>
                  <a:pt x="5961" y="1282"/>
                  <a:pt x="5990" y="1300"/>
                </a:cubicBezTo>
                <a:cubicBezTo>
                  <a:pt x="6020" y="1318"/>
                  <a:pt x="6029" y="1356"/>
                  <a:pt x="6012" y="1386"/>
                </a:cubicBezTo>
                <a:cubicBezTo>
                  <a:pt x="6000" y="1405"/>
                  <a:pt x="5979" y="1416"/>
                  <a:pt x="5958" y="1416"/>
                </a:cubicBezTo>
                <a:cubicBezTo>
                  <a:pt x="5947" y="1416"/>
                  <a:pt x="5936" y="1413"/>
                  <a:pt x="5926" y="1407"/>
                </a:cubicBezTo>
                <a:close/>
                <a:moveTo>
                  <a:pt x="6054" y="1194"/>
                </a:moveTo>
                <a:cubicBezTo>
                  <a:pt x="6024" y="1176"/>
                  <a:pt x="6014" y="1137"/>
                  <a:pt x="6032" y="1108"/>
                </a:cubicBezTo>
                <a:cubicBezTo>
                  <a:pt x="6050" y="1078"/>
                  <a:pt x="6088" y="1068"/>
                  <a:pt x="6118" y="1086"/>
                </a:cubicBezTo>
                <a:cubicBezTo>
                  <a:pt x="6148" y="1104"/>
                  <a:pt x="6157" y="1142"/>
                  <a:pt x="6139" y="1172"/>
                </a:cubicBezTo>
                <a:cubicBezTo>
                  <a:pt x="6128" y="1192"/>
                  <a:pt x="6107" y="1203"/>
                  <a:pt x="6086" y="1203"/>
                </a:cubicBezTo>
                <a:cubicBezTo>
                  <a:pt x="6075" y="1203"/>
                  <a:pt x="6064" y="1200"/>
                  <a:pt x="6054" y="1194"/>
                </a:cubicBezTo>
                <a:close/>
                <a:moveTo>
                  <a:pt x="6182" y="980"/>
                </a:moveTo>
                <a:cubicBezTo>
                  <a:pt x="6152" y="962"/>
                  <a:pt x="6142" y="924"/>
                  <a:pt x="6160" y="894"/>
                </a:cubicBezTo>
                <a:cubicBezTo>
                  <a:pt x="6178" y="864"/>
                  <a:pt x="6216" y="855"/>
                  <a:pt x="6246" y="873"/>
                </a:cubicBezTo>
                <a:cubicBezTo>
                  <a:pt x="6276" y="890"/>
                  <a:pt x="6285" y="929"/>
                  <a:pt x="6267" y="959"/>
                </a:cubicBezTo>
                <a:cubicBezTo>
                  <a:pt x="6256" y="978"/>
                  <a:pt x="6235" y="989"/>
                  <a:pt x="6214" y="989"/>
                </a:cubicBezTo>
                <a:cubicBezTo>
                  <a:pt x="6203" y="989"/>
                  <a:pt x="6192" y="986"/>
                  <a:pt x="6182" y="980"/>
                </a:cubicBezTo>
                <a:close/>
                <a:moveTo>
                  <a:pt x="6310" y="766"/>
                </a:moveTo>
                <a:cubicBezTo>
                  <a:pt x="6280" y="749"/>
                  <a:pt x="6271" y="710"/>
                  <a:pt x="6288" y="680"/>
                </a:cubicBezTo>
                <a:cubicBezTo>
                  <a:pt x="6306" y="651"/>
                  <a:pt x="6345" y="641"/>
                  <a:pt x="6374" y="659"/>
                </a:cubicBezTo>
                <a:cubicBezTo>
                  <a:pt x="6404" y="677"/>
                  <a:pt x="6413" y="715"/>
                  <a:pt x="6396" y="745"/>
                </a:cubicBezTo>
                <a:cubicBezTo>
                  <a:pt x="6384" y="765"/>
                  <a:pt x="6363" y="775"/>
                  <a:pt x="6342" y="775"/>
                </a:cubicBezTo>
                <a:cubicBezTo>
                  <a:pt x="6331" y="775"/>
                  <a:pt x="6320" y="772"/>
                  <a:pt x="6310" y="766"/>
                </a:cubicBezTo>
                <a:close/>
                <a:moveTo>
                  <a:pt x="6438" y="552"/>
                </a:moveTo>
                <a:cubicBezTo>
                  <a:pt x="6408" y="535"/>
                  <a:pt x="6398" y="497"/>
                  <a:pt x="6416" y="467"/>
                </a:cubicBezTo>
                <a:cubicBezTo>
                  <a:pt x="6434" y="437"/>
                  <a:pt x="6472" y="428"/>
                  <a:pt x="6502" y="445"/>
                </a:cubicBezTo>
                <a:cubicBezTo>
                  <a:pt x="6532" y="463"/>
                  <a:pt x="6541" y="501"/>
                  <a:pt x="6523" y="531"/>
                </a:cubicBezTo>
                <a:cubicBezTo>
                  <a:pt x="6512" y="551"/>
                  <a:pt x="6491" y="561"/>
                  <a:pt x="6470" y="561"/>
                </a:cubicBezTo>
                <a:cubicBezTo>
                  <a:pt x="6459" y="561"/>
                  <a:pt x="6448" y="558"/>
                  <a:pt x="6438" y="552"/>
                </a:cubicBezTo>
                <a:close/>
                <a:moveTo>
                  <a:pt x="6566" y="339"/>
                </a:moveTo>
                <a:cubicBezTo>
                  <a:pt x="6536" y="321"/>
                  <a:pt x="6526" y="283"/>
                  <a:pt x="6544" y="253"/>
                </a:cubicBezTo>
                <a:cubicBezTo>
                  <a:pt x="6562" y="224"/>
                  <a:pt x="6600" y="214"/>
                  <a:pt x="6630" y="232"/>
                </a:cubicBezTo>
                <a:cubicBezTo>
                  <a:pt x="6659" y="249"/>
                  <a:pt x="6669" y="288"/>
                  <a:pt x="6651" y="317"/>
                </a:cubicBezTo>
                <a:cubicBezTo>
                  <a:pt x="6640" y="337"/>
                  <a:pt x="6619" y="348"/>
                  <a:pt x="6598" y="348"/>
                </a:cubicBezTo>
                <a:cubicBezTo>
                  <a:pt x="6587" y="348"/>
                  <a:pt x="6576" y="345"/>
                  <a:pt x="6566" y="339"/>
                </a:cubicBezTo>
                <a:close/>
                <a:moveTo>
                  <a:pt x="6694" y="125"/>
                </a:moveTo>
                <a:cubicBezTo>
                  <a:pt x="6664" y="107"/>
                  <a:pt x="6654" y="69"/>
                  <a:pt x="6672" y="39"/>
                </a:cubicBezTo>
                <a:cubicBezTo>
                  <a:pt x="6690" y="10"/>
                  <a:pt x="6728" y="0"/>
                  <a:pt x="6758" y="18"/>
                </a:cubicBezTo>
                <a:cubicBezTo>
                  <a:pt x="6788" y="36"/>
                  <a:pt x="6797" y="74"/>
                  <a:pt x="6780" y="104"/>
                </a:cubicBezTo>
                <a:cubicBezTo>
                  <a:pt x="6768" y="123"/>
                  <a:pt x="6747" y="134"/>
                  <a:pt x="6726" y="134"/>
                </a:cubicBezTo>
                <a:cubicBezTo>
                  <a:pt x="6715" y="134"/>
                  <a:pt x="6704" y="131"/>
                  <a:pt x="6694" y="125"/>
                </a:cubicBezTo>
                <a:close/>
              </a:path>
            </a:pathLst>
          </a:custGeom>
          <a:solidFill>
            <a:srgbClr val="BD1839"/>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1" name="Text Box 14"/>
          <p:cNvSpPr txBox="1">
            <a:spLocks noChangeArrowheads="1"/>
          </p:cNvSpPr>
          <p:nvPr/>
        </p:nvSpPr>
        <p:spPr bwMode="auto">
          <a:xfrm>
            <a:off x="5276851" y="1338264"/>
            <a:ext cx="1635125" cy="225425"/>
          </a:xfrm>
          <a:prstGeom prst="rect">
            <a:avLst/>
          </a:prstGeom>
          <a:noFill/>
          <a:ln w="9525">
            <a:noFill/>
            <a:round/>
            <a:headEnd/>
            <a:tailEnd/>
          </a:ln>
        </p:spPr>
        <p:txBody>
          <a:bodyPr wrap="none" lIns="0" tIns="14112" rIns="0" bIns="0" anchor="ctr">
            <a:prstTxWarp prst="textNoShape">
              <a:avLst/>
            </a:prstTxWarp>
          </a:bodyPr>
          <a:lstStyle/>
          <a:p>
            <a:pPr algn="ctr">
              <a:tabLst>
                <a:tab pos="723900" algn="l"/>
                <a:tab pos="1447800" algn="l"/>
              </a:tabLst>
            </a:pPr>
            <a:r>
              <a:rPr lang="en-US" dirty="0">
                <a:solidFill>
                  <a:srgbClr val="BD1839"/>
                </a:solidFill>
                <a:latin typeface="Arial" pitchFamily="34" charset="0"/>
                <a:ea typeface="'ArialMT'" pitchFamily="32" charset="0"/>
                <a:cs typeface="Arial" pitchFamily="34" charset="0"/>
              </a:rPr>
              <a:t>CLIENT </a:t>
            </a:r>
          </a:p>
          <a:p>
            <a:pPr algn="ctr">
              <a:tabLst>
                <a:tab pos="723900" algn="l"/>
                <a:tab pos="1447800" algn="l"/>
              </a:tabLst>
            </a:pPr>
            <a:r>
              <a:rPr lang="en-US" dirty="0">
                <a:solidFill>
                  <a:srgbClr val="BD1839"/>
                </a:solidFill>
                <a:latin typeface="Arial" pitchFamily="34" charset="0"/>
                <a:ea typeface="'ArialMT'" pitchFamily="32" charset="0"/>
                <a:cs typeface="Arial" pitchFamily="34" charset="0"/>
              </a:rPr>
              <a:t>BENEFITS</a:t>
            </a:r>
          </a:p>
        </p:txBody>
      </p:sp>
      <p:grpSp>
        <p:nvGrpSpPr>
          <p:cNvPr id="13" name="Group 12"/>
          <p:cNvGrpSpPr/>
          <p:nvPr/>
        </p:nvGrpSpPr>
        <p:grpSpPr>
          <a:xfrm>
            <a:off x="4949825" y="1827213"/>
            <a:ext cx="2292350" cy="3414712"/>
            <a:chOff x="3425825" y="1827213"/>
            <a:chExt cx="2292350" cy="3414712"/>
          </a:xfrm>
        </p:grpSpPr>
        <p:sp>
          <p:nvSpPr>
            <p:cNvPr id="14" name="Freeform 30"/>
            <p:cNvSpPr>
              <a:spLocks noChangeArrowheads="1"/>
            </p:cNvSpPr>
            <p:nvPr/>
          </p:nvSpPr>
          <p:spPr bwMode="auto">
            <a:xfrm>
              <a:off x="3454400" y="1855788"/>
              <a:ext cx="2233613" cy="2767012"/>
            </a:xfrm>
            <a:custGeom>
              <a:avLst/>
              <a:gdLst>
                <a:gd name="T0" fmla="*/ 1550 w 6206"/>
                <a:gd name="T1" fmla="*/ 7683 h 7684"/>
                <a:gd name="T2" fmla="*/ 1550 w 6206"/>
                <a:gd name="T3" fmla="*/ 7281 h 7684"/>
                <a:gd name="T4" fmla="*/ 631 w 6206"/>
                <a:gd name="T5" fmla="*/ 4975 h 7684"/>
                <a:gd name="T6" fmla="*/ 627 w 6206"/>
                <a:gd name="T7" fmla="*/ 4970 h 7684"/>
                <a:gd name="T8" fmla="*/ 624 w 6206"/>
                <a:gd name="T9" fmla="*/ 4965 h 7684"/>
                <a:gd name="T10" fmla="*/ 622 w 6206"/>
                <a:gd name="T11" fmla="*/ 4963 h 7684"/>
                <a:gd name="T12" fmla="*/ 601 w 6206"/>
                <a:gd name="T13" fmla="*/ 4936 h 7684"/>
                <a:gd name="T14" fmla="*/ 601 w 6206"/>
                <a:gd name="T15" fmla="*/ 4934 h 7684"/>
                <a:gd name="T16" fmla="*/ 0 w 6206"/>
                <a:gd name="T17" fmla="*/ 3102 h 7684"/>
                <a:gd name="T18" fmla="*/ 3103 w 6206"/>
                <a:gd name="T19" fmla="*/ 0 h 7684"/>
                <a:gd name="T20" fmla="*/ 6205 w 6206"/>
                <a:gd name="T21" fmla="*/ 3102 h 7684"/>
                <a:gd name="T22" fmla="*/ 5603 w 6206"/>
                <a:gd name="T23" fmla="*/ 4934 h 7684"/>
                <a:gd name="T24" fmla="*/ 5603 w 6206"/>
                <a:gd name="T25" fmla="*/ 4934 h 7684"/>
                <a:gd name="T26" fmla="*/ 5587 w 6206"/>
                <a:gd name="T27" fmla="*/ 4957 h 7684"/>
                <a:gd name="T28" fmla="*/ 5581 w 6206"/>
                <a:gd name="T29" fmla="*/ 4964 h 7684"/>
                <a:gd name="T30" fmla="*/ 5579 w 6206"/>
                <a:gd name="T31" fmla="*/ 4969 h 7684"/>
                <a:gd name="T32" fmla="*/ 5574 w 6206"/>
                <a:gd name="T33" fmla="*/ 4975 h 7684"/>
                <a:gd name="T34" fmla="*/ 4654 w 6206"/>
                <a:gd name="T35" fmla="*/ 7281 h 7684"/>
                <a:gd name="T36" fmla="*/ 4654 w 6206"/>
                <a:gd name="T37" fmla="*/ 7683 h 7684"/>
                <a:gd name="T38" fmla="*/ 1550 w 6206"/>
                <a:gd name="T39" fmla="*/ 7683 h 76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206"/>
                <a:gd name="T61" fmla="*/ 0 h 7684"/>
                <a:gd name="T62" fmla="*/ 6206 w 6206"/>
                <a:gd name="T63" fmla="*/ 7684 h 76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206" h="7684">
                  <a:moveTo>
                    <a:pt x="1550" y="7683"/>
                  </a:moveTo>
                  <a:lnTo>
                    <a:pt x="1550" y="7281"/>
                  </a:lnTo>
                  <a:cubicBezTo>
                    <a:pt x="1550" y="6212"/>
                    <a:pt x="725" y="5098"/>
                    <a:pt x="631" y="4975"/>
                  </a:cubicBezTo>
                  <a:lnTo>
                    <a:pt x="627" y="4970"/>
                  </a:lnTo>
                  <a:lnTo>
                    <a:pt x="624" y="4965"/>
                  </a:lnTo>
                  <a:lnTo>
                    <a:pt x="622" y="4963"/>
                  </a:lnTo>
                  <a:lnTo>
                    <a:pt x="601" y="4936"/>
                  </a:lnTo>
                  <a:lnTo>
                    <a:pt x="601" y="4934"/>
                  </a:lnTo>
                  <a:cubicBezTo>
                    <a:pt x="208" y="4400"/>
                    <a:pt x="0" y="3768"/>
                    <a:pt x="0" y="3102"/>
                  </a:cubicBezTo>
                  <a:cubicBezTo>
                    <a:pt x="0" y="1391"/>
                    <a:pt x="1392" y="0"/>
                    <a:pt x="3103" y="0"/>
                  </a:cubicBezTo>
                  <a:cubicBezTo>
                    <a:pt x="4813" y="0"/>
                    <a:pt x="6205" y="1391"/>
                    <a:pt x="6205" y="3102"/>
                  </a:cubicBezTo>
                  <a:cubicBezTo>
                    <a:pt x="6205" y="3767"/>
                    <a:pt x="5997" y="4399"/>
                    <a:pt x="5603" y="4934"/>
                  </a:cubicBezTo>
                  <a:lnTo>
                    <a:pt x="5587" y="4957"/>
                  </a:lnTo>
                  <a:lnTo>
                    <a:pt x="5581" y="4964"/>
                  </a:lnTo>
                  <a:lnTo>
                    <a:pt x="5579" y="4969"/>
                  </a:lnTo>
                  <a:lnTo>
                    <a:pt x="5574" y="4975"/>
                  </a:lnTo>
                  <a:cubicBezTo>
                    <a:pt x="5480" y="5098"/>
                    <a:pt x="4654" y="6213"/>
                    <a:pt x="4654" y="7281"/>
                  </a:cubicBezTo>
                  <a:lnTo>
                    <a:pt x="4654" y="7683"/>
                  </a:lnTo>
                  <a:lnTo>
                    <a:pt x="1550" y="7683"/>
                  </a:lnTo>
                </a:path>
              </a:pathLst>
            </a:custGeom>
            <a:solidFill>
              <a:schemeClr val="bg1"/>
            </a:solidFill>
            <a:ln w="9525">
              <a:solidFill>
                <a:srgbClr val="BD1839"/>
              </a:solid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5" name="Freeform 31"/>
            <p:cNvSpPr>
              <a:spLocks noChangeArrowheads="1"/>
            </p:cNvSpPr>
            <p:nvPr/>
          </p:nvSpPr>
          <p:spPr bwMode="auto">
            <a:xfrm>
              <a:off x="3425825" y="1827213"/>
              <a:ext cx="2292350" cy="2824162"/>
            </a:xfrm>
            <a:custGeom>
              <a:avLst/>
              <a:gdLst>
                <a:gd name="T0" fmla="*/ 6205 w 6366"/>
                <a:gd name="T1" fmla="*/ 3182 h 7844"/>
                <a:gd name="T2" fmla="*/ 5603 w 6366"/>
                <a:gd name="T3" fmla="*/ 4988 h 7844"/>
                <a:gd name="T4" fmla="*/ 5603 w 6366"/>
                <a:gd name="T5" fmla="*/ 4988 h 7844"/>
                <a:gd name="T6" fmla="*/ 5591 w 6366"/>
                <a:gd name="T7" fmla="*/ 5007 h 7844"/>
                <a:gd name="T8" fmla="*/ 4655 w 6366"/>
                <a:gd name="T9" fmla="*/ 7361 h 7844"/>
                <a:gd name="T10" fmla="*/ 4655 w 6366"/>
                <a:gd name="T11" fmla="*/ 7683 h 7844"/>
                <a:gd name="T12" fmla="*/ 1710 w 6366"/>
                <a:gd name="T13" fmla="*/ 7683 h 7844"/>
                <a:gd name="T14" fmla="*/ 1710 w 6366"/>
                <a:gd name="T15" fmla="*/ 7361 h 7844"/>
                <a:gd name="T16" fmla="*/ 774 w 6366"/>
                <a:gd name="T17" fmla="*/ 5007 h 7844"/>
                <a:gd name="T18" fmla="*/ 761 w 6366"/>
                <a:gd name="T19" fmla="*/ 4988 h 7844"/>
                <a:gd name="T20" fmla="*/ 761 w 6366"/>
                <a:gd name="T21" fmla="*/ 4988 h 7844"/>
                <a:gd name="T22" fmla="*/ 160 w 6366"/>
                <a:gd name="T23" fmla="*/ 3182 h 7844"/>
                <a:gd name="T24" fmla="*/ 3183 w 6366"/>
                <a:gd name="T25" fmla="*/ 160 h 7844"/>
                <a:gd name="T26" fmla="*/ 6205 w 6366"/>
                <a:gd name="T27" fmla="*/ 3182 h 7844"/>
                <a:gd name="T28" fmla="*/ 3183 w 6366"/>
                <a:gd name="T29" fmla="*/ 0 h 7844"/>
                <a:gd name="T30" fmla="*/ 0 w 6366"/>
                <a:gd name="T31" fmla="*/ 3182 h 7844"/>
                <a:gd name="T32" fmla="*/ 601 w 6366"/>
                <a:gd name="T33" fmla="*/ 5040 h 7844"/>
                <a:gd name="T34" fmla="*/ 601 w 6366"/>
                <a:gd name="T35" fmla="*/ 5043 h 7844"/>
                <a:gd name="T36" fmla="*/ 635 w 6366"/>
                <a:gd name="T37" fmla="*/ 5088 h 7844"/>
                <a:gd name="T38" fmla="*/ 638 w 6366"/>
                <a:gd name="T39" fmla="*/ 5091 h 7844"/>
                <a:gd name="T40" fmla="*/ 640 w 6366"/>
                <a:gd name="T41" fmla="*/ 5094 h 7844"/>
                <a:gd name="T42" fmla="*/ 647 w 6366"/>
                <a:gd name="T43" fmla="*/ 5103 h 7844"/>
                <a:gd name="T44" fmla="*/ 1550 w 6366"/>
                <a:gd name="T45" fmla="*/ 7361 h 7844"/>
                <a:gd name="T46" fmla="*/ 1550 w 6366"/>
                <a:gd name="T47" fmla="*/ 7683 h 7844"/>
                <a:gd name="T48" fmla="*/ 1550 w 6366"/>
                <a:gd name="T49" fmla="*/ 7843 h 7844"/>
                <a:gd name="T50" fmla="*/ 1710 w 6366"/>
                <a:gd name="T51" fmla="*/ 7843 h 7844"/>
                <a:gd name="T52" fmla="*/ 4655 w 6366"/>
                <a:gd name="T53" fmla="*/ 7843 h 7844"/>
                <a:gd name="T54" fmla="*/ 4814 w 6366"/>
                <a:gd name="T55" fmla="*/ 7843 h 7844"/>
                <a:gd name="T56" fmla="*/ 4814 w 6366"/>
                <a:gd name="T57" fmla="*/ 7683 h 7844"/>
                <a:gd name="T58" fmla="*/ 4814 w 6366"/>
                <a:gd name="T59" fmla="*/ 7361 h 7844"/>
                <a:gd name="T60" fmla="*/ 5718 w 6366"/>
                <a:gd name="T61" fmla="*/ 5103 h 7844"/>
                <a:gd name="T62" fmla="*/ 5727 w 6366"/>
                <a:gd name="T63" fmla="*/ 5091 h 7844"/>
                <a:gd name="T64" fmla="*/ 5729 w 6366"/>
                <a:gd name="T65" fmla="*/ 5087 h 7844"/>
                <a:gd name="T66" fmla="*/ 5731 w 6366"/>
                <a:gd name="T67" fmla="*/ 5085 h 7844"/>
                <a:gd name="T68" fmla="*/ 5763 w 6366"/>
                <a:gd name="T69" fmla="*/ 5042 h 7844"/>
                <a:gd name="T70" fmla="*/ 5763 w 6366"/>
                <a:gd name="T71" fmla="*/ 5040 h 7844"/>
                <a:gd name="T72" fmla="*/ 6365 w 6366"/>
                <a:gd name="T73" fmla="*/ 3182 h 7844"/>
                <a:gd name="T74" fmla="*/ 3183 w 6366"/>
                <a:gd name="T75" fmla="*/ 0 h 78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366"/>
                <a:gd name="T115" fmla="*/ 0 h 7844"/>
                <a:gd name="T116" fmla="*/ 6366 w 6366"/>
                <a:gd name="T117" fmla="*/ 7844 h 78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366" h="7844">
                  <a:moveTo>
                    <a:pt x="6205" y="3182"/>
                  </a:moveTo>
                  <a:cubicBezTo>
                    <a:pt x="6205" y="3859"/>
                    <a:pt x="5980" y="4484"/>
                    <a:pt x="5603" y="4988"/>
                  </a:cubicBezTo>
                  <a:cubicBezTo>
                    <a:pt x="5599" y="4995"/>
                    <a:pt x="5594" y="5000"/>
                    <a:pt x="5591" y="5007"/>
                  </a:cubicBezTo>
                  <a:cubicBezTo>
                    <a:pt x="5474" y="5159"/>
                    <a:pt x="4655" y="6276"/>
                    <a:pt x="4655" y="7361"/>
                  </a:cubicBezTo>
                  <a:lnTo>
                    <a:pt x="4655" y="7683"/>
                  </a:lnTo>
                  <a:lnTo>
                    <a:pt x="1710" y="7683"/>
                  </a:lnTo>
                  <a:lnTo>
                    <a:pt x="1710" y="7361"/>
                  </a:lnTo>
                  <a:cubicBezTo>
                    <a:pt x="1710" y="6276"/>
                    <a:pt x="891" y="5159"/>
                    <a:pt x="774" y="5007"/>
                  </a:cubicBezTo>
                  <a:cubicBezTo>
                    <a:pt x="770" y="5000"/>
                    <a:pt x="766" y="4995"/>
                    <a:pt x="761" y="4988"/>
                  </a:cubicBezTo>
                  <a:cubicBezTo>
                    <a:pt x="383" y="4484"/>
                    <a:pt x="160" y="3859"/>
                    <a:pt x="160" y="3182"/>
                  </a:cubicBezTo>
                  <a:cubicBezTo>
                    <a:pt x="160" y="1512"/>
                    <a:pt x="1514" y="160"/>
                    <a:pt x="3183" y="160"/>
                  </a:cubicBezTo>
                  <a:cubicBezTo>
                    <a:pt x="4851" y="160"/>
                    <a:pt x="6205" y="1512"/>
                    <a:pt x="6205" y="3182"/>
                  </a:cubicBezTo>
                  <a:close/>
                  <a:moveTo>
                    <a:pt x="3183" y="0"/>
                  </a:moveTo>
                  <a:cubicBezTo>
                    <a:pt x="1428" y="0"/>
                    <a:pt x="0" y="1427"/>
                    <a:pt x="0" y="3182"/>
                  </a:cubicBezTo>
                  <a:cubicBezTo>
                    <a:pt x="0" y="3856"/>
                    <a:pt x="208" y="4497"/>
                    <a:pt x="601" y="5040"/>
                  </a:cubicBezTo>
                  <a:lnTo>
                    <a:pt x="601" y="5043"/>
                  </a:lnTo>
                  <a:lnTo>
                    <a:pt x="635" y="5088"/>
                  </a:lnTo>
                  <a:lnTo>
                    <a:pt x="638" y="5091"/>
                  </a:lnTo>
                  <a:lnTo>
                    <a:pt x="640" y="5094"/>
                  </a:lnTo>
                  <a:lnTo>
                    <a:pt x="647" y="5103"/>
                  </a:lnTo>
                  <a:cubicBezTo>
                    <a:pt x="739" y="5225"/>
                    <a:pt x="1550" y="6318"/>
                    <a:pt x="1550" y="7361"/>
                  </a:cubicBezTo>
                  <a:lnTo>
                    <a:pt x="1550" y="7683"/>
                  </a:lnTo>
                  <a:lnTo>
                    <a:pt x="1550" y="7843"/>
                  </a:lnTo>
                  <a:lnTo>
                    <a:pt x="1710" y="7843"/>
                  </a:lnTo>
                  <a:lnTo>
                    <a:pt x="4655" y="7843"/>
                  </a:lnTo>
                  <a:lnTo>
                    <a:pt x="4814" y="7843"/>
                  </a:lnTo>
                  <a:lnTo>
                    <a:pt x="4814" y="7683"/>
                  </a:lnTo>
                  <a:lnTo>
                    <a:pt x="4814" y="7361"/>
                  </a:lnTo>
                  <a:cubicBezTo>
                    <a:pt x="4814" y="6319"/>
                    <a:pt x="5625" y="5225"/>
                    <a:pt x="5718" y="5103"/>
                  </a:cubicBezTo>
                  <a:lnTo>
                    <a:pt x="5727" y="5091"/>
                  </a:lnTo>
                  <a:lnTo>
                    <a:pt x="5729" y="5087"/>
                  </a:lnTo>
                  <a:cubicBezTo>
                    <a:pt x="5730" y="5086"/>
                    <a:pt x="5730" y="5086"/>
                    <a:pt x="5731" y="5085"/>
                  </a:cubicBezTo>
                  <a:lnTo>
                    <a:pt x="5763" y="5042"/>
                  </a:lnTo>
                  <a:lnTo>
                    <a:pt x="5763" y="5040"/>
                  </a:lnTo>
                  <a:cubicBezTo>
                    <a:pt x="6157" y="4496"/>
                    <a:pt x="6365" y="3855"/>
                    <a:pt x="6365" y="3182"/>
                  </a:cubicBezTo>
                  <a:cubicBezTo>
                    <a:pt x="6365" y="1427"/>
                    <a:pt x="4937" y="0"/>
                    <a:pt x="3183" y="0"/>
                  </a:cubicBezTo>
                  <a:close/>
                </a:path>
              </a:pathLst>
            </a:custGeom>
            <a:solidFill>
              <a:srgbClr val="BD1839"/>
            </a:solidFill>
            <a:ln w="9525">
              <a:solidFill>
                <a:srgbClr val="BD1839"/>
              </a:solid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6" name="Freeform 32"/>
            <p:cNvSpPr>
              <a:spLocks noChangeArrowheads="1"/>
            </p:cNvSpPr>
            <p:nvPr/>
          </p:nvSpPr>
          <p:spPr bwMode="auto">
            <a:xfrm>
              <a:off x="4040188" y="4645025"/>
              <a:ext cx="1060450" cy="596900"/>
            </a:xfrm>
            <a:custGeom>
              <a:avLst/>
              <a:gdLst>
                <a:gd name="T0" fmla="*/ 0 w 2946"/>
                <a:gd name="T1" fmla="*/ 0 h 1660"/>
                <a:gd name="T2" fmla="*/ 0 w 2946"/>
                <a:gd name="T3" fmla="*/ 767 h 1660"/>
                <a:gd name="T4" fmla="*/ 594 w 2946"/>
                <a:gd name="T5" fmla="*/ 1360 h 1660"/>
                <a:gd name="T6" fmla="*/ 819 w 2946"/>
                <a:gd name="T7" fmla="*/ 1360 h 1660"/>
                <a:gd name="T8" fmla="*/ 1044 w 2946"/>
                <a:gd name="T9" fmla="*/ 1659 h 1660"/>
                <a:gd name="T10" fmla="*/ 1901 w 2946"/>
                <a:gd name="T11" fmla="*/ 1659 h 1660"/>
                <a:gd name="T12" fmla="*/ 2125 w 2946"/>
                <a:gd name="T13" fmla="*/ 1360 h 1660"/>
                <a:gd name="T14" fmla="*/ 2351 w 2946"/>
                <a:gd name="T15" fmla="*/ 1360 h 1660"/>
                <a:gd name="T16" fmla="*/ 2945 w 2946"/>
                <a:gd name="T17" fmla="*/ 767 h 1660"/>
                <a:gd name="T18" fmla="*/ 2945 w 2946"/>
                <a:gd name="T19" fmla="*/ 0 h 1660"/>
                <a:gd name="T20" fmla="*/ 0 w 2946"/>
                <a:gd name="T21" fmla="*/ 0 h 16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46"/>
                <a:gd name="T34" fmla="*/ 0 h 1660"/>
                <a:gd name="T35" fmla="*/ 2946 w 2946"/>
                <a:gd name="T36" fmla="*/ 1660 h 16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46" h="1660">
                  <a:moveTo>
                    <a:pt x="0" y="0"/>
                  </a:moveTo>
                  <a:lnTo>
                    <a:pt x="0" y="767"/>
                  </a:lnTo>
                  <a:cubicBezTo>
                    <a:pt x="0" y="1095"/>
                    <a:pt x="266" y="1360"/>
                    <a:pt x="594" y="1360"/>
                  </a:cubicBezTo>
                  <a:lnTo>
                    <a:pt x="819" y="1360"/>
                  </a:lnTo>
                  <a:lnTo>
                    <a:pt x="1044" y="1659"/>
                  </a:lnTo>
                  <a:lnTo>
                    <a:pt x="1901" y="1659"/>
                  </a:lnTo>
                  <a:lnTo>
                    <a:pt x="2125" y="1360"/>
                  </a:lnTo>
                  <a:lnTo>
                    <a:pt x="2351" y="1360"/>
                  </a:lnTo>
                  <a:cubicBezTo>
                    <a:pt x="2679" y="1360"/>
                    <a:pt x="2945" y="1095"/>
                    <a:pt x="2945" y="767"/>
                  </a:cubicBezTo>
                  <a:lnTo>
                    <a:pt x="2945" y="0"/>
                  </a:lnTo>
                  <a:lnTo>
                    <a:pt x="0" y="0"/>
                  </a:lnTo>
                </a:path>
              </a:pathLst>
            </a:custGeom>
            <a:solidFill>
              <a:srgbClr val="C8C1B7"/>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grpSp>
      <p:sp>
        <p:nvSpPr>
          <p:cNvPr id="17" name="Freeform 33"/>
          <p:cNvSpPr>
            <a:spLocks noChangeArrowheads="1"/>
          </p:cNvSpPr>
          <p:nvPr/>
        </p:nvSpPr>
        <p:spPr bwMode="auto">
          <a:xfrm>
            <a:off x="5564188" y="4645025"/>
            <a:ext cx="1060450" cy="596900"/>
          </a:xfrm>
          <a:custGeom>
            <a:avLst/>
            <a:gdLst>
              <a:gd name="T0" fmla="*/ 0 w 2946"/>
              <a:gd name="T1" fmla="*/ 0 h 1660"/>
              <a:gd name="T2" fmla="*/ 0 w 2946"/>
              <a:gd name="T3" fmla="*/ 767 h 1660"/>
              <a:gd name="T4" fmla="*/ 594 w 2946"/>
              <a:gd name="T5" fmla="*/ 1360 h 1660"/>
              <a:gd name="T6" fmla="*/ 819 w 2946"/>
              <a:gd name="T7" fmla="*/ 1360 h 1660"/>
              <a:gd name="T8" fmla="*/ 1044 w 2946"/>
              <a:gd name="T9" fmla="*/ 1659 h 1660"/>
              <a:gd name="T10" fmla="*/ 1901 w 2946"/>
              <a:gd name="T11" fmla="*/ 1659 h 1660"/>
              <a:gd name="T12" fmla="*/ 2125 w 2946"/>
              <a:gd name="T13" fmla="*/ 1360 h 1660"/>
              <a:gd name="T14" fmla="*/ 2351 w 2946"/>
              <a:gd name="T15" fmla="*/ 1360 h 1660"/>
              <a:gd name="T16" fmla="*/ 2945 w 2946"/>
              <a:gd name="T17" fmla="*/ 767 h 1660"/>
              <a:gd name="T18" fmla="*/ 2945 w 2946"/>
              <a:gd name="T19" fmla="*/ 0 h 1660"/>
              <a:gd name="T20" fmla="*/ 0 w 2946"/>
              <a:gd name="T21" fmla="*/ 0 h 16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46"/>
              <a:gd name="T34" fmla="*/ 0 h 1660"/>
              <a:gd name="T35" fmla="*/ 2946 w 2946"/>
              <a:gd name="T36" fmla="*/ 1660 h 16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46" h="1660">
                <a:moveTo>
                  <a:pt x="0" y="0"/>
                </a:moveTo>
                <a:lnTo>
                  <a:pt x="0" y="767"/>
                </a:lnTo>
                <a:cubicBezTo>
                  <a:pt x="0" y="1095"/>
                  <a:pt x="266" y="1360"/>
                  <a:pt x="594" y="1360"/>
                </a:cubicBezTo>
                <a:lnTo>
                  <a:pt x="819" y="1360"/>
                </a:lnTo>
                <a:lnTo>
                  <a:pt x="1044" y="1659"/>
                </a:lnTo>
                <a:lnTo>
                  <a:pt x="1901" y="1659"/>
                </a:lnTo>
                <a:lnTo>
                  <a:pt x="2125" y="1360"/>
                </a:lnTo>
                <a:lnTo>
                  <a:pt x="2351" y="1360"/>
                </a:lnTo>
                <a:cubicBezTo>
                  <a:pt x="2679" y="1360"/>
                  <a:pt x="2945" y="1095"/>
                  <a:pt x="2945" y="767"/>
                </a:cubicBezTo>
                <a:lnTo>
                  <a:pt x="2945" y="0"/>
                </a:lnTo>
                <a:lnTo>
                  <a:pt x="0" y="0"/>
                </a:lnTo>
              </a:path>
            </a:pathLst>
          </a:custGeom>
          <a:noFill/>
          <a:ln w="11520">
            <a:solidFill>
              <a:srgbClr val="FFFFFF"/>
            </a:solidFill>
            <a:miter lim="800000"/>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18" name="Text Box 34"/>
          <p:cNvSpPr txBox="1">
            <a:spLocks noChangeArrowheads="1"/>
          </p:cNvSpPr>
          <p:nvPr/>
        </p:nvSpPr>
        <p:spPr bwMode="auto">
          <a:xfrm>
            <a:off x="5521325" y="2101851"/>
            <a:ext cx="1149350" cy="549275"/>
          </a:xfrm>
          <a:prstGeom prst="rect">
            <a:avLst/>
          </a:prstGeom>
          <a:noFill/>
          <a:ln w="9525">
            <a:noFill/>
            <a:round/>
            <a:headEnd/>
            <a:tailEnd/>
          </a:ln>
        </p:spPr>
        <p:txBody>
          <a:bodyPr wrap="none" lIns="0" tIns="34398" rIns="0" bIns="0" anchor="ctr">
            <a:prstTxWarp prst="textNoShape">
              <a:avLst/>
            </a:prstTxWarp>
          </a:bodyPr>
          <a:lstStyle/>
          <a:p>
            <a:pPr algn="ctr">
              <a:tabLst>
                <a:tab pos="723900" algn="l"/>
              </a:tabLst>
            </a:pPr>
            <a:r>
              <a:rPr lang="en-US" sz="3900" dirty="0">
                <a:latin typeface="Arial" pitchFamily="34" charset="0"/>
                <a:ea typeface="'ArialMT'" pitchFamily="32" charset="0"/>
                <a:cs typeface="Arial" pitchFamily="34" charset="0"/>
              </a:rPr>
              <a:t>CPS</a:t>
            </a:r>
          </a:p>
        </p:txBody>
      </p:sp>
      <p:sp>
        <p:nvSpPr>
          <p:cNvPr id="19" name="Text Box 35"/>
          <p:cNvSpPr txBox="1">
            <a:spLocks noChangeArrowheads="1"/>
          </p:cNvSpPr>
          <p:nvPr/>
        </p:nvSpPr>
        <p:spPr bwMode="auto">
          <a:xfrm>
            <a:off x="5764214" y="2632076"/>
            <a:ext cx="663575" cy="231775"/>
          </a:xfrm>
          <a:prstGeom prst="rect">
            <a:avLst/>
          </a:prstGeom>
          <a:noFill/>
          <a:ln w="9525">
            <a:noFill/>
            <a:round/>
            <a:headEnd/>
            <a:tailEnd/>
          </a:ln>
        </p:spPr>
        <p:txBody>
          <a:bodyPr wrap="none" lIns="0" tIns="14112" rIns="0" bIns="0" anchor="ctr">
            <a:prstTxWarp prst="textNoShape">
              <a:avLst/>
            </a:prstTxWarp>
          </a:bodyPr>
          <a:lstStyle/>
          <a:p>
            <a:pPr algn="ctr">
              <a:buNone/>
            </a:pPr>
            <a:r>
              <a:rPr lang="en-US" dirty="0">
                <a:latin typeface="Arial" pitchFamily="34" charset="0"/>
                <a:ea typeface="'Arial-BoldMT'" charset="0"/>
                <a:cs typeface="Arial" pitchFamily="34" charset="0"/>
              </a:rPr>
              <a:t>VALUE</a:t>
            </a:r>
          </a:p>
        </p:txBody>
      </p:sp>
      <p:grpSp>
        <p:nvGrpSpPr>
          <p:cNvPr id="20" name="Group 19"/>
          <p:cNvGrpSpPr/>
          <p:nvPr/>
        </p:nvGrpSpPr>
        <p:grpSpPr>
          <a:xfrm>
            <a:off x="4204135" y="1590676"/>
            <a:ext cx="420688" cy="498475"/>
            <a:chOff x="2701925" y="1590675"/>
            <a:chExt cx="420688" cy="498475"/>
          </a:xfrm>
        </p:grpSpPr>
        <p:sp>
          <p:nvSpPr>
            <p:cNvPr id="21" name="Freeform 50"/>
            <p:cNvSpPr>
              <a:spLocks noChangeArrowheads="1"/>
            </p:cNvSpPr>
            <p:nvPr/>
          </p:nvSpPr>
          <p:spPr bwMode="auto">
            <a:xfrm>
              <a:off x="2725738" y="1692275"/>
              <a:ext cx="373062" cy="373063"/>
            </a:xfrm>
            <a:custGeom>
              <a:avLst/>
              <a:gdLst>
                <a:gd name="T0" fmla="*/ 1036 w 1037"/>
                <a:gd name="T1" fmla="*/ 517 h 1036"/>
                <a:gd name="T2" fmla="*/ 967 w 1037"/>
                <a:gd name="T3" fmla="*/ 776 h 1036"/>
                <a:gd name="T4" fmla="*/ 777 w 1037"/>
                <a:gd name="T5" fmla="*/ 966 h 1036"/>
                <a:gd name="T6" fmla="*/ 518 w 1037"/>
                <a:gd name="T7" fmla="*/ 1035 h 1036"/>
                <a:gd name="T8" fmla="*/ 259 w 1037"/>
                <a:gd name="T9" fmla="*/ 966 h 1036"/>
                <a:gd name="T10" fmla="*/ 70 w 1037"/>
                <a:gd name="T11" fmla="*/ 776 h 1036"/>
                <a:gd name="T12" fmla="*/ 0 w 1037"/>
                <a:gd name="T13" fmla="*/ 517 h 1036"/>
                <a:gd name="T14" fmla="*/ 70 w 1037"/>
                <a:gd name="T15" fmla="*/ 258 h 1036"/>
                <a:gd name="T16" fmla="*/ 259 w 1037"/>
                <a:gd name="T17" fmla="*/ 69 h 1036"/>
                <a:gd name="T18" fmla="*/ 518 w 1037"/>
                <a:gd name="T19" fmla="*/ 0 h 1036"/>
                <a:gd name="T20" fmla="*/ 777 w 1037"/>
                <a:gd name="T21" fmla="*/ 69 h 1036"/>
                <a:gd name="T22" fmla="*/ 967 w 1037"/>
                <a:gd name="T23" fmla="*/ 258 h 1036"/>
                <a:gd name="T24" fmla="*/ 1036 w 1037"/>
                <a:gd name="T25" fmla="*/ 517 h 10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7"/>
                <a:gd name="T40" fmla="*/ 0 h 1036"/>
                <a:gd name="T41" fmla="*/ 1037 w 1037"/>
                <a:gd name="T42" fmla="*/ 1036 h 10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7" h="1036">
                  <a:moveTo>
                    <a:pt x="1036" y="517"/>
                  </a:moveTo>
                  <a:cubicBezTo>
                    <a:pt x="1036" y="613"/>
                    <a:pt x="1014" y="693"/>
                    <a:pt x="967" y="776"/>
                  </a:cubicBezTo>
                  <a:cubicBezTo>
                    <a:pt x="919" y="858"/>
                    <a:pt x="860" y="918"/>
                    <a:pt x="777" y="966"/>
                  </a:cubicBezTo>
                  <a:cubicBezTo>
                    <a:pt x="694" y="1013"/>
                    <a:pt x="613" y="1035"/>
                    <a:pt x="518" y="1035"/>
                  </a:cubicBezTo>
                  <a:cubicBezTo>
                    <a:pt x="423" y="1035"/>
                    <a:pt x="341" y="1013"/>
                    <a:pt x="259" y="966"/>
                  </a:cubicBezTo>
                  <a:cubicBezTo>
                    <a:pt x="176" y="918"/>
                    <a:pt x="117" y="858"/>
                    <a:pt x="70" y="776"/>
                  </a:cubicBezTo>
                  <a:cubicBezTo>
                    <a:pt x="22" y="693"/>
                    <a:pt x="0" y="612"/>
                    <a:pt x="0" y="517"/>
                  </a:cubicBezTo>
                  <a:cubicBezTo>
                    <a:pt x="0" y="421"/>
                    <a:pt x="22" y="340"/>
                    <a:pt x="70" y="258"/>
                  </a:cubicBezTo>
                  <a:cubicBezTo>
                    <a:pt x="117" y="175"/>
                    <a:pt x="176" y="117"/>
                    <a:pt x="259" y="69"/>
                  </a:cubicBezTo>
                  <a:cubicBezTo>
                    <a:pt x="341" y="21"/>
                    <a:pt x="423" y="0"/>
                    <a:pt x="518" y="0"/>
                  </a:cubicBezTo>
                  <a:cubicBezTo>
                    <a:pt x="613" y="0"/>
                    <a:pt x="694" y="21"/>
                    <a:pt x="777" y="69"/>
                  </a:cubicBezTo>
                  <a:cubicBezTo>
                    <a:pt x="860" y="117"/>
                    <a:pt x="919" y="175"/>
                    <a:pt x="967" y="258"/>
                  </a:cubicBezTo>
                  <a:cubicBezTo>
                    <a:pt x="1014" y="340"/>
                    <a:pt x="1036" y="422"/>
                    <a:pt x="1036" y="517"/>
                  </a:cubicBezTo>
                </a:path>
              </a:pathLst>
            </a:custGeom>
            <a:solidFill>
              <a:srgbClr val="FFFFFF"/>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2" name="Freeform 51"/>
            <p:cNvSpPr>
              <a:spLocks noChangeArrowheads="1"/>
            </p:cNvSpPr>
            <p:nvPr/>
          </p:nvSpPr>
          <p:spPr bwMode="auto">
            <a:xfrm>
              <a:off x="2911475" y="1692275"/>
              <a:ext cx="96838" cy="193675"/>
            </a:xfrm>
            <a:custGeom>
              <a:avLst/>
              <a:gdLst>
                <a:gd name="T0" fmla="*/ 267 w 268"/>
                <a:gd name="T1" fmla="*/ 74 h 537"/>
                <a:gd name="T2" fmla="*/ 0 w 268"/>
                <a:gd name="T3" fmla="*/ 0 h 537"/>
                <a:gd name="T4" fmla="*/ 0 w 268"/>
                <a:gd name="T5" fmla="*/ 536 h 537"/>
                <a:gd name="T6" fmla="*/ 267 w 268"/>
                <a:gd name="T7" fmla="*/ 74 h 537"/>
                <a:gd name="T8" fmla="*/ 0 60000 65536"/>
                <a:gd name="T9" fmla="*/ 0 60000 65536"/>
                <a:gd name="T10" fmla="*/ 0 60000 65536"/>
                <a:gd name="T11" fmla="*/ 0 60000 65536"/>
                <a:gd name="T12" fmla="*/ 0 w 268"/>
                <a:gd name="T13" fmla="*/ 0 h 537"/>
                <a:gd name="T14" fmla="*/ 268 w 268"/>
                <a:gd name="T15" fmla="*/ 537 h 537"/>
              </a:gdLst>
              <a:ahLst/>
              <a:cxnLst>
                <a:cxn ang="T8">
                  <a:pos x="T0" y="T1"/>
                </a:cxn>
                <a:cxn ang="T9">
                  <a:pos x="T2" y="T3"/>
                </a:cxn>
                <a:cxn ang="T10">
                  <a:pos x="T4" y="T5"/>
                </a:cxn>
                <a:cxn ang="T11">
                  <a:pos x="T6" y="T7"/>
                </a:cxn>
              </a:cxnLst>
              <a:rect l="T12" t="T13" r="T14" b="T15"/>
              <a:pathLst>
                <a:path w="268" h="537">
                  <a:moveTo>
                    <a:pt x="267" y="74"/>
                  </a:moveTo>
                  <a:cubicBezTo>
                    <a:pt x="189" y="27"/>
                    <a:pt x="98" y="0"/>
                    <a:pt x="0" y="0"/>
                  </a:cubicBezTo>
                  <a:lnTo>
                    <a:pt x="0" y="536"/>
                  </a:lnTo>
                  <a:lnTo>
                    <a:pt x="267" y="74"/>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3" name="Freeform 52"/>
            <p:cNvSpPr>
              <a:spLocks noChangeArrowheads="1"/>
            </p:cNvSpPr>
            <p:nvPr/>
          </p:nvSpPr>
          <p:spPr bwMode="auto">
            <a:xfrm>
              <a:off x="2701925" y="1668463"/>
              <a:ext cx="420688" cy="420687"/>
            </a:xfrm>
            <a:custGeom>
              <a:avLst/>
              <a:gdLst>
                <a:gd name="T0" fmla="*/ 584 w 1169"/>
                <a:gd name="T1" fmla="*/ 1168 h 1169"/>
                <a:gd name="T2" fmla="*/ 0 w 1169"/>
                <a:gd name="T3" fmla="*/ 584 h 1169"/>
                <a:gd name="T4" fmla="*/ 584 w 1169"/>
                <a:gd name="T5" fmla="*/ 0 h 1169"/>
                <a:gd name="T6" fmla="*/ 1168 w 1169"/>
                <a:gd name="T7" fmla="*/ 584 h 1169"/>
                <a:gd name="T8" fmla="*/ 584 w 1169"/>
                <a:gd name="T9" fmla="*/ 1168 h 1169"/>
                <a:gd name="T10" fmla="*/ 584 w 1169"/>
                <a:gd name="T11" fmla="*/ 77 h 1169"/>
                <a:gd name="T12" fmla="*/ 77 w 1169"/>
                <a:gd name="T13" fmla="*/ 584 h 1169"/>
                <a:gd name="T14" fmla="*/ 584 w 1169"/>
                <a:gd name="T15" fmla="*/ 1091 h 1169"/>
                <a:gd name="T16" fmla="*/ 1091 w 1169"/>
                <a:gd name="T17" fmla="*/ 584 h 1169"/>
                <a:gd name="T18" fmla="*/ 584 w 1169"/>
                <a:gd name="T19" fmla="*/ 77 h 11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69"/>
                <a:gd name="T31" fmla="*/ 0 h 1169"/>
                <a:gd name="T32" fmla="*/ 1169 w 1169"/>
                <a:gd name="T33" fmla="*/ 1169 h 11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69" h="1169">
                  <a:moveTo>
                    <a:pt x="584" y="1168"/>
                  </a:moveTo>
                  <a:cubicBezTo>
                    <a:pt x="262" y="1168"/>
                    <a:pt x="0" y="906"/>
                    <a:pt x="0" y="584"/>
                  </a:cubicBezTo>
                  <a:cubicBezTo>
                    <a:pt x="0" y="262"/>
                    <a:pt x="262" y="0"/>
                    <a:pt x="584" y="0"/>
                  </a:cubicBezTo>
                  <a:cubicBezTo>
                    <a:pt x="906" y="0"/>
                    <a:pt x="1168" y="262"/>
                    <a:pt x="1168" y="584"/>
                  </a:cubicBezTo>
                  <a:cubicBezTo>
                    <a:pt x="1168" y="906"/>
                    <a:pt x="906" y="1168"/>
                    <a:pt x="584" y="1168"/>
                  </a:cubicBezTo>
                  <a:close/>
                  <a:moveTo>
                    <a:pt x="584" y="77"/>
                  </a:moveTo>
                  <a:cubicBezTo>
                    <a:pt x="304" y="77"/>
                    <a:pt x="77" y="304"/>
                    <a:pt x="77" y="584"/>
                  </a:cubicBezTo>
                  <a:cubicBezTo>
                    <a:pt x="77" y="863"/>
                    <a:pt x="304" y="1091"/>
                    <a:pt x="584" y="1091"/>
                  </a:cubicBezTo>
                  <a:cubicBezTo>
                    <a:pt x="864" y="1091"/>
                    <a:pt x="1091" y="863"/>
                    <a:pt x="1091" y="584"/>
                  </a:cubicBezTo>
                  <a:cubicBezTo>
                    <a:pt x="1091" y="304"/>
                    <a:pt x="864" y="77"/>
                    <a:pt x="584" y="77"/>
                  </a:cubicBezTo>
                  <a:close/>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4" name="Freeform 53"/>
            <p:cNvSpPr>
              <a:spLocks noChangeArrowheads="1"/>
            </p:cNvSpPr>
            <p:nvPr/>
          </p:nvSpPr>
          <p:spPr bwMode="auto">
            <a:xfrm>
              <a:off x="2833688" y="1590675"/>
              <a:ext cx="157162" cy="39688"/>
            </a:xfrm>
            <a:custGeom>
              <a:avLst/>
              <a:gdLst>
                <a:gd name="T0" fmla="*/ 218 w 437"/>
                <a:gd name="T1" fmla="*/ 109 h 110"/>
                <a:gd name="T2" fmla="*/ 0 w 437"/>
                <a:gd name="T3" fmla="*/ 109 h 110"/>
                <a:gd name="T4" fmla="*/ 0 w 437"/>
                <a:gd name="T5" fmla="*/ 0 h 110"/>
                <a:gd name="T6" fmla="*/ 436 w 437"/>
                <a:gd name="T7" fmla="*/ 0 h 110"/>
                <a:gd name="T8" fmla="*/ 436 w 437"/>
                <a:gd name="T9" fmla="*/ 109 h 110"/>
                <a:gd name="T10" fmla="*/ 218 w 437"/>
                <a:gd name="T11" fmla="*/ 109 h 110"/>
                <a:gd name="T12" fmla="*/ 0 60000 65536"/>
                <a:gd name="T13" fmla="*/ 0 60000 65536"/>
                <a:gd name="T14" fmla="*/ 0 60000 65536"/>
                <a:gd name="T15" fmla="*/ 0 60000 65536"/>
                <a:gd name="T16" fmla="*/ 0 60000 65536"/>
                <a:gd name="T17" fmla="*/ 0 60000 65536"/>
                <a:gd name="T18" fmla="*/ 0 w 437"/>
                <a:gd name="T19" fmla="*/ 0 h 110"/>
                <a:gd name="T20" fmla="*/ 437 w 437"/>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437" h="110">
                  <a:moveTo>
                    <a:pt x="218" y="109"/>
                  </a:moveTo>
                  <a:lnTo>
                    <a:pt x="0" y="109"/>
                  </a:lnTo>
                  <a:lnTo>
                    <a:pt x="0" y="0"/>
                  </a:lnTo>
                  <a:lnTo>
                    <a:pt x="436" y="0"/>
                  </a:lnTo>
                  <a:lnTo>
                    <a:pt x="436" y="109"/>
                  </a:lnTo>
                  <a:lnTo>
                    <a:pt x="218" y="109"/>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5" name="Freeform 54"/>
            <p:cNvSpPr>
              <a:spLocks noChangeArrowheads="1"/>
            </p:cNvSpPr>
            <p:nvPr/>
          </p:nvSpPr>
          <p:spPr bwMode="auto">
            <a:xfrm>
              <a:off x="2892425" y="1595438"/>
              <a:ext cx="39688" cy="88900"/>
            </a:xfrm>
            <a:custGeom>
              <a:avLst/>
              <a:gdLst>
                <a:gd name="T0" fmla="*/ 54 w 109"/>
                <a:gd name="T1" fmla="*/ 244 h 245"/>
                <a:gd name="T2" fmla="*/ 0 w 109"/>
                <a:gd name="T3" fmla="*/ 244 h 245"/>
                <a:gd name="T4" fmla="*/ 0 w 109"/>
                <a:gd name="T5" fmla="*/ 0 h 245"/>
                <a:gd name="T6" fmla="*/ 108 w 109"/>
                <a:gd name="T7" fmla="*/ 0 h 245"/>
                <a:gd name="T8" fmla="*/ 108 w 109"/>
                <a:gd name="T9" fmla="*/ 244 h 245"/>
                <a:gd name="T10" fmla="*/ 54 w 109"/>
                <a:gd name="T11" fmla="*/ 244 h 245"/>
                <a:gd name="T12" fmla="*/ 0 60000 65536"/>
                <a:gd name="T13" fmla="*/ 0 60000 65536"/>
                <a:gd name="T14" fmla="*/ 0 60000 65536"/>
                <a:gd name="T15" fmla="*/ 0 60000 65536"/>
                <a:gd name="T16" fmla="*/ 0 60000 65536"/>
                <a:gd name="T17" fmla="*/ 0 60000 65536"/>
                <a:gd name="T18" fmla="*/ 0 w 109"/>
                <a:gd name="T19" fmla="*/ 0 h 245"/>
                <a:gd name="T20" fmla="*/ 109 w 109"/>
                <a:gd name="T21" fmla="*/ 245 h 245"/>
              </a:gdLst>
              <a:ahLst/>
              <a:cxnLst>
                <a:cxn ang="T12">
                  <a:pos x="T0" y="T1"/>
                </a:cxn>
                <a:cxn ang="T13">
                  <a:pos x="T2" y="T3"/>
                </a:cxn>
                <a:cxn ang="T14">
                  <a:pos x="T4" y="T5"/>
                </a:cxn>
                <a:cxn ang="T15">
                  <a:pos x="T6" y="T7"/>
                </a:cxn>
                <a:cxn ang="T16">
                  <a:pos x="T8" y="T9"/>
                </a:cxn>
                <a:cxn ang="T17">
                  <a:pos x="T10" y="T11"/>
                </a:cxn>
              </a:cxnLst>
              <a:rect l="T18" t="T19" r="T20" b="T21"/>
              <a:pathLst>
                <a:path w="109" h="245">
                  <a:moveTo>
                    <a:pt x="54" y="244"/>
                  </a:moveTo>
                  <a:lnTo>
                    <a:pt x="0" y="244"/>
                  </a:lnTo>
                  <a:lnTo>
                    <a:pt x="0" y="0"/>
                  </a:lnTo>
                  <a:lnTo>
                    <a:pt x="108" y="0"/>
                  </a:lnTo>
                  <a:lnTo>
                    <a:pt x="108" y="244"/>
                  </a:lnTo>
                  <a:lnTo>
                    <a:pt x="54" y="244"/>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6" name="Freeform 55"/>
            <p:cNvSpPr>
              <a:spLocks noChangeArrowheads="1"/>
            </p:cNvSpPr>
            <p:nvPr/>
          </p:nvSpPr>
          <p:spPr bwMode="auto">
            <a:xfrm>
              <a:off x="2898775" y="1992313"/>
              <a:ext cx="25400" cy="50800"/>
            </a:xfrm>
            <a:custGeom>
              <a:avLst/>
              <a:gdLst>
                <a:gd name="T0" fmla="*/ 35 w 71"/>
                <a:gd name="T1" fmla="*/ 139 h 140"/>
                <a:gd name="T2" fmla="*/ 0 w 71"/>
                <a:gd name="T3" fmla="*/ 139 h 140"/>
                <a:gd name="T4" fmla="*/ 0 w 71"/>
                <a:gd name="T5" fmla="*/ 0 h 140"/>
                <a:gd name="T6" fmla="*/ 70 w 71"/>
                <a:gd name="T7" fmla="*/ 0 h 140"/>
                <a:gd name="T8" fmla="*/ 70 w 71"/>
                <a:gd name="T9" fmla="*/ 139 h 140"/>
                <a:gd name="T10" fmla="*/ 35 w 71"/>
                <a:gd name="T11" fmla="*/ 139 h 140"/>
                <a:gd name="T12" fmla="*/ 0 60000 65536"/>
                <a:gd name="T13" fmla="*/ 0 60000 65536"/>
                <a:gd name="T14" fmla="*/ 0 60000 65536"/>
                <a:gd name="T15" fmla="*/ 0 60000 65536"/>
                <a:gd name="T16" fmla="*/ 0 60000 65536"/>
                <a:gd name="T17" fmla="*/ 0 60000 65536"/>
                <a:gd name="T18" fmla="*/ 0 w 71"/>
                <a:gd name="T19" fmla="*/ 0 h 140"/>
                <a:gd name="T20" fmla="*/ 71 w 71"/>
                <a:gd name="T21" fmla="*/ 140 h 140"/>
              </a:gdLst>
              <a:ahLst/>
              <a:cxnLst>
                <a:cxn ang="T12">
                  <a:pos x="T0" y="T1"/>
                </a:cxn>
                <a:cxn ang="T13">
                  <a:pos x="T2" y="T3"/>
                </a:cxn>
                <a:cxn ang="T14">
                  <a:pos x="T4" y="T5"/>
                </a:cxn>
                <a:cxn ang="T15">
                  <a:pos x="T6" y="T7"/>
                </a:cxn>
                <a:cxn ang="T16">
                  <a:pos x="T8" y="T9"/>
                </a:cxn>
                <a:cxn ang="T17">
                  <a:pos x="T10" y="T11"/>
                </a:cxn>
              </a:cxnLst>
              <a:rect l="T18" t="T19" r="T20" b="T21"/>
              <a:pathLst>
                <a:path w="71" h="140">
                  <a:moveTo>
                    <a:pt x="35" y="139"/>
                  </a:moveTo>
                  <a:lnTo>
                    <a:pt x="0" y="139"/>
                  </a:lnTo>
                  <a:lnTo>
                    <a:pt x="0" y="0"/>
                  </a:lnTo>
                  <a:lnTo>
                    <a:pt x="70" y="0"/>
                  </a:lnTo>
                  <a:lnTo>
                    <a:pt x="70" y="139"/>
                  </a:lnTo>
                  <a:lnTo>
                    <a:pt x="35" y="139"/>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7" name="Freeform 56"/>
            <p:cNvSpPr>
              <a:spLocks noChangeArrowheads="1"/>
            </p:cNvSpPr>
            <p:nvPr/>
          </p:nvSpPr>
          <p:spPr bwMode="auto">
            <a:xfrm>
              <a:off x="2898775" y="1981200"/>
              <a:ext cx="25400" cy="61913"/>
            </a:xfrm>
            <a:custGeom>
              <a:avLst/>
              <a:gdLst>
                <a:gd name="T0" fmla="*/ 35 w 71"/>
                <a:gd name="T1" fmla="*/ 171 h 172"/>
                <a:gd name="T2" fmla="*/ 0 w 71"/>
                <a:gd name="T3" fmla="*/ 171 h 172"/>
                <a:gd name="T4" fmla="*/ 0 w 71"/>
                <a:gd name="T5" fmla="*/ 0 h 172"/>
                <a:gd name="T6" fmla="*/ 70 w 71"/>
                <a:gd name="T7" fmla="*/ 0 h 172"/>
                <a:gd name="T8" fmla="*/ 70 w 71"/>
                <a:gd name="T9" fmla="*/ 171 h 172"/>
                <a:gd name="T10" fmla="*/ 35 w 71"/>
                <a:gd name="T11" fmla="*/ 171 h 172"/>
                <a:gd name="T12" fmla="*/ 0 60000 65536"/>
                <a:gd name="T13" fmla="*/ 0 60000 65536"/>
                <a:gd name="T14" fmla="*/ 0 60000 65536"/>
                <a:gd name="T15" fmla="*/ 0 60000 65536"/>
                <a:gd name="T16" fmla="*/ 0 60000 65536"/>
                <a:gd name="T17" fmla="*/ 0 60000 65536"/>
                <a:gd name="T18" fmla="*/ 0 w 71"/>
                <a:gd name="T19" fmla="*/ 0 h 172"/>
                <a:gd name="T20" fmla="*/ 71 w 71"/>
                <a:gd name="T21" fmla="*/ 172 h 172"/>
              </a:gdLst>
              <a:ahLst/>
              <a:cxnLst>
                <a:cxn ang="T12">
                  <a:pos x="T0" y="T1"/>
                </a:cxn>
                <a:cxn ang="T13">
                  <a:pos x="T2" y="T3"/>
                </a:cxn>
                <a:cxn ang="T14">
                  <a:pos x="T4" y="T5"/>
                </a:cxn>
                <a:cxn ang="T15">
                  <a:pos x="T6" y="T7"/>
                </a:cxn>
                <a:cxn ang="T16">
                  <a:pos x="T8" y="T9"/>
                </a:cxn>
                <a:cxn ang="T17">
                  <a:pos x="T10" y="T11"/>
                </a:cxn>
              </a:cxnLst>
              <a:rect l="T18" t="T19" r="T20" b="T21"/>
              <a:pathLst>
                <a:path w="71" h="172">
                  <a:moveTo>
                    <a:pt x="35" y="171"/>
                  </a:moveTo>
                  <a:lnTo>
                    <a:pt x="0" y="171"/>
                  </a:lnTo>
                  <a:lnTo>
                    <a:pt x="0" y="0"/>
                  </a:lnTo>
                  <a:lnTo>
                    <a:pt x="70" y="0"/>
                  </a:lnTo>
                  <a:lnTo>
                    <a:pt x="70" y="171"/>
                  </a:lnTo>
                  <a:lnTo>
                    <a:pt x="35" y="171"/>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8" name="Freeform 57"/>
            <p:cNvSpPr>
              <a:spLocks noChangeArrowheads="1"/>
            </p:cNvSpPr>
            <p:nvPr/>
          </p:nvSpPr>
          <p:spPr bwMode="auto">
            <a:xfrm>
              <a:off x="3014663" y="1865313"/>
              <a:ext cx="61912" cy="25400"/>
            </a:xfrm>
            <a:custGeom>
              <a:avLst/>
              <a:gdLst>
                <a:gd name="T0" fmla="*/ 86 w 172"/>
                <a:gd name="T1" fmla="*/ 71 h 72"/>
                <a:gd name="T2" fmla="*/ 0 w 172"/>
                <a:gd name="T3" fmla="*/ 71 h 72"/>
                <a:gd name="T4" fmla="*/ 0 w 172"/>
                <a:gd name="T5" fmla="*/ 0 h 72"/>
                <a:gd name="T6" fmla="*/ 171 w 172"/>
                <a:gd name="T7" fmla="*/ 0 h 72"/>
                <a:gd name="T8" fmla="*/ 171 w 172"/>
                <a:gd name="T9" fmla="*/ 71 h 72"/>
                <a:gd name="T10" fmla="*/ 86 w 172"/>
                <a:gd name="T11" fmla="*/ 71 h 72"/>
                <a:gd name="T12" fmla="*/ 0 60000 65536"/>
                <a:gd name="T13" fmla="*/ 0 60000 65536"/>
                <a:gd name="T14" fmla="*/ 0 60000 65536"/>
                <a:gd name="T15" fmla="*/ 0 60000 65536"/>
                <a:gd name="T16" fmla="*/ 0 60000 65536"/>
                <a:gd name="T17" fmla="*/ 0 60000 65536"/>
                <a:gd name="T18" fmla="*/ 0 w 172"/>
                <a:gd name="T19" fmla="*/ 0 h 72"/>
                <a:gd name="T20" fmla="*/ 172 w 172"/>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172" h="72">
                  <a:moveTo>
                    <a:pt x="86" y="71"/>
                  </a:moveTo>
                  <a:lnTo>
                    <a:pt x="0" y="71"/>
                  </a:lnTo>
                  <a:lnTo>
                    <a:pt x="0" y="0"/>
                  </a:lnTo>
                  <a:lnTo>
                    <a:pt x="171" y="0"/>
                  </a:lnTo>
                  <a:lnTo>
                    <a:pt x="171" y="71"/>
                  </a:lnTo>
                  <a:lnTo>
                    <a:pt x="86" y="71"/>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29" name="Freeform 58"/>
            <p:cNvSpPr>
              <a:spLocks noChangeArrowheads="1"/>
            </p:cNvSpPr>
            <p:nvPr/>
          </p:nvSpPr>
          <p:spPr bwMode="auto">
            <a:xfrm>
              <a:off x="2746375" y="1865313"/>
              <a:ext cx="61913" cy="25400"/>
            </a:xfrm>
            <a:custGeom>
              <a:avLst/>
              <a:gdLst>
                <a:gd name="T0" fmla="*/ 86 w 172"/>
                <a:gd name="T1" fmla="*/ 71 h 72"/>
                <a:gd name="T2" fmla="*/ 0 w 172"/>
                <a:gd name="T3" fmla="*/ 71 h 72"/>
                <a:gd name="T4" fmla="*/ 0 w 172"/>
                <a:gd name="T5" fmla="*/ 0 h 72"/>
                <a:gd name="T6" fmla="*/ 171 w 172"/>
                <a:gd name="T7" fmla="*/ 0 h 72"/>
                <a:gd name="T8" fmla="*/ 171 w 172"/>
                <a:gd name="T9" fmla="*/ 71 h 72"/>
                <a:gd name="T10" fmla="*/ 86 w 172"/>
                <a:gd name="T11" fmla="*/ 71 h 72"/>
                <a:gd name="T12" fmla="*/ 0 60000 65536"/>
                <a:gd name="T13" fmla="*/ 0 60000 65536"/>
                <a:gd name="T14" fmla="*/ 0 60000 65536"/>
                <a:gd name="T15" fmla="*/ 0 60000 65536"/>
                <a:gd name="T16" fmla="*/ 0 60000 65536"/>
                <a:gd name="T17" fmla="*/ 0 60000 65536"/>
                <a:gd name="T18" fmla="*/ 0 w 172"/>
                <a:gd name="T19" fmla="*/ 0 h 72"/>
                <a:gd name="T20" fmla="*/ 172 w 172"/>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172" h="72">
                  <a:moveTo>
                    <a:pt x="86" y="71"/>
                  </a:moveTo>
                  <a:lnTo>
                    <a:pt x="0" y="71"/>
                  </a:lnTo>
                  <a:lnTo>
                    <a:pt x="0" y="0"/>
                  </a:lnTo>
                  <a:lnTo>
                    <a:pt x="171" y="0"/>
                  </a:lnTo>
                  <a:lnTo>
                    <a:pt x="171" y="71"/>
                  </a:lnTo>
                  <a:lnTo>
                    <a:pt x="86" y="71"/>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grpSp>
      <p:grpSp>
        <p:nvGrpSpPr>
          <p:cNvPr id="30" name="Group 29"/>
          <p:cNvGrpSpPr/>
          <p:nvPr/>
        </p:nvGrpSpPr>
        <p:grpSpPr>
          <a:xfrm>
            <a:off x="8151020" y="2825750"/>
            <a:ext cx="695325" cy="457200"/>
            <a:chOff x="6664325" y="2825750"/>
            <a:chExt cx="695325" cy="457200"/>
          </a:xfrm>
        </p:grpSpPr>
        <p:grpSp>
          <p:nvGrpSpPr>
            <p:cNvPr id="31" name="Group 30"/>
            <p:cNvGrpSpPr/>
            <p:nvPr/>
          </p:nvGrpSpPr>
          <p:grpSpPr>
            <a:xfrm>
              <a:off x="6664325" y="3086100"/>
              <a:ext cx="155575" cy="195263"/>
              <a:chOff x="6664325" y="3086100"/>
              <a:chExt cx="155575" cy="195263"/>
            </a:xfrm>
          </p:grpSpPr>
          <p:sp>
            <p:nvSpPr>
              <p:cNvPr id="43" name="Freeform 65"/>
              <p:cNvSpPr>
                <a:spLocks noChangeArrowheads="1"/>
              </p:cNvSpPr>
              <p:nvPr/>
            </p:nvSpPr>
            <p:spPr bwMode="auto">
              <a:xfrm>
                <a:off x="6723063" y="3181350"/>
                <a:ext cx="38100" cy="71438"/>
              </a:xfrm>
              <a:custGeom>
                <a:avLst/>
                <a:gdLst>
                  <a:gd name="T0" fmla="*/ 53 w 104"/>
                  <a:gd name="T1" fmla="*/ 0 h 200"/>
                  <a:gd name="T2" fmla="*/ 0 w 104"/>
                  <a:gd name="T3" fmla="*/ 51 h 200"/>
                  <a:gd name="T4" fmla="*/ 53 w 104"/>
                  <a:gd name="T5" fmla="*/ 199 h 200"/>
                  <a:gd name="T6" fmla="*/ 103 w 104"/>
                  <a:gd name="T7" fmla="*/ 51 h 200"/>
                  <a:gd name="T8" fmla="*/ 53 w 104"/>
                  <a:gd name="T9" fmla="*/ 0 h 200"/>
                  <a:gd name="T10" fmla="*/ 0 60000 65536"/>
                  <a:gd name="T11" fmla="*/ 0 60000 65536"/>
                  <a:gd name="T12" fmla="*/ 0 60000 65536"/>
                  <a:gd name="T13" fmla="*/ 0 60000 65536"/>
                  <a:gd name="T14" fmla="*/ 0 60000 65536"/>
                  <a:gd name="T15" fmla="*/ 0 w 104"/>
                  <a:gd name="T16" fmla="*/ 0 h 200"/>
                  <a:gd name="T17" fmla="*/ 104 w 104"/>
                  <a:gd name="T18" fmla="*/ 200 h 200"/>
                </a:gdLst>
                <a:ahLst/>
                <a:cxnLst>
                  <a:cxn ang="T10">
                    <a:pos x="T0" y="T1"/>
                  </a:cxn>
                  <a:cxn ang="T11">
                    <a:pos x="T2" y="T3"/>
                  </a:cxn>
                  <a:cxn ang="T12">
                    <a:pos x="T4" y="T5"/>
                  </a:cxn>
                  <a:cxn ang="T13">
                    <a:pos x="T6" y="T7"/>
                  </a:cxn>
                  <a:cxn ang="T14">
                    <a:pos x="T8" y="T9"/>
                  </a:cxn>
                </a:cxnLst>
                <a:rect l="T15" t="T16" r="T17" b="T18"/>
                <a:pathLst>
                  <a:path w="104" h="200">
                    <a:moveTo>
                      <a:pt x="53" y="0"/>
                    </a:moveTo>
                    <a:lnTo>
                      <a:pt x="0" y="51"/>
                    </a:lnTo>
                    <a:lnTo>
                      <a:pt x="53" y="199"/>
                    </a:lnTo>
                    <a:lnTo>
                      <a:pt x="103" y="51"/>
                    </a:lnTo>
                    <a:lnTo>
                      <a:pt x="53" y="0"/>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44" name="Freeform 66"/>
              <p:cNvSpPr>
                <a:spLocks noChangeArrowheads="1"/>
              </p:cNvSpPr>
              <p:nvPr/>
            </p:nvSpPr>
            <p:spPr bwMode="auto">
              <a:xfrm>
                <a:off x="6700838" y="3086100"/>
                <a:ext cx="84137" cy="84138"/>
              </a:xfrm>
              <a:custGeom>
                <a:avLst/>
                <a:gdLst>
                  <a:gd name="T0" fmla="*/ 232 w 233"/>
                  <a:gd name="T1" fmla="*/ 116 h 233"/>
                  <a:gd name="T2" fmla="*/ 217 w 233"/>
                  <a:gd name="T3" fmla="*/ 174 h 233"/>
                  <a:gd name="T4" fmla="*/ 174 w 233"/>
                  <a:gd name="T5" fmla="*/ 217 h 233"/>
                  <a:gd name="T6" fmla="*/ 116 w 233"/>
                  <a:gd name="T7" fmla="*/ 232 h 233"/>
                  <a:gd name="T8" fmla="*/ 58 w 233"/>
                  <a:gd name="T9" fmla="*/ 217 h 233"/>
                  <a:gd name="T10" fmla="*/ 15 w 233"/>
                  <a:gd name="T11" fmla="*/ 174 h 233"/>
                  <a:gd name="T12" fmla="*/ 0 w 233"/>
                  <a:gd name="T13" fmla="*/ 116 h 233"/>
                  <a:gd name="T14" fmla="*/ 15 w 233"/>
                  <a:gd name="T15" fmla="*/ 58 h 233"/>
                  <a:gd name="T16" fmla="*/ 58 w 233"/>
                  <a:gd name="T17" fmla="*/ 16 h 233"/>
                  <a:gd name="T18" fmla="*/ 116 w 233"/>
                  <a:gd name="T19" fmla="*/ 0 h 233"/>
                  <a:gd name="T20" fmla="*/ 174 w 233"/>
                  <a:gd name="T21" fmla="*/ 16 h 233"/>
                  <a:gd name="T22" fmla="*/ 217 w 233"/>
                  <a:gd name="T23" fmla="*/ 58 h 233"/>
                  <a:gd name="T24" fmla="*/ 232 w 233"/>
                  <a:gd name="T25" fmla="*/ 116 h 2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33"/>
                  <a:gd name="T41" fmla="*/ 233 w 233"/>
                  <a:gd name="T42" fmla="*/ 233 h 2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33">
                    <a:moveTo>
                      <a:pt x="232" y="116"/>
                    </a:moveTo>
                    <a:cubicBezTo>
                      <a:pt x="232" y="137"/>
                      <a:pt x="228" y="155"/>
                      <a:pt x="217" y="174"/>
                    </a:cubicBezTo>
                    <a:cubicBezTo>
                      <a:pt x="207" y="192"/>
                      <a:pt x="193" y="206"/>
                      <a:pt x="174" y="217"/>
                    </a:cubicBezTo>
                    <a:cubicBezTo>
                      <a:pt x="156" y="227"/>
                      <a:pt x="137" y="232"/>
                      <a:pt x="116" y="232"/>
                    </a:cubicBezTo>
                    <a:cubicBezTo>
                      <a:pt x="95" y="232"/>
                      <a:pt x="77" y="227"/>
                      <a:pt x="58" y="217"/>
                    </a:cubicBezTo>
                    <a:cubicBezTo>
                      <a:pt x="40" y="206"/>
                      <a:pt x="26" y="192"/>
                      <a:pt x="15" y="174"/>
                    </a:cubicBezTo>
                    <a:cubicBezTo>
                      <a:pt x="5" y="155"/>
                      <a:pt x="0" y="137"/>
                      <a:pt x="0" y="116"/>
                    </a:cubicBezTo>
                    <a:cubicBezTo>
                      <a:pt x="0" y="95"/>
                      <a:pt x="5" y="76"/>
                      <a:pt x="15" y="58"/>
                    </a:cubicBezTo>
                    <a:cubicBezTo>
                      <a:pt x="26" y="39"/>
                      <a:pt x="40" y="26"/>
                      <a:pt x="58" y="16"/>
                    </a:cubicBezTo>
                    <a:cubicBezTo>
                      <a:pt x="77" y="5"/>
                      <a:pt x="95" y="0"/>
                      <a:pt x="116" y="0"/>
                    </a:cubicBezTo>
                    <a:cubicBezTo>
                      <a:pt x="137" y="0"/>
                      <a:pt x="156" y="5"/>
                      <a:pt x="174" y="16"/>
                    </a:cubicBezTo>
                    <a:cubicBezTo>
                      <a:pt x="193" y="26"/>
                      <a:pt x="207" y="39"/>
                      <a:pt x="217" y="58"/>
                    </a:cubicBezTo>
                    <a:cubicBezTo>
                      <a:pt x="228" y="76"/>
                      <a:pt x="232" y="95"/>
                      <a:pt x="232" y="116"/>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45" name="Freeform 67"/>
              <p:cNvSpPr>
                <a:spLocks noChangeArrowheads="1"/>
              </p:cNvSpPr>
              <p:nvPr/>
            </p:nvSpPr>
            <p:spPr bwMode="auto">
              <a:xfrm>
                <a:off x="6664325" y="3175000"/>
                <a:ext cx="71438" cy="106363"/>
              </a:xfrm>
              <a:custGeom>
                <a:avLst/>
                <a:gdLst>
                  <a:gd name="T0" fmla="*/ 45 w 197"/>
                  <a:gd name="T1" fmla="*/ 0 h 297"/>
                  <a:gd name="T2" fmla="*/ 0 w 197"/>
                  <a:gd name="T3" fmla="*/ 45 h 297"/>
                  <a:gd name="T4" fmla="*/ 0 w 197"/>
                  <a:gd name="T5" fmla="*/ 184 h 297"/>
                  <a:gd name="T6" fmla="*/ 0 w 197"/>
                  <a:gd name="T7" fmla="*/ 251 h 297"/>
                  <a:gd name="T8" fmla="*/ 0 w 197"/>
                  <a:gd name="T9" fmla="*/ 296 h 297"/>
                  <a:gd name="T10" fmla="*/ 45 w 197"/>
                  <a:gd name="T11" fmla="*/ 296 h 297"/>
                  <a:gd name="T12" fmla="*/ 114 w 197"/>
                  <a:gd name="T13" fmla="*/ 296 h 297"/>
                  <a:gd name="T14" fmla="*/ 196 w 197"/>
                  <a:gd name="T15" fmla="*/ 296 h 297"/>
                  <a:gd name="T16" fmla="*/ 90 w 197"/>
                  <a:gd name="T17" fmla="*/ 0 h 297"/>
                  <a:gd name="T18" fmla="*/ 45 w 197"/>
                  <a:gd name="T19" fmla="*/ 0 h 2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7"/>
                  <a:gd name="T31" fmla="*/ 0 h 297"/>
                  <a:gd name="T32" fmla="*/ 197 w 197"/>
                  <a:gd name="T33" fmla="*/ 297 h 2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7" h="297">
                    <a:moveTo>
                      <a:pt x="45" y="0"/>
                    </a:moveTo>
                    <a:cubicBezTo>
                      <a:pt x="20" y="0"/>
                      <a:pt x="0" y="20"/>
                      <a:pt x="0" y="45"/>
                    </a:cubicBezTo>
                    <a:lnTo>
                      <a:pt x="0" y="184"/>
                    </a:lnTo>
                    <a:lnTo>
                      <a:pt x="0" y="251"/>
                    </a:lnTo>
                    <a:lnTo>
                      <a:pt x="0" y="296"/>
                    </a:lnTo>
                    <a:lnTo>
                      <a:pt x="45" y="296"/>
                    </a:lnTo>
                    <a:lnTo>
                      <a:pt x="114" y="296"/>
                    </a:lnTo>
                    <a:lnTo>
                      <a:pt x="196" y="296"/>
                    </a:lnTo>
                    <a:lnTo>
                      <a:pt x="90" y="0"/>
                    </a:lnTo>
                    <a:lnTo>
                      <a:pt x="45" y="0"/>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46" name="Freeform 68"/>
              <p:cNvSpPr>
                <a:spLocks noChangeArrowheads="1"/>
              </p:cNvSpPr>
              <p:nvPr/>
            </p:nvSpPr>
            <p:spPr bwMode="auto">
              <a:xfrm>
                <a:off x="6748463" y="3175000"/>
                <a:ext cx="71437" cy="106363"/>
              </a:xfrm>
              <a:custGeom>
                <a:avLst/>
                <a:gdLst>
                  <a:gd name="T0" fmla="*/ 151 w 198"/>
                  <a:gd name="T1" fmla="*/ 0 h 297"/>
                  <a:gd name="T2" fmla="*/ 106 w 198"/>
                  <a:gd name="T3" fmla="*/ 0 h 297"/>
                  <a:gd name="T4" fmla="*/ 0 w 198"/>
                  <a:gd name="T5" fmla="*/ 296 h 297"/>
                  <a:gd name="T6" fmla="*/ 82 w 198"/>
                  <a:gd name="T7" fmla="*/ 296 h 297"/>
                  <a:gd name="T8" fmla="*/ 151 w 198"/>
                  <a:gd name="T9" fmla="*/ 296 h 297"/>
                  <a:gd name="T10" fmla="*/ 197 w 198"/>
                  <a:gd name="T11" fmla="*/ 296 h 297"/>
                  <a:gd name="T12" fmla="*/ 197 w 198"/>
                  <a:gd name="T13" fmla="*/ 251 h 297"/>
                  <a:gd name="T14" fmla="*/ 197 w 198"/>
                  <a:gd name="T15" fmla="*/ 184 h 297"/>
                  <a:gd name="T16" fmla="*/ 197 w 198"/>
                  <a:gd name="T17" fmla="*/ 45 h 297"/>
                  <a:gd name="T18" fmla="*/ 151 w 198"/>
                  <a:gd name="T19" fmla="*/ 0 h 2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8"/>
                  <a:gd name="T31" fmla="*/ 0 h 297"/>
                  <a:gd name="T32" fmla="*/ 198 w 198"/>
                  <a:gd name="T33" fmla="*/ 297 h 2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8" h="297">
                    <a:moveTo>
                      <a:pt x="151" y="0"/>
                    </a:moveTo>
                    <a:lnTo>
                      <a:pt x="106" y="0"/>
                    </a:lnTo>
                    <a:lnTo>
                      <a:pt x="0" y="296"/>
                    </a:lnTo>
                    <a:lnTo>
                      <a:pt x="82" y="296"/>
                    </a:lnTo>
                    <a:lnTo>
                      <a:pt x="151" y="296"/>
                    </a:lnTo>
                    <a:lnTo>
                      <a:pt x="197" y="296"/>
                    </a:lnTo>
                    <a:lnTo>
                      <a:pt x="197" y="251"/>
                    </a:lnTo>
                    <a:lnTo>
                      <a:pt x="197" y="184"/>
                    </a:lnTo>
                    <a:lnTo>
                      <a:pt x="197" y="45"/>
                    </a:lnTo>
                    <a:cubicBezTo>
                      <a:pt x="197" y="20"/>
                      <a:pt x="176" y="0"/>
                      <a:pt x="151"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grpSp>
        <p:grpSp>
          <p:nvGrpSpPr>
            <p:cNvPr id="32" name="Group 31"/>
            <p:cNvGrpSpPr/>
            <p:nvPr/>
          </p:nvGrpSpPr>
          <p:grpSpPr>
            <a:xfrm>
              <a:off x="7205663" y="3086100"/>
              <a:ext cx="153987" cy="195263"/>
              <a:chOff x="7205663" y="3086100"/>
              <a:chExt cx="153987" cy="195263"/>
            </a:xfrm>
          </p:grpSpPr>
          <p:sp>
            <p:nvSpPr>
              <p:cNvPr id="39" name="Freeform 63"/>
              <p:cNvSpPr>
                <a:spLocks noChangeArrowheads="1"/>
              </p:cNvSpPr>
              <p:nvPr/>
            </p:nvSpPr>
            <p:spPr bwMode="auto">
              <a:xfrm>
                <a:off x="7262813" y="3181350"/>
                <a:ext cx="38100" cy="71438"/>
              </a:xfrm>
              <a:custGeom>
                <a:avLst/>
                <a:gdLst>
                  <a:gd name="T0" fmla="*/ 53 w 104"/>
                  <a:gd name="T1" fmla="*/ 0 h 200"/>
                  <a:gd name="T2" fmla="*/ 0 w 104"/>
                  <a:gd name="T3" fmla="*/ 51 h 200"/>
                  <a:gd name="T4" fmla="*/ 53 w 104"/>
                  <a:gd name="T5" fmla="*/ 199 h 200"/>
                  <a:gd name="T6" fmla="*/ 103 w 104"/>
                  <a:gd name="T7" fmla="*/ 51 h 200"/>
                  <a:gd name="T8" fmla="*/ 53 w 104"/>
                  <a:gd name="T9" fmla="*/ 0 h 200"/>
                  <a:gd name="T10" fmla="*/ 0 60000 65536"/>
                  <a:gd name="T11" fmla="*/ 0 60000 65536"/>
                  <a:gd name="T12" fmla="*/ 0 60000 65536"/>
                  <a:gd name="T13" fmla="*/ 0 60000 65536"/>
                  <a:gd name="T14" fmla="*/ 0 60000 65536"/>
                  <a:gd name="T15" fmla="*/ 0 w 104"/>
                  <a:gd name="T16" fmla="*/ 0 h 200"/>
                  <a:gd name="T17" fmla="*/ 104 w 104"/>
                  <a:gd name="T18" fmla="*/ 200 h 200"/>
                </a:gdLst>
                <a:ahLst/>
                <a:cxnLst>
                  <a:cxn ang="T10">
                    <a:pos x="T0" y="T1"/>
                  </a:cxn>
                  <a:cxn ang="T11">
                    <a:pos x="T2" y="T3"/>
                  </a:cxn>
                  <a:cxn ang="T12">
                    <a:pos x="T4" y="T5"/>
                  </a:cxn>
                  <a:cxn ang="T13">
                    <a:pos x="T6" y="T7"/>
                  </a:cxn>
                  <a:cxn ang="T14">
                    <a:pos x="T8" y="T9"/>
                  </a:cxn>
                </a:cxnLst>
                <a:rect l="T15" t="T16" r="T17" b="T18"/>
                <a:pathLst>
                  <a:path w="104" h="200">
                    <a:moveTo>
                      <a:pt x="53" y="0"/>
                    </a:moveTo>
                    <a:lnTo>
                      <a:pt x="0" y="51"/>
                    </a:lnTo>
                    <a:lnTo>
                      <a:pt x="53" y="199"/>
                    </a:lnTo>
                    <a:lnTo>
                      <a:pt x="103" y="51"/>
                    </a:lnTo>
                    <a:lnTo>
                      <a:pt x="53" y="0"/>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40" name="Freeform 64"/>
              <p:cNvSpPr>
                <a:spLocks noChangeArrowheads="1"/>
              </p:cNvSpPr>
              <p:nvPr/>
            </p:nvSpPr>
            <p:spPr bwMode="auto">
              <a:xfrm>
                <a:off x="7242175" y="3086100"/>
                <a:ext cx="84138" cy="84138"/>
              </a:xfrm>
              <a:custGeom>
                <a:avLst/>
                <a:gdLst>
                  <a:gd name="T0" fmla="*/ 232 w 233"/>
                  <a:gd name="T1" fmla="*/ 116 h 233"/>
                  <a:gd name="T2" fmla="*/ 216 w 233"/>
                  <a:gd name="T3" fmla="*/ 174 h 233"/>
                  <a:gd name="T4" fmla="*/ 174 w 233"/>
                  <a:gd name="T5" fmla="*/ 217 h 233"/>
                  <a:gd name="T6" fmla="*/ 116 w 233"/>
                  <a:gd name="T7" fmla="*/ 232 h 233"/>
                  <a:gd name="T8" fmla="*/ 58 w 233"/>
                  <a:gd name="T9" fmla="*/ 217 h 233"/>
                  <a:gd name="T10" fmla="*/ 15 w 233"/>
                  <a:gd name="T11" fmla="*/ 174 h 233"/>
                  <a:gd name="T12" fmla="*/ 0 w 233"/>
                  <a:gd name="T13" fmla="*/ 116 h 233"/>
                  <a:gd name="T14" fmla="*/ 15 w 233"/>
                  <a:gd name="T15" fmla="*/ 58 h 233"/>
                  <a:gd name="T16" fmla="*/ 58 w 233"/>
                  <a:gd name="T17" fmla="*/ 16 h 233"/>
                  <a:gd name="T18" fmla="*/ 116 w 233"/>
                  <a:gd name="T19" fmla="*/ 0 h 233"/>
                  <a:gd name="T20" fmla="*/ 174 w 233"/>
                  <a:gd name="T21" fmla="*/ 16 h 233"/>
                  <a:gd name="T22" fmla="*/ 216 w 233"/>
                  <a:gd name="T23" fmla="*/ 58 h 233"/>
                  <a:gd name="T24" fmla="*/ 232 w 233"/>
                  <a:gd name="T25" fmla="*/ 116 h 2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33"/>
                  <a:gd name="T41" fmla="*/ 233 w 233"/>
                  <a:gd name="T42" fmla="*/ 233 h 2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33">
                    <a:moveTo>
                      <a:pt x="232" y="116"/>
                    </a:moveTo>
                    <a:cubicBezTo>
                      <a:pt x="232" y="137"/>
                      <a:pt x="227" y="155"/>
                      <a:pt x="216" y="174"/>
                    </a:cubicBezTo>
                    <a:cubicBezTo>
                      <a:pt x="206" y="192"/>
                      <a:pt x="193" y="206"/>
                      <a:pt x="174" y="217"/>
                    </a:cubicBezTo>
                    <a:cubicBezTo>
                      <a:pt x="156" y="227"/>
                      <a:pt x="138" y="232"/>
                      <a:pt x="116" y="232"/>
                    </a:cubicBezTo>
                    <a:cubicBezTo>
                      <a:pt x="95" y="232"/>
                      <a:pt x="77" y="227"/>
                      <a:pt x="58" y="217"/>
                    </a:cubicBezTo>
                    <a:cubicBezTo>
                      <a:pt x="40" y="206"/>
                      <a:pt x="26" y="192"/>
                      <a:pt x="15" y="174"/>
                    </a:cubicBezTo>
                    <a:cubicBezTo>
                      <a:pt x="5" y="155"/>
                      <a:pt x="0" y="137"/>
                      <a:pt x="0" y="116"/>
                    </a:cubicBezTo>
                    <a:cubicBezTo>
                      <a:pt x="0" y="95"/>
                      <a:pt x="5" y="76"/>
                      <a:pt x="15" y="58"/>
                    </a:cubicBezTo>
                    <a:cubicBezTo>
                      <a:pt x="26" y="39"/>
                      <a:pt x="40" y="26"/>
                      <a:pt x="58" y="16"/>
                    </a:cubicBezTo>
                    <a:cubicBezTo>
                      <a:pt x="77" y="5"/>
                      <a:pt x="94" y="0"/>
                      <a:pt x="116" y="0"/>
                    </a:cubicBezTo>
                    <a:cubicBezTo>
                      <a:pt x="137" y="0"/>
                      <a:pt x="156" y="5"/>
                      <a:pt x="174" y="16"/>
                    </a:cubicBezTo>
                    <a:cubicBezTo>
                      <a:pt x="193" y="26"/>
                      <a:pt x="206" y="39"/>
                      <a:pt x="216" y="58"/>
                    </a:cubicBezTo>
                    <a:cubicBezTo>
                      <a:pt x="227" y="76"/>
                      <a:pt x="232" y="95"/>
                      <a:pt x="232" y="116"/>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41" name="Freeform 71"/>
              <p:cNvSpPr>
                <a:spLocks noChangeArrowheads="1"/>
              </p:cNvSpPr>
              <p:nvPr/>
            </p:nvSpPr>
            <p:spPr bwMode="auto">
              <a:xfrm>
                <a:off x="7205663" y="3175000"/>
                <a:ext cx="71437" cy="106363"/>
              </a:xfrm>
              <a:custGeom>
                <a:avLst/>
                <a:gdLst>
                  <a:gd name="T0" fmla="*/ 90 w 197"/>
                  <a:gd name="T1" fmla="*/ 0 h 297"/>
                  <a:gd name="T2" fmla="*/ 45 w 197"/>
                  <a:gd name="T3" fmla="*/ 0 h 297"/>
                  <a:gd name="T4" fmla="*/ 0 w 197"/>
                  <a:gd name="T5" fmla="*/ 45 h 297"/>
                  <a:gd name="T6" fmla="*/ 0 w 197"/>
                  <a:gd name="T7" fmla="*/ 203 h 297"/>
                  <a:gd name="T8" fmla="*/ 0 w 197"/>
                  <a:gd name="T9" fmla="*/ 251 h 297"/>
                  <a:gd name="T10" fmla="*/ 0 w 197"/>
                  <a:gd name="T11" fmla="*/ 296 h 297"/>
                  <a:gd name="T12" fmla="*/ 45 w 197"/>
                  <a:gd name="T13" fmla="*/ 296 h 297"/>
                  <a:gd name="T14" fmla="*/ 95 w 197"/>
                  <a:gd name="T15" fmla="*/ 296 h 297"/>
                  <a:gd name="T16" fmla="*/ 196 w 197"/>
                  <a:gd name="T17" fmla="*/ 296 h 297"/>
                  <a:gd name="T18" fmla="*/ 90 w 197"/>
                  <a:gd name="T19" fmla="*/ 0 h 2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7"/>
                  <a:gd name="T31" fmla="*/ 0 h 297"/>
                  <a:gd name="T32" fmla="*/ 197 w 197"/>
                  <a:gd name="T33" fmla="*/ 297 h 2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7" h="297">
                    <a:moveTo>
                      <a:pt x="90" y="0"/>
                    </a:moveTo>
                    <a:lnTo>
                      <a:pt x="45" y="0"/>
                    </a:lnTo>
                    <a:cubicBezTo>
                      <a:pt x="20" y="0"/>
                      <a:pt x="0" y="20"/>
                      <a:pt x="0" y="45"/>
                    </a:cubicBezTo>
                    <a:lnTo>
                      <a:pt x="0" y="203"/>
                    </a:lnTo>
                    <a:lnTo>
                      <a:pt x="0" y="251"/>
                    </a:lnTo>
                    <a:lnTo>
                      <a:pt x="0" y="296"/>
                    </a:lnTo>
                    <a:lnTo>
                      <a:pt x="45" y="296"/>
                    </a:lnTo>
                    <a:lnTo>
                      <a:pt x="95" y="296"/>
                    </a:lnTo>
                    <a:lnTo>
                      <a:pt x="196" y="296"/>
                    </a:lnTo>
                    <a:lnTo>
                      <a:pt x="90" y="0"/>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42" name="Freeform 72"/>
              <p:cNvSpPr>
                <a:spLocks noChangeArrowheads="1"/>
              </p:cNvSpPr>
              <p:nvPr/>
            </p:nvSpPr>
            <p:spPr bwMode="auto">
              <a:xfrm>
                <a:off x="7288213" y="3175000"/>
                <a:ext cx="71437" cy="106363"/>
              </a:xfrm>
              <a:custGeom>
                <a:avLst/>
                <a:gdLst>
                  <a:gd name="T0" fmla="*/ 151 w 197"/>
                  <a:gd name="T1" fmla="*/ 0 h 297"/>
                  <a:gd name="T2" fmla="*/ 106 w 197"/>
                  <a:gd name="T3" fmla="*/ 0 h 297"/>
                  <a:gd name="T4" fmla="*/ 0 w 197"/>
                  <a:gd name="T5" fmla="*/ 296 h 297"/>
                  <a:gd name="T6" fmla="*/ 101 w 197"/>
                  <a:gd name="T7" fmla="*/ 296 h 297"/>
                  <a:gd name="T8" fmla="*/ 151 w 197"/>
                  <a:gd name="T9" fmla="*/ 296 h 297"/>
                  <a:gd name="T10" fmla="*/ 196 w 197"/>
                  <a:gd name="T11" fmla="*/ 296 h 297"/>
                  <a:gd name="T12" fmla="*/ 196 w 197"/>
                  <a:gd name="T13" fmla="*/ 251 h 297"/>
                  <a:gd name="T14" fmla="*/ 196 w 197"/>
                  <a:gd name="T15" fmla="*/ 203 h 297"/>
                  <a:gd name="T16" fmla="*/ 196 w 197"/>
                  <a:gd name="T17" fmla="*/ 45 h 297"/>
                  <a:gd name="T18" fmla="*/ 151 w 197"/>
                  <a:gd name="T19" fmla="*/ 0 h 2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7"/>
                  <a:gd name="T31" fmla="*/ 0 h 297"/>
                  <a:gd name="T32" fmla="*/ 197 w 197"/>
                  <a:gd name="T33" fmla="*/ 297 h 2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7" h="297">
                    <a:moveTo>
                      <a:pt x="151" y="0"/>
                    </a:moveTo>
                    <a:lnTo>
                      <a:pt x="106" y="0"/>
                    </a:lnTo>
                    <a:lnTo>
                      <a:pt x="0" y="296"/>
                    </a:lnTo>
                    <a:lnTo>
                      <a:pt x="101" y="296"/>
                    </a:lnTo>
                    <a:lnTo>
                      <a:pt x="151" y="296"/>
                    </a:lnTo>
                    <a:lnTo>
                      <a:pt x="196" y="296"/>
                    </a:lnTo>
                    <a:lnTo>
                      <a:pt x="196" y="251"/>
                    </a:lnTo>
                    <a:lnTo>
                      <a:pt x="196" y="203"/>
                    </a:lnTo>
                    <a:lnTo>
                      <a:pt x="196" y="45"/>
                    </a:lnTo>
                    <a:cubicBezTo>
                      <a:pt x="196" y="20"/>
                      <a:pt x="176" y="0"/>
                      <a:pt x="151"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grpSp>
        <p:grpSp>
          <p:nvGrpSpPr>
            <p:cNvPr id="33" name="Group 32"/>
            <p:cNvGrpSpPr/>
            <p:nvPr/>
          </p:nvGrpSpPr>
          <p:grpSpPr>
            <a:xfrm>
              <a:off x="6845300" y="2825750"/>
              <a:ext cx="333375" cy="457200"/>
              <a:chOff x="6845300" y="2825750"/>
              <a:chExt cx="333375" cy="457200"/>
            </a:xfrm>
          </p:grpSpPr>
          <p:sp>
            <p:nvSpPr>
              <p:cNvPr id="34" name="Freeform 61"/>
              <p:cNvSpPr>
                <a:spLocks noChangeArrowheads="1"/>
              </p:cNvSpPr>
              <p:nvPr/>
            </p:nvSpPr>
            <p:spPr bwMode="auto">
              <a:xfrm>
                <a:off x="6967538" y="3044825"/>
                <a:ext cx="87312" cy="168275"/>
              </a:xfrm>
              <a:custGeom>
                <a:avLst/>
                <a:gdLst>
                  <a:gd name="T0" fmla="*/ 125 w 242"/>
                  <a:gd name="T1" fmla="*/ 0 h 467"/>
                  <a:gd name="T2" fmla="*/ 0 w 242"/>
                  <a:gd name="T3" fmla="*/ 121 h 467"/>
                  <a:gd name="T4" fmla="*/ 125 w 242"/>
                  <a:gd name="T5" fmla="*/ 466 h 467"/>
                  <a:gd name="T6" fmla="*/ 241 w 242"/>
                  <a:gd name="T7" fmla="*/ 121 h 467"/>
                  <a:gd name="T8" fmla="*/ 125 w 242"/>
                  <a:gd name="T9" fmla="*/ 0 h 467"/>
                  <a:gd name="T10" fmla="*/ 0 60000 65536"/>
                  <a:gd name="T11" fmla="*/ 0 60000 65536"/>
                  <a:gd name="T12" fmla="*/ 0 60000 65536"/>
                  <a:gd name="T13" fmla="*/ 0 60000 65536"/>
                  <a:gd name="T14" fmla="*/ 0 60000 65536"/>
                  <a:gd name="T15" fmla="*/ 0 w 242"/>
                  <a:gd name="T16" fmla="*/ 0 h 467"/>
                  <a:gd name="T17" fmla="*/ 242 w 242"/>
                  <a:gd name="T18" fmla="*/ 467 h 467"/>
                </a:gdLst>
                <a:ahLst/>
                <a:cxnLst>
                  <a:cxn ang="T10">
                    <a:pos x="T0" y="T1"/>
                  </a:cxn>
                  <a:cxn ang="T11">
                    <a:pos x="T2" y="T3"/>
                  </a:cxn>
                  <a:cxn ang="T12">
                    <a:pos x="T4" y="T5"/>
                  </a:cxn>
                  <a:cxn ang="T13">
                    <a:pos x="T6" y="T7"/>
                  </a:cxn>
                  <a:cxn ang="T14">
                    <a:pos x="T8" y="T9"/>
                  </a:cxn>
                </a:cxnLst>
                <a:rect l="T15" t="T16" r="T17" b="T18"/>
                <a:pathLst>
                  <a:path w="242" h="467">
                    <a:moveTo>
                      <a:pt x="125" y="0"/>
                    </a:moveTo>
                    <a:lnTo>
                      <a:pt x="0" y="121"/>
                    </a:lnTo>
                    <a:lnTo>
                      <a:pt x="125" y="466"/>
                    </a:lnTo>
                    <a:lnTo>
                      <a:pt x="241" y="121"/>
                    </a:lnTo>
                    <a:lnTo>
                      <a:pt x="125" y="0"/>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35" name="Freeform 62"/>
              <p:cNvSpPr>
                <a:spLocks noChangeArrowheads="1"/>
              </p:cNvSpPr>
              <p:nvPr/>
            </p:nvSpPr>
            <p:spPr bwMode="auto">
              <a:xfrm>
                <a:off x="6916738" y="2825750"/>
                <a:ext cx="195262" cy="195263"/>
              </a:xfrm>
              <a:custGeom>
                <a:avLst/>
                <a:gdLst>
                  <a:gd name="T0" fmla="*/ 542 w 543"/>
                  <a:gd name="T1" fmla="*/ 271 h 543"/>
                  <a:gd name="T2" fmla="*/ 506 w 543"/>
                  <a:gd name="T3" fmla="*/ 406 h 543"/>
                  <a:gd name="T4" fmla="*/ 407 w 543"/>
                  <a:gd name="T5" fmla="*/ 505 h 543"/>
                  <a:gd name="T6" fmla="*/ 271 w 543"/>
                  <a:gd name="T7" fmla="*/ 542 h 543"/>
                  <a:gd name="T8" fmla="*/ 136 w 543"/>
                  <a:gd name="T9" fmla="*/ 505 h 543"/>
                  <a:gd name="T10" fmla="*/ 36 w 543"/>
                  <a:gd name="T11" fmla="*/ 406 h 543"/>
                  <a:gd name="T12" fmla="*/ 0 w 543"/>
                  <a:gd name="T13" fmla="*/ 271 h 543"/>
                  <a:gd name="T14" fmla="*/ 36 w 543"/>
                  <a:gd name="T15" fmla="*/ 135 h 543"/>
                  <a:gd name="T16" fmla="*/ 136 w 543"/>
                  <a:gd name="T17" fmla="*/ 36 h 543"/>
                  <a:gd name="T18" fmla="*/ 271 w 543"/>
                  <a:gd name="T19" fmla="*/ 0 h 543"/>
                  <a:gd name="T20" fmla="*/ 407 w 543"/>
                  <a:gd name="T21" fmla="*/ 36 h 543"/>
                  <a:gd name="T22" fmla="*/ 506 w 543"/>
                  <a:gd name="T23" fmla="*/ 135 h 543"/>
                  <a:gd name="T24" fmla="*/ 542 w 543"/>
                  <a:gd name="T25" fmla="*/ 271 h 5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43"/>
                  <a:gd name="T40" fmla="*/ 0 h 543"/>
                  <a:gd name="T41" fmla="*/ 543 w 543"/>
                  <a:gd name="T42" fmla="*/ 543 h 5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43" h="543">
                    <a:moveTo>
                      <a:pt x="542" y="271"/>
                    </a:moveTo>
                    <a:cubicBezTo>
                      <a:pt x="542" y="320"/>
                      <a:pt x="531" y="363"/>
                      <a:pt x="506" y="406"/>
                    </a:cubicBezTo>
                    <a:cubicBezTo>
                      <a:pt x="481" y="449"/>
                      <a:pt x="450" y="480"/>
                      <a:pt x="407" y="505"/>
                    </a:cubicBezTo>
                    <a:cubicBezTo>
                      <a:pt x="364" y="530"/>
                      <a:pt x="321" y="542"/>
                      <a:pt x="271" y="542"/>
                    </a:cubicBezTo>
                    <a:cubicBezTo>
                      <a:pt x="221" y="542"/>
                      <a:pt x="180" y="530"/>
                      <a:pt x="136" y="505"/>
                    </a:cubicBezTo>
                    <a:cubicBezTo>
                      <a:pt x="93" y="480"/>
                      <a:pt x="61" y="449"/>
                      <a:pt x="36" y="406"/>
                    </a:cubicBezTo>
                    <a:cubicBezTo>
                      <a:pt x="12" y="363"/>
                      <a:pt x="0" y="320"/>
                      <a:pt x="0" y="271"/>
                    </a:cubicBezTo>
                    <a:cubicBezTo>
                      <a:pt x="0" y="221"/>
                      <a:pt x="12" y="178"/>
                      <a:pt x="36" y="135"/>
                    </a:cubicBezTo>
                    <a:cubicBezTo>
                      <a:pt x="61" y="92"/>
                      <a:pt x="93" y="61"/>
                      <a:pt x="136" y="36"/>
                    </a:cubicBezTo>
                    <a:cubicBezTo>
                      <a:pt x="180" y="11"/>
                      <a:pt x="221" y="0"/>
                      <a:pt x="271" y="0"/>
                    </a:cubicBezTo>
                    <a:cubicBezTo>
                      <a:pt x="321" y="0"/>
                      <a:pt x="364" y="11"/>
                      <a:pt x="407" y="36"/>
                    </a:cubicBezTo>
                    <a:cubicBezTo>
                      <a:pt x="450" y="61"/>
                      <a:pt x="481" y="92"/>
                      <a:pt x="506" y="135"/>
                    </a:cubicBezTo>
                    <a:cubicBezTo>
                      <a:pt x="531" y="178"/>
                      <a:pt x="542" y="221"/>
                      <a:pt x="542" y="271"/>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36" name="Freeform 69"/>
              <p:cNvSpPr>
                <a:spLocks noChangeArrowheads="1"/>
              </p:cNvSpPr>
              <p:nvPr/>
            </p:nvSpPr>
            <p:spPr bwMode="auto">
              <a:xfrm>
                <a:off x="6845300" y="3033713"/>
                <a:ext cx="165100" cy="249237"/>
              </a:xfrm>
              <a:custGeom>
                <a:avLst/>
                <a:gdLst>
                  <a:gd name="T0" fmla="*/ 211 w 460"/>
                  <a:gd name="T1" fmla="*/ 0 h 692"/>
                  <a:gd name="T2" fmla="*/ 106 w 460"/>
                  <a:gd name="T3" fmla="*/ 0 h 692"/>
                  <a:gd name="T4" fmla="*/ 0 w 460"/>
                  <a:gd name="T5" fmla="*/ 106 h 692"/>
                  <a:gd name="T6" fmla="*/ 0 w 460"/>
                  <a:gd name="T7" fmla="*/ 538 h 692"/>
                  <a:gd name="T8" fmla="*/ 0 w 460"/>
                  <a:gd name="T9" fmla="*/ 585 h 692"/>
                  <a:gd name="T10" fmla="*/ 0 w 460"/>
                  <a:gd name="T11" fmla="*/ 691 h 692"/>
                  <a:gd name="T12" fmla="*/ 106 w 460"/>
                  <a:gd name="T13" fmla="*/ 691 h 692"/>
                  <a:gd name="T14" fmla="*/ 157 w 460"/>
                  <a:gd name="T15" fmla="*/ 691 h 692"/>
                  <a:gd name="T16" fmla="*/ 459 w 460"/>
                  <a:gd name="T17" fmla="*/ 691 h 692"/>
                  <a:gd name="T18" fmla="*/ 211 w 460"/>
                  <a:gd name="T19" fmla="*/ 0 h 69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0"/>
                  <a:gd name="T31" fmla="*/ 0 h 692"/>
                  <a:gd name="T32" fmla="*/ 460 w 460"/>
                  <a:gd name="T33" fmla="*/ 692 h 69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0" h="692">
                    <a:moveTo>
                      <a:pt x="211" y="0"/>
                    </a:moveTo>
                    <a:lnTo>
                      <a:pt x="106" y="0"/>
                    </a:lnTo>
                    <a:cubicBezTo>
                      <a:pt x="48" y="0"/>
                      <a:pt x="0" y="47"/>
                      <a:pt x="0" y="106"/>
                    </a:cubicBezTo>
                    <a:lnTo>
                      <a:pt x="0" y="538"/>
                    </a:lnTo>
                    <a:lnTo>
                      <a:pt x="0" y="585"/>
                    </a:lnTo>
                    <a:lnTo>
                      <a:pt x="0" y="691"/>
                    </a:lnTo>
                    <a:lnTo>
                      <a:pt x="106" y="691"/>
                    </a:lnTo>
                    <a:lnTo>
                      <a:pt x="157" y="691"/>
                    </a:lnTo>
                    <a:lnTo>
                      <a:pt x="459" y="691"/>
                    </a:lnTo>
                    <a:lnTo>
                      <a:pt x="211" y="0"/>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37" name="Freeform 70"/>
              <p:cNvSpPr>
                <a:spLocks noChangeArrowheads="1"/>
              </p:cNvSpPr>
              <p:nvPr/>
            </p:nvSpPr>
            <p:spPr bwMode="auto">
              <a:xfrm>
                <a:off x="7013575" y="3033713"/>
                <a:ext cx="165100" cy="249237"/>
              </a:xfrm>
              <a:custGeom>
                <a:avLst/>
                <a:gdLst>
                  <a:gd name="T0" fmla="*/ 352 w 459"/>
                  <a:gd name="T1" fmla="*/ 0 h 692"/>
                  <a:gd name="T2" fmla="*/ 248 w 459"/>
                  <a:gd name="T3" fmla="*/ 0 h 692"/>
                  <a:gd name="T4" fmla="*/ 0 w 459"/>
                  <a:gd name="T5" fmla="*/ 691 h 692"/>
                  <a:gd name="T6" fmla="*/ 301 w 459"/>
                  <a:gd name="T7" fmla="*/ 691 h 692"/>
                  <a:gd name="T8" fmla="*/ 352 w 459"/>
                  <a:gd name="T9" fmla="*/ 691 h 692"/>
                  <a:gd name="T10" fmla="*/ 458 w 459"/>
                  <a:gd name="T11" fmla="*/ 691 h 692"/>
                  <a:gd name="T12" fmla="*/ 458 w 459"/>
                  <a:gd name="T13" fmla="*/ 585 h 692"/>
                  <a:gd name="T14" fmla="*/ 458 w 459"/>
                  <a:gd name="T15" fmla="*/ 538 h 692"/>
                  <a:gd name="T16" fmla="*/ 458 w 459"/>
                  <a:gd name="T17" fmla="*/ 106 h 692"/>
                  <a:gd name="T18" fmla="*/ 352 w 459"/>
                  <a:gd name="T19" fmla="*/ 0 h 69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9"/>
                  <a:gd name="T31" fmla="*/ 0 h 692"/>
                  <a:gd name="T32" fmla="*/ 459 w 459"/>
                  <a:gd name="T33" fmla="*/ 692 h 69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9" h="692">
                    <a:moveTo>
                      <a:pt x="352" y="0"/>
                    </a:moveTo>
                    <a:lnTo>
                      <a:pt x="248" y="0"/>
                    </a:lnTo>
                    <a:lnTo>
                      <a:pt x="0" y="691"/>
                    </a:lnTo>
                    <a:lnTo>
                      <a:pt x="301" y="691"/>
                    </a:lnTo>
                    <a:lnTo>
                      <a:pt x="352" y="691"/>
                    </a:lnTo>
                    <a:lnTo>
                      <a:pt x="458" y="691"/>
                    </a:lnTo>
                    <a:lnTo>
                      <a:pt x="458" y="585"/>
                    </a:lnTo>
                    <a:lnTo>
                      <a:pt x="458" y="538"/>
                    </a:lnTo>
                    <a:lnTo>
                      <a:pt x="458" y="106"/>
                    </a:lnTo>
                    <a:cubicBezTo>
                      <a:pt x="458" y="47"/>
                      <a:pt x="410" y="0"/>
                      <a:pt x="352"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38" name="Freeform 73"/>
              <p:cNvSpPr>
                <a:spLocks noChangeArrowheads="1"/>
              </p:cNvSpPr>
              <p:nvPr/>
            </p:nvSpPr>
            <p:spPr bwMode="auto">
              <a:xfrm>
                <a:off x="7062788" y="3122613"/>
                <a:ext cx="111125" cy="104775"/>
              </a:xfrm>
              <a:custGeom>
                <a:avLst/>
                <a:gdLst>
                  <a:gd name="T0" fmla="*/ 154 w 308"/>
                  <a:gd name="T1" fmla="*/ 0 h 293"/>
                  <a:gd name="T2" fmla="*/ 201 w 308"/>
                  <a:gd name="T3" fmla="*/ 96 h 293"/>
                  <a:gd name="T4" fmla="*/ 307 w 308"/>
                  <a:gd name="T5" fmla="*/ 111 h 293"/>
                  <a:gd name="T6" fmla="*/ 231 w 308"/>
                  <a:gd name="T7" fmla="*/ 186 h 293"/>
                  <a:gd name="T8" fmla="*/ 249 w 308"/>
                  <a:gd name="T9" fmla="*/ 292 h 293"/>
                  <a:gd name="T10" fmla="*/ 154 w 308"/>
                  <a:gd name="T11" fmla="*/ 242 h 293"/>
                  <a:gd name="T12" fmla="*/ 59 w 308"/>
                  <a:gd name="T13" fmla="*/ 292 h 293"/>
                  <a:gd name="T14" fmla="*/ 77 w 308"/>
                  <a:gd name="T15" fmla="*/ 186 h 293"/>
                  <a:gd name="T16" fmla="*/ 0 w 308"/>
                  <a:gd name="T17" fmla="*/ 111 h 293"/>
                  <a:gd name="T18" fmla="*/ 106 w 308"/>
                  <a:gd name="T19" fmla="*/ 96 h 293"/>
                  <a:gd name="T20" fmla="*/ 154 w 308"/>
                  <a:gd name="T21" fmla="*/ 0 h 2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293"/>
                  <a:gd name="T35" fmla="*/ 308 w 308"/>
                  <a:gd name="T36" fmla="*/ 293 h 2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293">
                    <a:moveTo>
                      <a:pt x="154" y="0"/>
                    </a:moveTo>
                    <a:lnTo>
                      <a:pt x="201" y="96"/>
                    </a:lnTo>
                    <a:lnTo>
                      <a:pt x="307" y="111"/>
                    </a:lnTo>
                    <a:lnTo>
                      <a:pt x="231" y="186"/>
                    </a:lnTo>
                    <a:lnTo>
                      <a:pt x="249" y="292"/>
                    </a:lnTo>
                    <a:lnTo>
                      <a:pt x="154" y="242"/>
                    </a:lnTo>
                    <a:lnTo>
                      <a:pt x="59" y="292"/>
                    </a:lnTo>
                    <a:lnTo>
                      <a:pt x="77" y="186"/>
                    </a:lnTo>
                    <a:lnTo>
                      <a:pt x="0" y="111"/>
                    </a:lnTo>
                    <a:lnTo>
                      <a:pt x="106" y="96"/>
                    </a:lnTo>
                    <a:lnTo>
                      <a:pt x="154" y="0"/>
                    </a:lnTo>
                  </a:path>
                </a:pathLst>
              </a:custGeom>
              <a:solidFill>
                <a:srgbClr val="FFFFFF"/>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grpSp>
      </p:grpSp>
      <p:grpSp>
        <p:nvGrpSpPr>
          <p:cNvPr id="47" name="Group 46"/>
          <p:cNvGrpSpPr/>
          <p:nvPr/>
        </p:nvGrpSpPr>
        <p:grpSpPr>
          <a:xfrm>
            <a:off x="3858419" y="4266356"/>
            <a:ext cx="457200" cy="458788"/>
            <a:chOff x="2384425" y="4222750"/>
            <a:chExt cx="457200" cy="458788"/>
          </a:xfrm>
        </p:grpSpPr>
        <p:sp>
          <p:nvSpPr>
            <p:cNvPr id="48" name="Freeform 76"/>
            <p:cNvSpPr>
              <a:spLocks noChangeArrowheads="1"/>
            </p:cNvSpPr>
            <p:nvPr/>
          </p:nvSpPr>
          <p:spPr bwMode="auto">
            <a:xfrm>
              <a:off x="2384425" y="4459288"/>
              <a:ext cx="111125" cy="103187"/>
            </a:xfrm>
            <a:custGeom>
              <a:avLst/>
              <a:gdLst>
                <a:gd name="T0" fmla="*/ 269 w 309"/>
                <a:gd name="T1" fmla="*/ 0 h 287"/>
                <a:gd name="T2" fmla="*/ 0 w 309"/>
                <a:gd name="T3" fmla="*/ 0 h 287"/>
                <a:gd name="T4" fmla="*/ 78 w 309"/>
                <a:gd name="T5" fmla="*/ 286 h 287"/>
                <a:gd name="T6" fmla="*/ 308 w 309"/>
                <a:gd name="T7" fmla="*/ 286 h 287"/>
                <a:gd name="T8" fmla="*/ 269 w 309"/>
                <a:gd name="T9" fmla="*/ 0 h 287"/>
                <a:gd name="T10" fmla="*/ 0 60000 65536"/>
                <a:gd name="T11" fmla="*/ 0 60000 65536"/>
                <a:gd name="T12" fmla="*/ 0 60000 65536"/>
                <a:gd name="T13" fmla="*/ 0 60000 65536"/>
                <a:gd name="T14" fmla="*/ 0 60000 65536"/>
                <a:gd name="T15" fmla="*/ 0 w 309"/>
                <a:gd name="T16" fmla="*/ 0 h 287"/>
                <a:gd name="T17" fmla="*/ 309 w 309"/>
                <a:gd name="T18" fmla="*/ 287 h 287"/>
              </a:gdLst>
              <a:ahLst/>
              <a:cxnLst>
                <a:cxn ang="T10">
                  <a:pos x="T0" y="T1"/>
                </a:cxn>
                <a:cxn ang="T11">
                  <a:pos x="T2" y="T3"/>
                </a:cxn>
                <a:cxn ang="T12">
                  <a:pos x="T4" y="T5"/>
                </a:cxn>
                <a:cxn ang="T13">
                  <a:pos x="T6" y="T7"/>
                </a:cxn>
                <a:cxn ang="T14">
                  <a:pos x="T8" y="T9"/>
                </a:cxn>
              </a:cxnLst>
              <a:rect l="T15" t="T16" r="T17" b="T18"/>
              <a:pathLst>
                <a:path w="309" h="287">
                  <a:moveTo>
                    <a:pt x="269" y="0"/>
                  </a:moveTo>
                  <a:lnTo>
                    <a:pt x="0" y="0"/>
                  </a:lnTo>
                  <a:cubicBezTo>
                    <a:pt x="4" y="104"/>
                    <a:pt x="31" y="201"/>
                    <a:pt x="78" y="286"/>
                  </a:cubicBezTo>
                  <a:lnTo>
                    <a:pt x="308" y="286"/>
                  </a:lnTo>
                  <a:cubicBezTo>
                    <a:pt x="283" y="203"/>
                    <a:pt x="270" y="108"/>
                    <a:pt x="269" y="0"/>
                  </a:cubicBez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49" name="Freeform 77"/>
            <p:cNvSpPr>
              <a:spLocks noChangeArrowheads="1"/>
            </p:cNvSpPr>
            <p:nvPr/>
          </p:nvSpPr>
          <p:spPr bwMode="auto">
            <a:xfrm>
              <a:off x="2384425" y="4340225"/>
              <a:ext cx="112713" cy="103188"/>
            </a:xfrm>
            <a:custGeom>
              <a:avLst/>
              <a:gdLst>
                <a:gd name="T0" fmla="*/ 311 w 312"/>
                <a:gd name="T1" fmla="*/ 0 h 287"/>
                <a:gd name="T2" fmla="*/ 78 w 312"/>
                <a:gd name="T3" fmla="*/ 0 h 287"/>
                <a:gd name="T4" fmla="*/ 0 w 312"/>
                <a:gd name="T5" fmla="*/ 286 h 287"/>
                <a:gd name="T6" fmla="*/ 271 w 312"/>
                <a:gd name="T7" fmla="*/ 286 h 287"/>
                <a:gd name="T8" fmla="*/ 311 w 312"/>
                <a:gd name="T9" fmla="*/ 0 h 287"/>
                <a:gd name="T10" fmla="*/ 0 60000 65536"/>
                <a:gd name="T11" fmla="*/ 0 60000 65536"/>
                <a:gd name="T12" fmla="*/ 0 60000 65536"/>
                <a:gd name="T13" fmla="*/ 0 60000 65536"/>
                <a:gd name="T14" fmla="*/ 0 60000 65536"/>
                <a:gd name="T15" fmla="*/ 0 w 312"/>
                <a:gd name="T16" fmla="*/ 0 h 287"/>
                <a:gd name="T17" fmla="*/ 312 w 312"/>
                <a:gd name="T18" fmla="*/ 287 h 287"/>
              </a:gdLst>
              <a:ahLst/>
              <a:cxnLst>
                <a:cxn ang="T10">
                  <a:pos x="T0" y="T1"/>
                </a:cxn>
                <a:cxn ang="T11">
                  <a:pos x="T2" y="T3"/>
                </a:cxn>
                <a:cxn ang="T12">
                  <a:pos x="T4" y="T5"/>
                </a:cxn>
                <a:cxn ang="T13">
                  <a:pos x="T6" y="T7"/>
                </a:cxn>
                <a:cxn ang="T14">
                  <a:pos x="T8" y="T9"/>
                </a:cxn>
              </a:cxnLst>
              <a:rect l="T15" t="T16" r="T17" b="T18"/>
              <a:pathLst>
                <a:path w="312" h="287">
                  <a:moveTo>
                    <a:pt x="311" y="0"/>
                  </a:moveTo>
                  <a:lnTo>
                    <a:pt x="78" y="0"/>
                  </a:lnTo>
                  <a:cubicBezTo>
                    <a:pt x="31" y="85"/>
                    <a:pt x="4" y="182"/>
                    <a:pt x="0" y="286"/>
                  </a:cubicBezTo>
                  <a:lnTo>
                    <a:pt x="271" y="286"/>
                  </a:lnTo>
                  <a:cubicBezTo>
                    <a:pt x="273" y="178"/>
                    <a:pt x="286" y="83"/>
                    <a:pt x="311"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0" name="Freeform 78"/>
            <p:cNvSpPr>
              <a:spLocks noChangeArrowheads="1"/>
            </p:cNvSpPr>
            <p:nvPr/>
          </p:nvSpPr>
          <p:spPr bwMode="auto">
            <a:xfrm>
              <a:off x="2420938" y="4578350"/>
              <a:ext cx="161925" cy="101600"/>
            </a:xfrm>
            <a:custGeom>
              <a:avLst/>
              <a:gdLst>
                <a:gd name="T0" fmla="*/ 218 w 448"/>
                <a:gd name="T1" fmla="*/ 0 h 284"/>
                <a:gd name="T2" fmla="*/ 0 w 448"/>
                <a:gd name="T3" fmla="*/ 0 h 284"/>
                <a:gd name="T4" fmla="*/ 447 w 448"/>
                <a:gd name="T5" fmla="*/ 283 h 284"/>
                <a:gd name="T6" fmla="*/ 218 w 448"/>
                <a:gd name="T7" fmla="*/ 0 h 284"/>
                <a:gd name="T8" fmla="*/ 0 60000 65536"/>
                <a:gd name="T9" fmla="*/ 0 60000 65536"/>
                <a:gd name="T10" fmla="*/ 0 60000 65536"/>
                <a:gd name="T11" fmla="*/ 0 60000 65536"/>
                <a:gd name="T12" fmla="*/ 0 w 448"/>
                <a:gd name="T13" fmla="*/ 0 h 284"/>
                <a:gd name="T14" fmla="*/ 448 w 448"/>
                <a:gd name="T15" fmla="*/ 284 h 284"/>
              </a:gdLst>
              <a:ahLst/>
              <a:cxnLst>
                <a:cxn ang="T8">
                  <a:pos x="T0" y="T1"/>
                </a:cxn>
                <a:cxn ang="T9">
                  <a:pos x="T2" y="T3"/>
                </a:cxn>
                <a:cxn ang="T10">
                  <a:pos x="T4" y="T5"/>
                </a:cxn>
                <a:cxn ang="T11">
                  <a:pos x="T6" y="T7"/>
                </a:cxn>
              </a:cxnLst>
              <a:rect l="T12" t="T13" r="T14" b="T15"/>
              <a:pathLst>
                <a:path w="448" h="284">
                  <a:moveTo>
                    <a:pt x="218" y="0"/>
                  </a:moveTo>
                  <a:lnTo>
                    <a:pt x="0" y="0"/>
                  </a:lnTo>
                  <a:cubicBezTo>
                    <a:pt x="99" y="151"/>
                    <a:pt x="260" y="258"/>
                    <a:pt x="447" y="283"/>
                  </a:cubicBezTo>
                  <a:cubicBezTo>
                    <a:pt x="342" y="224"/>
                    <a:pt x="265" y="128"/>
                    <a:pt x="218"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1" name="Freeform 79"/>
            <p:cNvSpPr>
              <a:spLocks noChangeArrowheads="1"/>
            </p:cNvSpPr>
            <p:nvPr/>
          </p:nvSpPr>
          <p:spPr bwMode="auto">
            <a:xfrm>
              <a:off x="2420938" y="4222750"/>
              <a:ext cx="163512" cy="103188"/>
            </a:xfrm>
            <a:custGeom>
              <a:avLst/>
              <a:gdLst>
                <a:gd name="T0" fmla="*/ 451 w 452"/>
                <a:gd name="T1" fmla="*/ 0 h 285"/>
                <a:gd name="T2" fmla="*/ 0 w 452"/>
                <a:gd name="T3" fmla="*/ 284 h 285"/>
                <a:gd name="T4" fmla="*/ 221 w 452"/>
                <a:gd name="T5" fmla="*/ 284 h 285"/>
                <a:gd name="T6" fmla="*/ 451 w 452"/>
                <a:gd name="T7" fmla="*/ 0 h 285"/>
                <a:gd name="T8" fmla="*/ 0 60000 65536"/>
                <a:gd name="T9" fmla="*/ 0 60000 65536"/>
                <a:gd name="T10" fmla="*/ 0 60000 65536"/>
                <a:gd name="T11" fmla="*/ 0 60000 65536"/>
                <a:gd name="T12" fmla="*/ 0 w 452"/>
                <a:gd name="T13" fmla="*/ 0 h 285"/>
                <a:gd name="T14" fmla="*/ 452 w 452"/>
                <a:gd name="T15" fmla="*/ 285 h 285"/>
              </a:gdLst>
              <a:ahLst/>
              <a:cxnLst>
                <a:cxn ang="T8">
                  <a:pos x="T0" y="T1"/>
                </a:cxn>
                <a:cxn ang="T9">
                  <a:pos x="T2" y="T3"/>
                </a:cxn>
                <a:cxn ang="T10">
                  <a:pos x="T4" y="T5"/>
                </a:cxn>
                <a:cxn ang="T11">
                  <a:pos x="T6" y="T7"/>
                </a:cxn>
              </a:cxnLst>
              <a:rect l="T12" t="T13" r="T14" b="T15"/>
              <a:pathLst>
                <a:path w="452" h="285">
                  <a:moveTo>
                    <a:pt x="451" y="0"/>
                  </a:moveTo>
                  <a:cubicBezTo>
                    <a:pt x="262" y="24"/>
                    <a:pt x="99" y="132"/>
                    <a:pt x="0" y="284"/>
                  </a:cubicBezTo>
                  <a:lnTo>
                    <a:pt x="221" y="284"/>
                  </a:lnTo>
                  <a:cubicBezTo>
                    <a:pt x="268" y="156"/>
                    <a:pt x="345" y="60"/>
                    <a:pt x="451"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2" name="Freeform 80"/>
            <p:cNvSpPr>
              <a:spLocks noChangeArrowheads="1"/>
            </p:cNvSpPr>
            <p:nvPr/>
          </p:nvSpPr>
          <p:spPr bwMode="auto">
            <a:xfrm>
              <a:off x="2730500" y="4340225"/>
              <a:ext cx="111125" cy="103188"/>
            </a:xfrm>
            <a:custGeom>
              <a:avLst/>
              <a:gdLst>
                <a:gd name="T0" fmla="*/ 39 w 308"/>
                <a:gd name="T1" fmla="*/ 286 h 287"/>
                <a:gd name="T2" fmla="*/ 307 w 308"/>
                <a:gd name="T3" fmla="*/ 286 h 287"/>
                <a:gd name="T4" fmla="*/ 229 w 308"/>
                <a:gd name="T5" fmla="*/ 0 h 287"/>
                <a:gd name="T6" fmla="*/ 0 w 308"/>
                <a:gd name="T7" fmla="*/ 0 h 287"/>
                <a:gd name="T8" fmla="*/ 39 w 308"/>
                <a:gd name="T9" fmla="*/ 286 h 287"/>
                <a:gd name="T10" fmla="*/ 0 60000 65536"/>
                <a:gd name="T11" fmla="*/ 0 60000 65536"/>
                <a:gd name="T12" fmla="*/ 0 60000 65536"/>
                <a:gd name="T13" fmla="*/ 0 60000 65536"/>
                <a:gd name="T14" fmla="*/ 0 60000 65536"/>
                <a:gd name="T15" fmla="*/ 0 w 308"/>
                <a:gd name="T16" fmla="*/ 0 h 287"/>
                <a:gd name="T17" fmla="*/ 308 w 308"/>
                <a:gd name="T18" fmla="*/ 287 h 287"/>
              </a:gdLst>
              <a:ahLst/>
              <a:cxnLst>
                <a:cxn ang="T10">
                  <a:pos x="T0" y="T1"/>
                </a:cxn>
                <a:cxn ang="T11">
                  <a:pos x="T2" y="T3"/>
                </a:cxn>
                <a:cxn ang="T12">
                  <a:pos x="T4" y="T5"/>
                </a:cxn>
                <a:cxn ang="T13">
                  <a:pos x="T6" y="T7"/>
                </a:cxn>
                <a:cxn ang="T14">
                  <a:pos x="T8" y="T9"/>
                </a:cxn>
              </a:cxnLst>
              <a:rect l="T15" t="T16" r="T17" b="T18"/>
              <a:pathLst>
                <a:path w="308" h="287">
                  <a:moveTo>
                    <a:pt x="39" y="286"/>
                  </a:moveTo>
                  <a:lnTo>
                    <a:pt x="307" y="286"/>
                  </a:lnTo>
                  <a:cubicBezTo>
                    <a:pt x="304" y="182"/>
                    <a:pt x="277" y="85"/>
                    <a:pt x="229" y="0"/>
                  </a:cubicBezTo>
                  <a:lnTo>
                    <a:pt x="0" y="0"/>
                  </a:lnTo>
                  <a:cubicBezTo>
                    <a:pt x="25" y="83"/>
                    <a:pt x="38" y="178"/>
                    <a:pt x="39" y="286"/>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3" name="Freeform 81"/>
            <p:cNvSpPr>
              <a:spLocks noChangeArrowheads="1"/>
            </p:cNvSpPr>
            <p:nvPr/>
          </p:nvSpPr>
          <p:spPr bwMode="auto">
            <a:xfrm>
              <a:off x="2514600" y="4578350"/>
              <a:ext cx="90488" cy="96838"/>
            </a:xfrm>
            <a:custGeom>
              <a:avLst/>
              <a:gdLst>
                <a:gd name="T0" fmla="*/ 250 w 251"/>
                <a:gd name="T1" fmla="*/ 270 h 271"/>
                <a:gd name="T2" fmla="*/ 250 w 251"/>
                <a:gd name="T3" fmla="*/ 0 h 271"/>
                <a:gd name="T4" fmla="*/ 0 w 251"/>
                <a:gd name="T5" fmla="*/ 0 h 271"/>
                <a:gd name="T6" fmla="*/ 250 w 251"/>
                <a:gd name="T7" fmla="*/ 270 h 271"/>
                <a:gd name="T8" fmla="*/ 0 60000 65536"/>
                <a:gd name="T9" fmla="*/ 0 60000 65536"/>
                <a:gd name="T10" fmla="*/ 0 60000 65536"/>
                <a:gd name="T11" fmla="*/ 0 60000 65536"/>
                <a:gd name="T12" fmla="*/ 0 w 251"/>
                <a:gd name="T13" fmla="*/ 0 h 271"/>
                <a:gd name="T14" fmla="*/ 251 w 251"/>
                <a:gd name="T15" fmla="*/ 271 h 271"/>
              </a:gdLst>
              <a:ahLst/>
              <a:cxnLst>
                <a:cxn ang="T8">
                  <a:pos x="T0" y="T1"/>
                </a:cxn>
                <a:cxn ang="T9">
                  <a:pos x="T2" y="T3"/>
                </a:cxn>
                <a:cxn ang="T10">
                  <a:pos x="T4" y="T5"/>
                </a:cxn>
                <a:cxn ang="T11">
                  <a:pos x="T6" y="T7"/>
                </a:cxn>
              </a:cxnLst>
              <a:rect l="T12" t="T13" r="T14" b="T15"/>
              <a:pathLst>
                <a:path w="251" h="271">
                  <a:moveTo>
                    <a:pt x="250" y="270"/>
                  </a:moveTo>
                  <a:lnTo>
                    <a:pt x="250" y="0"/>
                  </a:lnTo>
                  <a:lnTo>
                    <a:pt x="0" y="0"/>
                  </a:lnTo>
                  <a:cubicBezTo>
                    <a:pt x="51" y="129"/>
                    <a:pt x="135" y="220"/>
                    <a:pt x="250" y="27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4" name="Freeform 82"/>
            <p:cNvSpPr>
              <a:spLocks noChangeArrowheads="1"/>
            </p:cNvSpPr>
            <p:nvPr/>
          </p:nvSpPr>
          <p:spPr bwMode="auto">
            <a:xfrm>
              <a:off x="2619375" y="4229100"/>
              <a:ext cx="90488" cy="96838"/>
            </a:xfrm>
            <a:custGeom>
              <a:avLst/>
              <a:gdLst>
                <a:gd name="T0" fmla="*/ 0 w 251"/>
                <a:gd name="T1" fmla="*/ 0 h 271"/>
                <a:gd name="T2" fmla="*/ 0 w 251"/>
                <a:gd name="T3" fmla="*/ 270 h 271"/>
                <a:gd name="T4" fmla="*/ 250 w 251"/>
                <a:gd name="T5" fmla="*/ 270 h 271"/>
                <a:gd name="T6" fmla="*/ 0 w 251"/>
                <a:gd name="T7" fmla="*/ 0 h 271"/>
                <a:gd name="T8" fmla="*/ 0 60000 65536"/>
                <a:gd name="T9" fmla="*/ 0 60000 65536"/>
                <a:gd name="T10" fmla="*/ 0 60000 65536"/>
                <a:gd name="T11" fmla="*/ 0 60000 65536"/>
                <a:gd name="T12" fmla="*/ 0 w 251"/>
                <a:gd name="T13" fmla="*/ 0 h 271"/>
                <a:gd name="T14" fmla="*/ 251 w 251"/>
                <a:gd name="T15" fmla="*/ 271 h 271"/>
              </a:gdLst>
              <a:ahLst/>
              <a:cxnLst>
                <a:cxn ang="T8">
                  <a:pos x="T0" y="T1"/>
                </a:cxn>
                <a:cxn ang="T9">
                  <a:pos x="T2" y="T3"/>
                </a:cxn>
                <a:cxn ang="T10">
                  <a:pos x="T4" y="T5"/>
                </a:cxn>
                <a:cxn ang="T11">
                  <a:pos x="T6" y="T7"/>
                </a:cxn>
              </a:cxnLst>
              <a:rect l="T12" t="T13" r="T14" b="T15"/>
              <a:pathLst>
                <a:path w="251" h="271">
                  <a:moveTo>
                    <a:pt x="0" y="0"/>
                  </a:moveTo>
                  <a:lnTo>
                    <a:pt x="0" y="270"/>
                  </a:lnTo>
                  <a:lnTo>
                    <a:pt x="250" y="270"/>
                  </a:lnTo>
                  <a:cubicBezTo>
                    <a:pt x="199" y="141"/>
                    <a:pt x="115" y="50"/>
                    <a:pt x="0"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5" name="Freeform 83"/>
            <p:cNvSpPr>
              <a:spLocks noChangeArrowheads="1"/>
            </p:cNvSpPr>
            <p:nvPr/>
          </p:nvSpPr>
          <p:spPr bwMode="auto">
            <a:xfrm>
              <a:off x="2643188" y="4224338"/>
              <a:ext cx="161925" cy="101600"/>
            </a:xfrm>
            <a:custGeom>
              <a:avLst/>
              <a:gdLst>
                <a:gd name="T0" fmla="*/ 229 w 448"/>
                <a:gd name="T1" fmla="*/ 283 h 284"/>
                <a:gd name="T2" fmla="*/ 447 w 448"/>
                <a:gd name="T3" fmla="*/ 283 h 284"/>
                <a:gd name="T4" fmla="*/ 0 w 448"/>
                <a:gd name="T5" fmla="*/ 0 h 284"/>
                <a:gd name="T6" fmla="*/ 229 w 448"/>
                <a:gd name="T7" fmla="*/ 283 h 284"/>
                <a:gd name="T8" fmla="*/ 0 60000 65536"/>
                <a:gd name="T9" fmla="*/ 0 60000 65536"/>
                <a:gd name="T10" fmla="*/ 0 60000 65536"/>
                <a:gd name="T11" fmla="*/ 0 60000 65536"/>
                <a:gd name="T12" fmla="*/ 0 w 448"/>
                <a:gd name="T13" fmla="*/ 0 h 284"/>
                <a:gd name="T14" fmla="*/ 448 w 448"/>
                <a:gd name="T15" fmla="*/ 284 h 284"/>
              </a:gdLst>
              <a:ahLst/>
              <a:cxnLst>
                <a:cxn ang="T8">
                  <a:pos x="T0" y="T1"/>
                </a:cxn>
                <a:cxn ang="T9">
                  <a:pos x="T2" y="T3"/>
                </a:cxn>
                <a:cxn ang="T10">
                  <a:pos x="T4" y="T5"/>
                </a:cxn>
                <a:cxn ang="T11">
                  <a:pos x="T6" y="T7"/>
                </a:cxn>
              </a:cxnLst>
              <a:rect l="T12" t="T13" r="T14" b="T15"/>
              <a:pathLst>
                <a:path w="448" h="284">
                  <a:moveTo>
                    <a:pt x="229" y="283"/>
                  </a:moveTo>
                  <a:lnTo>
                    <a:pt x="447" y="283"/>
                  </a:lnTo>
                  <a:cubicBezTo>
                    <a:pt x="348" y="132"/>
                    <a:pt x="187" y="25"/>
                    <a:pt x="0" y="0"/>
                  </a:cubicBezTo>
                  <a:cubicBezTo>
                    <a:pt x="105" y="59"/>
                    <a:pt x="182" y="155"/>
                    <a:pt x="229" y="283"/>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6" name="Freeform 84"/>
            <p:cNvSpPr>
              <a:spLocks noChangeArrowheads="1"/>
            </p:cNvSpPr>
            <p:nvPr/>
          </p:nvSpPr>
          <p:spPr bwMode="auto">
            <a:xfrm>
              <a:off x="2619375" y="4578350"/>
              <a:ext cx="88900" cy="96838"/>
            </a:xfrm>
            <a:custGeom>
              <a:avLst/>
              <a:gdLst>
                <a:gd name="T0" fmla="*/ 247 w 248"/>
                <a:gd name="T1" fmla="*/ 0 h 269"/>
                <a:gd name="T2" fmla="*/ 0 w 248"/>
                <a:gd name="T3" fmla="*/ 0 h 269"/>
                <a:gd name="T4" fmla="*/ 0 w 248"/>
                <a:gd name="T5" fmla="*/ 268 h 269"/>
                <a:gd name="T6" fmla="*/ 247 w 248"/>
                <a:gd name="T7" fmla="*/ 0 h 269"/>
                <a:gd name="T8" fmla="*/ 0 60000 65536"/>
                <a:gd name="T9" fmla="*/ 0 60000 65536"/>
                <a:gd name="T10" fmla="*/ 0 60000 65536"/>
                <a:gd name="T11" fmla="*/ 0 60000 65536"/>
                <a:gd name="T12" fmla="*/ 0 w 248"/>
                <a:gd name="T13" fmla="*/ 0 h 269"/>
                <a:gd name="T14" fmla="*/ 248 w 248"/>
                <a:gd name="T15" fmla="*/ 269 h 269"/>
              </a:gdLst>
              <a:ahLst/>
              <a:cxnLst>
                <a:cxn ang="T8">
                  <a:pos x="T0" y="T1"/>
                </a:cxn>
                <a:cxn ang="T9">
                  <a:pos x="T2" y="T3"/>
                </a:cxn>
                <a:cxn ang="T10">
                  <a:pos x="T4" y="T5"/>
                </a:cxn>
                <a:cxn ang="T11">
                  <a:pos x="T6" y="T7"/>
                </a:cxn>
              </a:cxnLst>
              <a:rect l="T12" t="T13" r="T14" b="T15"/>
              <a:pathLst>
                <a:path w="248" h="269">
                  <a:moveTo>
                    <a:pt x="247" y="0"/>
                  </a:moveTo>
                  <a:lnTo>
                    <a:pt x="0" y="0"/>
                  </a:lnTo>
                  <a:lnTo>
                    <a:pt x="0" y="268"/>
                  </a:lnTo>
                  <a:cubicBezTo>
                    <a:pt x="114" y="218"/>
                    <a:pt x="197" y="128"/>
                    <a:pt x="247"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7" name="Freeform 85"/>
            <p:cNvSpPr>
              <a:spLocks noChangeArrowheads="1"/>
            </p:cNvSpPr>
            <p:nvPr/>
          </p:nvSpPr>
          <p:spPr bwMode="auto">
            <a:xfrm>
              <a:off x="2495550" y="4459288"/>
              <a:ext cx="109538" cy="103187"/>
            </a:xfrm>
            <a:custGeom>
              <a:avLst/>
              <a:gdLst>
                <a:gd name="T0" fmla="*/ 41 w 306"/>
                <a:gd name="T1" fmla="*/ 286 h 287"/>
                <a:gd name="T2" fmla="*/ 305 w 306"/>
                <a:gd name="T3" fmla="*/ 286 h 287"/>
                <a:gd name="T4" fmla="*/ 305 w 306"/>
                <a:gd name="T5" fmla="*/ 0 h 287"/>
                <a:gd name="T6" fmla="*/ 0 w 306"/>
                <a:gd name="T7" fmla="*/ 0 h 287"/>
                <a:gd name="T8" fmla="*/ 41 w 306"/>
                <a:gd name="T9" fmla="*/ 286 h 287"/>
                <a:gd name="T10" fmla="*/ 0 60000 65536"/>
                <a:gd name="T11" fmla="*/ 0 60000 65536"/>
                <a:gd name="T12" fmla="*/ 0 60000 65536"/>
                <a:gd name="T13" fmla="*/ 0 60000 65536"/>
                <a:gd name="T14" fmla="*/ 0 60000 65536"/>
                <a:gd name="T15" fmla="*/ 0 w 306"/>
                <a:gd name="T16" fmla="*/ 0 h 287"/>
                <a:gd name="T17" fmla="*/ 306 w 306"/>
                <a:gd name="T18" fmla="*/ 287 h 287"/>
              </a:gdLst>
              <a:ahLst/>
              <a:cxnLst>
                <a:cxn ang="T10">
                  <a:pos x="T0" y="T1"/>
                </a:cxn>
                <a:cxn ang="T11">
                  <a:pos x="T2" y="T3"/>
                </a:cxn>
                <a:cxn ang="T12">
                  <a:pos x="T4" y="T5"/>
                </a:cxn>
                <a:cxn ang="T13">
                  <a:pos x="T6" y="T7"/>
                </a:cxn>
                <a:cxn ang="T14">
                  <a:pos x="T8" y="T9"/>
                </a:cxn>
              </a:cxnLst>
              <a:rect l="T15" t="T16" r="T17" b="T18"/>
              <a:pathLst>
                <a:path w="306" h="287">
                  <a:moveTo>
                    <a:pt x="41" y="286"/>
                  </a:moveTo>
                  <a:lnTo>
                    <a:pt x="305" y="286"/>
                  </a:lnTo>
                  <a:lnTo>
                    <a:pt x="305" y="0"/>
                  </a:lnTo>
                  <a:lnTo>
                    <a:pt x="0" y="0"/>
                  </a:lnTo>
                  <a:cubicBezTo>
                    <a:pt x="1" y="109"/>
                    <a:pt x="15" y="204"/>
                    <a:pt x="41" y="286"/>
                  </a:cubicBez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8" name="Freeform 86"/>
            <p:cNvSpPr>
              <a:spLocks noChangeArrowheads="1"/>
            </p:cNvSpPr>
            <p:nvPr/>
          </p:nvSpPr>
          <p:spPr bwMode="auto">
            <a:xfrm>
              <a:off x="2619375" y="4459288"/>
              <a:ext cx="109538" cy="103187"/>
            </a:xfrm>
            <a:custGeom>
              <a:avLst/>
              <a:gdLst>
                <a:gd name="T0" fmla="*/ 261 w 303"/>
                <a:gd name="T1" fmla="*/ 286 h 287"/>
                <a:gd name="T2" fmla="*/ 302 w 303"/>
                <a:gd name="T3" fmla="*/ 0 h 287"/>
                <a:gd name="T4" fmla="*/ 0 w 303"/>
                <a:gd name="T5" fmla="*/ 0 h 287"/>
                <a:gd name="T6" fmla="*/ 0 w 303"/>
                <a:gd name="T7" fmla="*/ 286 h 287"/>
                <a:gd name="T8" fmla="*/ 261 w 303"/>
                <a:gd name="T9" fmla="*/ 286 h 287"/>
                <a:gd name="T10" fmla="*/ 0 60000 65536"/>
                <a:gd name="T11" fmla="*/ 0 60000 65536"/>
                <a:gd name="T12" fmla="*/ 0 60000 65536"/>
                <a:gd name="T13" fmla="*/ 0 60000 65536"/>
                <a:gd name="T14" fmla="*/ 0 60000 65536"/>
                <a:gd name="T15" fmla="*/ 0 w 303"/>
                <a:gd name="T16" fmla="*/ 0 h 287"/>
                <a:gd name="T17" fmla="*/ 303 w 303"/>
                <a:gd name="T18" fmla="*/ 287 h 287"/>
              </a:gdLst>
              <a:ahLst/>
              <a:cxnLst>
                <a:cxn ang="T10">
                  <a:pos x="T0" y="T1"/>
                </a:cxn>
                <a:cxn ang="T11">
                  <a:pos x="T2" y="T3"/>
                </a:cxn>
                <a:cxn ang="T12">
                  <a:pos x="T4" y="T5"/>
                </a:cxn>
                <a:cxn ang="T13">
                  <a:pos x="T6" y="T7"/>
                </a:cxn>
                <a:cxn ang="T14">
                  <a:pos x="T8" y="T9"/>
                </a:cxn>
              </a:cxnLst>
              <a:rect l="T15" t="T16" r="T17" b="T18"/>
              <a:pathLst>
                <a:path w="303" h="287">
                  <a:moveTo>
                    <a:pt x="261" y="286"/>
                  </a:moveTo>
                  <a:cubicBezTo>
                    <a:pt x="287" y="204"/>
                    <a:pt x="301" y="109"/>
                    <a:pt x="302" y="0"/>
                  </a:cubicBezTo>
                  <a:lnTo>
                    <a:pt x="0" y="0"/>
                  </a:lnTo>
                  <a:lnTo>
                    <a:pt x="0" y="286"/>
                  </a:lnTo>
                  <a:lnTo>
                    <a:pt x="261" y="286"/>
                  </a:ln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59" name="Freeform 87"/>
            <p:cNvSpPr>
              <a:spLocks noChangeArrowheads="1"/>
            </p:cNvSpPr>
            <p:nvPr/>
          </p:nvSpPr>
          <p:spPr bwMode="auto">
            <a:xfrm>
              <a:off x="2728913" y="4459288"/>
              <a:ext cx="112712" cy="103187"/>
            </a:xfrm>
            <a:custGeom>
              <a:avLst/>
              <a:gdLst>
                <a:gd name="T0" fmla="*/ 0 w 312"/>
                <a:gd name="T1" fmla="*/ 286 h 287"/>
                <a:gd name="T2" fmla="*/ 233 w 312"/>
                <a:gd name="T3" fmla="*/ 286 h 287"/>
                <a:gd name="T4" fmla="*/ 311 w 312"/>
                <a:gd name="T5" fmla="*/ 0 h 287"/>
                <a:gd name="T6" fmla="*/ 39 w 312"/>
                <a:gd name="T7" fmla="*/ 0 h 287"/>
                <a:gd name="T8" fmla="*/ 0 w 312"/>
                <a:gd name="T9" fmla="*/ 286 h 287"/>
                <a:gd name="T10" fmla="*/ 0 60000 65536"/>
                <a:gd name="T11" fmla="*/ 0 60000 65536"/>
                <a:gd name="T12" fmla="*/ 0 60000 65536"/>
                <a:gd name="T13" fmla="*/ 0 60000 65536"/>
                <a:gd name="T14" fmla="*/ 0 60000 65536"/>
                <a:gd name="T15" fmla="*/ 0 w 312"/>
                <a:gd name="T16" fmla="*/ 0 h 287"/>
                <a:gd name="T17" fmla="*/ 312 w 312"/>
                <a:gd name="T18" fmla="*/ 287 h 287"/>
              </a:gdLst>
              <a:ahLst/>
              <a:cxnLst>
                <a:cxn ang="T10">
                  <a:pos x="T0" y="T1"/>
                </a:cxn>
                <a:cxn ang="T11">
                  <a:pos x="T2" y="T3"/>
                </a:cxn>
                <a:cxn ang="T12">
                  <a:pos x="T4" y="T5"/>
                </a:cxn>
                <a:cxn ang="T13">
                  <a:pos x="T6" y="T7"/>
                </a:cxn>
                <a:cxn ang="T14">
                  <a:pos x="T8" y="T9"/>
                </a:cxn>
              </a:cxnLst>
              <a:rect l="T15" t="T16" r="T17" b="T18"/>
              <a:pathLst>
                <a:path w="312" h="287">
                  <a:moveTo>
                    <a:pt x="0" y="286"/>
                  </a:moveTo>
                  <a:lnTo>
                    <a:pt x="233" y="286"/>
                  </a:lnTo>
                  <a:cubicBezTo>
                    <a:pt x="280" y="201"/>
                    <a:pt x="307" y="104"/>
                    <a:pt x="311" y="0"/>
                  </a:cubicBezTo>
                  <a:lnTo>
                    <a:pt x="39" y="0"/>
                  </a:lnTo>
                  <a:cubicBezTo>
                    <a:pt x="38" y="108"/>
                    <a:pt x="25" y="203"/>
                    <a:pt x="0" y="286"/>
                  </a:cubicBez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60" name="Freeform 88"/>
            <p:cNvSpPr>
              <a:spLocks noChangeArrowheads="1"/>
            </p:cNvSpPr>
            <p:nvPr/>
          </p:nvSpPr>
          <p:spPr bwMode="auto">
            <a:xfrm>
              <a:off x="2641600" y="4578350"/>
              <a:ext cx="163513" cy="103188"/>
            </a:xfrm>
            <a:custGeom>
              <a:avLst/>
              <a:gdLst>
                <a:gd name="T0" fmla="*/ 0 w 452"/>
                <a:gd name="T1" fmla="*/ 284 h 285"/>
                <a:gd name="T2" fmla="*/ 451 w 452"/>
                <a:gd name="T3" fmla="*/ 0 h 285"/>
                <a:gd name="T4" fmla="*/ 230 w 452"/>
                <a:gd name="T5" fmla="*/ 0 h 285"/>
                <a:gd name="T6" fmla="*/ 0 w 452"/>
                <a:gd name="T7" fmla="*/ 284 h 285"/>
                <a:gd name="T8" fmla="*/ 0 60000 65536"/>
                <a:gd name="T9" fmla="*/ 0 60000 65536"/>
                <a:gd name="T10" fmla="*/ 0 60000 65536"/>
                <a:gd name="T11" fmla="*/ 0 60000 65536"/>
                <a:gd name="T12" fmla="*/ 0 w 452"/>
                <a:gd name="T13" fmla="*/ 0 h 285"/>
                <a:gd name="T14" fmla="*/ 452 w 452"/>
                <a:gd name="T15" fmla="*/ 285 h 285"/>
              </a:gdLst>
              <a:ahLst/>
              <a:cxnLst>
                <a:cxn ang="T8">
                  <a:pos x="T0" y="T1"/>
                </a:cxn>
                <a:cxn ang="T9">
                  <a:pos x="T2" y="T3"/>
                </a:cxn>
                <a:cxn ang="T10">
                  <a:pos x="T4" y="T5"/>
                </a:cxn>
                <a:cxn ang="T11">
                  <a:pos x="T6" y="T7"/>
                </a:cxn>
              </a:cxnLst>
              <a:rect l="T12" t="T13" r="T14" b="T15"/>
              <a:pathLst>
                <a:path w="452" h="285">
                  <a:moveTo>
                    <a:pt x="0" y="284"/>
                  </a:moveTo>
                  <a:cubicBezTo>
                    <a:pt x="189" y="260"/>
                    <a:pt x="352" y="152"/>
                    <a:pt x="451" y="0"/>
                  </a:cubicBezTo>
                  <a:lnTo>
                    <a:pt x="230" y="0"/>
                  </a:lnTo>
                  <a:cubicBezTo>
                    <a:pt x="183" y="129"/>
                    <a:pt x="106" y="224"/>
                    <a:pt x="0" y="284"/>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61" name="Freeform 89"/>
            <p:cNvSpPr>
              <a:spLocks noChangeArrowheads="1"/>
            </p:cNvSpPr>
            <p:nvPr/>
          </p:nvSpPr>
          <p:spPr bwMode="auto">
            <a:xfrm>
              <a:off x="2619375" y="4340225"/>
              <a:ext cx="109538" cy="103188"/>
            </a:xfrm>
            <a:custGeom>
              <a:avLst/>
              <a:gdLst>
                <a:gd name="T0" fmla="*/ 264 w 306"/>
                <a:gd name="T1" fmla="*/ 0 h 287"/>
                <a:gd name="T2" fmla="*/ 0 w 306"/>
                <a:gd name="T3" fmla="*/ 0 h 287"/>
                <a:gd name="T4" fmla="*/ 0 w 306"/>
                <a:gd name="T5" fmla="*/ 286 h 287"/>
                <a:gd name="T6" fmla="*/ 305 w 306"/>
                <a:gd name="T7" fmla="*/ 286 h 287"/>
                <a:gd name="T8" fmla="*/ 264 w 306"/>
                <a:gd name="T9" fmla="*/ 0 h 287"/>
                <a:gd name="T10" fmla="*/ 0 60000 65536"/>
                <a:gd name="T11" fmla="*/ 0 60000 65536"/>
                <a:gd name="T12" fmla="*/ 0 60000 65536"/>
                <a:gd name="T13" fmla="*/ 0 60000 65536"/>
                <a:gd name="T14" fmla="*/ 0 60000 65536"/>
                <a:gd name="T15" fmla="*/ 0 w 306"/>
                <a:gd name="T16" fmla="*/ 0 h 287"/>
                <a:gd name="T17" fmla="*/ 306 w 306"/>
                <a:gd name="T18" fmla="*/ 287 h 287"/>
              </a:gdLst>
              <a:ahLst/>
              <a:cxnLst>
                <a:cxn ang="T10">
                  <a:pos x="T0" y="T1"/>
                </a:cxn>
                <a:cxn ang="T11">
                  <a:pos x="T2" y="T3"/>
                </a:cxn>
                <a:cxn ang="T12">
                  <a:pos x="T4" y="T5"/>
                </a:cxn>
                <a:cxn ang="T13">
                  <a:pos x="T6" y="T7"/>
                </a:cxn>
                <a:cxn ang="T14">
                  <a:pos x="T8" y="T9"/>
                </a:cxn>
              </a:cxnLst>
              <a:rect l="T15" t="T16" r="T17" b="T18"/>
              <a:pathLst>
                <a:path w="306" h="287">
                  <a:moveTo>
                    <a:pt x="264" y="0"/>
                  </a:moveTo>
                  <a:lnTo>
                    <a:pt x="0" y="0"/>
                  </a:lnTo>
                  <a:lnTo>
                    <a:pt x="0" y="286"/>
                  </a:lnTo>
                  <a:lnTo>
                    <a:pt x="305" y="286"/>
                  </a:lnTo>
                  <a:cubicBezTo>
                    <a:pt x="304" y="177"/>
                    <a:pt x="290" y="82"/>
                    <a:pt x="264" y="0"/>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62" name="Freeform 90"/>
            <p:cNvSpPr>
              <a:spLocks noChangeArrowheads="1"/>
            </p:cNvSpPr>
            <p:nvPr/>
          </p:nvSpPr>
          <p:spPr bwMode="auto">
            <a:xfrm>
              <a:off x="2497138" y="4340225"/>
              <a:ext cx="109537" cy="103188"/>
            </a:xfrm>
            <a:custGeom>
              <a:avLst/>
              <a:gdLst>
                <a:gd name="T0" fmla="*/ 0 w 303"/>
                <a:gd name="T1" fmla="*/ 286 h 287"/>
                <a:gd name="T2" fmla="*/ 302 w 303"/>
                <a:gd name="T3" fmla="*/ 286 h 287"/>
                <a:gd name="T4" fmla="*/ 302 w 303"/>
                <a:gd name="T5" fmla="*/ 0 h 287"/>
                <a:gd name="T6" fmla="*/ 41 w 303"/>
                <a:gd name="T7" fmla="*/ 0 h 287"/>
                <a:gd name="T8" fmla="*/ 0 w 303"/>
                <a:gd name="T9" fmla="*/ 286 h 287"/>
                <a:gd name="T10" fmla="*/ 0 60000 65536"/>
                <a:gd name="T11" fmla="*/ 0 60000 65536"/>
                <a:gd name="T12" fmla="*/ 0 60000 65536"/>
                <a:gd name="T13" fmla="*/ 0 60000 65536"/>
                <a:gd name="T14" fmla="*/ 0 60000 65536"/>
                <a:gd name="T15" fmla="*/ 0 w 303"/>
                <a:gd name="T16" fmla="*/ 0 h 287"/>
                <a:gd name="T17" fmla="*/ 303 w 303"/>
                <a:gd name="T18" fmla="*/ 287 h 287"/>
              </a:gdLst>
              <a:ahLst/>
              <a:cxnLst>
                <a:cxn ang="T10">
                  <a:pos x="T0" y="T1"/>
                </a:cxn>
                <a:cxn ang="T11">
                  <a:pos x="T2" y="T3"/>
                </a:cxn>
                <a:cxn ang="T12">
                  <a:pos x="T4" y="T5"/>
                </a:cxn>
                <a:cxn ang="T13">
                  <a:pos x="T6" y="T7"/>
                </a:cxn>
                <a:cxn ang="T14">
                  <a:pos x="T8" y="T9"/>
                </a:cxn>
              </a:cxnLst>
              <a:rect l="T15" t="T16" r="T17" b="T18"/>
              <a:pathLst>
                <a:path w="303" h="287">
                  <a:moveTo>
                    <a:pt x="0" y="286"/>
                  </a:moveTo>
                  <a:lnTo>
                    <a:pt x="302" y="286"/>
                  </a:lnTo>
                  <a:lnTo>
                    <a:pt x="302" y="0"/>
                  </a:lnTo>
                  <a:lnTo>
                    <a:pt x="41" y="0"/>
                  </a:lnTo>
                  <a:cubicBezTo>
                    <a:pt x="15" y="82"/>
                    <a:pt x="1" y="177"/>
                    <a:pt x="0" y="286"/>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63" name="Freeform 91"/>
            <p:cNvSpPr>
              <a:spLocks noChangeArrowheads="1"/>
            </p:cNvSpPr>
            <p:nvPr/>
          </p:nvSpPr>
          <p:spPr bwMode="auto">
            <a:xfrm>
              <a:off x="2516188" y="4229100"/>
              <a:ext cx="88900" cy="96838"/>
            </a:xfrm>
            <a:custGeom>
              <a:avLst/>
              <a:gdLst>
                <a:gd name="T0" fmla="*/ 0 w 248"/>
                <a:gd name="T1" fmla="*/ 268 h 269"/>
                <a:gd name="T2" fmla="*/ 247 w 248"/>
                <a:gd name="T3" fmla="*/ 268 h 269"/>
                <a:gd name="T4" fmla="*/ 247 w 248"/>
                <a:gd name="T5" fmla="*/ 0 h 269"/>
                <a:gd name="T6" fmla="*/ 0 w 248"/>
                <a:gd name="T7" fmla="*/ 268 h 269"/>
                <a:gd name="T8" fmla="*/ 0 60000 65536"/>
                <a:gd name="T9" fmla="*/ 0 60000 65536"/>
                <a:gd name="T10" fmla="*/ 0 60000 65536"/>
                <a:gd name="T11" fmla="*/ 0 60000 65536"/>
                <a:gd name="T12" fmla="*/ 0 w 248"/>
                <a:gd name="T13" fmla="*/ 0 h 269"/>
                <a:gd name="T14" fmla="*/ 248 w 248"/>
                <a:gd name="T15" fmla="*/ 269 h 269"/>
              </a:gdLst>
              <a:ahLst/>
              <a:cxnLst>
                <a:cxn ang="T8">
                  <a:pos x="T0" y="T1"/>
                </a:cxn>
                <a:cxn ang="T9">
                  <a:pos x="T2" y="T3"/>
                </a:cxn>
                <a:cxn ang="T10">
                  <a:pos x="T4" y="T5"/>
                </a:cxn>
                <a:cxn ang="T11">
                  <a:pos x="T6" y="T7"/>
                </a:cxn>
              </a:cxnLst>
              <a:rect l="T12" t="T13" r="T14" b="T15"/>
              <a:pathLst>
                <a:path w="248" h="269">
                  <a:moveTo>
                    <a:pt x="0" y="268"/>
                  </a:moveTo>
                  <a:lnTo>
                    <a:pt x="247" y="268"/>
                  </a:lnTo>
                  <a:lnTo>
                    <a:pt x="247" y="0"/>
                  </a:lnTo>
                  <a:cubicBezTo>
                    <a:pt x="133" y="50"/>
                    <a:pt x="50" y="140"/>
                    <a:pt x="0" y="268"/>
                  </a:cubicBez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grpSp>
      <p:grpSp>
        <p:nvGrpSpPr>
          <p:cNvPr id="64" name="Group 134"/>
          <p:cNvGrpSpPr>
            <a:grpSpLocks/>
          </p:cNvGrpSpPr>
          <p:nvPr/>
        </p:nvGrpSpPr>
        <p:grpSpPr bwMode="auto">
          <a:xfrm>
            <a:off x="8189912" y="4125070"/>
            <a:ext cx="519112" cy="600075"/>
            <a:chOff x="6545263" y="4152900"/>
            <a:chExt cx="519112" cy="600075"/>
          </a:xfrm>
        </p:grpSpPr>
        <p:sp>
          <p:nvSpPr>
            <p:cNvPr id="65" name="Freeform 92"/>
            <p:cNvSpPr>
              <a:spLocks noChangeArrowheads="1"/>
            </p:cNvSpPr>
            <p:nvPr/>
          </p:nvSpPr>
          <p:spPr bwMode="auto">
            <a:xfrm>
              <a:off x="6738938" y="4381500"/>
              <a:ext cx="133350" cy="133350"/>
            </a:xfrm>
            <a:custGeom>
              <a:avLst/>
              <a:gdLst>
                <a:gd name="T0" fmla="*/ 368 w 369"/>
                <a:gd name="T1" fmla="*/ 184 h 369"/>
                <a:gd name="T2" fmla="*/ 184 w 369"/>
                <a:gd name="T3" fmla="*/ 368 h 369"/>
                <a:gd name="T4" fmla="*/ 0 w 369"/>
                <a:gd name="T5" fmla="*/ 184 h 369"/>
                <a:gd name="T6" fmla="*/ 184 w 369"/>
                <a:gd name="T7" fmla="*/ 0 h 369"/>
                <a:gd name="T8" fmla="*/ 368 w 369"/>
                <a:gd name="T9" fmla="*/ 184 h 369"/>
                <a:gd name="T10" fmla="*/ 0 60000 65536"/>
                <a:gd name="T11" fmla="*/ 0 60000 65536"/>
                <a:gd name="T12" fmla="*/ 0 60000 65536"/>
                <a:gd name="T13" fmla="*/ 0 60000 65536"/>
                <a:gd name="T14" fmla="*/ 0 60000 65536"/>
                <a:gd name="T15" fmla="*/ 0 w 369"/>
                <a:gd name="T16" fmla="*/ 0 h 369"/>
                <a:gd name="T17" fmla="*/ 369 w 369"/>
                <a:gd name="T18" fmla="*/ 369 h 369"/>
              </a:gdLst>
              <a:ahLst/>
              <a:cxnLst>
                <a:cxn ang="T10">
                  <a:pos x="T0" y="T1"/>
                </a:cxn>
                <a:cxn ang="T11">
                  <a:pos x="T2" y="T3"/>
                </a:cxn>
                <a:cxn ang="T12">
                  <a:pos x="T4" y="T5"/>
                </a:cxn>
                <a:cxn ang="T13">
                  <a:pos x="T6" y="T7"/>
                </a:cxn>
                <a:cxn ang="T14">
                  <a:pos x="T8" y="T9"/>
                </a:cxn>
              </a:cxnLst>
              <a:rect l="T15" t="T16" r="T17" b="T18"/>
              <a:pathLst>
                <a:path w="369" h="369">
                  <a:moveTo>
                    <a:pt x="368" y="184"/>
                  </a:moveTo>
                  <a:cubicBezTo>
                    <a:pt x="368" y="286"/>
                    <a:pt x="286" y="368"/>
                    <a:pt x="184" y="368"/>
                  </a:cubicBezTo>
                  <a:cubicBezTo>
                    <a:pt x="82" y="368"/>
                    <a:pt x="0" y="286"/>
                    <a:pt x="0" y="184"/>
                  </a:cubicBezTo>
                  <a:cubicBezTo>
                    <a:pt x="0" y="82"/>
                    <a:pt x="82" y="0"/>
                    <a:pt x="184" y="0"/>
                  </a:cubicBezTo>
                  <a:cubicBezTo>
                    <a:pt x="286" y="0"/>
                    <a:pt x="368" y="82"/>
                    <a:pt x="368" y="184"/>
                  </a:cubicBezTo>
                </a:path>
              </a:pathLst>
            </a:custGeom>
            <a:noFill/>
            <a:ln w="23040" cap="rnd">
              <a:solidFill>
                <a:srgbClr val="BD1839"/>
              </a:solidFill>
              <a:round/>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66" name="Freeform 93"/>
            <p:cNvSpPr>
              <a:spLocks noChangeArrowheads="1"/>
            </p:cNvSpPr>
            <p:nvPr/>
          </p:nvSpPr>
          <p:spPr bwMode="auto">
            <a:xfrm>
              <a:off x="6770688" y="4205288"/>
              <a:ext cx="68262" cy="142875"/>
            </a:xfrm>
            <a:custGeom>
              <a:avLst/>
              <a:gdLst>
                <a:gd name="T0" fmla="*/ 190 w 191"/>
                <a:gd name="T1" fmla="*/ 301 h 397"/>
                <a:gd name="T2" fmla="*/ 95 w 191"/>
                <a:gd name="T3" fmla="*/ 396 h 397"/>
                <a:gd name="T4" fmla="*/ 95 w 191"/>
                <a:gd name="T5" fmla="*/ 396 h 397"/>
                <a:gd name="T6" fmla="*/ 0 w 191"/>
                <a:gd name="T7" fmla="*/ 301 h 397"/>
                <a:gd name="T8" fmla="*/ 0 w 191"/>
                <a:gd name="T9" fmla="*/ 95 h 397"/>
                <a:gd name="T10" fmla="*/ 95 w 191"/>
                <a:gd name="T11" fmla="*/ 0 h 397"/>
                <a:gd name="T12" fmla="*/ 95 w 191"/>
                <a:gd name="T13" fmla="*/ 0 h 397"/>
                <a:gd name="T14" fmla="*/ 190 w 191"/>
                <a:gd name="T15" fmla="*/ 95 h 397"/>
                <a:gd name="T16" fmla="*/ 190 w 191"/>
                <a:gd name="T17" fmla="*/ 301 h 3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1"/>
                <a:gd name="T28" fmla="*/ 0 h 397"/>
                <a:gd name="T29" fmla="*/ 191 w 191"/>
                <a:gd name="T30" fmla="*/ 397 h 39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1" h="397">
                  <a:moveTo>
                    <a:pt x="190" y="301"/>
                  </a:moveTo>
                  <a:cubicBezTo>
                    <a:pt x="190" y="354"/>
                    <a:pt x="147" y="396"/>
                    <a:pt x="95" y="396"/>
                  </a:cubicBezTo>
                  <a:cubicBezTo>
                    <a:pt x="43" y="396"/>
                    <a:pt x="0" y="354"/>
                    <a:pt x="0" y="301"/>
                  </a:cubicBezTo>
                  <a:lnTo>
                    <a:pt x="0" y="95"/>
                  </a:lnTo>
                  <a:cubicBezTo>
                    <a:pt x="0" y="43"/>
                    <a:pt x="43" y="0"/>
                    <a:pt x="95" y="0"/>
                  </a:cubicBezTo>
                  <a:cubicBezTo>
                    <a:pt x="147" y="0"/>
                    <a:pt x="190" y="43"/>
                    <a:pt x="190" y="95"/>
                  </a:cubicBezTo>
                  <a:lnTo>
                    <a:pt x="190" y="301"/>
                  </a:lnTo>
                </a:path>
              </a:pathLst>
            </a:custGeom>
            <a:noFill/>
            <a:ln w="23040">
              <a:solidFill>
                <a:srgbClr val="5C8B76"/>
              </a:solidFill>
              <a:miter lim="800000"/>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67" name="Line 94"/>
            <p:cNvSpPr>
              <a:spLocks noChangeShapeType="1"/>
            </p:cNvSpPr>
            <p:nvPr/>
          </p:nvSpPr>
          <p:spPr bwMode="auto">
            <a:xfrm>
              <a:off x="6804025" y="4308475"/>
              <a:ext cx="1588" cy="106363"/>
            </a:xfrm>
            <a:prstGeom prst="line">
              <a:avLst/>
            </a:prstGeom>
            <a:noFill/>
            <a:ln w="23040" cap="rnd">
              <a:solidFill>
                <a:srgbClr val="BD1839"/>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8" name="Line 95"/>
            <p:cNvSpPr>
              <a:spLocks noChangeShapeType="1"/>
            </p:cNvSpPr>
            <p:nvPr/>
          </p:nvSpPr>
          <p:spPr bwMode="auto">
            <a:xfrm>
              <a:off x="6804025" y="4152900"/>
              <a:ext cx="1588" cy="106363"/>
            </a:xfrm>
            <a:prstGeom prst="line">
              <a:avLst/>
            </a:prstGeom>
            <a:noFill/>
            <a:ln w="23040" cap="rnd">
              <a:solidFill>
                <a:srgbClr val="5C8B76"/>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69" name="Freeform 96"/>
            <p:cNvSpPr>
              <a:spLocks noChangeArrowheads="1"/>
            </p:cNvSpPr>
            <p:nvPr/>
          </p:nvSpPr>
          <p:spPr bwMode="auto">
            <a:xfrm>
              <a:off x="6769100" y="4556125"/>
              <a:ext cx="68263" cy="142875"/>
            </a:xfrm>
            <a:custGeom>
              <a:avLst/>
              <a:gdLst>
                <a:gd name="T0" fmla="*/ 0 w 191"/>
                <a:gd name="T1" fmla="*/ 95 h 397"/>
                <a:gd name="T2" fmla="*/ 95 w 191"/>
                <a:gd name="T3" fmla="*/ 0 h 397"/>
                <a:gd name="T4" fmla="*/ 95 w 191"/>
                <a:gd name="T5" fmla="*/ 0 h 397"/>
                <a:gd name="T6" fmla="*/ 190 w 191"/>
                <a:gd name="T7" fmla="*/ 95 h 397"/>
                <a:gd name="T8" fmla="*/ 190 w 191"/>
                <a:gd name="T9" fmla="*/ 301 h 397"/>
                <a:gd name="T10" fmla="*/ 95 w 191"/>
                <a:gd name="T11" fmla="*/ 396 h 397"/>
                <a:gd name="T12" fmla="*/ 95 w 191"/>
                <a:gd name="T13" fmla="*/ 396 h 397"/>
                <a:gd name="T14" fmla="*/ 0 w 191"/>
                <a:gd name="T15" fmla="*/ 301 h 397"/>
                <a:gd name="T16" fmla="*/ 0 w 191"/>
                <a:gd name="T17" fmla="*/ 95 h 3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1"/>
                <a:gd name="T28" fmla="*/ 0 h 397"/>
                <a:gd name="T29" fmla="*/ 191 w 191"/>
                <a:gd name="T30" fmla="*/ 397 h 39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1" h="397">
                  <a:moveTo>
                    <a:pt x="0" y="95"/>
                  </a:moveTo>
                  <a:cubicBezTo>
                    <a:pt x="0" y="42"/>
                    <a:pt x="42" y="0"/>
                    <a:pt x="95" y="0"/>
                  </a:cubicBezTo>
                  <a:cubicBezTo>
                    <a:pt x="147" y="0"/>
                    <a:pt x="190" y="42"/>
                    <a:pt x="190" y="95"/>
                  </a:cubicBezTo>
                  <a:lnTo>
                    <a:pt x="190" y="301"/>
                  </a:lnTo>
                  <a:cubicBezTo>
                    <a:pt x="190" y="353"/>
                    <a:pt x="147" y="396"/>
                    <a:pt x="95" y="396"/>
                  </a:cubicBezTo>
                  <a:cubicBezTo>
                    <a:pt x="42" y="396"/>
                    <a:pt x="0" y="353"/>
                    <a:pt x="0" y="301"/>
                  </a:cubicBezTo>
                  <a:lnTo>
                    <a:pt x="0" y="95"/>
                  </a:lnTo>
                </a:path>
              </a:pathLst>
            </a:custGeom>
            <a:noFill/>
            <a:ln w="23040">
              <a:solidFill>
                <a:srgbClr val="5C8B76"/>
              </a:solidFill>
              <a:miter lim="800000"/>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70" name="Line 97"/>
            <p:cNvSpPr>
              <a:spLocks noChangeShapeType="1"/>
            </p:cNvSpPr>
            <p:nvPr/>
          </p:nvSpPr>
          <p:spPr bwMode="auto">
            <a:xfrm flipV="1">
              <a:off x="6804025" y="4486275"/>
              <a:ext cx="1588" cy="109538"/>
            </a:xfrm>
            <a:prstGeom prst="line">
              <a:avLst/>
            </a:prstGeom>
            <a:noFill/>
            <a:ln w="23040" cap="rnd">
              <a:solidFill>
                <a:srgbClr val="BD1839"/>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1" name="Line 98"/>
            <p:cNvSpPr>
              <a:spLocks noChangeShapeType="1"/>
            </p:cNvSpPr>
            <p:nvPr/>
          </p:nvSpPr>
          <p:spPr bwMode="auto">
            <a:xfrm flipV="1">
              <a:off x="6804025" y="4643438"/>
              <a:ext cx="1588" cy="109537"/>
            </a:xfrm>
            <a:prstGeom prst="line">
              <a:avLst/>
            </a:prstGeom>
            <a:noFill/>
            <a:ln w="23040" cap="rnd">
              <a:solidFill>
                <a:srgbClr val="5C8B76"/>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2" name="Freeform 99"/>
            <p:cNvSpPr>
              <a:spLocks noChangeArrowheads="1"/>
            </p:cNvSpPr>
            <p:nvPr/>
          </p:nvSpPr>
          <p:spPr bwMode="auto">
            <a:xfrm>
              <a:off x="6581775" y="4481513"/>
              <a:ext cx="142875" cy="115887"/>
            </a:xfrm>
            <a:custGeom>
              <a:avLst/>
              <a:gdLst>
                <a:gd name="T0" fmla="*/ 239 w 396"/>
                <a:gd name="T1" fmla="*/ 26 h 321"/>
                <a:gd name="T2" fmla="*/ 369 w 396"/>
                <a:gd name="T3" fmla="*/ 61 h 321"/>
                <a:gd name="T4" fmla="*/ 369 w 396"/>
                <a:gd name="T5" fmla="*/ 61 h 321"/>
                <a:gd name="T6" fmla="*/ 334 w 396"/>
                <a:gd name="T7" fmla="*/ 190 h 321"/>
                <a:gd name="T8" fmla="*/ 156 w 396"/>
                <a:gd name="T9" fmla="*/ 294 h 321"/>
                <a:gd name="T10" fmla="*/ 26 w 396"/>
                <a:gd name="T11" fmla="*/ 259 h 321"/>
                <a:gd name="T12" fmla="*/ 26 w 396"/>
                <a:gd name="T13" fmla="*/ 259 h 321"/>
                <a:gd name="T14" fmla="*/ 61 w 396"/>
                <a:gd name="T15" fmla="*/ 129 h 321"/>
                <a:gd name="T16" fmla="*/ 239 w 396"/>
                <a:gd name="T17" fmla="*/ 26 h 3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6"/>
                <a:gd name="T28" fmla="*/ 0 h 321"/>
                <a:gd name="T29" fmla="*/ 396 w 396"/>
                <a:gd name="T30" fmla="*/ 321 h 3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6" h="321">
                  <a:moveTo>
                    <a:pt x="239" y="26"/>
                  </a:moveTo>
                  <a:cubicBezTo>
                    <a:pt x="285" y="0"/>
                    <a:pt x="343" y="16"/>
                    <a:pt x="369" y="61"/>
                  </a:cubicBezTo>
                  <a:cubicBezTo>
                    <a:pt x="395" y="106"/>
                    <a:pt x="380" y="164"/>
                    <a:pt x="334" y="190"/>
                  </a:cubicBezTo>
                  <a:lnTo>
                    <a:pt x="156" y="294"/>
                  </a:lnTo>
                  <a:cubicBezTo>
                    <a:pt x="110" y="320"/>
                    <a:pt x="52" y="304"/>
                    <a:pt x="26" y="259"/>
                  </a:cubicBezTo>
                  <a:cubicBezTo>
                    <a:pt x="0" y="213"/>
                    <a:pt x="15" y="155"/>
                    <a:pt x="61" y="129"/>
                  </a:cubicBezTo>
                  <a:lnTo>
                    <a:pt x="239" y="26"/>
                  </a:lnTo>
                </a:path>
              </a:pathLst>
            </a:custGeom>
            <a:noFill/>
            <a:ln w="23040">
              <a:solidFill>
                <a:srgbClr val="5C8B76"/>
              </a:solidFill>
              <a:miter lim="800000"/>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73" name="Line 100"/>
            <p:cNvSpPr>
              <a:spLocks noChangeShapeType="1"/>
            </p:cNvSpPr>
            <p:nvPr/>
          </p:nvSpPr>
          <p:spPr bwMode="auto">
            <a:xfrm flipV="1">
              <a:off x="6680200" y="4468813"/>
              <a:ext cx="92075" cy="55562"/>
            </a:xfrm>
            <a:prstGeom prst="line">
              <a:avLst/>
            </a:prstGeom>
            <a:noFill/>
            <a:ln w="23040" cap="rnd">
              <a:solidFill>
                <a:srgbClr val="BD1839"/>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4" name="Line 101"/>
            <p:cNvSpPr>
              <a:spLocks noChangeShapeType="1"/>
            </p:cNvSpPr>
            <p:nvPr/>
          </p:nvSpPr>
          <p:spPr bwMode="auto">
            <a:xfrm flipV="1">
              <a:off x="6545263" y="4546600"/>
              <a:ext cx="92075" cy="55563"/>
            </a:xfrm>
            <a:prstGeom prst="line">
              <a:avLst/>
            </a:prstGeom>
            <a:noFill/>
            <a:ln w="23040" cap="rnd">
              <a:solidFill>
                <a:srgbClr val="5C8B76"/>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5" name="Freeform 102"/>
            <p:cNvSpPr>
              <a:spLocks noChangeArrowheads="1"/>
            </p:cNvSpPr>
            <p:nvPr/>
          </p:nvSpPr>
          <p:spPr bwMode="auto">
            <a:xfrm>
              <a:off x="6884988" y="4306888"/>
              <a:ext cx="142875" cy="115887"/>
            </a:xfrm>
            <a:custGeom>
              <a:avLst/>
              <a:gdLst>
                <a:gd name="T0" fmla="*/ 155 w 396"/>
                <a:gd name="T1" fmla="*/ 294 h 321"/>
                <a:gd name="T2" fmla="*/ 26 w 396"/>
                <a:gd name="T3" fmla="*/ 259 h 321"/>
                <a:gd name="T4" fmla="*/ 26 w 396"/>
                <a:gd name="T5" fmla="*/ 259 h 321"/>
                <a:gd name="T6" fmla="*/ 61 w 396"/>
                <a:gd name="T7" fmla="*/ 130 h 321"/>
                <a:gd name="T8" fmla="*/ 239 w 396"/>
                <a:gd name="T9" fmla="*/ 27 h 321"/>
                <a:gd name="T10" fmla="*/ 369 w 396"/>
                <a:gd name="T11" fmla="*/ 61 h 321"/>
                <a:gd name="T12" fmla="*/ 369 w 396"/>
                <a:gd name="T13" fmla="*/ 61 h 321"/>
                <a:gd name="T14" fmla="*/ 334 w 396"/>
                <a:gd name="T15" fmla="*/ 191 h 321"/>
                <a:gd name="T16" fmla="*/ 155 w 396"/>
                <a:gd name="T17" fmla="*/ 294 h 3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6"/>
                <a:gd name="T28" fmla="*/ 0 h 321"/>
                <a:gd name="T29" fmla="*/ 396 w 396"/>
                <a:gd name="T30" fmla="*/ 321 h 3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6" h="321">
                  <a:moveTo>
                    <a:pt x="155" y="294"/>
                  </a:moveTo>
                  <a:cubicBezTo>
                    <a:pt x="110" y="320"/>
                    <a:pt x="52" y="305"/>
                    <a:pt x="26" y="259"/>
                  </a:cubicBezTo>
                  <a:cubicBezTo>
                    <a:pt x="0" y="214"/>
                    <a:pt x="15" y="156"/>
                    <a:pt x="61" y="130"/>
                  </a:cubicBezTo>
                  <a:lnTo>
                    <a:pt x="239" y="27"/>
                  </a:lnTo>
                  <a:cubicBezTo>
                    <a:pt x="284" y="0"/>
                    <a:pt x="343" y="16"/>
                    <a:pt x="369" y="61"/>
                  </a:cubicBezTo>
                  <a:cubicBezTo>
                    <a:pt x="395" y="107"/>
                    <a:pt x="379" y="165"/>
                    <a:pt x="334" y="191"/>
                  </a:cubicBezTo>
                  <a:lnTo>
                    <a:pt x="155" y="294"/>
                  </a:lnTo>
                </a:path>
              </a:pathLst>
            </a:custGeom>
            <a:noFill/>
            <a:ln w="23040">
              <a:solidFill>
                <a:srgbClr val="5C8B76"/>
              </a:solidFill>
              <a:miter lim="800000"/>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76" name="Line 103"/>
            <p:cNvSpPr>
              <a:spLocks noChangeShapeType="1"/>
            </p:cNvSpPr>
            <p:nvPr/>
          </p:nvSpPr>
          <p:spPr bwMode="auto">
            <a:xfrm flipH="1">
              <a:off x="6834188" y="4381500"/>
              <a:ext cx="95250" cy="52388"/>
            </a:xfrm>
            <a:prstGeom prst="line">
              <a:avLst/>
            </a:prstGeom>
            <a:noFill/>
            <a:ln w="23040" cap="rnd">
              <a:solidFill>
                <a:srgbClr val="BD1839"/>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7" name="Line 104"/>
            <p:cNvSpPr>
              <a:spLocks noChangeShapeType="1"/>
            </p:cNvSpPr>
            <p:nvPr/>
          </p:nvSpPr>
          <p:spPr bwMode="auto">
            <a:xfrm flipH="1">
              <a:off x="6969125" y="4302125"/>
              <a:ext cx="95250" cy="52388"/>
            </a:xfrm>
            <a:prstGeom prst="line">
              <a:avLst/>
            </a:prstGeom>
            <a:noFill/>
            <a:ln w="23040" cap="rnd">
              <a:solidFill>
                <a:srgbClr val="5C8B76"/>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78" name="Freeform 105"/>
            <p:cNvSpPr>
              <a:spLocks noChangeArrowheads="1"/>
            </p:cNvSpPr>
            <p:nvPr/>
          </p:nvSpPr>
          <p:spPr bwMode="auto">
            <a:xfrm>
              <a:off x="6884988" y="4481513"/>
              <a:ext cx="142875" cy="115887"/>
            </a:xfrm>
            <a:custGeom>
              <a:avLst/>
              <a:gdLst>
                <a:gd name="T0" fmla="*/ 61 w 397"/>
                <a:gd name="T1" fmla="*/ 191 h 321"/>
                <a:gd name="T2" fmla="*/ 27 w 397"/>
                <a:gd name="T3" fmla="*/ 61 h 321"/>
                <a:gd name="T4" fmla="*/ 27 w 397"/>
                <a:gd name="T5" fmla="*/ 61 h 321"/>
                <a:gd name="T6" fmla="*/ 156 w 397"/>
                <a:gd name="T7" fmla="*/ 26 h 321"/>
                <a:gd name="T8" fmla="*/ 335 w 397"/>
                <a:gd name="T9" fmla="*/ 129 h 321"/>
                <a:gd name="T10" fmla="*/ 370 w 397"/>
                <a:gd name="T11" fmla="*/ 259 h 321"/>
                <a:gd name="T12" fmla="*/ 370 w 397"/>
                <a:gd name="T13" fmla="*/ 259 h 321"/>
                <a:gd name="T14" fmla="*/ 240 w 397"/>
                <a:gd name="T15" fmla="*/ 294 h 321"/>
                <a:gd name="T16" fmla="*/ 61 w 397"/>
                <a:gd name="T17" fmla="*/ 191 h 3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7"/>
                <a:gd name="T28" fmla="*/ 0 h 321"/>
                <a:gd name="T29" fmla="*/ 397 w 397"/>
                <a:gd name="T30" fmla="*/ 321 h 3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7" h="321">
                  <a:moveTo>
                    <a:pt x="61" y="191"/>
                  </a:moveTo>
                  <a:cubicBezTo>
                    <a:pt x="16" y="164"/>
                    <a:pt x="0" y="106"/>
                    <a:pt x="27" y="61"/>
                  </a:cubicBezTo>
                  <a:cubicBezTo>
                    <a:pt x="53" y="16"/>
                    <a:pt x="111" y="0"/>
                    <a:pt x="156" y="26"/>
                  </a:cubicBezTo>
                  <a:lnTo>
                    <a:pt x="335" y="129"/>
                  </a:lnTo>
                  <a:cubicBezTo>
                    <a:pt x="380" y="156"/>
                    <a:pt x="396" y="214"/>
                    <a:pt x="370" y="259"/>
                  </a:cubicBezTo>
                  <a:cubicBezTo>
                    <a:pt x="343" y="304"/>
                    <a:pt x="285" y="320"/>
                    <a:pt x="240" y="294"/>
                  </a:cubicBezTo>
                  <a:lnTo>
                    <a:pt x="61" y="191"/>
                  </a:lnTo>
                </a:path>
              </a:pathLst>
            </a:custGeom>
            <a:noFill/>
            <a:ln w="23040">
              <a:solidFill>
                <a:srgbClr val="5C8B76"/>
              </a:solidFill>
              <a:miter lim="800000"/>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79" name="Line 106"/>
            <p:cNvSpPr>
              <a:spLocks noChangeShapeType="1"/>
            </p:cNvSpPr>
            <p:nvPr/>
          </p:nvSpPr>
          <p:spPr bwMode="auto">
            <a:xfrm flipH="1" flipV="1">
              <a:off x="6834188" y="4468813"/>
              <a:ext cx="95250" cy="55562"/>
            </a:xfrm>
            <a:prstGeom prst="line">
              <a:avLst/>
            </a:prstGeom>
            <a:noFill/>
            <a:ln w="23040" cap="rnd">
              <a:solidFill>
                <a:srgbClr val="BD1839"/>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0" name="Line 107"/>
            <p:cNvSpPr>
              <a:spLocks noChangeShapeType="1"/>
            </p:cNvSpPr>
            <p:nvPr/>
          </p:nvSpPr>
          <p:spPr bwMode="auto">
            <a:xfrm flipH="1" flipV="1">
              <a:off x="6969125" y="4548188"/>
              <a:ext cx="95250" cy="55562"/>
            </a:xfrm>
            <a:prstGeom prst="line">
              <a:avLst/>
            </a:prstGeom>
            <a:noFill/>
            <a:ln w="23040" cap="rnd">
              <a:solidFill>
                <a:srgbClr val="5C8B76"/>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1" name="Freeform 108"/>
            <p:cNvSpPr>
              <a:spLocks noChangeArrowheads="1"/>
            </p:cNvSpPr>
            <p:nvPr/>
          </p:nvSpPr>
          <p:spPr bwMode="auto">
            <a:xfrm>
              <a:off x="6581775" y="4306888"/>
              <a:ext cx="142875" cy="115887"/>
            </a:xfrm>
            <a:custGeom>
              <a:avLst/>
              <a:gdLst>
                <a:gd name="T0" fmla="*/ 334 w 396"/>
                <a:gd name="T1" fmla="*/ 129 h 321"/>
                <a:gd name="T2" fmla="*/ 369 w 396"/>
                <a:gd name="T3" fmla="*/ 259 h 321"/>
                <a:gd name="T4" fmla="*/ 369 w 396"/>
                <a:gd name="T5" fmla="*/ 259 h 321"/>
                <a:gd name="T6" fmla="*/ 239 w 396"/>
                <a:gd name="T7" fmla="*/ 294 h 321"/>
                <a:gd name="T8" fmla="*/ 61 w 396"/>
                <a:gd name="T9" fmla="*/ 191 h 321"/>
                <a:gd name="T10" fmla="*/ 26 w 396"/>
                <a:gd name="T11" fmla="*/ 61 h 321"/>
                <a:gd name="T12" fmla="*/ 26 w 396"/>
                <a:gd name="T13" fmla="*/ 61 h 321"/>
                <a:gd name="T14" fmla="*/ 156 w 396"/>
                <a:gd name="T15" fmla="*/ 26 h 321"/>
                <a:gd name="T16" fmla="*/ 334 w 396"/>
                <a:gd name="T17" fmla="*/ 129 h 3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6"/>
                <a:gd name="T28" fmla="*/ 0 h 321"/>
                <a:gd name="T29" fmla="*/ 396 w 396"/>
                <a:gd name="T30" fmla="*/ 321 h 3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6" h="321">
                  <a:moveTo>
                    <a:pt x="334" y="129"/>
                  </a:moveTo>
                  <a:cubicBezTo>
                    <a:pt x="380" y="156"/>
                    <a:pt x="395" y="214"/>
                    <a:pt x="369" y="259"/>
                  </a:cubicBezTo>
                  <a:cubicBezTo>
                    <a:pt x="343" y="304"/>
                    <a:pt x="285" y="320"/>
                    <a:pt x="239" y="294"/>
                  </a:cubicBezTo>
                  <a:lnTo>
                    <a:pt x="61" y="191"/>
                  </a:lnTo>
                  <a:cubicBezTo>
                    <a:pt x="15" y="165"/>
                    <a:pt x="0" y="107"/>
                    <a:pt x="26" y="61"/>
                  </a:cubicBezTo>
                  <a:cubicBezTo>
                    <a:pt x="52" y="16"/>
                    <a:pt x="110" y="0"/>
                    <a:pt x="156" y="26"/>
                  </a:cubicBezTo>
                  <a:lnTo>
                    <a:pt x="334" y="129"/>
                  </a:lnTo>
                </a:path>
              </a:pathLst>
            </a:custGeom>
            <a:noFill/>
            <a:ln w="23040">
              <a:solidFill>
                <a:srgbClr val="5C8B76"/>
              </a:solidFill>
              <a:miter lim="800000"/>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82" name="Line 109"/>
            <p:cNvSpPr>
              <a:spLocks noChangeShapeType="1"/>
            </p:cNvSpPr>
            <p:nvPr/>
          </p:nvSpPr>
          <p:spPr bwMode="auto">
            <a:xfrm>
              <a:off x="6681788" y="4379913"/>
              <a:ext cx="92075" cy="52387"/>
            </a:xfrm>
            <a:prstGeom prst="line">
              <a:avLst/>
            </a:prstGeom>
            <a:noFill/>
            <a:ln w="23040" cap="rnd">
              <a:solidFill>
                <a:srgbClr val="BD1839"/>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83" name="Line 110"/>
            <p:cNvSpPr>
              <a:spLocks noChangeShapeType="1"/>
            </p:cNvSpPr>
            <p:nvPr/>
          </p:nvSpPr>
          <p:spPr bwMode="auto">
            <a:xfrm>
              <a:off x="6545263" y="4302125"/>
              <a:ext cx="92075" cy="52388"/>
            </a:xfrm>
            <a:prstGeom prst="line">
              <a:avLst/>
            </a:prstGeom>
            <a:noFill/>
            <a:ln w="23040" cap="rnd">
              <a:solidFill>
                <a:srgbClr val="5C8B76"/>
              </a:solidFill>
              <a:round/>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grpSp>
      <p:grpSp>
        <p:nvGrpSpPr>
          <p:cNvPr id="84" name="Group 83"/>
          <p:cNvGrpSpPr/>
          <p:nvPr/>
        </p:nvGrpSpPr>
        <p:grpSpPr>
          <a:xfrm>
            <a:off x="3295512" y="2786064"/>
            <a:ext cx="398462" cy="490537"/>
            <a:chOff x="1890713" y="2786063"/>
            <a:chExt cx="398462" cy="490537"/>
          </a:xfrm>
        </p:grpSpPr>
        <p:sp>
          <p:nvSpPr>
            <p:cNvPr id="85" name="Freeform 116"/>
            <p:cNvSpPr>
              <a:spLocks noChangeArrowheads="1"/>
            </p:cNvSpPr>
            <p:nvPr/>
          </p:nvSpPr>
          <p:spPr bwMode="auto">
            <a:xfrm>
              <a:off x="1974850" y="3175000"/>
              <a:ext cx="228600" cy="101600"/>
            </a:xfrm>
            <a:custGeom>
              <a:avLst/>
              <a:gdLst>
                <a:gd name="T0" fmla="*/ 317 w 636"/>
                <a:gd name="T1" fmla="*/ 282 h 283"/>
                <a:gd name="T2" fmla="*/ 0 w 636"/>
                <a:gd name="T3" fmla="*/ 282 h 283"/>
                <a:gd name="T4" fmla="*/ 0 w 636"/>
                <a:gd name="T5" fmla="*/ 0 h 283"/>
                <a:gd name="T6" fmla="*/ 635 w 636"/>
                <a:gd name="T7" fmla="*/ 0 h 283"/>
                <a:gd name="T8" fmla="*/ 635 w 636"/>
                <a:gd name="T9" fmla="*/ 282 h 283"/>
                <a:gd name="T10" fmla="*/ 317 w 636"/>
                <a:gd name="T11" fmla="*/ 282 h 283"/>
                <a:gd name="T12" fmla="*/ 0 60000 65536"/>
                <a:gd name="T13" fmla="*/ 0 60000 65536"/>
                <a:gd name="T14" fmla="*/ 0 60000 65536"/>
                <a:gd name="T15" fmla="*/ 0 60000 65536"/>
                <a:gd name="T16" fmla="*/ 0 60000 65536"/>
                <a:gd name="T17" fmla="*/ 0 60000 65536"/>
                <a:gd name="T18" fmla="*/ 0 w 636"/>
                <a:gd name="T19" fmla="*/ 0 h 283"/>
                <a:gd name="T20" fmla="*/ 636 w 636"/>
                <a:gd name="T21" fmla="*/ 283 h 283"/>
              </a:gdLst>
              <a:ahLst/>
              <a:cxnLst>
                <a:cxn ang="T12">
                  <a:pos x="T0" y="T1"/>
                </a:cxn>
                <a:cxn ang="T13">
                  <a:pos x="T2" y="T3"/>
                </a:cxn>
                <a:cxn ang="T14">
                  <a:pos x="T4" y="T5"/>
                </a:cxn>
                <a:cxn ang="T15">
                  <a:pos x="T6" y="T7"/>
                </a:cxn>
                <a:cxn ang="T16">
                  <a:pos x="T8" y="T9"/>
                </a:cxn>
                <a:cxn ang="T17">
                  <a:pos x="T10" y="T11"/>
                </a:cxn>
              </a:cxnLst>
              <a:rect l="T18" t="T19" r="T20" b="T21"/>
              <a:pathLst>
                <a:path w="636" h="283">
                  <a:moveTo>
                    <a:pt x="317" y="282"/>
                  </a:moveTo>
                  <a:lnTo>
                    <a:pt x="0" y="282"/>
                  </a:lnTo>
                  <a:lnTo>
                    <a:pt x="0" y="0"/>
                  </a:lnTo>
                  <a:lnTo>
                    <a:pt x="635" y="0"/>
                  </a:lnTo>
                  <a:lnTo>
                    <a:pt x="635" y="282"/>
                  </a:lnTo>
                  <a:lnTo>
                    <a:pt x="317" y="282"/>
                  </a:lnTo>
                </a:path>
              </a:pathLst>
            </a:custGeom>
            <a:solidFill>
              <a:srgbClr val="5C8B76"/>
            </a:solidFill>
            <a:ln w="9525" cap="rnd">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86" name="Freeform 117"/>
            <p:cNvSpPr>
              <a:spLocks noChangeArrowheads="1"/>
            </p:cNvSpPr>
            <p:nvPr/>
          </p:nvSpPr>
          <p:spPr bwMode="auto">
            <a:xfrm>
              <a:off x="1974850" y="3175000"/>
              <a:ext cx="228600" cy="101600"/>
            </a:xfrm>
            <a:custGeom>
              <a:avLst/>
              <a:gdLst>
                <a:gd name="T0" fmla="*/ 317 w 636"/>
                <a:gd name="T1" fmla="*/ 282 h 283"/>
                <a:gd name="T2" fmla="*/ 0 w 636"/>
                <a:gd name="T3" fmla="*/ 282 h 283"/>
                <a:gd name="T4" fmla="*/ 0 w 636"/>
                <a:gd name="T5" fmla="*/ 0 h 283"/>
                <a:gd name="T6" fmla="*/ 635 w 636"/>
                <a:gd name="T7" fmla="*/ 0 h 283"/>
                <a:gd name="T8" fmla="*/ 635 w 636"/>
                <a:gd name="T9" fmla="*/ 282 h 283"/>
                <a:gd name="T10" fmla="*/ 317 w 636"/>
                <a:gd name="T11" fmla="*/ 282 h 283"/>
                <a:gd name="T12" fmla="*/ 0 60000 65536"/>
                <a:gd name="T13" fmla="*/ 0 60000 65536"/>
                <a:gd name="T14" fmla="*/ 0 60000 65536"/>
                <a:gd name="T15" fmla="*/ 0 60000 65536"/>
                <a:gd name="T16" fmla="*/ 0 60000 65536"/>
                <a:gd name="T17" fmla="*/ 0 60000 65536"/>
                <a:gd name="T18" fmla="*/ 0 w 636"/>
                <a:gd name="T19" fmla="*/ 0 h 283"/>
                <a:gd name="T20" fmla="*/ 636 w 636"/>
                <a:gd name="T21" fmla="*/ 283 h 283"/>
              </a:gdLst>
              <a:ahLst/>
              <a:cxnLst>
                <a:cxn ang="T12">
                  <a:pos x="T0" y="T1"/>
                </a:cxn>
                <a:cxn ang="T13">
                  <a:pos x="T2" y="T3"/>
                </a:cxn>
                <a:cxn ang="T14">
                  <a:pos x="T4" y="T5"/>
                </a:cxn>
                <a:cxn ang="T15">
                  <a:pos x="T6" y="T7"/>
                </a:cxn>
                <a:cxn ang="T16">
                  <a:pos x="T8" y="T9"/>
                </a:cxn>
                <a:cxn ang="T17">
                  <a:pos x="T10" y="T11"/>
                </a:cxn>
              </a:cxnLst>
              <a:rect l="T18" t="T19" r="T20" b="T21"/>
              <a:pathLst>
                <a:path w="636" h="283">
                  <a:moveTo>
                    <a:pt x="317" y="282"/>
                  </a:moveTo>
                  <a:lnTo>
                    <a:pt x="0" y="282"/>
                  </a:lnTo>
                  <a:lnTo>
                    <a:pt x="0" y="0"/>
                  </a:lnTo>
                  <a:lnTo>
                    <a:pt x="635" y="0"/>
                  </a:lnTo>
                  <a:lnTo>
                    <a:pt x="635" y="282"/>
                  </a:lnTo>
                  <a:lnTo>
                    <a:pt x="317" y="282"/>
                  </a:lnTo>
                </a:path>
              </a:pathLst>
            </a:custGeom>
            <a:noFill/>
            <a:ln w="11520">
              <a:solidFill>
                <a:srgbClr val="BD1839"/>
              </a:solidFill>
              <a:miter lim="800000"/>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87" name="Freeform 118"/>
            <p:cNvSpPr>
              <a:spLocks noChangeArrowheads="1"/>
            </p:cNvSpPr>
            <p:nvPr/>
          </p:nvSpPr>
          <p:spPr bwMode="auto">
            <a:xfrm>
              <a:off x="1890713" y="2786063"/>
              <a:ext cx="398462" cy="390525"/>
            </a:xfrm>
            <a:custGeom>
              <a:avLst/>
              <a:gdLst>
                <a:gd name="T0" fmla="*/ 1065 w 1106"/>
                <a:gd name="T1" fmla="*/ 217 h 1085"/>
                <a:gd name="T2" fmla="*/ 946 w 1106"/>
                <a:gd name="T3" fmla="*/ 114 h 1085"/>
                <a:gd name="T4" fmla="*/ 934 w 1106"/>
                <a:gd name="T5" fmla="*/ 0 h 1085"/>
                <a:gd name="T6" fmla="*/ 552 w 1106"/>
                <a:gd name="T7" fmla="*/ 0 h 1085"/>
                <a:gd name="T8" fmla="*/ 171 w 1106"/>
                <a:gd name="T9" fmla="*/ 0 h 1085"/>
                <a:gd name="T10" fmla="*/ 159 w 1106"/>
                <a:gd name="T11" fmla="*/ 114 h 1085"/>
                <a:gd name="T12" fmla="*/ 40 w 1106"/>
                <a:gd name="T13" fmla="*/ 217 h 1085"/>
                <a:gd name="T14" fmla="*/ 116 w 1106"/>
                <a:gd name="T15" fmla="*/ 484 h 1085"/>
                <a:gd name="T16" fmla="*/ 333 w 1106"/>
                <a:gd name="T17" fmla="*/ 577 h 1085"/>
                <a:gd name="T18" fmla="*/ 320 w 1106"/>
                <a:gd name="T19" fmla="*/ 564 h 1085"/>
                <a:gd name="T20" fmla="*/ 380 w 1106"/>
                <a:gd name="T21" fmla="*/ 608 h 1085"/>
                <a:gd name="T22" fmla="*/ 442 w 1106"/>
                <a:gd name="T23" fmla="*/ 980 h 1085"/>
                <a:gd name="T24" fmla="*/ 289 w 1106"/>
                <a:gd name="T25" fmla="*/ 1084 h 1085"/>
                <a:gd name="T26" fmla="*/ 552 w 1106"/>
                <a:gd name="T27" fmla="*/ 1084 h 1085"/>
                <a:gd name="T28" fmla="*/ 815 w 1106"/>
                <a:gd name="T29" fmla="*/ 1084 h 1085"/>
                <a:gd name="T30" fmla="*/ 662 w 1106"/>
                <a:gd name="T31" fmla="*/ 980 h 1085"/>
                <a:gd name="T32" fmla="*/ 725 w 1106"/>
                <a:gd name="T33" fmla="*/ 608 h 1085"/>
                <a:gd name="T34" fmla="*/ 785 w 1106"/>
                <a:gd name="T35" fmla="*/ 565 h 1085"/>
                <a:gd name="T36" fmla="*/ 772 w 1106"/>
                <a:gd name="T37" fmla="*/ 577 h 1085"/>
                <a:gd name="T38" fmla="*/ 989 w 1106"/>
                <a:gd name="T39" fmla="*/ 484 h 1085"/>
                <a:gd name="T40" fmla="*/ 1065 w 1106"/>
                <a:gd name="T41" fmla="*/ 217 h 1085"/>
                <a:gd name="T42" fmla="*/ 99 w 1106"/>
                <a:gd name="T43" fmla="*/ 245 h 1085"/>
                <a:gd name="T44" fmla="*/ 159 w 1106"/>
                <a:gd name="T45" fmla="*/ 186 h 1085"/>
                <a:gd name="T46" fmla="*/ 244 w 1106"/>
                <a:gd name="T47" fmla="*/ 477 h 1085"/>
                <a:gd name="T48" fmla="*/ 152 w 1106"/>
                <a:gd name="T49" fmla="*/ 430 h 1085"/>
                <a:gd name="T50" fmla="*/ 99 w 1106"/>
                <a:gd name="T51" fmla="*/ 245 h 1085"/>
                <a:gd name="T52" fmla="*/ 953 w 1106"/>
                <a:gd name="T53" fmla="*/ 430 h 1085"/>
                <a:gd name="T54" fmla="*/ 861 w 1106"/>
                <a:gd name="T55" fmla="*/ 477 h 1085"/>
                <a:gd name="T56" fmla="*/ 946 w 1106"/>
                <a:gd name="T57" fmla="*/ 186 h 1085"/>
                <a:gd name="T58" fmla="*/ 1006 w 1106"/>
                <a:gd name="T59" fmla="*/ 245 h 1085"/>
                <a:gd name="T60" fmla="*/ 953 w 1106"/>
                <a:gd name="T61" fmla="*/ 430 h 10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6"/>
                <a:gd name="T94" fmla="*/ 0 h 1085"/>
                <a:gd name="T95" fmla="*/ 1106 w 1106"/>
                <a:gd name="T96" fmla="*/ 1085 h 10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6" h="1085">
                  <a:moveTo>
                    <a:pt x="1065" y="217"/>
                  </a:moveTo>
                  <a:cubicBezTo>
                    <a:pt x="1044" y="174"/>
                    <a:pt x="998" y="133"/>
                    <a:pt x="946" y="114"/>
                  </a:cubicBezTo>
                  <a:cubicBezTo>
                    <a:pt x="944" y="46"/>
                    <a:pt x="934" y="0"/>
                    <a:pt x="934" y="0"/>
                  </a:cubicBezTo>
                  <a:lnTo>
                    <a:pt x="552" y="0"/>
                  </a:lnTo>
                  <a:lnTo>
                    <a:pt x="171" y="0"/>
                  </a:lnTo>
                  <a:cubicBezTo>
                    <a:pt x="171" y="0"/>
                    <a:pt x="161" y="46"/>
                    <a:pt x="159" y="114"/>
                  </a:cubicBezTo>
                  <a:cubicBezTo>
                    <a:pt x="107" y="133"/>
                    <a:pt x="61" y="174"/>
                    <a:pt x="40" y="217"/>
                  </a:cubicBezTo>
                  <a:cubicBezTo>
                    <a:pt x="0" y="301"/>
                    <a:pt x="36" y="431"/>
                    <a:pt x="116" y="484"/>
                  </a:cubicBezTo>
                  <a:cubicBezTo>
                    <a:pt x="181" y="527"/>
                    <a:pt x="257" y="553"/>
                    <a:pt x="333" y="577"/>
                  </a:cubicBezTo>
                  <a:cubicBezTo>
                    <a:pt x="329" y="573"/>
                    <a:pt x="324" y="569"/>
                    <a:pt x="320" y="564"/>
                  </a:cubicBezTo>
                  <a:cubicBezTo>
                    <a:pt x="338" y="580"/>
                    <a:pt x="358" y="595"/>
                    <a:pt x="380" y="608"/>
                  </a:cubicBezTo>
                  <a:cubicBezTo>
                    <a:pt x="380" y="608"/>
                    <a:pt x="568" y="741"/>
                    <a:pt x="442" y="980"/>
                  </a:cubicBezTo>
                  <a:cubicBezTo>
                    <a:pt x="442" y="980"/>
                    <a:pt x="292" y="1000"/>
                    <a:pt x="289" y="1084"/>
                  </a:cubicBezTo>
                  <a:lnTo>
                    <a:pt x="552" y="1084"/>
                  </a:lnTo>
                  <a:lnTo>
                    <a:pt x="815" y="1084"/>
                  </a:lnTo>
                  <a:cubicBezTo>
                    <a:pt x="813" y="1000"/>
                    <a:pt x="662" y="980"/>
                    <a:pt x="662" y="980"/>
                  </a:cubicBezTo>
                  <a:cubicBezTo>
                    <a:pt x="537" y="741"/>
                    <a:pt x="725" y="608"/>
                    <a:pt x="725" y="608"/>
                  </a:cubicBezTo>
                  <a:cubicBezTo>
                    <a:pt x="747" y="595"/>
                    <a:pt x="767" y="580"/>
                    <a:pt x="785" y="565"/>
                  </a:cubicBezTo>
                  <a:cubicBezTo>
                    <a:pt x="780" y="569"/>
                    <a:pt x="776" y="573"/>
                    <a:pt x="772" y="577"/>
                  </a:cubicBezTo>
                  <a:cubicBezTo>
                    <a:pt x="848" y="553"/>
                    <a:pt x="924" y="527"/>
                    <a:pt x="989" y="484"/>
                  </a:cubicBezTo>
                  <a:cubicBezTo>
                    <a:pt x="1068" y="431"/>
                    <a:pt x="1105" y="301"/>
                    <a:pt x="1065" y="217"/>
                  </a:cubicBezTo>
                  <a:close/>
                  <a:moveTo>
                    <a:pt x="99" y="245"/>
                  </a:moveTo>
                  <a:cubicBezTo>
                    <a:pt x="109" y="222"/>
                    <a:pt x="133" y="200"/>
                    <a:pt x="159" y="186"/>
                  </a:cubicBezTo>
                  <a:cubicBezTo>
                    <a:pt x="163" y="276"/>
                    <a:pt x="183" y="384"/>
                    <a:pt x="244" y="477"/>
                  </a:cubicBezTo>
                  <a:cubicBezTo>
                    <a:pt x="211" y="463"/>
                    <a:pt x="180" y="448"/>
                    <a:pt x="152" y="430"/>
                  </a:cubicBezTo>
                  <a:cubicBezTo>
                    <a:pt x="99" y="395"/>
                    <a:pt x="72" y="300"/>
                    <a:pt x="99" y="245"/>
                  </a:cubicBezTo>
                  <a:close/>
                  <a:moveTo>
                    <a:pt x="953" y="430"/>
                  </a:moveTo>
                  <a:cubicBezTo>
                    <a:pt x="925" y="448"/>
                    <a:pt x="894" y="463"/>
                    <a:pt x="861" y="477"/>
                  </a:cubicBezTo>
                  <a:cubicBezTo>
                    <a:pt x="921" y="384"/>
                    <a:pt x="942" y="276"/>
                    <a:pt x="946" y="186"/>
                  </a:cubicBezTo>
                  <a:cubicBezTo>
                    <a:pt x="972" y="200"/>
                    <a:pt x="996" y="222"/>
                    <a:pt x="1006" y="245"/>
                  </a:cubicBezTo>
                  <a:cubicBezTo>
                    <a:pt x="1033" y="300"/>
                    <a:pt x="1005" y="395"/>
                    <a:pt x="953" y="430"/>
                  </a:cubicBezTo>
                  <a:close/>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88" name="Freeform 119"/>
            <p:cNvSpPr>
              <a:spLocks noChangeArrowheads="1"/>
            </p:cNvSpPr>
            <p:nvPr/>
          </p:nvSpPr>
          <p:spPr bwMode="auto">
            <a:xfrm>
              <a:off x="2073275" y="3192463"/>
              <a:ext cx="33338" cy="63500"/>
            </a:xfrm>
            <a:custGeom>
              <a:avLst/>
              <a:gdLst>
                <a:gd name="T0" fmla="*/ 91 w 92"/>
                <a:gd name="T1" fmla="*/ 175 h 176"/>
                <a:gd name="T2" fmla="*/ 51 w 92"/>
                <a:gd name="T3" fmla="*/ 175 h 176"/>
                <a:gd name="T4" fmla="*/ 51 w 92"/>
                <a:gd name="T5" fmla="*/ 58 h 176"/>
                <a:gd name="T6" fmla="*/ 0 w 92"/>
                <a:gd name="T7" fmla="*/ 88 h 176"/>
                <a:gd name="T8" fmla="*/ 0 w 92"/>
                <a:gd name="T9" fmla="*/ 52 h 176"/>
                <a:gd name="T10" fmla="*/ 34 w 92"/>
                <a:gd name="T11" fmla="*/ 33 h 176"/>
                <a:gd name="T12" fmla="*/ 59 w 92"/>
                <a:gd name="T13" fmla="*/ 0 h 176"/>
                <a:gd name="T14" fmla="*/ 91 w 92"/>
                <a:gd name="T15" fmla="*/ 0 h 176"/>
                <a:gd name="T16" fmla="*/ 91 w 92"/>
                <a:gd name="T17" fmla="*/ 175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76"/>
                <a:gd name="T29" fmla="*/ 92 w 92"/>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76">
                  <a:moveTo>
                    <a:pt x="91" y="175"/>
                  </a:moveTo>
                  <a:lnTo>
                    <a:pt x="51" y="175"/>
                  </a:lnTo>
                  <a:lnTo>
                    <a:pt x="51" y="58"/>
                  </a:lnTo>
                  <a:cubicBezTo>
                    <a:pt x="37" y="72"/>
                    <a:pt x="20" y="82"/>
                    <a:pt x="0" y="88"/>
                  </a:cubicBezTo>
                  <a:lnTo>
                    <a:pt x="0" y="52"/>
                  </a:lnTo>
                  <a:cubicBezTo>
                    <a:pt x="11" y="49"/>
                    <a:pt x="22" y="43"/>
                    <a:pt x="34" y="33"/>
                  </a:cubicBezTo>
                  <a:cubicBezTo>
                    <a:pt x="46" y="24"/>
                    <a:pt x="54" y="13"/>
                    <a:pt x="59" y="0"/>
                  </a:cubicBezTo>
                  <a:lnTo>
                    <a:pt x="91" y="0"/>
                  </a:lnTo>
                  <a:lnTo>
                    <a:pt x="91" y="175"/>
                  </a:lnTo>
                </a:path>
              </a:pathLst>
            </a:custGeom>
            <a:solidFill>
              <a:srgbClr val="FFFFFF"/>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grpSp>
      <p:grpSp>
        <p:nvGrpSpPr>
          <p:cNvPr id="89" name="Group 88"/>
          <p:cNvGrpSpPr/>
          <p:nvPr/>
        </p:nvGrpSpPr>
        <p:grpSpPr>
          <a:xfrm>
            <a:off x="7437052" y="1697038"/>
            <a:ext cx="468313" cy="392112"/>
            <a:chOff x="6102350" y="1697038"/>
            <a:chExt cx="468313" cy="392112"/>
          </a:xfrm>
        </p:grpSpPr>
        <p:sp>
          <p:nvSpPr>
            <p:cNvPr id="90" name="Freeform 120"/>
            <p:cNvSpPr>
              <a:spLocks noChangeArrowheads="1"/>
            </p:cNvSpPr>
            <p:nvPr/>
          </p:nvSpPr>
          <p:spPr bwMode="auto">
            <a:xfrm>
              <a:off x="6356350" y="1697038"/>
              <a:ext cx="212725" cy="61912"/>
            </a:xfrm>
            <a:custGeom>
              <a:avLst/>
              <a:gdLst>
                <a:gd name="T0" fmla="*/ 136 w 593"/>
                <a:gd name="T1" fmla="*/ 0 h 170"/>
                <a:gd name="T2" fmla="*/ 0 w 593"/>
                <a:gd name="T3" fmla="*/ 169 h 170"/>
                <a:gd name="T4" fmla="*/ 592 w 593"/>
                <a:gd name="T5" fmla="*/ 169 h 170"/>
                <a:gd name="T6" fmla="*/ 592 w 593"/>
                <a:gd name="T7" fmla="*/ 0 h 170"/>
                <a:gd name="T8" fmla="*/ 136 w 593"/>
                <a:gd name="T9" fmla="*/ 0 h 170"/>
                <a:gd name="T10" fmla="*/ 0 60000 65536"/>
                <a:gd name="T11" fmla="*/ 0 60000 65536"/>
                <a:gd name="T12" fmla="*/ 0 60000 65536"/>
                <a:gd name="T13" fmla="*/ 0 60000 65536"/>
                <a:gd name="T14" fmla="*/ 0 60000 65536"/>
                <a:gd name="T15" fmla="*/ 0 w 593"/>
                <a:gd name="T16" fmla="*/ 0 h 170"/>
                <a:gd name="T17" fmla="*/ 593 w 593"/>
                <a:gd name="T18" fmla="*/ 170 h 170"/>
              </a:gdLst>
              <a:ahLst/>
              <a:cxnLst>
                <a:cxn ang="T10">
                  <a:pos x="T0" y="T1"/>
                </a:cxn>
                <a:cxn ang="T11">
                  <a:pos x="T2" y="T3"/>
                </a:cxn>
                <a:cxn ang="T12">
                  <a:pos x="T4" y="T5"/>
                </a:cxn>
                <a:cxn ang="T13">
                  <a:pos x="T6" y="T7"/>
                </a:cxn>
                <a:cxn ang="T14">
                  <a:pos x="T8" y="T9"/>
                </a:cxn>
              </a:cxnLst>
              <a:rect l="T15" t="T16" r="T17" b="T18"/>
              <a:pathLst>
                <a:path w="593" h="170">
                  <a:moveTo>
                    <a:pt x="136" y="0"/>
                  </a:moveTo>
                  <a:lnTo>
                    <a:pt x="0" y="169"/>
                  </a:lnTo>
                  <a:lnTo>
                    <a:pt x="592" y="169"/>
                  </a:lnTo>
                  <a:lnTo>
                    <a:pt x="592" y="0"/>
                  </a:lnTo>
                  <a:lnTo>
                    <a:pt x="136" y="0"/>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91" name="Freeform 121"/>
            <p:cNvSpPr>
              <a:spLocks noChangeArrowheads="1"/>
            </p:cNvSpPr>
            <p:nvPr/>
          </p:nvSpPr>
          <p:spPr bwMode="auto">
            <a:xfrm>
              <a:off x="6102350" y="1758950"/>
              <a:ext cx="468313" cy="330200"/>
            </a:xfrm>
            <a:custGeom>
              <a:avLst/>
              <a:gdLst>
                <a:gd name="T0" fmla="*/ 706 w 1299"/>
                <a:gd name="T1" fmla="*/ 0 h 918"/>
                <a:gd name="T2" fmla="*/ 0 w 1299"/>
                <a:gd name="T3" fmla="*/ 0 h 918"/>
                <a:gd name="T4" fmla="*/ 0 w 1299"/>
                <a:gd name="T5" fmla="*/ 917 h 918"/>
                <a:gd name="T6" fmla="*/ 1298 w 1299"/>
                <a:gd name="T7" fmla="*/ 917 h 918"/>
                <a:gd name="T8" fmla="*/ 1298 w 1299"/>
                <a:gd name="T9" fmla="*/ 153 h 918"/>
                <a:gd name="T10" fmla="*/ 1298 w 1299"/>
                <a:gd name="T11" fmla="*/ 0 h 918"/>
                <a:gd name="T12" fmla="*/ 706 w 1299"/>
                <a:gd name="T13" fmla="*/ 0 h 918"/>
                <a:gd name="T14" fmla="*/ 0 60000 65536"/>
                <a:gd name="T15" fmla="*/ 0 60000 65536"/>
                <a:gd name="T16" fmla="*/ 0 60000 65536"/>
                <a:gd name="T17" fmla="*/ 0 60000 65536"/>
                <a:gd name="T18" fmla="*/ 0 60000 65536"/>
                <a:gd name="T19" fmla="*/ 0 60000 65536"/>
                <a:gd name="T20" fmla="*/ 0 60000 65536"/>
                <a:gd name="T21" fmla="*/ 0 w 1299"/>
                <a:gd name="T22" fmla="*/ 0 h 918"/>
                <a:gd name="T23" fmla="*/ 1299 w 1299"/>
                <a:gd name="T24" fmla="*/ 918 h 9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99" h="918">
                  <a:moveTo>
                    <a:pt x="706" y="0"/>
                  </a:moveTo>
                  <a:lnTo>
                    <a:pt x="0" y="0"/>
                  </a:lnTo>
                  <a:lnTo>
                    <a:pt x="0" y="917"/>
                  </a:lnTo>
                  <a:lnTo>
                    <a:pt x="1298" y="917"/>
                  </a:lnTo>
                  <a:lnTo>
                    <a:pt x="1298" y="153"/>
                  </a:lnTo>
                  <a:lnTo>
                    <a:pt x="1298" y="0"/>
                  </a:lnTo>
                  <a:lnTo>
                    <a:pt x="706" y="0"/>
                  </a:lnTo>
                </a:path>
              </a:pathLst>
            </a:custGeom>
            <a:solidFill>
              <a:srgbClr val="BD1839"/>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92" name="Freeform 122"/>
            <p:cNvSpPr>
              <a:spLocks noChangeArrowheads="1"/>
            </p:cNvSpPr>
            <p:nvPr/>
          </p:nvSpPr>
          <p:spPr bwMode="auto">
            <a:xfrm>
              <a:off x="6223000" y="1804988"/>
              <a:ext cx="227013" cy="234950"/>
            </a:xfrm>
            <a:custGeom>
              <a:avLst/>
              <a:gdLst>
                <a:gd name="T0" fmla="*/ 622 w 629"/>
                <a:gd name="T1" fmla="*/ 180 h 654"/>
                <a:gd name="T2" fmla="*/ 620 w 629"/>
                <a:gd name="T3" fmla="*/ 152 h 654"/>
                <a:gd name="T4" fmla="*/ 314 w 629"/>
                <a:gd name="T5" fmla="*/ 0 h 654"/>
                <a:gd name="T6" fmla="*/ 9 w 629"/>
                <a:gd name="T7" fmla="*/ 152 h 654"/>
                <a:gd name="T8" fmla="*/ 7 w 629"/>
                <a:gd name="T9" fmla="*/ 180 h 654"/>
                <a:gd name="T10" fmla="*/ 33 w 629"/>
                <a:gd name="T11" fmla="*/ 372 h 654"/>
                <a:gd name="T12" fmla="*/ 300 w 629"/>
                <a:gd name="T13" fmla="*/ 648 h 654"/>
                <a:gd name="T14" fmla="*/ 314 w 629"/>
                <a:gd name="T15" fmla="*/ 653 h 654"/>
                <a:gd name="T16" fmla="*/ 328 w 629"/>
                <a:gd name="T17" fmla="*/ 648 h 654"/>
                <a:gd name="T18" fmla="*/ 596 w 629"/>
                <a:gd name="T19" fmla="*/ 372 h 654"/>
                <a:gd name="T20" fmla="*/ 622 w 629"/>
                <a:gd name="T21" fmla="*/ 180 h 6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9"/>
                <a:gd name="T34" fmla="*/ 0 h 654"/>
                <a:gd name="T35" fmla="*/ 629 w 629"/>
                <a:gd name="T36" fmla="*/ 654 h 6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9" h="654">
                  <a:moveTo>
                    <a:pt x="622" y="180"/>
                  </a:moveTo>
                  <a:lnTo>
                    <a:pt x="620" y="152"/>
                  </a:lnTo>
                  <a:lnTo>
                    <a:pt x="314" y="0"/>
                  </a:lnTo>
                  <a:lnTo>
                    <a:pt x="9" y="152"/>
                  </a:lnTo>
                  <a:lnTo>
                    <a:pt x="7" y="180"/>
                  </a:lnTo>
                  <a:cubicBezTo>
                    <a:pt x="6" y="184"/>
                    <a:pt x="0" y="271"/>
                    <a:pt x="33" y="372"/>
                  </a:cubicBezTo>
                  <a:cubicBezTo>
                    <a:pt x="76" y="507"/>
                    <a:pt x="169" y="603"/>
                    <a:pt x="300" y="648"/>
                  </a:cubicBezTo>
                  <a:lnTo>
                    <a:pt x="314" y="653"/>
                  </a:lnTo>
                  <a:lnTo>
                    <a:pt x="328" y="648"/>
                  </a:lnTo>
                  <a:cubicBezTo>
                    <a:pt x="460" y="603"/>
                    <a:pt x="552" y="507"/>
                    <a:pt x="596" y="372"/>
                  </a:cubicBezTo>
                  <a:cubicBezTo>
                    <a:pt x="628" y="271"/>
                    <a:pt x="622" y="184"/>
                    <a:pt x="622" y="180"/>
                  </a:cubicBezTo>
                </a:path>
              </a:pathLst>
            </a:custGeom>
            <a:solidFill>
              <a:srgbClr val="FFFFFF"/>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93" name="Freeform 123"/>
            <p:cNvSpPr>
              <a:spLocks noChangeArrowheads="1"/>
            </p:cNvSpPr>
            <p:nvPr/>
          </p:nvSpPr>
          <p:spPr bwMode="auto">
            <a:xfrm>
              <a:off x="6238875" y="1822450"/>
              <a:ext cx="184150" cy="201613"/>
            </a:xfrm>
            <a:custGeom>
              <a:avLst/>
              <a:gdLst>
                <a:gd name="T0" fmla="*/ 269 w 513"/>
                <a:gd name="T1" fmla="*/ 560 h 561"/>
                <a:gd name="T2" fmla="*/ 269 w 513"/>
                <a:gd name="T3" fmla="*/ 302 h 561"/>
                <a:gd name="T4" fmla="*/ 26 w 513"/>
                <a:gd name="T5" fmla="*/ 302 h 561"/>
                <a:gd name="T6" fmla="*/ 5 w 513"/>
                <a:gd name="T7" fmla="*/ 137 h 561"/>
                <a:gd name="T8" fmla="*/ 269 w 513"/>
                <a:gd name="T9" fmla="*/ 0 h 561"/>
                <a:gd name="T10" fmla="*/ 269 w 513"/>
                <a:gd name="T11" fmla="*/ 301 h 561"/>
                <a:gd name="T12" fmla="*/ 512 w 513"/>
                <a:gd name="T13" fmla="*/ 301 h 561"/>
                <a:gd name="T14" fmla="*/ 269 w 513"/>
                <a:gd name="T15" fmla="*/ 560 h 561"/>
                <a:gd name="T16" fmla="*/ 0 60000 65536"/>
                <a:gd name="T17" fmla="*/ 0 60000 65536"/>
                <a:gd name="T18" fmla="*/ 0 60000 65536"/>
                <a:gd name="T19" fmla="*/ 0 60000 65536"/>
                <a:gd name="T20" fmla="*/ 0 60000 65536"/>
                <a:gd name="T21" fmla="*/ 0 60000 65536"/>
                <a:gd name="T22" fmla="*/ 0 60000 65536"/>
                <a:gd name="T23" fmla="*/ 0 60000 65536"/>
                <a:gd name="T24" fmla="*/ 0 w 513"/>
                <a:gd name="T25" fmla="*/ 0 h 561"/>
                <a:gd name="T26" fmla="*/ 513 w 513"/>
                <a:gd name="T27" fmla="*/ 561 h 5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3" h="561">
                  <a:moveTo>
                    <a:pt x="269" y="560"/>
                  </a:moveTo>
                  <a:lnTo>
                    <a:pt x="269" y="302"/>
                  </a:lnTo>
                  <a:lnTo>
                    <a:pt x="26" y="302"/>
                  </a:lnTo>
                  <a:cubicBezTo>
                    <a:pt x="0" y="212"/>
                    <a:pt x="5" y="137"/>
                    <a:pt x="5" y="137"/>
                  </a:cubicBezTo>
                  <a:lnTo>
                    <a:pt x="269" y="0"/>
                  </a:lnTo>
                  <a:lnTo>
                    <a:pt x="269" y="301"/>
                  </a:lnTo>
                  <a:lnTo>
                    <a:pt x="512" y="301"/>
                  </a:lnTo>
                  <a:cubicBezTo>
                    <a:pt x="483" y="397"/>
                    <a:pt x="418" y="509"/>
                    <a:pt x="269" y="560"/>
                  </a:cubicBezTo>
                </a:path>
              </a:pathLst>
            </a:custGeom>
            <a:solidFill>
              <a:srgbClr val="5C8B76"/>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grpSp>
      <p:sp>
        <p:nvSpPr>
          <p:cNvPr id="94" name="Freeform 124"/>
          <p:cNvSpPr>
            <a:spLocks noChangeArrowheads="1"/>
          </p:cNvSpPr>
          <p:nvPr/>
        </p:nvSpPr>
        <p:spPr bwMode="auto">
          <a:xfrm>
            <a:off x="6013451" y="5287963"/>
            <a:ext cx="163513" cy="82550"/>
          </a:xfrm>
          <a:custGeom>
            <a:avLst/>
            <a:gdLst>
              <a:gd name="T0" fmla="*/ 226 w 453"/>
              <a:gd name="T1" fmla="*/ 0 h 228"/>
              <a:gd name="T2" fmla="*/ 0 w 453"/>
              <a:gd name="T3" fmla="*/ 227 h 228"/>
              <a:gd name="T4" fmla="*/ 452 w 453"/>
              <a:gd name="T5" fmla="*/ 227 h 228"/>
              <a:gd name="T6" fmla="*/ 226 w 453"/>
              <a:gd name="T7" fmla="*/ 0 h 228"/>
              <a:gd name="T8" fmla="*/ 0 60000 65536"/>
              <a:gd name="T9" fmla="*/ 0 60000 65536"/>
              <a:gd name="T10" fmla="*/ 0 60000 65536"/>
              <a:gd name="T11" fmla="*/ 0 60000 65536"/>
              <a:gd name="T12" fmla="*/ 0 w 453"/>
              <a:gd name="T13" fmla="*/ 0 h 228"/>
              <a:gd name="T14" fmla="*/ 453 w 453"/>
              <a:gd name="T15" fmla="*/ 228 h 228"/>
            </a:gdLst>
            <a:ahLst/>
            <a:cxnLst>
              <a:cxn ang="T8">
                <a:pos x="T0" y="T1"/>
              </a:cxn>
              <a:cxn ang="T9">
                <a:pos x="T2" y="T3"/>
              </a:cxn>
              <a:cxn ang="T10">
                <a:pos x="T4" y="T5"/>
              </a:cxn>
              <a:cxn ang="T11">
                <a:pos x="T6" y="T7"/>
              </a:cxn>
            </a:cxnLst>
            <a:rect l="T12" t="T13" r="T14" b="T15"/>
            <a:pathLst>
              <a:path w="453" h="228">
                <a:moveTo>
                  <a:pt x="226" y="0"/>
                </a:moveTo>
                <a:lnTo>
                  <a:pt x="0" y="227"/>
                </a:lnTo>
                <a:lnTo>
                  <a:pt x="452" y="227"/>
                </a:lnTo>
                <a:lnTo>
                  <a:pt x="226" y="0"/>
                </a:lnTo>
              </a:path>
            </a:pathLst>
          </a:custGeom>
          <a:solidFill>
            <a:srgbClr val="6E6D5E"/>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5" name="Freeform 125"/>
          <p:cNvSpPr>
            <a:spLocks noChangeArrowheads="1"/>
          </p:cNvSpPr>
          <p:nvPr/>
        </p:nvSpPr>
        <p:spPr bwMode="auto">
          <a:xfrm>
            <a:off x="6013451" y="5426075"/>
            <a:ext cx="163513" cy="82550"/>
          </a:xfrm>
          <a:custGeom>
            <a:avLst/>
            <a:gdLst>
              <a:gd name="T0" fmla="*/ 226 w 453"/>
              <a:gd name="T1" fmla="*/ 0 h 228"/>
              <a:gd name="T2" fmla="*/ 0 w 453"/>
              <a:gd name="T3" fmla="*/ 227 h 228"/>
              <a:gd name="T4" fmla="*/ 452 w 453"/>
              <a:gd name="T5" fmla="*/ 227 h 228"/>
              <a:gd name="T6" fmla="*/ 226 w 453"/>
              <a:gd name="T7" fmla="*/ 0 h 228"/>
              <a:gd name="T8" fmla="*/ 0 60000 65536"/>
              <a:gd name="T9" fmla="*/ 0 60000 65536"/>
              <a:gd name="T10" fmla="*/ 0 60000 65536"/>
              <a:gd name="T11" fmla="*/ 0 60000 65536"/>
              <a:gd name="T12" fmla="*/ 0 w 453"/>
              <a:gd name="T13" fmla="*/ 0 h 228"/>
              <a:gd name="T14" fmla="*/ 453 w 453"/>
              <a:gd name="T15" fmla="*/ 228 h 228"/>
            </a:gdLst>
            <a:ahLst/>
            <a:cxnLst>
              <a:cxn ang="T8">
                <a:pos x="T0" y="T1"/>
              </a:cxn>
              <a:cxn ang="T9">
                <a:pos x="T2" y="T3"/>
              </a:cxn>
              <a:cxn ang="T10">
                <a:pos x="T4" y="T5"/>
              </a:cxn>
              <a:cxn ang="T11">
                <a:pos x="T6" y="T7"/>
              </a:cxn>
            </a:cxnLst>
            <a:rect l="T12" t="T13" r="T14" b="T15"/>
            <a:pathLst>
              <a:path w="453" h="228">
                <a:moveTo>
                  <a:pt x="226" y="0"/>
                </a:moveTo>
                <a:lnTo>
                  <a:pt x="0" y="227"/>
                </a:lnTo>
                <a:lnTo>
                  <a:pt x="452" y="227"/>
                </a:lnTo>
                <a:lnTo>
                  <a:pt x="226" y="0"/>
                </a:lnTo>
              </a:path>
            </a:pathLst>
          </a:custGeom>
          <a:solidFill>
            <a:srgbClr val="6E6D5E"/>
          </a:solidFill>
          <a:ln w="9525">
            <a:noFill/>
            <a:bevel/>
            <a:headEnd/>
            <a:tailEnd/>
          </a:ln>
        </p:spPr>
        <p:txBody>
          <a:bodyPr wrap="none" anchor="ctr">
            <a:prstTxWarp prst="textNoShape">
              <a:avLst/>
            </a:prstTxWarp>
          </a:bodyPr>
          <a:lstStyle/>
          <a:p>
            <a:pPr algn="ctr">
              <a:buNone/>
            </a:pPr>
            <a:endParaRPr lang="en-US" dirty="0">
              <a:latin typeface="Arial" pitchFamily="34" charset="0"/>
              <a:cs typeface="Arial" pitchFamily="34" charset="0"/>
            </a:endParaRPr>
          </a:p>
        </p:txBody>
      </p:sp>
      <p:sp>
        <p:nvSpPr>
          <p:cNvPr id="96" name="Freeform 126"/>
          <p:cNvSpPr>
            <a:spLocks noChangeArrowheads="1"/>
          </p:cNvSpPr>
          <p:nvPr/>
        </p:nvSpPr>
        <p:spPr bwMode="auto">
          <a:xfrm>
            <a:off x="6013451" y="5033963"/>
            <a:ext cx="163513" cy="80962"/>
          </a:xfrm>
          <a:custGeom>
            <a:avLst/>
            <a:gdLst>
              <a:gd name="T0" fmla="*/ 226 w 453"/>
              <a:gd name="T1" fmla="*/ 0 h 227"/>
              <a:gd name="T2" fmla="*/ 0 w 453"/>
              <a:gd name="T3" fmla="*/ 226 h 227"/>
              <a:gd name="T4" fmla="*/ 452 w 453"/>
              <a:gd name="T5" fmla="*/ 226 h 227"/>
              <a:gd name="T6" fmla="*/ 226 w 453"/>
              <a:gd name="T7" fmla="*/ 0 h 227"/>
              <a:gd name="T8" fmla="*/ 0 60000 65536"/>
              <a:gd name="T9" fmla="*/ 0 60000 65536"/>
              <a:gd name="T10" fmla="*/ 0 60000 65536"/>
              <a:gd name="T11" fmla="*/ 0 60000 65536"/>
              <a:gd name="T12" fmla="*/ 0 w 453"/>
              <a:gd name="T13" fmla="*/ 0 h 227"/>
              <a:gd name="T14" fmla="*/ 453 w 453"/>
              <a:gd name="T15" fmla="*/ 227 h 227"/>
            </a:gdLst>
            <a:ahLst/>
            <a:cxnLst>
              <a:cxn ang="T8">
                <a:pos x="T0" y="T1"/>
              </a:cxn>
              <a:cxn ang="T9">
                <a:pos x="T2" y="T3"/>
              </a:cxn>
              <a:cxn ang="T10">
                <a:pos x="T4" y="T5"/>
              </a:cxn>
              <a:cxn ang="T11">
                <a:pos x="T6" y="T7"/>
              </a:cxn>
            </a:cxnLst>
            <a:rect l="T12" t="T13" r="T14" b="T15"/>
            <a:pathLst>
              <a:path w="453" h="227">
                <a:moveTo>
                  <a:pt x="226" y="0"/>
                </a:moveTo>
                <a:lnTo>
                  <a:pt x="0" y="226"/>
                </a:lnTo>
                <a:lnTo>
                  <a:pt x="452" y="226"/>
                </a:lnTo>
                <a:lnTo>
                  <a:pt x="226" y="0"/>
                </a:lnTo>
              </a:path>
            </a:pathLst>
          </a:custGeom>
          <a:solidFill>
            <a:srgbClr val="6E6D5E"/>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7" name="Freeform 127"/>
          <p:cNvSpPr>
            <a:spLocks noChangeArrowheads="1"/>
          </p:cNvSpPr>
          <p:nvPr/>
        </p:nvSpPr>
        <p:spPr bwMode="auto">
          <a:xfrm>
            <a:off x="6013451" y="4878388"/>
            <a:ext cx="163513" cy="82550"/>
          </a:xfrm>
          <a:custGeom>
            <a:avLst/>
            <a:gdLst>
              <a:gd name="T0" fmla="*/ 226 w 453"/>
              <a:gd name="T1" fmla="*/ 0 h 228"/>
              <a:gd name="T2" fmla="*/ 0 w 453"/>
              <a:gd name="T3" fmla="*/ 227 h 228"/>
              <a:gd name="T4" fmla="*/ 452 w 453"/>
              <a:gd name="T5" fmla="*/ 227 h 228"/>
              <a:gd name="T6" fmla="*/ 226 w 453"/>
              <a:gd name="T7" fmla="*/ 0 h 228"/>
              <a:gd name="T8" fmla="*/ 0 60000 65536"/>
              <a:gd name="T9" fmla="*/ 0 60000 65536"/>
              <a:gd name="T10" fmla="*/ 0 60000 65536"/>
              <a:gd name="T11" fmla="*/ 0 60000 65536"/>
              <a:gd name="T12" fmla="*/ 0 w 453"/>
              <a:gd name="T13" fmla="*/ 0 h 228"/>
              <a:gd name="T14" fmla="*/ 453 w 453"/>
              <a:gd name="T15" fmla="*/ 228 h 228"/>
            </a:gdLst>
            <a:ahLst/>
            <a:cxnLst>
              <a:cxn ang="T8">
                <a:pos x="T0" y="T1"/>
              </a:cxn>
              <a:cxn ang="T9">
                <a:pos x="T2" y="T3"/>
              </a:cxn>
              <a:cxn ang="T10">
                <a:pos x="T4" y="T5"/>
              </a:cxn>
              <a:cxn ang="T11">
                <a:pos x="T6" y="T7"/>
              </a:cxn>
            </a:cxnLst>
            <a:rect l="T12" t="T13" r="T14" b="T15"/>
            <a:pathLst>
              <a:path w="453" h="228">
                <a:moveTo>
                  <a:pt x="226" y="0"/>
                </a:moveTo>
                <a:lnTo>
                  <a:pt x="0" y="227"/>
                </a:lnTo>
                <a:lnTo>
                  <a:pt x="452" y="227"/>
                </a:lnTo>
                <a:lnTo>
                  <a:pt x="226" y="0"/>
                </a:lnTo>
              </a:path>
            </a:pathLst>
          </a:custGeom>
          <a:solidFill>
            <a:srgbClr val="6E6D5E"/>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8" name="Freeform 128"/>
          <p:cNvSpPr>
            <a:spLocks noChangeArrowheads="1"/>
          </p:cNvSpPr>
          <p:nvPr/>
        </p:nvSpPr>
        <p:spPr bwMode="auto">
          <a:xfrm>
            <a:off x="6013451" y="4721226"/>
            <a:ext cx="163513" cy="80963"/>
          </a:xfrm>
          <a:custGeom>
            <a:avLst/>
            <a:gdLst>
              <a:gd name="T0" fmla="*/ 226 w 453"/>
              <a:gd name="T1" fmla="*/ 0 h 227"/>
              <a:gd name="T2" fmla="*/ 0 w 453"/>
              <a:gd name="T3" fmla="*/ 226 h 227"/>
              <a:gd name="T4" fmla="*/ 452 w 453"/>
              <a:gd name="T5" fmla="*/ 226 h 227"/>
              <a:gd name="T6" fmla="*/ 226 w 453"/>
              <a:gd name="T7" fmla="*/ 0 h 227"/>
              <a:gd name="T8" fmla="*/ 0 60000 65536"/>
              <a:gd name="T9" fmla="*/ 0 60000 65536"/>
              <a:gd name="T10" fmla="*/ 0 60000 65536"/>
              <a:gd name="T11" fmla="*/ 0 60000 65536"/>
              <a:gd name="T12" fmla="*/ 0 w 453"/>
              <a:gd name="T13" fmla="*/ 0 h 227"/>
              <a:gd name="T14" fmla="*/ 453 w 453"/>
              <a:gd name="T15" fmla="*/ 227 h 227"/>
            </a:gdLst>
            <a:ahLst/>
            <a:cxnLst>
              <a:cxn ang="T8">
                <a:pos x="T0" y="T1"/>
              </a:cxn>
              <a:cxn ang="T9">
                <a:pos x="T2" y="T3"/>
              </a:cxn>
              <a:cxn ang="T10">
                <a:pos x="T4" y="T5"/>
              </a:cxn>
              <a:cxn ang="T11">
                <a:pos x="T6" y="T7"/>
              </a:cxn>
            </a:cxnLst>
            <a:rect l="T12" t="T13" r="T14" b="T15"/>
            <a:pathLst>
              <a:path w="453" h="227">
                <a:moveTo>
                  <a:pt x="226" y="0"/>
                </a:moveTo>
                <a:lnTo>
                  <a:pt x="0" y="226"/>
                </a:lnTo>
                <a:lnTo>
                  <a:pt x="452" y="226"/>
                </a:lnTo>
                <a:lnTo>
                  <a:pt x="226" y="0"/>
                </a:lnTo>
              </a:path>
            </a:pathLst>
          </a:custGeom>
          <a:solidFill>
            <a:srgbClr val="6E6D5E"/>
          </a:solidFill>
          <a:ln w="9525">
            <a:noFill/>
            <a:bevel/>
            <a:headEnd/>
            <a:tailEnd/>
          </a:ln>
        </p:spPr>
        <p:txBody>
          <a:bodyPr wrap="none" anchor="ctr">
            <a:prstTxWarp prst="textNoShape">
              <a:avLst/>
            </a:prstTxWarp>
          </a:bodyPr>
          <a:lstStyle/>
          <a:p>
            <a:pPr>
              <a:buNone/>
            </a:pPr>
            <a:endParaRPr lang="en-US" dirty="0">
              <a:latin typeface="Arial" pitchFamily="34" charset="0"/>
              <a:cs typeface="Arial" pitchFamily="34" charset="0"/>
            </a:endParaRPr>
          </a:p>
        </p:txBody>
      </p:sp>
      <p:sp>
        <p:nvSpPr>
          <p:cNvPr id="99" name="Text Box 59"/>
          <p:cNvSpPr txBox="1">
            <a:spLocks noChangeAspect="1" noChangeArrowheads="1"/>
          </p:cNvSpPr>
          <p:nvPr/>
        </p:nvSpPr>
        <p:spPr bwMode="auto">
          <a:xfrm>
            <a:off x="3847385" y="2126507"/>
            <a:ext cx="1134191" cy="368100"/>
          </a:xfrm>
          <a:prstGeom prst="rect">
            <a:avLst/>
          </a:prstGeom>
          <a:noFill/>
          <a:ln w="9525">
            <a:noFill/>
            <a:round/>
            <a:headEnd/>
            <a:tailEnd/>
          </a:ln>
        </p:spPr>
        <p:txBody>
          <a:bodyPr lIns="0" tIns="6173" rIns="0" bIns="0">
            <a:prstTxWarp prst="textNoShape">
              <a:avLst/>
            </a:prstTxWarp>
          </a:bodyPr>
          <a:lstStyle/>
          <a:p>
            <a:pPr algn="ctr">
              <a:lnSpc>
                <a:spcPts val="1200"/>
              </a:lnSpc>
              <a:tabLst>
                <a:tab pos="723900" algn="l"/>
              </a:tabLst>
            </a:pPr>
            <a:r>
              <a:rPr lang="en-US" sz="1100" dirty="0">
                <a:solidFill>
                  <a:srgbClr val="6E6D5E"/>
                </a:solidFill>
                <a:latin typeface="Arial" pitchFamily="34" charset="0"/>
                <a:ea typeface="'Arial-BoldMT'" charset="0"/>
                <a:cs typeface="Arial" pitchFamily="34" charset="0"/>
              </a:rPr>
              <a:t>Reduction in Time to Market </a:t>
            </a:r>
          </a:p>
        </p:txBody>
      </p:sp>
      <p:sp>
        <p:nvSpPr>
          <p:cNvPr id="100" name="Text Box 59"/>
          <p:cNvSpPr txBox="1">
            <a:spLocks noChangeAspect="1" noChangeArrowheads="1"/>
          </p:cNvSpPr>
          <p:nvPr/>
        </p:nvSpPr>
        <p:spPr bwMode="auto">
          <a:xfrm>
            <a:off x="7239815" y="2126507"/>
            <a:ext cx="862786" cy="368101"/>
          </a:xfrm>
          <a:prstGeom prst="rect">
            <a:avLst/>
          </a:prstGeom>
          <a:noFill/>
          <a:ln w="9525">
            <a:noFill/>
            <a:round/>
            <a:headEnd/>
            <a:tailEnd/>
          </a:ln>
        </p:spPr>
        <p:txBody>
          <a:bodyPr lIns="0" tIns="6173" rIns="0" bIns="0">
            <a:prstTxWarp prst="textNoShape">
              <a:avLst/>
            </a:prstTxWarp>
          </a:bodyPr>
          <a:lstStyle/>
          <a:p>
            <a:pPr algn="ctr">
              <a:lnSpc>
                <a:spcPts val="1200"/>
              </a:lnSpc>
              <a:tabLst>
                <a:tab pos="723900" algn="l"/>
              </a:tabLst>
            </a:pPr>
            <a:r>
              <a:rPr lang="en-US" sz="1100" dirty="0">
                <a:solidFill>
                  <a:srgbClr val="6E6D5E"/>
                </a:solidFill>
                <a:latin typeface="Arial" pitchFamily="34" charset="0"/>
                <a:ea typeface="'Arial-BoldMT'" charset="0"/>
                <a:cs typeface="Arial" pitchFamily="34" charset="0"/>
              </a:rPr>
              <a:t>Management of risk</a:t>
            </a:r>
          </a:p>
        </p:txBody>
      </p:sp>
      <p:sp>
        <p:nvSpPr>
          <p:cNvPr id="101" name="Text Box 59"/>
          <p:cNvSpPr txBox="1">
            <a:spLocks noChangeAspect="1" noChangeArrowheads="1"/>
          </p:cNvSpPr>
          <p:nvPr/>
        </p:nvSpPr>
        <p:spPr bwMode="auto">
          <a:xfrm>
            <a:off x="2578525" y="3320459"/>
            <a:ext cx="1832441" cy="350235"/>
          </a:xfrm>
          <a:prstGeom prst="rect">
            <a:avLst/>
          </a:prstGeom>
          <a:noFill/>
          <a:ln w="9525">
            <a:noFill/>
            <a:round/>
            <a:headEnd/>
            <a:tailEnd/>
          </a:ln>
        </p:spPr>
        <p:txBody>
          <a:bodyPr lIns="0" tIns="6173" rIns="0" bIns="0">
            <a:prstTxWarp prst="textNoShape">
              <a:avLst/>
            </a:prstTxWarp>
          </a:bodyPr>
          <a:lstStyle/>
          <a:p>
            <a:pPr algn="ctr">
              <a:tabLst>
                <a:tab pos="723900" algn="l"/>
              </a:tabLst>
            </a:pPr>
            <a:r>
              <a:rPr lang="en-US" sz="1100" dirty="0">
                <a:solidFill>
                  <a:srgbClr val="6E6D5E"/>
                </a:solidFill>
                <a:latin typeface="Arial" pitchFamily="34" charset="0"/>
                <a:ea typeface="'Arial-BoldMT'" charset="0"/>
                <a:cs typeface="Arial" pitchFamily="34" charset="0"/>
              </a:rPr>
              <a:t>Stay ahead of technical &amp;  regulatory developments</a:t>
            </a:r>
          </a:p>
        </p:txBody>
      </p:sp>
      <p:sp>
        <p:nvSpPr>
          <p:cNvPr id="102" name="Text Box 59"/>
          <p:cNvSpPr txBox="1">
            <a:spLocks noChangeAspect="1" noChangeArrowheads="1"/>
          </p:cNvSpPr>
          <p:nvPr/>
        </p:nvSpPr>
        <p:spPr bwMode="auto">
          <a:xfrm>
            <a:off x="7753159" y="3320459"/>
            <a:ext cx="1762315" cy="350235"/>
          </a:xfrm>
          <a:prstGeom prst="rect">
            <a:avLst/>
          </a:prstGeom>
          <a:noFill/>
          <a:ln w="9525">
            <a:noFill/>
            <a:round/>
            <a:headEnd/>
            <a:tailEnd/>
          </a:ln>
        </p:spPr>
        <p:txBody>
          <a:bodyPr lIns="0" tIns="6173" rIns="0" bIns="0">
            <a:prstTxWarp prst="textNoShape">
              <a:avLst/>
            </a:prstTxWarp>
          </a:bodyPr>
          <a:lstStyle/>
          <a:p>
            <a:pPr algn="ctr">
              <a:tabLst>
                <a:tab pos="723900" algn="l"/>
                <a:tab pos="1447800" algn="l"/>
              </a:tabLst>
            </a:pPr>
            <a:r>
              <a:rPr lang="en-US" sz="1100" dirty="0">
                <a:solidFill>
                  <a:srgbClr val="6E6D5E"/>
                </a:solidFill>
                <a:ea typeface="'Arial-BoldMT'" charset="0"/>
                <a:cs typeface="Arial" pitchFamily="34" charset="0"/>
              </a:rPr>
              <a:t>Sustainability enhances brand equity and shareholder value</a:t>
            </a:r>
          </a:p>
          <a:p>
            <a:pPr algn="ctr">
              <a:tabLst>
                <a:tab pos="723900" algn="l"/>
                <a:tab pos="1447800" algn="l"/>
              </a:tabLst>
            </a:pPr>
            <a:r>
              <a:rPr lang="en-US" sz="1100" dirty="0">
                <a:solidFill>
                  <a:srgbClr val="6E6D5E"/>
                </a:solidFill>
                <a:ea typeface="'Arial-BoldMT'" charset="0"/>
                <a:cs typeface="Arial" pitchFamily="34" charset="0"/>
              </a:rPr>
              <a:t> </a:t>
            </a:r>
          </a:p>
          <a:p>
            <a:pPr algn="ctr">
              <a:tabLst>
                <a:tab pos="723900" algn="l"/>
                <a:tab pos="1447800" algn="l"/>
              </a:tabLst>
            </a:pPr>
            <a:r>
              <a:rPr lang="en-US" sz="1100" dirty="0">
                <a:solidFill>
                  <a:srgbClr val="6E6D5E"/>
                </a:solidFill>
                <a:latin typeface="Arial" pitchFamily="34" charset="0"/>
                <a:ea typeface="'Arial-BoldMT'" charset="0"/>
                <a:cs typeface="Arial" pitchFamily="34" charset="0"/>
              </a:rPr>
              <a:t> </a:t>
            </a:r>
          </a:p>
        </p:txBody>
      </p:sp>
      <p:sp>
        <p:nvSpPr>
          <p:cNvPr id="103" name="Text Box 59"/>
          <p:cNvSpPr txBox="1">
            <a:spLocks noChangeAspect="1" noChangeArrowheads="1"/>
          </p:cNvSpPr>
          <p:nvPr/>
        </p:nvSpPr>
        <p:spPr bwMode="auto">
          <a:xfrm>
            <a:off x="3450596" y="4801696"/>
            <a:ext cx="1276022" cy="350235"/>
          </a:xfrm>
          <a:prstGeom prst="rect">
            <a:avLst/>
          </a:prstGeom>
          <a:noFill/>
          <a:ln w="9525">
            <a:noFill/>
            <a:round/>
            <a:headEnd/>
            <a:tailEnd/>
          </a:ln>
        </p:spPr>
        <p:txBody>
          <a:bodyPr lIns="0" tIns="6173" rIns="0" bIns="0">
            <a:prstTxWarp prst="textNoShape">
              <a:avLst/>
            </a:prstTxWarp>
          </a:bodyPr>
          <a:lstStyle/>
          <a:p>
            <a:pPr algn="ctr">
              <a:tabLst>
                <a:tab pos="723900" algn="l"/>
              </a:tabLst>
            </a:pPr>
            <a:r>
              <a:rPr lang="en-US" sz="1100" dirty="0">
                <a:solidFill>
                  <a:srgbClr val="6E6D5E"/>
                </a:solidFill>
                <a:latin typeface="Arial" pitchFamily="34" charset="0"/>
                <a:ea typeface="'Arial-BoldMT'" charset="0"/>
                <a:cs typeface="Arial" pitchFamily="34" charset="0"/>
              </a:rPr>
              <a:t>Consistent approach globally</a:t>
            </a:r>
          </a:p>
        </p:txBody>
      </p:sp>
      <p:sp>
        <p:nvSpPr>
          <p:cNvPr id="104" name="Text Box 59"/>
          <p:cNvSpPr txBox="1">
            <a:spLocks noChangeAspect="1" noChangeArrowheads="1"/>
          </p:cNvSpPr>
          <p:nvPr/>
        </p:nvSpPr>
        <p:spPr bwMode="auto">
          <a:xfrm>
            <a:off x="7391400" y="4801696"/>
            <a:ext cx="2124074" cy="556663"/>
          </a:xfrm>
          <a:prstGeom prst="rect">
            <a:avLst/>
          </a:prstGeom>
          <a:noFill/>
          <a:ln w="9525">
            <a:noFill/>
            <a:round/>
            <a:headEnd/>
            <a:tailEnd/>
          </a:ln>
        </p:spPr>
        <p:txBody>
          <a:bodyPr lIns="0" tIns="6173" rIns="0" bIns="0">
            <a:prstTxWarp prst="textNoShape">
              <a:avLst/>
            </a:prstTxWarp>
          </a:bodyPr>
          <a:lstStyle/>
          <a:p>
            <a:pPr algn="ctr">
              <a:tabLst>
                <a:tab pos="723900" algn="l"/>
              </a:tabLst>
            </a:pPr>
            <a:r>
              <a:rPr lang="en-US" sz="1100" dirty="0">
                <a:solidFill>
                  <a:srgbClr val="6E6D5E"/>
                </a:solidFill>
                <a:latin typeface="Arial" pitchFamily="34" charset="0"/>
                <a:ea typeface="'Arial-BoldMT'" charset="0"/>
                <a:cs typeface="Arial" pitchFamily="34" charset="0"/>
              </a:rPr>
              <a:t>Leverage disruptive technologies, shifting sourcing patterns &amp; supply chain optimization</a:t>
            </a:r>
          </a:p>
        </p:txBody>
      </p:sp>
      <p:sp>
        <p:nvSpPr>
          <p:cNvPr id="105" name="Text Box 59"/>
          <p:cNvSpPr txBox="1">
            <a:spLocks noChangeAspect="1" noChangeArrowheads="1"/>
          </p:cNvSpPr>
          <p:nvPr/>
        </p:nvSpPr>
        <p:spPr bwMode="auto">
          <a:xfrm>
            <a:off x="5204854" y="3457099"/>
            <a:ext cx="643212" cy="350235"/>
          </a:xfrm>
          <a:prstGeom prst="rect">
            <a:avLst/>
          </a:prstGeom>
          <a:noFill/>
          <a:ln w="9525">
            <a:noFill/>
            <a:round/>
            <a:headEnd/>
            <a:tailEnd/>
          </a:ln>
        </p:spPr>
        <p:txBody>
          <a:bodyPr lIns="0" tIns="6173" rIns="0" bIns="0">
            <a:prstTxWarp prst="textNoShape">
              <a:avLst/>
            </a:prstTxWarp>
          </a:bodyPr>
          <a:lstStyle/>
          <a:p>
            <a:pPr algn="ctr">
              <a:buNone/>
            </a:pPr>
            <a:r>
              <a:rPr lang="en-US" sz="800" dirty="0">
                <a:latin typeface="Arial" pitchFamily="34" charset="0"/>
                <a:ea typeface="'Arial-BoldMT'" charset="0"/>
                <a:cs typeface="Arial" pitchFamily="34" charset="0"/>
              </a:rPr>
              <a:t>Client Alignment</a:t>
            </a:r>
          </a:p>
        </p:txBody>
      </p:sp>
      <p:sp>
        <p:nvSpPr>
          <p:cNvPr id="106" name="Text Box 59"/>
          <p:cNvSpPr txBox="1">
            <a:spLocks noChangeAspect="1" noChangeArrowheads="1"/>
          </p:cNvSpPr>
          <p:nvPr/>
        </p:nvSpPr>
        <p:spPr bwMode="auto">
          <a:xfrm>
            <a:off x="6305924" y="3457099"/>
            <a:ext cx="643212" cy="350235"/>
          </a:xfrm>
          <a:prstGeom prst="rect">
            <a:avLst/>
          </a:prstGeom>
          <a:noFill/>
          <a:ln w="9525">
            <a:noFill/>
            <a:round/>
            <a:headEnd/>
            <a:tailEnd/>
          </a:ln>
        </p:spPr>
        <p:txBody>
          <a:bodyPr lIns="0" tIns="6173" rIns="0" bIns="0">
            <a:prstTxWarp prst="textNoShape">
              <a:avLst/>
            </a:prstTxWarp>
          </a:bodyPr>
          <a:lstStyle/>
          <a:p>
            <a:pPr algn="ctr">
              <a:buNone/>
            </a:pPr>
            <a:r>
              <a:rPr lang="en-US" sz="800" dirty="0">
                <a:latin typeface="Arial" pitchFamily="34" charset="0"/>
                <a:ea typeface="'Arial-BoldMT'" charset="0"/>
                <a:cs typeface="Arial" pitchFamily="34" charset="0"/>
              </a:rPr>
              <a:t>Technical Leadership</a:t>
            </a:r>
          </a:p>
        </p:txBody>
      </p:sp>
      <p:sp>
        <p:nvSpPr>
          <p:cNvPr id="107" name="Text Box 59"/>
          <p:cNvSpPr txBox="1">
            <a:spLocks noChangeAspect="1" noChangeArrowheads="1"/>
          </p:cNvSpPr>
          <p:nvPr/>
        </p:nvSpPr>
        <p:spPr bwMode="auto">
          <a:xfrm>
            <a:off x="5766659" y="4326093"/>
            <a:ext cx="643212" cy="350235"/>
          </a:xfrm>
          <a:prstGeom prst="rect">
            <a:avLst/>
          </a:prstGeom>
          <a:noFill/>
          <a:ln w="9525">
            <a:noFill/>
            <a:round/>
            <a:headEnd/>
            <a:tailEnd/>
          </a:ln>
        </p:spPr>
        <p:txBody>
          <a:bodyPr lIns="0" tIns="6173" rIns="0" bIns="0">
            <a:prstTxWarp prst="textNoShape">
              <a:avLst/>
            </a:prstTxWarp>
          </a:bodyPr>
          <a:lstStyle/>
          <a:p>
            <a:pPr algn="ctr">
              <a:buNone/>
            </a:pPr>
            <a:r>
              <a:rPr lang="en-US" sz="800" dirty="0">
                <a:latin typeface="Arial" pitchFamily="34" charset="0"/>
                <a:ea typeface="'Arial-BoldMT'" charset="0"/>
                <a:cs typeface="Arial" pitchFamily="34" charset="0"/>
              </a:rPr>
              <a:t>Decision Support</a:t>
            </a:r>
          </a:p>
        </p:txBody>
      </p:sp>
      <p:sp>
        <p:nvSpPr>
          <p:cNvPr id="109" name="Text Box 59"/>
          <p:cNvSpPr txBox="1">
            <a:spLocks noChangeAspect="1" noChangeArrowheads="1"/>
          </p:cNvSpPr>
          <p:nvPr/>
        </p:nvSpPr>
        <p:spPr bwMode="auto">
          <a:xfrm>
            <a:off x="5766659" y="3764780"/>
            <a:ext cx="643212" cy="350235"/>
          </a:xfrm>
          <a:prstGeom prst="rect">
            <a:avLst/>
          </a:prstGeom>
          <a:noFill/>
          <a:ln w="9525">
            <a:noFill/>
            <a:round/>
            <a:headEnd/>
            <a:tailEnd/>
          </a:ln>
        </p:spPr>
        <p:txBody>
          <a:bodyPr lIns="0" tIns="6173" rIns="0" bIns="0">
            <a:prstTxWarp prst="textNoShape">
              <a:avLst/>
            </a:prstTxWarp>
          </a:bodyPr>
          <a:lstStyle/>
          <a:p>
            <a:pPr algn="ctr">
              <a:buNone/>
            </a:pPr>
            <a:r>
              <a:rPr lang="en-US" sz="800" dirty="0">
                <a:latin typeface="Arial" pitchFamily="34" charset="0"/>
                <a:ea typeface="'Arial-BoldMT'" charset="0"/>
                <a:cs typeface="Arial" pitchFamily="34" charset="0"/>
              </a:rPr>
              <a:t>Operational Excellence</a:t>
            </a:r>
          </a:p>
        </p:txBody>
      </p:sp>
      <p:pic>
        <p:nvPicPr>
          <p:cNvPr id="110" name="Picture 2" descr="C:\Users\chbaird\AppData\Local\Temp\notes20EFEB\Technical_Leadership_00001.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369619" y="3028899"/>
            <a:ext cx="574740" cy="431055"/>
          </a:xfrm>
          <a:prstGeom prst="rect">
            <a:avLst/>
          </a:prstGeom>
          <a:noFill/>
          <a:extLst>
            <a:ext uri="{909E8E84-426E-40DD-AFC4-6F175D3DCCD1}">
              <a14:hiddenFill xmlns:a14="http://schemas.microsoft.com/office/drawing/2010/main">
                <a:solidFill>
                  <a:srgbClr val="FFFFFF"/>
                </a:solidFill>
              </a14:hiddenFill>
            </a:ext>
          </a:extLst>
        </p:spPr>
      </p:pic>
      <p:grpSp>
        <p:nvGrpSpPr>
          <p:cNvPr id="111" name="Group 110"/>
          <p:cNvGrpSpPr/>
          <p:nvPr/>
        </p:nvGrpSpPr>
        <p:grpSpPr>
          <a:xfrm>
            <a:off x="5826499" y="4040975"/>
            <a:ext cx="535828" cy="259514"/>
            <a:chOff x="8138734" y="2670611"/>
            <a:chExt cx="1518439" cy="980553"/>
          </a:xfrm>
        </p:grpSpPr>
        <p:grpSp>
          <p:nvGrpSpPr>
            <p:cNvPr id="112" name="Group 111"/>
            <p:cNvGrpSpPr/>
            <p:nvPr/>
          </p:nvGrpSpPr>
          <p:grpSpPr>
            <a:xfrm>
              <a:off x="9297428" y="3148612"/>
              <a:ext cx="359745" cy="502552"/>
              <a:chOff x="7709288" y="3471668"/>
              <a:chExt cx="359745" cy="502552"/>
            </a:xfrm>
          </p:grpSpPr>
          <p:sp>
            <p:nvSpPr>
              <p:cNvPr id="123" name="Freeform 122">
                <a:hlinkClick r:id="" action="ppaction://noaction"/>
              </p:cNvPr>
              <p:cNvSpPr>
                <a:spLocks noChangeArrowheads="1"/>
              </p:cNvSpPr>
              <p:nvPr/>
            </p:nvSpPr>
            <p:spPr bwMode="auto">
              <a:xfrm>
                <a:off x="7784416" y="3471668"/>
                <a:ext cx="210934" cy="209397"/>
              </a:xfrm>
              <a:custGeom>
                <a:avLst/>
                <a:gdLst>
                  <a:gd name="T0" fmla="*/ 641 w 642"/>
                  <a:gd name="T1" fmla="*/ 320 h 641"/>
                  <a:gd name="T2" fmla="*/ 598 w 642"/>
                  <a:gd name="T3" fmla="*/ 480 h 641"/>
                  <a:gd name="T4" fmla="*/ 481 w 642"/>
                  <a:gd name="T5" fmla="*/ 597 h 641"/>
                  <a:gd name="T6" fmla="*/ 320 w 642"/>
                  <a:gd name="T7" fmla="*/ 640 h 641"/>
                  <a:gd name="T8" fmla="*/ 160 w 642"/>
                  <a:gd name="T9" fmla="*/ 597 h 641"/>
                  <a:gd name="T10" fmla="*/ 43 w 642"/>
                  <a:gd name="T11" fmla="*/ 480 h 641"/>
                  <a:gd name="T12" fmla="*/ 0 w 642"/>
                  <a:gd name="T13" fmla="*/ 320 h 641"/>
                  <a:gd name="T14" fmla="*/ 43 w 642"/>
                  <a:gd name="T15" fmla="*/ 160 h 641"/>
                  <a:gd name="T16" fmla="*/ 160 w 642"/>
                  <a:gd name="T17" fmla="*/ 43 h 641"/>
                  <a:gd name="T18" fmla="*/ 320 w 642"/>
                  <a:gd name="T19" fmla="*/ 0 h 641"/>
                  <a:gd name="T20" fmla="*/ 481 w 642"/>
                  <a:gd name="T21" fmla="*/ 43 h 641"/>
                  <a:gd name="T22" fmla="*/ 598 w 642"/>
                  <a:gd name="T23" fmla="*/ 160 h 641"/>
                  <a:gd name="T24" fmla="*/ 641 w 642"/>
                  <a:gd name="T25" fmla="*/ 320 h 6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2"/>
                  <a:gd name="T40" fmla="*/ 0 h 641"/>
                  <a:gd name="T41" fmla="*/ 642 w 642"/>
                  <a:gd name="T42" fmla="*/ 641 h 6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2" h="641">
                    <a:moveTo>
                      <a:pt x="641" y="320"/>
                    </a:moveTo>
                    <a:cubicBezTo>
                      <a:pt x="641" y="379"/>
                      <a:pt x="628" y="429"/>
                      <a:pt x="598" y="480"/>
                    </a:cubicBezTo>
                    <a:cubicBezTo>
                      <a:pt x="569" y="531"/>
                      <a:pt x="532" y="567"/>
                      <a:pt x="481" y="597"/>
                    </a:cubicBezTo>
                    <a:cubicBezTo>
                      <a:pt x="430" y="626"/>
                      <a:pt x="379" y="640"/>
                      <a:pt x="320" y="640"/>
                    </a:cubicBezTo>
                    <a:cubicBezTo>
                      <a:pt x="261" y="640"/>
                      <a:pt x="211" y="626"/>
                      <a:pt x="160" y="597"/>
                    </a:cubicBezTo>
                    <a:cubicBezTo>
                      <a:pt x="109" y="567"/>
                      <a:pt x="73" y="531"/>
                      <a:pt x="43" y="480"/>
                    </a:cubicBezTo>
                    <a:cubicBezTo>
                      <a:pt x="14" y="429"/>
                      <a:pt x="0" y="379"/>
                      <a:pt x="0" y="320"/>
                    </a:cubicBezTo>
                    <a:cubicBezTo>
                      <a:pt x="0" y="261"/>
                      <a:pt x="14" y="211"/>
                      <a:pt x="43" y="160"/>
                    </a:cubicBezTo>
                    <a:cubicBezTo>
                      <a:pt x="73" y="109"/>
                      <a:pt x="109" y="72"/>
                      <a:pt x="160" y="43"/>
                    </a:cubicBezTo>
                    <a:cubicBezTo>
                      <a:pt x="211" y="13"/>
                      <a:pt x="261" y="0"/>
                      <a:pt x="320" y="0"/>
                    </a:cubicBezTo>
                    <a:cubicBezTo>
                      <a:pt x="379" y="0"/>
                      <a:pt x="430" y="13"/>
                      <a:pt x="481" y="43"/>
                    </a:cubicBezTo>
                    <a:cubicBezTo>
                      <a:pt x="532" y="72"/>
                      <a:pt x="569" y="109"/>
                      <a:pt x="598" y="160"/>
                    </a:cubicBezTo>
                    <a:cubicBezTo>
                      <a:pt x="628" y="211"/>
                      <a:pt x="641" y="261"/>
                      <a:pt x="641" y="320"/>
                    </a:cubicBez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24" name="Freeform 123"/>
              <p:cNvSpPr>
                <a:spLocks noChangeArrowheads="1"/>
              </p:cNvSpPr>
              <p:nvPr/>
            </p:nvSpPr>
            <p:spPr bwMode="auto">
              <a:xfrm>
                <a:off x="7709288" y="3705614"/>
                <a:ext cx="359745" cy="267161"/>
              </a:xfrm>
              <a:custGeom>
                <a:avLst/>
                <a:gdLst>
                  <a:gd name="T0" fmla="*/ 969 w 1096"/>
                  <a:gd name="T1" fmla="*/ 0 h 817"/>
                  <a:gd name="T2" fmla="*/ 1095 w 1096"/>
                  <a:gd name="T3" fmla="*/ 125 h 817"/>
                  <a:gd name="T4" fmla="*/ 1095 w 1096"/>
                  <a:gd name="T5" fmla="*/ 648 h 817"/>
                  <a:gd name="T6" fmla="*/ 1095 w 1096"/>
                  <a:gd name="T7" fmla="*/ 691 h 817"/>
                  <a:gd name="T8" fmla="*/ 1095 w 1096"/>
                  <a:gd name="T9" fmla="*/ 816 h 817"/>
                  <a:gd name="T10" fmla="*/ 969 w 1096"/>
                  <a:gd name="T11" fmla="*/ 816 h 817"/>
                  <a:gd name="T12" fmla="*/ 922 w 1096"/>
                  <a:gd name="T13" fmla="*/ 816 h 817"/>
                  <a:gd name="T14" fmla="*/ 894 w 1096"/>
                  <a:gd name="T15" fmla="*/ 816 h 817"/>
                  <a:gd name="T16" fmla="*/ 214 w 1096"/>
                  <a:gd name="T17" fmla="*/ 816 h 817"/>
                  <a:gd name="T18" fmla="*/ 173 w 1096"/>
                  <a:gd name="T19" fmla="*/ 816 h 817"/>
                  <a:gd name="T20" fmla="*/ 126 w 1096"/>
                  <a:gd name="T21" fmla="*/ 816 h 817"/>
                  <a:gd name="T22" fmla="*/ 0 w 1096"/>
                  <a:gd name="T23" fmla="*/ 816 h 817"/>
                  <a:gd name="T24" fmla="*/ 0 w 1096"/>
                  <a:gd name="T25" fmla="*/ 691 h 817"/>
                  <a:gd name="T26" fmla="*/ 0 w 1096"/>
                  <a:gd name="T27" fmla="*/ 648 h 817"/>
                  <a:gd name="T28" fmla="*/ 0 w 1096"/>
                  <a:gd name="T29" fmla="*/ 125 h 817"/>
                  <a:gd name="T30" fmla="*/ 126 w 1096"/>
                  <a:gd name="T31" fmla="*/ 0 h 817"/>
                  <a:gd name="T32" fmla="*/ 214 w 1096"/>
                  <a:gd name="T33" fmla="*/ 0 h 817"/>
                  <a:gd name="T34" fmla="*/ 308 w 1096"/>
                  <a:gd name="T35" fmla="*/ 0 h 817"/>
                  <a:gd name="T36" fmla="*/ 552 w 1096"/>
                  <a:gd name="T37" fmla="*/ 69 h 817"/>
                  <a:gd name="T38" fmla="*/ 797 w 1096"/>
                  <a:gd name="T39" fmla="*/ 0 h 817"/>
                  <a:gd name="T40" fmla="*/ 846 w 1096"/>
                  <a:gd name="T41" fmla="*/ 0 h 817"/>
                  <a:gd name="T42" fmla="*/ 894 w 1096"/>
                  <a:gd name="T43" fmla="*/ 0 h 817"/>
                  <a:gd name="T44" fmla="*/ 898 w 1096"/>
                  <a:gd name="T45" fmla="*/ 0 h 817"/>
                  <a:gd name="T46" fmla="*/ 969 w 1096"/>
                  <a:gd name="T47" fmla="*/ 0 h 8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96"/>
                  <a:gd name="T73" fmla="*/ 0 h 817"/>
                  <a:gd name="T74" fmla="*/ 1096 w 1096"/>
                  <a:gd name="T75" fmla="*/ 817 h 8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96" h="817">
                    <a:moveTo>
                      <a:pt x="969" y="0"/>
                    </a:moveTo>
                    <a:cubicBezTo>
                      <a:pt x="1039" y="0"/>
                      <a:pt x="1095" y="56"/>
                      <a:pt x="1095" y="125"/>
                    </a:cubicBezTo>
                    <a:lnTo>
                      <a:pt x="1095" y="648"/>
                    </a:lnTo>
                    <a:lnTo>
                      <a:pt x="1095" y="691"/>
                    </a:lnTo>
                    <a:lnTo>
                      <a:pt x="1095" y="816"/>
                    </a:lnTo>
                    <a:lnTo>
                      <a:pt x="969" y="816"/>
                    </a:lnTo>
                    <a:lnTo>
                      <a:pt x="922" y="816"/>
                    </a:lnTo>
                    <a:lnTo>
                      <a:pt x="894" y="816"/>
                    </a:lnTo>
                    <a:lnTo>
                      <a:pt x="214" y="816"/>
                    </a:lnTo>
                    <a:lnTo>
                      <a:pt x="173" y="816"/>
                    </a:lnTo>
                    <a:lnTo>
                      <a:pt x="126" y="816"/>
                    </a:lnTo>
                    <a:lnTo>
                      <a:pt x="0" y="816"/>
                    </a:lnTo>
                    <a:lnTo>
                      <a:pt x="0" y="691"/>
                    </a:lnTo>
                    <a:lnTo>
                      <a:pt x="0" y="648"/>
                    </a:lnTo>
                    <a:lnTo>
                      <a:pt x="0" y="125"/>
                    </a:lnTo>
                    <a:cubicBezTo>
                      <a:pt x="0" y="56"/>
                      <a:pt x="57" y="0"/>
                      <a:pt x="126" y="0"/>
                    </a:cubicBezTo>
                    <a:lnTo>
                      <a:pt x="214" y="0"/>
                    </a:lnTo>
                    <a:lnTo>
                      <a:pt x="308" y="0"/>
                    </a:lnTo>
                    <a:cubicBezTo>
                      <a:pt x="379" y="44"/>
                      <a:pt x="463" y="69"/>
                      <a:pt x="552" y="69"/>
                    </a:cubicBezTo>
                    <a:cubicBezTo>
                      <a:pt x="642" y="69"/>
                      <a:pt x="726" y="44"/>
                      <a:pt x="797" y="0"/>
                    </a:cubicBezTo>
                    <a:lnTo>
                      <a:pt x="846" y="0"/>
                    </a:lnTo>
                    <a:lnTo>
                      <a:pt x="894" y="0"/>
                    </a:lnTo>
                    <a:lnTo>
                      <a:pt x="898" y="0"/>
                    </a:lnTo>
                    <a:lnTo>
                      <a:pt x="969" y="0"/>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25" name="Freeform 124"/>
              <p:cNvSpPr>
                <a:spLocks noChangeArrowheads="1"/>
              </p:cNvSpPr>
              <p:nvPr/>
            </p:nvSpPr>
            <p:spPr bwMode="auto">
              <a:xfrm>
                <a:off x="7808977" y="3789373"/>
                <a:ext cx="157478" cy="183403"/>
              </a:xfrm>
              <a:custGeom>
                <a:avLst/>
                <a:gdLst>
                  <a:gd name="T0" fmla="*/ 479 w 480"/>
                  <a:gd name="T1" fmla="*/ 351 h 562"/>
                  <a:gd name="T2" fmla="*/ 350 w 480"/>
                  <a:gd name="T3" fmla="*/ 477 h 562"/>
                  <a:gd name="T4" fmla="*/ 350 w 480"/>
                  <a:gd name="T5" fmla="*/ 561 h 562"/>
                  <a:gd name="T6" fmla="*/ 129 w 480"/>
                  <a:gd name="T7" fmla="*/ 561 h 562"/>
                  <a:gd name="T8" fmla="*/ 129 w 480"/>
                  <a:gd name="T9" fmla="*/ 477 h 562"/>
                  <a:gd name="T10" fmla="*/ 0 w 480"/>
                  <a:gd name="T11" fmla="*/ 351 h 562"/>
                  <a:gd name="T12" fmla="*/ 0 w 480"/>
                  <a:gd name="T13" fmla="*/ 132 h 562"/>
                  <a:gd name="T14" fmla="*/ 129 w 480"/>
                  <a:gd name="T15" fmla="*/ 0 h 562"/>
                  <a:gd name="T16" fmla="*/ 129 w 480"/>
                  <a:gd name="T17" fmla="*/ 265 h 562"/>
                  <a:gd name="T18" fmla="*/ 239 w 480"/>
                  <a:gd name="T19" fmla="*/ 265 h 562"/>
                  <a:gd name="T20" fmla="*/ 350 w 480"/>
                  <a:gd name="T21" fmla="*/ 265 h 562"/>
                  <a:gd name="T22" fmla="*/ 350 w 480"/>
                  <a:gd name="T23" fmla="*/ 0 h 562"/>
                  <a:gd name="T24" fmla="*/ 479 w 480"/>
                  <a:gd name="T25" fmla="*/ 132 h 562"/>
                  <a:gd name="T26" fmla="*/ 479 w 480"/>
                  <a:gd name="T27" fmla="*/ 351 h 5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0"/>
                  <a:gd name="T43" fmla="*/ 0 h 562"/>
                  <a:gd name="T44" fmla="*/ 480 w 480"/>
                  <a:gd name="T45" fmla="*/ 562 h 5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0" h="562">
                    <a:moveTo>
                      <a:pt x="479" y="351"/>
                    </a:moveTo>
                    <a:lnTo>
                      <a:pt x="350" y="477"/>
                    </a:lnTo>
                    <a:lnTo>
                      <a:pt x="350" y="561"/>
                    </a:lnTo>
                    <a:lnTo>
                      <a:pt x="129" y="561"/>
                    </a:lnTo>
                    <a:lnTo>
                      <a:pt x="129" y="477"/>
                    </a:lnTo>
                    <a:lnTo>
                      <a:pt x="0" y="351"/>
                    </a:lnTo>
                    <a:lnTo>
                      <a:pt x="0" y="132"/>
                    </a:lnTo>
                    <a:lnTo>
                      <a:pt x="129" y="0"/>
                    </a:lnTo>
                    <a:lnTo>
                      <a:pt x="129" y="265"/>
                    </a:lnTo>
                    <a:lnTo>
                      <a:pt x="239" y="265"/>
                    </a:lnTo>
                    <a:lnTo>
                      <a:pt x="350" y="265"/>
                    </a:lnTo>
                    <a:lnTo>
                      <a:pt x="350" y="0"/>
                    </a:lnTo>
                    <a:lnTo>
                      <a:pt x="479" y="132"/>
                    </a:lnTo>
                    <a:lnTo>
                      <a:pt x="479" y="351"/>
                    </a:lnTo>
                  </a:path>
                </a:pathLst>
              </a:custGeom>
              <a:solidFill>
                <a:srgbClr val="5C8B76"/>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26" name="Freeform 125">
                <a:hlinkClick r:id="" action="ppaction://noaction"/>
              </p:cNvPr>
              <p:cNvSpPr>
                <a:spLocks noChangeArrowheads="1"/>
              </p:cNvSpPr>
              <p:nvPr/>
            </p:nvSpPr>
            <p:spPr bwMode="auto">
              <a:xfrm>
                <a:off x="7791640" y="3772044"/>
                <a:ext cx="192152" cy="202176"/>
              </a:xfrm>
              <a:custGeom>
                <a:avLst/>
                <a:gdLst>
                  <a:gd name="T0" fmla="*/ 533 w 588"/>
                  <a:gd name="T1" fmla="*/ 187 h 617"/>
                  <a:gd name="T2" fmla="*/ 404 w 588"/>
                  <a:gd name="T3" fmla="*/ 55 h 617"/>
                  <a:gd name="T4" fmla="*/ 404 w 588"/>
                  <a:gd name="T5" fmla="*/ 320 h 617"/>
                  <a:gd name="T6" fmla="*/ 293 w 588"/>
                  <a:gd name="T7" fmla="*/ 320 h 617"/>
                  <a:gd name="T8" fmla="*/ 183 w 588"/>
                  <a:gd name="T9" fmla="*/ 320 h 617"/>
                  <a:gd name="T10" fmla="*/ 183 w 588"/>
                  <a:gd name="T11" fmla="*/ 55 h 617"/>
                  <a:gd name="T12" fmla="*/ 54 w 588"/>
                  <a:gd name="T13" fmla="*/ 187 h 617"/>
                  <a:gd name="T14" fmla="*/ 54 w 588"/>
                  <a:gd name="T15" fmla="*/ 406 h 617"/>
                  <a:gd name="T16" fmla="*/ 183 w 588"/>
                  <a:gd name="T17" fmla="*/ 532 h 617"/>
                  <a:gd name="T18" fmla="*/ 183 w 588"/>
                  <a:gd name="T19" fmla="*/ 616 h 617"/>
                  <a:gd name="T20" fmla="*/ 129 w 588"/>
                  <a:gd name="T21" fmla="*/ 616 h 617"/>
                  <a:gd name="T22" fmla="*/ 129 w 588"/>
                  <a:gd name="T23" fmla="*/ 554 h 617"/>
                  <a:gd name="T24" fmla="*/ 16 w 588"/>
                  <a:gd name="T25" fmla="*/ 444 h 617"/>
                  <a:gd name="T26" fmla="*/ 0 w 588"/>
                  <a:gd name="T27" fmla="*/ 406 h 617"/>
                  <a:gd name="T28" fmla="*/ 0 w 588"/>
                  <a:gd name="T29" fmla="*/ 187 h 617"/>
                  <a:gd name="T30" fmla="*/ 15 w 588"/>
                  <a:gd name="T31" fmla="*/ 150 h 617"/>
                  <a:gd name="T32" fmla="*/ 144 w 588"/>
                  <a:gd name="T33" fmla="*/ 17 h 617"/>
                  <a:gd name="T34" fmla="*/ 183 w 588"/>
                  <a:gd name="T35" fmla="*/ 0 h 617"/>
                  <a:gd name="T36" fmla="*/ 204 w 588"/>
                  <a:gd name="T37" fmla="*/ 4 h 617"/>
                  <a:gd name="T38" fmla="*/ 237 w 588"/>
                  <a:gd name="T39" fmla="*/ 55 h 617"/>
                  <a:gd name="T40" fmla="*/ 237 w 588"/>
                  <a:gd name="T41" fmla="*/ 266 h 617"/>
                  <a:gd name="T42" fmla="*/ 293 w 588"/>
                  <a:gd name="T43" fmla="*/ 266 h 617"/>
                  <a:gd name="T44" fmla="*/ 349 w 588"/>
                  <a:gd name="T45" fmla="*/ 266 h 617"/>
                  <a:gd name="T46" fmla="*/ 349 w 588"/>
                  <a:gd name="T47" fmla="*/ 55 h 617"/>
                  <a:gd name="T48" fmla="*/ 383 w 588"/>
                  <a:gd name="T49" fmla="*/ 4 h 617"/>
                  <a:gd name="T50" fmla="*/ 404 w 588"/>
                  <a:gd name="T51" fmla="*/ 0 h 617"/>
                  <a:gd name="T52" fmla="*/ 442 w 588"/>
                  <a:gd name="T53" fmla="*/ 17 h 617"/>
                  <a:gd name="T54" fmla="*/ 571 w 588"/>
                  <a:gd name="T55" fmla="*/ 150 h 617"/>
                  <a:gd name="T56" fmla="*/ 587 w 588"/>
                  <a:gd name="T57" fmla="*/ 187 h 617"/>
                  <a:gd name="T58" fmla="*/ 587 w 588"/>
                  <a:gd name="T59" fmla="*/ 406 h 617"/>
                  <a:gd name="T60" fmla="*/ 570 w 588"/>
                  <a:gd name="T61" fmla="*/ 444 h 617"/>
                  <a:gd name="T62" fmla="*/ 458 w 588"/>
                  <a:gd name="T63" fmla="*/ 555 h 617"/>
                  <a:gd name="T64" fmla="*/ 458 w 588"/>
                  <a:gd name="T65" fmla="*/ 616 h 617"/>
                  <a:gd name="T66" fmla="*/ 404 w 588"/>
                  <a:gd name="T67" fmla="*/ 616 h 617"/>
                  <a:gd name="T68" fmla="*/ 404 w 588"/>
                  <a:gd name="T69" fmla="*/ 532 h 617"/>
                  <a:gd name="T70" fmla="*/ 533 w 588"/>
                  <a:gd name="T71" fmla="*/ 406 h 617"/>
                  <a:gd name="T72" fmla="*/ 533 w 588"/>
                  <a:gd name="T73" fmla="*/ 187 h 61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8"/>
                  <a:gd name="T112" fmla="*/ 0 h 617"/>
                  <a:gd name="T113" fmla="*/ 588 w 588"/>
                  <a:gd name="T114" fmla="*/ 617 h 61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8" h="617">
                    <a:moveTo>
                      <a:pt x="533" y="187"/>
                    </a:moveTo>
                    <a:lnTo>
                      <a:pt x="404" y="55"/>
                    </a:lnTo>
                    <a:lnTo>
                      <a:pt x="404" y="320"/>
                    </a:lnTo>
                    <a:lnTo>
                      <a:pt x="293" y="320"/>
                    </a:lnTo>
                    <a:lnTo>
                      <a:pt x="183" y="320"/>
                    </a:lnTo>
                    <a:lnTo>
                      <a:pt x="183" y="55"/>
                    </a:lnTo>
                    <a:lnTo>
                      <a:pt x="54" y="187"/>
                    </a:lnTo>
                    <a:lnTo>
                      <a:pt x="54" y="406"/>
                    </a:lnTo>
                    <a:lnTo>
                      <a:pt x="183" y="532"/>
                    </a:lnTo>
                    <a:lnTo>
                      <a:pt x="183" y="616"/>
                    </a:lnTo>
                    <a:lnTo>
                      <a:pt x="129" y="616"/>
                    </a:lnTo>
                    <a:lnTo>
                      <a:pt x="129" y="554"/>
                    </a:lnTo>
                    <a:lnTo>
                      <a:pt x="16" y="444"/>
                    </a:lnTo>
                    <a:cubicBezTo>
                      <a:pt x="6" y="434"/>
                      <a:pt x="0" y="420"/>
                      <a:pt x="0" y="406"/>
                    </a:cubicBezTo>
                    <a:lnTo>
                      <a:pt x="0" y="187"/>
                    </a:lnTo>
                    <a:cubicBezTo>
                      <a:pt x="0" y="173"/>
                      <a:pt x="6" y="160"/>
                      <a:pt x="15" y="150"/>
                    </a:cubicBezTo>
                    <a:lnTo>
                      <a:pt x="144" y="17"/>
                    </a:lnTo>
                    <a:cubicBezTo>
                      <a:pt x="155" y="6"/>
                      <a:pt x="169" y="0"/>
                      <a:pt x="183" y="0"/>
                    </a:cubicBezTo>
                    <a:cubicBezTo>
                      <a:pt x="190" y="0"/>
                      <a:pt x="197" y="2"/>
                      <a:pt x="204" y="4"/>
                    </a:cubicBezTo>
                    <a:cubicBezTo>
                      <a:pt x="224" y="13"/>
                      <a:pt x="237" y="33"/>
                      <a:pt x="237" y="55"/>
                    </a:cubicBezTo>
                    <a:lnTo>
                      <a:pt x="237" y="266"/>
                    </a:lnTo>
                    <a:lnTo>
                      <a:pt x="293" y="266"/>
                    </a:lnTo>
                    <a:lnTo>
                      <a:pt x="349" y="266"/>
                    </a:lnTo>
                    <a:lnTo>
                      <a:pt x="349" y="55"/>
                    </a:lnTo>
                    <a:cubicBezTo>
                      <a:pt x="349" y="33"/>
                      <a:pt x="363" y="13"/>
                      <a:pt x="383" y="4"/>
                    </a:cubicBezTo>
                    <a:cubicBezTo>
                      <a:pt x="390" y="2"/>
                      <a:pt x="397" y="0"/>
                      <a:pt x="404" y="0"/>
                    </a:cubicBezTo>
                    <a:cubicBezTo>
                      <a:pt x="418" y="0"/>
                      <a:pt x="432" y="6"/>
                      <a:pt x="442" y="17"/>
                    </a:cubicBezTo>
                    <a:lnTo>
                      <a:pt x="571" y="150"/>
                    </a:lnTo>
                    <a:cubicBezTo>
                      <a:pt x="581" y="160"/>
                      <a:pt x="587" y="173"/>
                      <a:pt x="587" y="187"/>
                    </a:cubicBezTo>
                    <a:lnTo>
                      <a:pt x="587" y="406"/>
                    </a:lnTo>
                    <a:cubicBezTo>
                      <a:pt x="587" y="420"/>
                      <a:pt x="581" y="434"/>
                      <a:pt x="570" y="444"/>
                    </a:cubicBezTo>
                    <a:lnTo>
                      <a:pt x="458" y="555"/>
                    </a:lnTo>
                    <a:lnTo>
                      <a:pt x="458" y="616"/>
                    </a:lnTo>
                    <a:lnTo>
                      <a:pt x="404" y="616"/>
                    </a:lnTo>
                    <a:lnTo>
                      <a:pt x="404" y="532"/>
                    </a:lnTo>
                    <a:lnTo>
                      <a:pt x="533" y="406"/>
                    </a:lnTo>
                    <a:lnTo>
                      <a:pt x="533" y="187"/>
                    </a:lnTo>
                  </a:path>
                </a:pathLst>
              </a:custGeom>
              <a:solidFill>
                <a:srgbClr val="FFFFFF"/>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grpSp>
        <p:grpSp>
          <p:nvGrpSpPr>
            <p:cNvPr id="113" name="Group 112"/>
            <p:cNvGrpSpPr/>
            <p:nvPr/>
          </p:nvGrpSpPr>
          <p:grpSpPr>
            <a:xfrm>
              <a:off x="8540376" y="2670611"/>
              <a:ext cx="716599" cy="979108"/>
              <a:chOff x="6952236" y="2993667"/>
              <a:chExt cx="716599" cy="979108"/>
            </a:xfrm>
          </p:grpSpPr>
          <p:sp>
            <p:nvSpPr>
              <p:cNvPr id="119" name="Freeform 21">
                <a:hlinkClick r:id="" action="ppaction://noaction"/>
              </p:cNvPr>
              <p:cNvSpPr>
                <a:spLocks noChangeArrowheads="1"/>
              </p:cNvSpPr>
              <p:nvPr/>
            </p:nvSpPr>
            <p:spPr bwMode="auto">
              <a:xfrm>
                <a:off x="7213737" y="3464448"/>
                <a:ext cx="186373" cy="359583"/>
              </a:xfrm>
              <a:custGeom>
                <a:avLst/>
                <a:gdLst>
                  <a:gd name="T0" fmla="*/ 295 w 570"/>
                  <a:gd name="T1" fmla="*/ 0 h 1099"/>
                  <a:gd name="T2" fmla="*/ 569 w 570"/>
                  <a:gd name="T3" fmla="*/ 283 h 1099"/>
                  <a:gd name="T4" fmla="*/ 295 w 570"/>
                  <a:gd name="T5" fmla="*/ 1098 h 1099"/>
                  <a:gd name="T6" fmla="*/ 0 w 570"/>
                  <a:gd name="T7" fmla="*/ 283 h 1099"/>
                  <a:gd name="T8" fmla="*/ 295 w 570"/>
                  <a:gd name="T9" fmla="*/ 0 h 1099"/>
                  <a:gd name="T10" fmla="*/ 0 60000 65536"/>
                  <a:gd name="T11" fmla="*/ 0 60000 65536"/>
                  <a:gd name="T12" fmla="*/ 0 60000 65536"/>
                  <a:gd name="T13" fmla="*/ 0 60000 65536"/>
                  <a:gd name="T14" fmla="*/ 0 60000 65536"/>
                  <a:gd name="T15" fmla="*/ 0 w 570"/>
                  <a:gd name="T16" fmla="*/ 0 h 1099"/>
                  <a:gd name="T17" fmla="*/ 570 w 570"/>
                  <a:gd name="T18" fmla="*/ 1099 h 1099"/>
                </a:gdLst>
                <a:ahLst/>
                <a:cxnLst>
                  <a:cxn ang="T10">
                    <a:pos x="T0" y="T1"/>
                  </a:cxn>
                  <a:cxn ang="T11">
                    <a:pos x="T2" y="T3"/>
                  </a:cxn>
                  <a:cxn ang="T12">
                    <a:pos x="T4" y="T5"/>
                  </a:cxn>
                  <a:cxn ang="T13">
                    <a:pos x="T6" y="T7"/>
                  </a:cxn>
                  <a:cxn ang="T14">
                    <a:pos x="T8" y="T9"/>
                  </a:cxn>
                </a:cxnLst>
                <a:rect l="T15" t="T16" r="T17" b="T18"/>
                <a:pathLst>
                  <a:path w="570" h="1099">
                    <a:moveTo>
                      <a:pt x="295" y="0"/>
                    </a:moveTo>
                    <a:lnTo>
                      <a:pt x="569" y="283"/>
                    </a:lnTo>
                    <a:lnTo>
                      <a:pt x="295" y="1098"/>
                    </a:lnTo>
                    <a:lnTo>
                      <a:pt x="0" y="283"/>
                    </a:lnTo>
                    <a:lnTo>
                      <a:pt x="295" y="0"/>
                    </a:lnTo>
                  </a:path>
                </a:pathLst>
              </a:custGeom>
              <a:solidFill>
                <a:srgbClr val="5C8B76"/>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20" name="Freeform 22">
                <a:hlinkClick r:id="" action="ppaction://noaction"/>
              </p:cNvPr>
              <p:cNvSpPr>
                <a:spLocks noChangeArrowheads="1"/>
              </p:cNvSpPr>
              <p:nvPr/>
            </p:nvSpPr>
            <p:spPr bwMode="auto">
              <a:xfrm>
                <a:off x="7103936" y="2993667"/>
                <a:ext cx="420423" cy="418792"/>
              </a:xfrm>
              <a:custGeom>
                <a:avLst/>
                <a:gdLst>
                  <a:gd name="T0" fmla="*/ 1282 w 1283"/>
                  <a:gd name="T1" fmla="*/ 640 h 1281"/>
                  <a:gd name="T2" fmla="*/ 641 w 1283"/>
                  <a:gd name="T3" fmla="*/ 1280 h 1281"/>
                  <a:gd name="T4" fmla="*/ 0 w 1283"/>
                  <a:gd name="T5" fmla="*/ 640 h 1281"/>
                  <a:gd name="T6" fmla="*/ 641 w 1283"/>
                  <a:gd name="T7" fmla="*/ 0 h 1281"/>
                  <a:gd name="T8" fmla="*/ 1282 w 1283"/>
                  <a:gd name="T9" fmla="*/ 640 h 1281"/>
                  <a:gd name="T10" fmla="*/ 0 60000 65536"/>
                  <a:gd name="T11" fmla="*/ 0 60000 65536"/>
                  <a:gd name="T12" fmla="*/ 0 60000 65536"/>
                  <a:gd name="T13" fmla="*/ 0 60000 65536"/>
                  <a:gd name="T14" fmla="*/ 0 60000 65536"/>
                  <a:gd name="T15" fmla="*/ 0 w 1283"/>
                  <a:gd name="T16" fmla="*/ 0 h 1281"/>
                  <a:gd name="T17" fmla="*/ 1283 w 1283"/>
                  <a:gd name="T18" fmla="*/ 1281 h 1281"/>
                </a:gdLst>
                <a:ahLst/>
                <a:cxnLst>
                  <a:cxn ang="T10">
                    <a:pos x="T0" y="T1"/>
                  </a:cxn>
                  <a:cxn ang="T11">
                    <a:pos x="T2" y="T3"/>
                  </a:cxn>
                  <a:cxn ang="T12">
                    <a:pos x="T4" y="T5"/>
                  </a:cxn>
                  <a:cxn ang="T13">
                    <a:pos x="T6" y="T7"/>
                  </a:cxn>
                  <a:cxn ang="T14">
                    <a:pos x="T8" y="T9"/>
                  </a:cxn>
                </a:cxnLst>
                <a:rect l="T15" t="T16" r="T17" b="T18"/>
                <a:pathLst>
                  <a:path w="1283" h="1281">
                    <a:moveTo>
                      <a:pt x="1282" y="640"/>
                    </a:moveTo>
                    <a:cubicBezTo>
                      <a:pt x="1282" y="993"/>
                      <a:pt x="995" y="1280"/>
                      <a:pt x="641" y="1280"/>
                    </a:cubicBezTo>
                    <a:cubicBezTo>
                      <a:pt x="287" y="1280"/>
                      <a:pt x="0" y="993"/>
                      <a:pt x="0" y="640"/>
                    </a:cubicBezTo>
                    <a:cubicBezTo>
                      <a:pt x="0" y="286"/>
                      <a:pt x="287" y="0"/>
                      <a:pt x="641" y="0"/>
                    </a:cubicBezTo>
                    <a:cubicBezTo>
                      <a:pt x="995" y="0"/>
                      <a:pt x="1282" y="286"/>
                      <a:pt x="1282" y="640"/>
                    </a:cubicBez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21" name="Freeform 23">
                <a:hlinkClick r:id="" action="ppaction://noaction"/>
              </p:cNvPr>
              <p:cNvSpPr>
                <a:spLocks noChangeArrowheads="1"/>
              </p:cNvSpPr>
              <p:nvPr/>
            </p:nvSpPr>
            <p:spPr bwMode="auto">
              <a:xfrm>
                <a:off x="6952236" y="3438454"/>
                <a:ext cx="355410" cy="534321"/>
              </a:xfrm>
              <a:custGeom>
                <a:avLst/>
                <a:gdLst>
                  <a:gd name="T0" fmla="*/ 251 w 1085"/>
                  <a:gd name="T1" fmla="*/ 0 h 1633"/>
                  <a:gd name="T2" fmla="*/ 498 w 1085"/>
                  <a:gd name="T3" fmla="*/ 0 h 1633"/>
                  <a:gd name="T4" fmla="*/ 1084 w 1085"/>
                  <a:gd name="T5" fmla="*/ 1632 h 1633"/>
                  <a:gd name="T6" fmla="*/ 442 w 1085"/>
                  <a:gd name="T7" fmla="*/ 1632 h 1633"/>
                  <a:gd name="T8" fmla="*/ 251 w 1085"/>
                  <a:gd name="T9" fmla="*/ 1632 h 1633"/>
                  <a:gd name="T10" fmla="*/ 0 w 1085"/>
                  <a:gd name="T11" fmla="*/ 1632 h 1633"/>
                  <a:gd name="T12" fmla="*/ 0 w 1085"/>
                  <a:gd name="T13" fmla="*/ 1382 h 1633"/>
                  <a:gd name="T14" fmla="*/ 0 w 1085"/>
                  <a:gd name="T15" fmla="*/ 1366 h 1633"/>
                  <a:gd name="T16" fmla="*/ 0 w 1085"/>
                  <a:gd name="T17" fmla="*/ 251 h 1633"/>
                  <a:gd name="T18" fmla="*/ 251 w 1085"/>
                  <a:gd name="T19" fmla="*/ 0 h 16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85"/>
                  <a:gd name="T31" fmla="*/ 0 h 1633"/>
                  <a:gd name="T32" fmla="*/ 1085 w 1085"/>
                  <a:gd name="T33" fmla="*/ 1633 h 16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85" h="1633">
                    <a:moveTo>
                      <a:pt x="251" y="0"/>
                    </a:moveTo>
                    <a:lnTo>
                      <a:pt x="498" y="0"/>
                    </a:lnTo>
                    <a:lnTo>
                      <a:pt x="1084" y="1632"/>
                    </a:lnTo>
                    <a:lnTo>
                      <a:pt x="442" y="1632"/>
                    </a:lnTo>
                    <a:lnTo>
                      <a:pt x="251" y="1632"/>
                    </a:lnTo>
                    <a:lnTo>
                      <a:pt x="0" y="1632"/>
                    </a:lnTo>
                    <a:lnTo>
                      <a:pt x="0" y="1382"/>
                    </a:lnTo>
                    <a:lnTo>
                      <a:pt x="0" y="1366"/>
                    </a:lnTo>
                    <a:lnTo>
                      <a:pt x="0" y="251"/>
                    </a:lnTo>
                    <a:cubicBezTo>
                      <a:pt x="0" y="112"/>
                      <a:pt x="113" y="0"/>
                      <a:pt x="251" y="0"/>
                    </a:cubicBez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22" name="Freeform 24">
                <a:hlinkClick r:id="" action="ppaction://noaction"/>
              </p:cNvPr>
              <p:cNvSpPr>
                <a:spLocks noChangeArrowheads="1"/>
              </p:cNvSpPr>
              <p:nvPr/>
            </p:nvSpPr>
            <p:spPr bwMode="auto">
              <a:xfrm>
                <a:off x="7313425" y="3438454"/>
                <a:ext cx="355410" cy="534321"/>
              </a:xfrm>
              <a:custGeom>
                <a:avLst/>
                <a:gdLst>
                  <a:gd name="T0" fmla="*/ 832 w 1084"/>
                  <a:gd name="T1" fmla="*/ 0 h 1633"/>
                  <a:gd name="T2" fmla="*/ 1083 w 1084"/>
                  <a:gd name="T3" fmla="*/ 251 h 1633"/>
                  <a:gd name="T4" fmla="*/ 1083 w 1084"/>
                  <a:gd name="T5" fmla="*/ 1366 h 1633"/>
                  <a:gd name="T6" fmla="*/ 1083 w 1084"/>
                  <a:gd name="T7" fmla="*/ 1382 h 1633"/>
                  <a:gd name="T8" fmla="*/ 1083 w 1084"/>
                  <a:gd name="T9" fmla="*/ 1632 h 1633"/>
                  <a:gd name="T10" fmla="*/ 832 w 1084"/>
                  <a:gd name="T11" fmla="*/ 1632 h 1633"/>
                  <a:gd name="T12" fmla="*/ 642 w 1084"/>
                  <a:gd name="T13" fmla="*/ 1632 h 1633"/>
                  <a:gd name="T14" fmla="*/ 0 w 1084"/>
                  <a:gd name="T15" fmla="*/ 1632 h 1633"/>
                  <a:gd name="T16" fmla="*/ 586 w 1084"/>
                  <a:gd name="T17" fmla="*/ 0 h 1633"/>
                  <a:gd name="T18" fmla="*/ 832 w 1084"/>
                  <a:gd name="T19" fmla="*/ 0 h 16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84"/>
                  <a:gd name="T31" fmla="*/ 0 h 1633"/>
                  <a:gd name="T32" fmla="*/ 1084 w 1084"/>
                  <a:gd name="T33" fmla="*/ 1633 h 16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84" h="1633">
                    <a:moveTo>
                      <a:pt x="832" y="0"/>
                    </a:moveTo>
                    <a:cubicBezTo>
                      <a:pt x="971" y="0"/>
                      <a:pt x="1083" y="112"/>
                      <a:pt x="1083" y="251"/>
                    </a:cubicBezTo>
                    <a:lnTo>
                      <a:pt x="1083" y="1366"/>
                    </a:lnTo>
                    <a:lnTo>
                      <a:pt x="1083" y="1382"/>
                    </a:lnTo>
                    <a:lnTo>
                      <a:pt x="1083" y="1632"/>
                    </a:lnTo>
                    <a:lnTo>
                      <a:pt x="832" y="1632"/>
                    </a:lnTo>
                    <a:lnTo>
                      <a:pt x="642" y="1632"/>
                    </a:lnTo>
                    <a:lnTo>
                      <a:pt x="0" y="1632"/>
                    </a:lnTo>
                    <a:lnTo>
                      <a:pt x="586" y="0"/>
                    </a:lnTo>
                    <a:lnTo>
                      <a:pt x="832" y="0"/>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grpSp>
        <p:grpSp>
          <p:nvGrpSpPr>
            <p:cNvPr id="114" name="Group 113"/>
            <p:cNvGrpSpPr/>
            <p:nvPr/>
          </p:nvGrpSpPr>
          <p:grpSpPr>
            <a:xfrm>
              <a:off x="8138734" y="3118286"/>
              <a:ext cx="358300" cy="532877"/>
              <a:chOff x="6550594" y="3441342"/>
              <a:chExt cx="358300" cy="532877"/>
            </a:xfrm>
          </p:grpSpPr>
          <p:sp>
            <p:nvSpPr>
              <p:cNvPr id="115" name="Freeform 25"/>
              <p:cNvSpPr>
                <a:spLocks noChangeArrowheads="1"/>
              </p:cNvSpPr>
              <p:nvPr/>
            </p:nvSpPr>
            <p:spPr bwMode="auto">
              <a:xfrm>
                <a:off x="6561955" y="3692131"/>
                <a:ext cx="238385" cy="114086"/>
              </a:xfrm>
              <a:custGeom>
                <a:avLst/>
                <a:gdLst>
                  <a:gd name="T0" fmla="*/ 725 w 726"/>
                  <a:gd name="T1" fmla="*/ 0 h 347"/>
                  <a:gd name="T2" fmla="*/ 348 w 726"/>
                  <a:gd name="T3" fmla="*/ 346 h 347"/>
                  <a:gd name="T4" fmla="*/ 0 w 726"/>
                  <a:gd name="T5" fmla="*/ 0 h 347"/>
                  <a:gd name="T6" fmla="*/ 138 w 726"/>
                  <a:gd name="T7" fmla="*/ 0 h 347"/>
                  <a:gd name="T8" fmla="*/ 351 w 726"/>
                  <a:gd name="T9" fmla="*/ 218 h 347"/>
                  <a:gd name="T10" fmla="*/ 594 w 726"/>
                  <a:gd name="T11" fmla="*/ 0 h 347"/>
                  <a:gd name="T12" fmla="*/ 725 w 726"/>
                  <a:gd name="T13" fmla="*/ 0 h 347"/>
                  <a:gd name="T14" fmla="*/ 0 60000 65536"/>
                  <a:gd name="T15" fmla="*/ 0 60000 65536"/>
                  <a:gd name="T16" fmla="*/ 0 60000 65536"/>
                  <a:gd name="T17" fmla="*/ 0 60000 65536"/>
                  <a:gd name="T18" fmla="*/ 0 60000 65536"/>
                  <a:gd name="T19" fmla="*/ 0 60000 65536"/>
                  <a:gd name="T20" fmla="*/ 0 60000 65536"/>
                  <a:gd name="T21" fmla="*/ 0 w 726"/>
                  <a:gd name="T22" fmla="*/ 0 h 347"/>
                  <a:gd name="T23" fmla="*/ 726 w 726"/>
                  <a:gd name="T24" fmla="*/ 347 h 3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6" h="347">
                    <a:moveTo>
                      <a:pt x="725" y="0"/>
                    </a:moveTo>
                    <a:lnTo>
                      <a:pt x="348" y="346"/>
                    </a:lnTo>
                    <a:lnTo>
                      <a:pt x="0" y="0"/>
                    </a:lnTo>
                    <a:lnTo>
                      <a:pt x="138" y="0"/>
                    </a:lnTo>
                    <a:lnTo>
                      <a:pt x="351" y="218"/>
                    </a:lnTo>
                    <a:lnTo>
                      <a:pt x="594" y="0"/>
                    </a:lnTo>
                    <a:lnTo>
                      <a:pt x="725" y="0"/>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16" name="Freeform 26">
                <a:hlinkClick r:id="" action="ppaction://noaction"/>
              </p:cNvPr>
              <p:cNvSpPr>
                <a:spLocks noChangeArrowheads="1"/>
              </p:cNvSpPr>
              <p:nvPr/>
            </p:nvSpPr>
            <p:spPr bwMode="auto">
              <a:xfrm>
                <a:off x="6627166" y="3471668"/>
                <a:ext cx="209489" cy="209397"/>
              </a:xfrm>
              <a:custGeom>
                <a:avLst/>
                <a:gdLst>
                  <a:gd name="T0" fmla="*/ 639 w 640"/>
                  <a:gd name="T1" fmla="*/ 319 h 639"/>
                  <a:gd name="T2" fmla="*/ 320 w 640"/>
                  <a:gd name="T3" fmla="*/ 638 h 639"/>
                  <a:gd name="T4" fmla="*/ 0 w 640"/>
                  <a:gd name="T5" fmla="*/ 319 h 639"/>
                  <a:gd name="T6" fmla="*/ 320 w 640"/>
                  <a:gd name="T7" fmla="*/ 0 h 639"/>
                  <a:gd name="T8" fmla="*/ 639 w 640"/>
                  <a:gd name="T9" fmla="*/ 319 h 639"/>
                  <a:gd name="T10" fmla="*/ 0 60000 65536"/>
                  <a:gd name="T11" fmla="*/ 0 60000 65536"/>
                  <a:gd name="T12" fmla="*/ 0 60000 65536"/>
                  <a:gd name="T13" fmla="*/ 0 60000 65536"/>
                  <a:gd name="T14" fmla="*/ 0 60000 65536"/>
                  <a:gd name="T15" fmla="*/ 0 w 640"/>
                  <a:gd name="T16" fmla="*/ 0 h 639"/>
                  <a:gd name="T17" fmla="*/ 640 w 640"/>
                  <a:gd name="T18" fmla="*/ 639 h 639"/>
                </a:gdLst>
                <a:ahLst/>
                <a:cxnLst>
                  <a:cxn ang="T10">
                    <a:pos x="T0" y="T1"/>
                  </a:cxn>
                  <a:cxn ang="T11">
                    <a:pos x="T2" y="T3"/>
                  </a:cxn>
                  <a:cxn ang="T12">
                    <a:pos x="T4" y="T5"/>
                  </a:cxn>
                  <a:cxn ang="T13">
                    <a:pos x="T6" y="T7"/>
                  </a:cxn>
                  <a:cxn ang="T14">
                    <a:pos x="T8" y="T9"/>
                  </a:cxn>
                </a:cxnLst>
                <a:rect l="T15" t="T16" r="T17" b="T18"/>
                <a:pathLst>
                  <a:path w="640" h="639">
                    <a:moveTo>
                      <a:pt x="639" y="319"/>
                    </a:moveTo>
                    <a:cubicBezTo>
                      <a:pt x="639" y="495"/>
                      <a:pt x="496" y="638"/>
                      <a:pt x="320" y="638"/>
                    </a:cubicBezTo>
                    <a:cubicBezTo>
                      <a:pt x="143" y="638"/>
                      <a:pt x="0" y="495"/>
                      <a:pt x="0" y="319"/>
                    </a:cubicBezTo>
                    <a:cubicBezTo>
                      <a:pt x="0" y="143"/>
                      <a:pt x="143" y="0"/>
                      <a:pt x="320" y="0"/>
                    </a:cubicBezTo>
                    <a:cubicBezTo>
                      <a:pt x="496" y="0"/>
                      <a:pt x="639" y="143"/>
                      <a:pt x="639" y="319"/>
                    </a:cubicBez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17" name="Freeform 27"/>
              <p:cNvSpPr>
                <a:spLocks noChangeArrowheads="1"/>
              </p:cNvSpPr>
              <p:nvPr/>
            </p:nvSpPr>
            <p:spPr bwMode="auto">
              <a:xfrm>
                <a:off x="6586713" y="3441342"/>
                <a:ext cx="288951" cy="278713"/>
              </a:xfrm>
              <a:custGeom>
                <a:avLst/>
                <a:gdLst>
                  <a:gd name="T0" fmla="*/ 830 w 884"/>
                  <a:gd name="T1" fmla="*/ 275 h 852"/>
                  <a:gd name="T2" fmla="*/ 883 w 884"/>
                  <a:gd name="T3" fmla="*/ 358 h 852"/>
                  <a:gd name="T4" fmla="*/ 883 w 884"/>
                  <a:gd name="T5" fmla="*/ 471 h 852"/>
                  <a:gd name="T6" fmla="*/ 829 w 884"/>
                  <a:gd name="T7" fmla="*/ 555 h 852"/>
                  <a:gd name="T8" fmla="*/ 480 w 884"/>
                  <a:gd name="T9" fmla="*/ 825 h 852"/>
                  <a:gd name="T10" fmla="*/ 440 w 884"/>
                  <a:gd name="T11" fmla="*/ 851 h 852"/>
                  <a:gd name="T12" fmla="*/ 396 w 884"/>
                  <a:gd name="T13" fmla="*/ 808 h 852"/>
                  <a:gd name="T14" fmla="*/ 440 w 884"/>
                  <a:gd name="T15" fmla="*/ 764 h 852"/>
                  <a:gd name="T16" fmla="*/ 480 w 884"/>
                  <a:gd name="T17" fmla="*/ 791 h 852"/>
                  <a:gd name="T18" fmla="*/ 790 w 884"/>
                  <a:gd name="T19" fmla="*/ 560 h 852"/>
                  <a:gd name="T20" fmla="*/ 790 w 884"/>
                  <a:gd name="T21" fmla="*/ 269 h 852"/>
                  <a:gd name="T22" fmla="*/ 440 w 884"/>
                  <a:gd name="T23" fmla="*/ 36 h 852"/>
                  <a:gd name="T24" fmla="*/ 91 w 884"/>
                  <a:gd name="T25" fmla="*/ 266 h 852"/>
                  <a:gd name="T26" fmla="*/ 93 w 884"/>
                  <a:gd name="T27" fmla="*/ 266 h 852"/>
                  <a:gd name="T28" fmla="*/ 93 w 884"/>
                  <a:gd name="T29" fmla="*/ 564 h 852"/>
                  <a:gd name="T30" fmla="*/ 0 w 884"/>
                  <a:gd name="T31" fmla="*/ 471 h 852"/>
                  <a:gd name="T32" fmla="*/ 0 w 884"/>
                  <a:gd name="T33" fmla="*/ 358 h 852"/>
                  <a:gd name="T34" fmla="*/ 49 w 884"/>
                  <a:gd name="T35" fmla="*/ 277 h 852"/>
                  <a:gd name="T36" fmla="*/ 440 w 884"/>
                  <a:gd name="T37" fmla="*/ 0 h 852"/>
                  <a:gd name="T38" fmla="*/ 830 w 884"/>
                  <a:gd name="T39" fmla="*/ 275 h 8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84"/>
                  <a:gd name="T61" fmla="*/ 0 h 852"/>
                  <a:gd name="T62" fmla="*/ 884 w 884"/>
                  <a:gd name="T63" fmla="*/ 852 h 8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84" h="852">
                    <a:moveTo>
                      <a:pt x="830" y="275"/>
                    </a:moveTo>
                    <a:cubicBezTo>
                      <a:pt x="861" y="290"/>
                      <a:pt x="883" y="321"/>
                      <a:pt x="883" y="358"/>
                    </a:cubicBezTo>
                    <a:lnTo>
                      <a:pt x="883" y="471"/>
                    </a:lnTo>
                    <a:cubicBezTo>
                      <a:pt x="883" y="509"/>
                      <a:pt x="861" y="540"/>
                      <a:pt x="829" y="555"/>
                    </a:cubicBezTo>
                    <a:cubicBezTo>
                      <a:pt x="776" y="702"/>
                      <a:pt x="641" y="810"/>
                      <a:pt x="480" y="825"/>
                    </a:cubicBezTo>
                    <a:cubicBezTo>
                      <a:pt x="473" y="840"/>
                      <a:pt x="458" y="851"/>
                      <a:pt x="440" y="851"/>
                    </a:cubicBezTo>
                    <a:cubicBezTo>
                      <a:pt x="416" y="851"/>
                      <a:pt x="396" y="831"/>
                      <a:pt x="396" y="808"/>
                    </a:cubicBezTo>
                    <a:cubicBezTo>
                      <a:pt x="396" y="784"/>
                      <a:pt x="416" y="764"/>
                      <a:pt x="440" y="764"/>
                    </a:cubicBezTo>
                    <a:cubicBezTo>
                      <a:pt x="458" y="764"/>
                      <a:pt x="474" y="775"/>
                      <a:pt x="480" y="791"/>
                    </a:cubicBezTo>
                    <a:cubicBezTo>
                      <a:pt x="620" y="776"/>
                      <a:pt x="738" y="685"/>
                      <a:pt x="790" y="560"/>
                    </a:cubicBezTo>
                    <a:lnTo>
                      <a:pt x="790" y="269"/>
                    </a:lnTo>
                    <a:cubicBezTo>
                      <a:pt x="733" y="132"/>
                      <a:pt x="597" y="36"/>
                      <a:pt x="440" y="36"/>
                    </a:cubicBezTo>
                    <a:cubicBezTo>
                      <a:pt x="283" y="36"/>
                      <a:pt x="149" y="131"/>
                      <a:pt x="91" y="266"/>
                    </a:cubicBezTo>
                    <a:cubicBezTo>
                      <a:pt x="92" y="266"/>
                      <a:pt x="92" y="266"/>
                      <a:pt x="93" y="266"/>
                    </a:cubicBezTo>
                    <a:lnTo>
                      <a:pt x="93" y="564"/>
                    </a:lnTo>
                    <a:cubicBezTo>
                      <a:pt x="41" y="564"/>
                      <a:pt x="0" y="523"/>
                      <a:pt x="0" y="471"/>
                    </a:cubicBezTo>
                    <a:lnTo>
                      <a:pt x="0" y="358"/>
                    </a:lnTo>
                    <a:cubicBezTo>
                      <a:pt x="0" y="323"/>
                      <a:pt x="20" y="292"/>
                      <a:pt x="49" y="277"/>
                    </a:cubicBezTo>
                    <a:cubicBezTo>
                      <a:pt x="106" y="116"/>
                      <a:pt x="260" y="0"/>
                      <a:pt x="440" y="0"/>
                    </a:cubicBezTo>
                    <a:cubicBezTo>
                      <a:pt x="619" y="0"/>
                      <a:pt x="772" y="115"/>
                      <a:pt x="830" y="275"/>
                    </a:cubicBezTo>
                  </a:path>
                </a:pathLst>
              </a:custGeom>
              <a:solidFill>
                <a:srgbClr val="5C8B76"/>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18" name="Freeform 28">
                <a:hlinkClick r:id="" action="ppaction://noaction"/>
              </p:cNvPr>
              <p:cNvSpPr>
                <a:spLocks noChangeArrowheads="1"/>
              </p:cNvSpPr>
              <p:nvPr/>
            </p:nvSpPr>
            <p:spPr bwMode="auto">
              <a:xfrm>
                <a:off x="6550594" y="3708502"/>
                <a:ext cx="358300" cy="265717"/>
              </a:xfrm>
              <a:custGeom>
                <a:avLst/>
                <a:gdLst>
                  <a:gd name="T0" fmla="*/ 1008 w 1095"/>
                  <a:gd name="T1" fmla="*/ 0 h 811"/>
                  <a:gd name="T2" fmla="*/ 1094 w 1095"/>
                  <a:gd name="T3" fmla="*/ 119 h 811"/>
                  <a:gd name="T4" fmla="*/ 1094 w 1095"/>
                  <a:gd name="T5" fmla="*/ 642 h 811"/>
                  <a:gd name="T6" fmla="*/ 1094 w 1095"/>
                  <a:gd name="T7" fmla="*/ 685 h 811"/>
                  <a:gd name="T8" fmla="*/ 1094 w 1095"/>
                  <a:gd name="T9" fmla="*/ 810 h 811"/>
                  <a:gd name="T10" fmla="*/ 969 w 1095"/>
                  <a:gd name="T11" fmla="*/ 810 h 811"/>
                  <a:gd name="T12" fmla="*/ 538 w 1095"/>
                  <a:gd name="T13" fmla="*/ 810 h 811"/>
                  <a:gd name="T14" fmla="*/ 125 w 1095"/>
                  <a:gd name="T15" fmla="*/ 810 h 811"/>
                  <a:gd name="T16" fmla="*/ 0 w 1095"/>
                  <a:gd name="T17" fmla="*/ 810 h 811"/>
                  <a:gd name="T18" fmla="*/ 0 w 1095"/>
                  <a:gd name="T19" fmla="*/ 685 h 811"/>
                  <a:gd name="T20" fmla="*/ 0 w 1095"/>
                  <a:gd name="T21" fmla="*/ 642 h 811"/>
                  <a:gd name="T22" fmla="*/ 0 w 1095"/>
                  <a:gd name="T23" fmla="*/ 119 h 811"/>
                  <a:gd name="T24" fmla="*/ 84 w 1095"/>
                  <a:gd name="T25" fmla="*/ 1 h 811"/>
                  <a:gd name="T26" fmla="*/ 527 w 1095"/>
                  <a:gd name="T27" fmla="*/ 443 h 811"/>
                  <a:gd name="T28" fmla="*/ 1008 w 1095"/>
                  <a:gd name="T29" fmla="*/ 0 h 8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5"/>
                  <a:gd name="T46" fmla="*/ 0 h 811"/>
                  <a:gd name="T47" fmla="*/ 1095 w 1095"/>
                  <a:gd name="T48" fmla="*/ 811 h 8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5" h="811">
                    <a:moveTo>
                      <a:pt x="1008" y="0"/>
                    </a:moveTo>
                    <a:cubicBezTo>
                      <a:pt x="1058" y="17"/>
                      <a:pt x="1094" y="63"/>
                      <a:pt x="1094" y="119"/>
                    </a:cubicBezTo>
                    <a:lnTo>
                      <a:pt x="1094" y="642"/>
                    </a:lnTo>
                    <a:lnTo>
                      <a:pt x="1094" y="685"/>
                    </a:lnTo>
                    <a:lnTo>
                      <a:pt x="1094" y="810"/>
                    </a:lnTo>
                    <a:lnTo>
                      <a:pt x="969" y="810"/>
                    </a:lnTo>
                    <a:lnTo>
                      <a:pt x="538" y="810"/>
                    </a:lnTo>
                    <a:lnTo>
                      <a:pt x="125" y="810"/>
                    </a:lnTo>
                    <a:lnTo>
                      <a:pt x="0" y="810"/>
                    </a:lnTo>
                    <a:lnTo>
                      <a:pt x="0" y="685"/>
                    </a:lnTo>
                    <a:lnTo>
                      <a:pt x="0" y="642"/>
                    </a:lnTo>
                    <a:lnTo>
                      <a:pt x="0" y="119"/>
                    </a:lnTo>
                    <a:cubicBezTo>
                      <a:pt x="0" y="64"/>
                      <a:pt x="35" y="18"/>
                      <a:pt x="84" y="1"/>
                    </a:cubicBezTo>
                    <a:lnTo>
                      <a:pt x="527" y="443"/>
                    </a:lnTo>
                    <a:lnTo>
                      <a:pt x="1008" y="0"/>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grpSp>
      </p:grpSp>
      <p:grpSp>
        <p:nvGrpSpPr>
          <p:cNvPr id="127" name="Group 126"/>
          <p:cNvGrpSpPr/>
          <p:nvPr/>
        </p:nvGrpSpPr>
        <p:grpSpPr>
          <a:xfrm>
            <a:off x="5915562" y="3441716"/>
            <a:ext cx="347416" cy="298161"/>
            <a:chOff x="1281568" y="2878138"/>
            <a:chExt cx="1057562" cy="1210167"/>
          </a:xfrm>
        </p:grpSpPr>
        <p:sp>
          <p:nvSpPr>
            <p:cNvPr id="128" name="Freeform 127">
              <a:hlinkClick r:id="rId8" action="ppaction://hlinksldjump"/>
            </p:cNvPr>
            <p:cNvSpPr>
              <a:spLocks noChangeArrowheads="1"/>
            </p:cNvSpPr>
            <p:nvPr/>
          </p:nvSpPr>
          <p:spPr bwMode="auto">
            <a:xfrm>
              <a:off x="1281568" y="2878138"/>
              <a:ext cx="1057562" cy="1033985"/>
            </a:xfrm>
            <a:custGeom>
              <a:avLst/>
              <a:gdLst>
                <a:gd name="T0" fmla="*/ 3106 w 3226"/>
                <a:gd name="T1" fmla="*/ 631 h 3156"/>
                <a:gd name="T2" fmla="*/ 2885 w 3226"/>
                <a:gd name="T3" fmla="*/ 1409 h 3156"/>
                <a:gd name="T4" fmla="*/ 2252 w 3226"/>
                <a:gd name="T5" fmla="*/ 1681 h 3156"/>
                <a:gd name="T6" fmla="*/ 2290 w 3226"/>
                <a:gd name="T7" fmla="*/ 1644 h 3156"/>
                <a:gd name="T8" fmla="*/ 2115 w 3226"/>
                <a:gd name="T9" fmla="*/ 1770 h 3156"/>
                <a:gd name="T10" fmla="*/ 1933 w 3226"/>
                <a:gd name="T11" fmla="*/ 2854 h 3156"/>
                <a:gd name="T12" fmla="*/ 2379 w 3226"/>
                <a:gd name="T13" fmla="*/ 3155 h 3156"/>
                <a:gd name="T14" fmla="*/ 1612 w 3226"/>
                <a:gd name="T15" fmla="*/ 3155 h 3156"/>
                <a:gd name="T16" fmla="*/ 846 w 3226"/>
                <a:gd name="T17" fmla="*/ 3155 h 3156"/>
                <a:gd name="T18" fmla="*/ 1292 w 3226"/>
                <a:gd name="T19" fmla="*/ 2854 h 3156"/>
                <a:gd name="T20" fmla="*/ 1110 w 3226"/>
                <a:gd name="T21" fmla="*/ 1770 h 3156"/>
                <a:gd name="T22" fmla="*/ 934 w 3226"/>
                <a:gd name="T23" fmla="*/ 1643 h 3156"/>
                <a:gd name="T24" fmla="*/ 973 w 3226"/>
                <a:gd name="T25" fmla="*/ 1681 h 3156"/>
                <a:gd name="T26" fmla="*/ 340 w 3226"/>
                <a:gd name="T27" fmla="*/ 1409 h 3156"/>
                <a:gd name="T28" fmla="*/ 119 w 3226"/>
                <a:gd name="T29" fmla="*/ 631 h 3156"/>
                <a:gd name="T30" fmla="*/ 465 w 3226"/>
                <a:gd name="T31" fmla="*/ 332 h 3156"/>
                <a:gd name="T32" fmla="*/ 500 w 3226"/>
                <a:gd name="T33" fmla="*/ 0 h 3156"/>
                <a:gd name="T34" fmla="*/ 1613 w 3226"/>
                <a:gd name="T35" fmla="*/ 0 h 3156"/>
                <a:gd name="T36" fmla="*/ 2725 w 3226"/>
                <a:gd name="T37" fmla="*/ 0 h 3156"/>
                <a:gd name="T38" fmla="*/ 2761 w 3226"/>
                <a:gd name="T39" fmla="*/ 332 h 3156"/>
                <a:gd name="T40" fmla="*/ 3106 w 3226"/>
                <a:gd name="T41" fmla="*/ 631 h 3156"/>
                <a:gd name="T42" fmla="*/ 289 w 3226"/>
                <a:gd name="T43" fmla="*/ 713 h 3156"/>
                <a:gd name="T44" fmla="*/ 445 w 3226"/>
                <a:gd name="T45" fmla="*/ 1252 h 3156"/>
                <a:gd name="T46" fmla="*/ 712 w 3226"/>
                <a:gd name="T47" fmla="*/ 1389 h 3156"/>
                <a:gd name="T48" fmla="*/ 465 w 3226"/>
                <a:gd name="T49" fmla="*/ 539 h 3156"/>
                <a:gd name="T50" fmla="*/ 289 w 3226"/>
                <a:gd name="T51" fmla="*/ 713 h 3156"/>
                <a:gd name="T52" fmla="*/ 2781 w 3226"/>
                <a:gd name="T53" fmla="*/ 1252 h 3156"/>
                <a:gd name="T54" fmla="*/ 2936 w 3226"/>
                <a:gd name="T55" fmla="*/ 713 h 3156"/>
                <a:gd name="T56" fmla="*/ 2760 w 3226"/>
                <a:gd name="T57" fmla="*/ 539 h 3156"/>
                <a:gd name="T58" fmla="*/ 2513 w 3226"/>
                <a:gd name="T59" fmla="*/ 1389 h 3156"/>
                <a:gd name="T60" fmla="*/ 2781 w 3226"/>
                <a:gd name="T61" fmla="*/ 1252 h 3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226"/>
                <a:gd name="T94" fmla="*/ 0 h 3156"/>
                <a:gd name="T95" fmla="*/ 3226 w 3226"/>
                <a:gd name="T96" fmla="*/ 3156 h 3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226" h="3156">
                  <a:moveTo>
                    <a:pt x="3106" y="631"/>
                  </a:moveTo>
                  <a:cubicBezTo>
                    <a:pt x="3225" y="876"/>
                    <a:pt x="3117" y="1254"/>
                    <a:pt x="2885" y="1409"/>
                  </a:cubicBezTo>
                  <a:cubicBezTo>
                    <a:pt x="2696" y="1533"/>
                    <a:pt x="2473" y="1611"/>
                    <a:pt x="2252" y="1681"/>
                  </a:cubicBezTo>
                  <a:cubicBezTo>
                    <a:pt x="2265" y="1669"/>
                    <a:pt x="2277" y="1656"/>
                    <a:pt x="2290" y="1644"/>
                  </a:cubicBezTo>
                  <a:cubicBezTo>
                    <a:pt x="2237" y="1689"/>
                    <a:pt x="2180" y="1732"/>
                    <a:pt x="2115" y="1770"/>
                  </a:cubicBezTo>
                  <a:cubicBezTo>
                    <a:pt x="2115" y="1770"/>
                    <a:pt x="1569" y="2159"/>
                    <a:pt x="1933" y="2854"/>
                  </a:cubicBezTo>
                  <a:cubicBezTo>
                    <a:pt x="1933" y="2854"/>
                    <a:pt x="2373" y="2910"/>
                    <a:pt x="2379" y="3155"/>
                  </a:cubicBezTo>
                  <a:lnTo>
                    <a:pt x="1612" y="3155"/>
                  </a:lnTo>
                  <a:lnTo>
                    <a:pt x="846" y="3155"/>
                  </a:lnTo>
                  <a:cubicBezTo>
                    <a:pt x="852" y="2910"/>
                    <a:pt x="1292" y="2854"/>
                    <a:pt x="1292" y="2854"/>
                  </a:cubicBezTo>
                  <a:cubicBezTo>
                    <a:pt x="1656" y="2159"/>
                    <a:pt x="1110" y="1770"/>
                    <a:pt x="1110" y="1770"/>
                  </a:cubicBezTo>
                  <a:cubicBezTo>
                    <a:pt x="1045" y="1731"/>
                    <a:pt x="987" y="1689"/>
                    <a:pt x="934" y="1643"/>
                  </a:cubicBezTo>
                  <a:cubicBezTo>
                    <a:pt x="947" y="1656"/>
                    <a:pt x="959" y="1669"/>
                    <a:pt x="973" y="1681"/>
                  </a:cubicBezTo>
                  <a:cubicBezTo>
                    <a:pt x="752" y="1611"/>
                    <a:pt x="529" y="1533"/>
                    <a:pt x="340" y="1409"/>
                  </a:cubicBezTo>
                  <a:cubicBezTo>
                    <a:pt x="108" y="1254"/>
                    <a:pt x="0" y="876"/>
                    <a:pt x="119" y="631"/>
                  </a:cubicBezTo>
                  <a:cubicBezTo>
                    <a:pt x="179" y="506"/>
                    <a:pt x="314" y="386"/>
                    <a:pt x="465" y="332"/>
                  </a:cubicBezTo>
                  <a:cubicBezTo>
                    <a:pt x="472" y="134"/>
                    <a:pt x="500" y="0"/>
                    <a:pt x="500" y="0"/>
                  </a:cubicBezTo>
                  <a:lnTo>
                    <a:pt x="1613" y="0"/>
                  </a:lnTo>
                  <a:lnTo>
                    <a:pt x="2725" y="0"/>
                  </a:lnTo>
                  <a:cubicBezTo>
                    <a:pt x="2725" y="0"/>
                    <a:pt x="2753" y="134"/>
                    <a:pt x="2761" y="332"/>
                  </a:cubicBezTo>
                  <a:cubicBezTo>
                    <a:pt x="2911" y="386"/>
                    <a:pt x="3046" y="506"/>
                    <a:pt x="3106" y="631"/>
                  </a:cubicBezTo>
                  <a:close/>
                  <a:moveTo>
                    <a:pt x="289" y="713"/>
                  </a:moveTo>
                  <a:cubicBezTo>
                    <a:pt x="211" y="873"/>
                    <a:pt x="291" y="1150"/>
                    <a:pt x="445" y="1252"/>
                  </a:cubicBezTo>
                  <a:cubicBezTo>
                    <a:pt x="526" y="1305"/>
                    <a:pt x="617" y="1349"/>
                    <a:pt x="712" y="1389"/>
                  </a:cubicBezTo>
                  <a:cubicBezTo>
                    <a:pt x="536" y="1118"/>
                    <a:pt x="477" y="802"/>
                    <a:pt x="465" y="539"/>
                  </a:cubicBezTo>
                  <a:cubicBezTo>
                    <a:pt x="388" y="582"/>
                    <a:pt x="320" y="647"/>
                    <a:pt x="289" y="713"/>
                  </a:cubicBezTo>
                  <a:close/>
                  <a:moveTo>
                    <a:pt x="2781" y="1252"/>
                  </a:moveTo>
                  <a:cubicBezTo>
                    <a:pt x="2934" y="1150"/>
                    <a:pt x="3014" y="873"/>
                    <a:pt x="2936" y="713"/>
                  </a:cubicBezTo>
                  <a:cubicBezTo>
                    <a:pt x="2905" y="647"/>
                    <a:pt x="2837" y="582"/>
                    <a:pt x="2760" y="539"/>
                  </a:cubicBezTo>
                  <a:cubicBezTo>
                    <a:pt x="2748" y="801"/>
                    <a:pt x="2689" y="1118"/>
                    <a:pt x="2513" y="1389"/>
                  </a:cubicBezTo>
                  <a:cubicBezTo>
                    <a:pt x="2608" y="1349"/>
                    <a:pt x="2699" y="1305"/>
                    <a:pt x="2781" y="1252"/>
                  </a:cubicBezTo>
                  <a:close/>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29" name="Freeform 128"/>
            <p:cNvSpPr>
              <a:spLocks noChangeArrowheads="1"/>
            </p:cNvSpPr>
            <p:nvPr/>
          </p:nvSpPr>
          <p:spPr bwMode="auto">
            <a:xfrm>
              <a:off x="1506949" y="3907790"/>
              <a:ext cx="606798" cy="180515"/>
            </a:xfrm>
            <a:custGeom>
              <a:avLst/>
              <a:gdLst>
                <a:gd name="T0" fmla="*/ 927 w 1854"/>
                <a:gd name="T1" fmla="*/ 552 h 553"/>
                <a:gd name="T2" fmla="*/ 0 w 1854"/>
                <a:gd name="T3" fmla="*/ 552 h 553"/>
                <a:gd name="T4" fmla="*/ 0 w 1854"/>
                <a:gd name="T5" fmla="*/ 0 h 553"/>
                <a:gd name="T6" fmla="*/ 1853 w 1854"/>
                <a:gd name="T7" fmla="*/ 0 h 553"/>
                <a:gd name="T8" fmla="*/ 1853 w 1854"/>
                <a:gd name="T9" fmla="*/ 552 h 553"/>
                <a:gd name="T10" fmla="*/ 927 w 1854"/>
                <a:gd name="T11" fmla="*/ 552 h 553"/>
                <a:gd name="T12" fmla="*/ 0 60000 65536"/>
                <a:gd name="T13" fmla="*/ 0 60000 65536"/>
                <a:gd name="T14" fmla="*/ 0 60000 65536"/>
                <a:gd name="T15" fmla="*/ 0 60000 65536"/>
                <a:gd name="T16" fmla="*/ 0 60000 65536"/>
                <a:gd name="T17" fmla="*/ 0 60000 65536"/>
                <a:gd name="T18" fmla="*/ 0 w 1854"/>
                <a:gd name="T19" fmla="*/ 0 h 553"/>
                <a:gd name="T20" fmla="*/ 1854 w 1854"/>
                <a:gd name="T21" fmla="*/ 553 h 553"/>
              </a:gdLst>
              <a:ahLst/>
              <a:cxnLst>
                <a:cxn ang="T12">
                  <a:pos x="T0" y="T1"/>
                </a:cxn>
                <a:cxn ang="T13">
                  <a:pos x="T2" y="T3"/>
                </a:cxn>
                <a:cxn ang="T14">
                  <a:pos x="T4" y="T5"/>
                </a:cxn>
                <a:cxn ang="T15">
                  <a:pos x="T6" y="T7"/>
                </a:cxn>
                <a:cxn ang="T16">
                  <a:pos x="T8" y="T9"/>
                </a:cxn>
                <a:cxn ang="T17">
                  <a:pos x="T10" y="T11"/>
                </a:cxn>
              </a:cxnLst>
              <a:rect l="T18" t="T19" r="T20" b="T21"/>
              <a:pathLst>
                <a:path w="1854" h="553">
                  <a:moveTo>
                    <a:pt x="927" y="552"/>
                  </a:moveTo>
                  <a:lnTo>
                    <a:pt x="0" y="552"/>
                  </a:lnTo>
                  <a:lnTo>
                    <a:pt x="0" y="0"/>
                  </a:lnTo>
                  <a:lnTo>
                    <a:pt x="1853" y="0"/>
                  </a:lnTo>
                  <a:lnTo>
                    <a:pt x="1853" y="552"/>
                  </a:lnTo>
                  <a:lnTo>
                    <a:pt x="927" y="552"/>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0" name="Freeform 129">
              <a:hlinkClick r:id="rId8" action="ppaction://hlinksldjump"/>
            </p:cNvPr>
            <p:cNvSpPr>
              <a:spLocks noChangeArrowheads="1"/>
            </p:cNvSpPr>
            <p:nvPr/>
          </p:nvSpPr>
          <p:spPr bwMode="auto">
            <a:xfrm>
              <a:off x="1538734" y="3942448"/>
              <a:ext cx="543228" cy="111198"/>
            </a:xfrm>
            <a:custGeom>
              <a:avLst/>
              <a:gdLst>
                <a:gd name="T0" fmla="*/ 829 w 1660"/>
                <a:gd name="T1" fmla="*/ 339 h 340"/>
                <a:gd name="T2" fmla="*/ 0 w 1660"/>
                <a:gd name="T3" fmla="*/ 339 h 340"/>
                <a:gd name="T4" fmla="*/ 0 w 1660"/>
                <a:gd name="T5" fmla="*/ 0 h 340"/>
                <a:gd name="T6" fmla="*/ 1659 w 1660"/>
                <a:gd name="T7" fmla="*/ 0 h 340"/>
                <a:gd name="T8" fmla="*/ 1659 w 1660"/>
                <a:gd name="T9" fmla="*/ 339 h 340"/>
                <a:gd name="T10" fmla="*/ 829 w 1660"/>
                <a:gd name="T11" fmla="*/ 339 h 340"/>
                <a:gd name="T12" fmla="*/ 0 60000 65536"/>
                <a:gd name="T13" fmla="*/ 0 60000 65536"/>
                <a:gd name="T14" fmla="*/ 0 60000 65536"/>
                <a:gd name="T15" fmla="*/ 0 60000 65536"/>
                <a:gd name="T16" fmla="*/ 0 60000 65536"/>
                <a:gd name="T17" fmla="*/ 0 60000 65536"/>
                <a:gd name="T18" fmla="*/ 0 w 1660"/>
                <a:gd name="T19" fmla="*/ 0 h 340"/>
                <a:gd name="T20" fmla="*/ 1660 w 1660"/>
                <a:gd name="T21" fmla="*/ 340 h 340"/>
              </a:gdLst>
              <a:ahLst/>
              <a:cxnLst>
                <a:cxn ang="T12">
                  <a:pos x="T0" y="T1"/>
                </a:cxn>
                <a:cxn ang="T13">
                  <a:pos x="T2" y="T3"/>
                </a:cxn>
                <a:cxn ang="T14">
                  <a:pos x="T4" y="T5"/>
                </a:cxn>
                <a:cxn ang="T15">
                  <a:pos x="T6" y="T7"/>
                </a:cxn>
                <a:cxn ang="T16">
                  <a:pos x="T8" y="T9"/>
                </a:cxn>
                <a:cxn ang="T17">
                  <a:pos x="T10" y="T11"/>
                </a:cxn>
              </a:cxnLst>
              <a:rect l="T18" t="T19" r="T20" b="T21"/>
              <a:pathLst>
                <a:path w="1660" h="340">
                  <a:moveTo>
                    <a:pt x="829" y="339"/>
                  </a:moveTo>
                  <a:lnTo>
                    <a:pt x="0" y="339"/>
                  </a:lnTo>
                  <a:lnTo>
                    <a:pt x="0" y="0"/>
                  </a:lnTo>
                  <a:lnTo>
                    <a:pt x="1659" y="0"/>
                  </a:lnTo>
                  <a:lnTo>
                    <a:pt x="1659" y="339"/>
                  </a:lnTo>
                  <a:lnTo>
                    <a:pt x="829" y="339"/>
                  </a:lnTo>
                </a:path>
              </a:pathLst>
            </a:custGeom>
            <a:solidFill>
              <a:srgbClr val="5C8B76"/>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1" name="Freeform 130"/>
            <p:cNvSpPr>
              <a:spLocks noChangeArrowheads="1"/>
            </p:cNvSpPr>
            <p:nvPr/>
          </p:nvSpPr>
          <p:spPr bwMode="auto">
            <a:xfrm>
              <a:off x="1626864" y="2996555"/>
              <a:ext cx="366968" cy="371136"/>
            </a:xfrm>
            <a:custGeom>
              <a:avLst/>
              <a:gdLst>
                <a:gd name="T0" fmla="*/ 355 w 1120"/>
                <a:gd name="T1" fmla="*/ 39 h 1135"/>
                <a:gd name="T2" fmla="*/ 397 w 1120"/>
                <a:gd name="T3" fmla="*/ 24 h 1135"/>
                <a:gd name="T4" fmla="*/ 560 w 1120"/>
                <a:gd name="T5" fmla="*/ 0 h 1135"/>
                <a:gd name="T6" fmla="*/ 862 w 1120"/>
                <a:gd name="T7" fmla="*/ 88 h 1135"/>
                <a:gd name="T8" fmla="*/ 865 w 1120"/>
                <a:gd name="T9" fmla="*/ 91 h 1135"/>
                <a:gd name="T10" fmla="*/ 865 w 1120"/>
                <a:gd name="T11" fmla="*/ 91 h 1135"/>
                <a:gd name="T12" fmla="*/ 1112 w 1120"/>
                <a:gd name="T13" fmla="*/ 492 h 1135"/>
                <a:gd name="T14" fmla="*/ 1115 w 1120"/>
                <a:gd name="T15" fmla="*/ 535 h 1135"/>
                <a:gd name="T16" fmla="*/ 1025 w 1120"/>
                <a:gd name="T17" fmla="*/ 859 h 1135"/>
                <a:gd name="T18" fmla="*/ 764 w 1120"/>
                <a:gd name="T19" fmla="*/ 1071 h 1135"/>
                <a:gd name="T20" fmla="*/ 722 w 1120"/>
                <a:gd name="T21" fmla="*/ 1086 h 1135"/>
                <a:gd name="T22" fmla="*/ 255 w 1120"/>
                <a:gd name="T23" fmla="*/ 1019 h 1135"/>
                <a:gd name="T24" fmla="*/ 252 w 1120"/>
                <a:gd name="T25" fmla="*/ 1018 h 1135"/>
                <a:gd name="T26" fmla="*/ 7 w 1120"/>
                <a:gd name="T27" fmla="*/ 618 h 1135"/>
                <a:gd name="T28" fmla="*/ 4 w 1120"/>
                <a:gd name="T29" fmla="*/ 574 h 1135"/>
                <a:gd name="T30" fmla="*/ 94 w 1120"/>
                <a:gd name="T31" fmla="*/ 251 h 1135"/>
                <a:gd name="T32" fmla="*/ 355 w 1120"/>
                <a:gd name="T33" fmla="*/ 39 h 11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20"/>
                <a:gd name="T52" fmla="*/ 0 h 1135"/>
                <a:gd name="T53" fmla="*/ 1120 w 1120"/>
                <a:gd name="T54" fmla="*/ 1135 h 11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20" h="1135">
                  <a:moveTo>
                    <a:pt x="355" y="39"/>
                  </a:moveTo>
                  <a:cubicBezTo>
                    <a:pt x="369" y="33"/>
                    <a:pt x="383" y="28"/>
                    <a:pt x="397" y="24"/>
                  </a:cubicBezTo>
                  <a:cubicBezTo>
                    <a:pt x="451" y="8"/>
                    <a:pt x="506" y="0"/>
                    <a:pt x="560" y="0"/>
                  </a:cubicBezTo>
                  <a:cubicBezTo>
                    <a:pt x="666" y="0"/>
                    <a:pt x="771" y="30"/>
                    <a:pt x="862" y="88"/>
                  </a:cubicBezTo>
                  <a:lnTo>
                    <a:pt x="865" y="91"/>
                  </a:lnTo>
                  <a:cubicBezTo>
                    <a:pt x="1003" y="181"/>
                    <a:pt x="1093" y="327"/>
                    <a:pt x="1112" y="492"/>
                  </a:cubicBezTo>
                  <a:cubicBezTo>
                    <a:pt x="1114" y="505"/>
                    <a:pt x="1115" y="520"/>
                    <a:pt x="1115" y="535"/>
                  </a:cubicBezTo>
                  <a:cubicBezTo>
                    <a:pt x="1119" y="651"/>
                    <a:pt x="1088" y="763"/>
                    <a:pt x="1025" y="859"/>
                  </a:cubicBezTo>
                  <a:cubicBezTo>
                    <a:pt x="962" y="955"/>
                    <a:pt x="871" y="1029"/>
                    <a:pt x="764" y="1071"/>
                  </a:cubicBezTo>
                  <a:cubicBezTo>
                    <a:pt x="749" y="1077"/>
                    <a:pt x="736" y="1081"/>
                    <a:pt x="722" y="1086"/>
                  </a:cubicBezTo>
                  <a:cubicBezTo>
                    <a:pt x="563" y="1134"/>
                    <a:pt x="393" y="1110"/>
                    <a:pt x="255" y="1019"/>
                  </a:cubicBezTo>
                  <a:lnTo>
                    <a:pt x="252" y="1018"/>
                  </a:lnTo>
                  <a:cubicBezTo>
                    <a:pt x="115" y="927"/>
                    <a:pt x="26" y="781"/>
                    <a:pt x="7" y="618"/>
                  </a:cubicBezTo>
                  <a:cubicBezTo>
                    <a:pt x="5" y="604"/>
                    <a:pt x="4" y="589"/>
                    <a:pt x="4" y="574"/>
                  </a:cubicBezTo>
                  <a:cubicBezTo>
                    <a:pt x="0" y="459"/>
                    <a:pt x="31" y="347"/>
                    <a:pt x="94" y="251"/>
                  </a:cubicBezTo>
                  <a:cubicBezTo>
                    <a:pt x="157" y="154"/>
                    <a:pt x="248" y="81"/>
                    <a:pt x="355" y="39"/>
                  </a:cubicBezTo>
                </a:path>
              </a:pathLst>
            </a:custGeom>
            <a:solidFill>
              <a:srgbClr val="FFFFFF"/>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2" name="Freeform 131"/>
            <p:cNvSpPr>
              <a:spLocks noChangeArrowheads="1"/>
            </p:cNvSpPr>
            <p:nvPr/>
          </p:nvSpPr>
          <p:spPr bwMode="auto">
            <a:xfrm>
              <a:off x="1986609" y="3214616"/>
              <a:ext cx="2889" cy="5777"/>
            </a:xfrm>
            <a:custGeom>
              <a:avLst/>
              <a:gdLst>
                <a:gd name="T0" fmla="*/ 3 w 8"/>
                <a:gd name="T1" fmla="*/ 18 h 19"/>
                <a:gd name="T2" fmla="*/ 0 w 8"/>
                <a:gd name="T3" fmla="*/ 10 h 19"/>
                <a:gd name="T4" fmla="*/ 7 w 8"/>
                <a:gd name="T5" fmla="*/ 0 h 19"/>
                <a:gd name="T6" fmla="*/ 3 w 8"/>
                <a:gd name="T7" fmla="*/ 18 h 19"/>
                <a:gd name="T8" fmla="*/ 0 60000 65536"/>
                <a:gd name="T9" fmla="*/ 0 60000 65536"/>
                <a:gd name="T10" fmla="*/ 0 60000 65536"/>
                <a:gd name="T11" fmla="*/ 0 60000 65536"/>
                <a:gd name="T12" fmla="*/ 0 w 8"/>
                <a:gd name="T13" fmla="*/ 0 h 19"/>
                <a:gd name="T14" fmla="*/ 8 w 8"/>
                <a:gd name="T15" fmla="*/ 19 h 19"/>
              </a:gdLst>
              <a:ahLst/>
              <a:cxnLst>
                <a:cxn ang="T8">
                  <a:pos x="T0" y="T1"/>
                </a:cxn>
                <a:cxn ang="T9">
                  <a:pos x="T2" y="T3"/>
                </a:cxn>
                <a:cxn ang="T10">
                  <a:pos x="T4" y="T5"/>
                </a:cxn>
                <a:cxn ang="T11">
                  <a:pos x="T6" y="T7"/>
                </a:cxn>
              </a:cxnLst>
              <a:rect l="T12" t="T13" r="T14" b="T15"/>
              <a:pathLst>
                <a:path w="8" h="19">
                  <a:moveTo>
                    <a:pt x="3" y="18"/>
                  </a:moveTo>
                  <a:lnTo>
                    <a:pt x="0" y="10"/>
                  </a:lnTo>
                  <a:lnTo>
                    <a:pt x="7" y="0"/>
                  </a:lnTo>
                  <a:cubicBezTo>
                    <a:pt x="5" y="6"/>
                    <a:pt x="4" y="12"/>
                    <a:pt x="3" y="18"/>
                  </a:cubicBez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3" name="Freeform 132"/>
            <p:cNvSpPr>
              <a:spLocks noChangeArrowheads="1"/>
            </p:cNvSpPr>
            <p:nvPr/>
          </p:nvSpPr>
          <p:spPr bwMode="auto">
            <a:xfrm>
              <a:off x="1899923" y="3263716"/>
              <a:ext cx="21671" cy="38991"/>
            </a:xfrm>
            <a:custGeom>
              <a:avLst/>
              <a:gdLst>
                <a:gd name="T0" fmla="*/ 36 w 68"/>
                <a:gd name="T1" fmla="*/ 31 h 121"/>
                <a:gd name="T2" fmla="*/ 51 w 68"/>
                <a:gd name="T3" fmla="*/ 0 h 121"/>
                <a:gd name="T4" fmla="*/ 67 w 68"/>
                <a:gd name="T5" fmla="*/ 0 h 121"/>
                <a:gd name="T6" fmla="*/ 54 w 68"/>
                <a:gd name="T7" fmla="*/ 60 h 121"/>
                <a:gd name="T8" fmla="*/ 28 w 68"/>
                <a:gd name="T9" fmla="*/ 99 h 121"/>
                <a:gd name="T10" fmla="*/ 15 w 68"/>
                <a:gd name="T11" fmla="*/ 120 h 121"/>
                <a:gd name="T12" fmla="*/ 0 w 68"/>
                <a:gd name="T13" fmla="*/ 106 h 121"/>
                <a:gd name="T14" fmla="*/ 0 w 68"/>
                <a:gd name="T15" fmla="*/ 83 h 121"/>
                <a:gd name="T16" fmla="*/ 11 w 68"/>
                <a:gd name="T17" fmla="*/ 71 h 121"/>
                <a:gd name="T18" fmla="*/ 18 w 68"/>
                <a:gd name="T19" fmla="*/ 59 h 121"/>
                <a:gd name="T20" fmla="*/ 9 w 68"/>
                <a:gd name="T21" fmla="*/ 48 h 121"/>
                <a:gd name="T22" fmla="*/ 9 w 68"/>
                <a:gd name="T23" fmla="*/ 28 h 121"/>
                <a:gd name="T24" fmla="*/ 36 w 68"/>
                <a:gd name="T25" fmla="*/ 3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8"/>
                <a:gd name="T40" fmla="*/ 0 h 121"/>
                <a:gd name="T41" fmla="*/ 68 w 68"/>
                <a:gd name="T42" fmla="*/ 121 h 1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8" h="121">
                  <a:moveTo>
                    <a:pt x="36" y="31"/>
                  </a:moveTo>
                  <a:lnTo>
                    <a:pt x="51" y="0"/>
                  </a:lnTo>
                  <a:lnTo>
                    <a:pt x="67" y="0"/>
                  </a:lnTo>
                  <a:lnTo>
                    <a:pt x="54" y="60"/>
                  </a:lnTo>
                  <a:lnTo>
                    <a:pt x="28" y="99"/>
                  </a:lnTo>
                  <a:lnTo>
                    <a:pt x="15" y="120"/>
                  </a:lnTo>
                  <a:lnTo>
                    <a:pt x="0" y="106"/>
                  </a:lnTo>
                  <a:lnTo>
                    <a:pt x="0" y="83"/>
                  </a:lnTo>
                  <a:lnTo>
                    <a:pt x="11" y="71"/>
                  </a:lnTo>
                  <a:lnTo>
                    <a:pt x="18" y="59"/>
                  </a:lnTo>
                  <a:lnTo>
                    <a:pt x="9" y="48"/>
                  </a:lnTo>
                  <a:lnTo>
                    <a:pt x="9" y="28"/>
                  </a:lnTo>
                  <a:lnTo>
                    <a:pt x="36" y="31"/>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4" name="Freeform 133"/>
            <p:cNvSpPr>
              <a:spLocks noChangeArrowheads="1"/>
            </p:cNvSpPr>
            <p:nvPr/>
          </p:nvSpPr>
          <p:spPr bwMode="auto">
            <a:xfrm>
              <a:off x="1795901" y="3097643"/>
              <a:ext cx="17338" cy="20218"/>
            </a:xfrm>
            <a:custGeom>
              <a:avLst/>
              <a:gdLst>
                <a:gd name="T0" fmla="*/ 20 w 53"/>
                <a:gd name="T1" fmla="*/ 32 h 62"/>
                <a:gd name="T2" fmla="*/ 8 w 53"/>
                <a:gd name="T3" fmla="*/ 25 h 62"/>
                <a:gd name="T4" fmla="*/ 0 w 53"/>
                <a:gd name="T5" fmla="*/ 19 h 62"/>
                <a:gd name="T6" fmla="*/ 0 w 53"/>
                <a:gd name="T7" fmla="*/ 11 h 62"/>
                <a:gd name="T8" fmla="*/ 5 w 53"/>
                <a:gd name="T9" fmla="*/ 4 h 62"/>
                <a:gd name="T10" fmla="*/ 21 w 53"/>
                <a:gd name="T11" fmla="*/ 0 h 62"/>
                <a:gd name="T12" fmla="*/ 26 w 53"/>
                <a:gd name="T13" fmla="*/ 21 h 62"/>
                <a:gd name="T14" fmla="*/ 35 w 53"/>
                <a:gd name="T15" fmla="*/ 35 h 62"/>
                <a:gd name="T16" fmla="*/ 41 w 53"/>
                <a:gd name="T17" fmla="*/ 42 h 62"/>
                <a:gd name="T18" fmla="*/ 52 w 53"/>
                <a:gd name="T19" fmla="*/ 47 h 62"/>
                <a:gd name="T20" fmla="*/ 41 w 53"/>
                <a:gd name="T21" fmla="*/ 59 h 62"/>
                <a:gd name="T22" fmla="*/ 21 w 53"/>
                <a:gd name="T23" fmla="*/ 61 h 62"/>
                <a:gd name="T24" fmla="*/ 6 w 53"/>
                <a:gd name="T25" fmla="*/ 61 h 62"/>
                <a:gd name="T26" fmla="*/ 8 w 53"/>
                <a:gd name="T27" fmla="*/ 43 h 62"/>
                <a:gd name="T28" fmla="*/ 21 w 53"/>
                <a:gd name="T29" fmla="*/ 40 h 62"/>
                <a:gd name="T30" fmla="*/ 20 w 53"/>
                <a:gd name="T31" fmla="*/ 32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62"/>
                <a:gd name="T50" fmla="*/ 53 w 53"/>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62">
                  <a:moveTo>
                    <a:pt x="20" y="32"/>
                  </a:moveTo>
                  <a:lnTo>
                    <a:pt x="8" y="25"/>
                  </a:lnTo>
                  <a:lnTo>
                    <a:pt x="0" y="19"/>
                  </a:lnTo>
                  <a:lnTo>
                    <a:pt x="0" y="11"/>
                  </a:lnTo>
                  <a:lnTo>
                    <a:pt x="5" y="4"/>
                  </a:lnTo>
                  <a:lnTo>
                    <a:pt x="21" y="0"/>
                  </a:lnTo>
                  <a:lnTo>
                    <a:pt x="26" y="21"/>
                  </a:lnTo>
                  <a:lnTo>
                    <a:pt x="35" y="35"/>
                  </a:lnTo>
                  <a:lnTo>
                    <a:pt x="41" y="42"/>
                  </a:lnTo>
                  <a:lnTo>
                    <a:pt x="52" y="47"/>
                  </a:lnTo>
                  <a:lnTo>
                    <a:pt x="41" y="59"/>
                  </a:lnTo>
                  <a:lnTo>
                    <a:pt x="21" y="61"/>
                  </a:lnTo>
                  <a:lnTo>
                    <a:pt x="6" y="61"/>
                  </a:lnTo>
                  <a:lnTo>
                    <a:pt x="8" y="43"/>
                  </a:lnTo>
                  <a:lnTo>
                    <a:pt x="21" y="40"/>
                  </a:lnTo>
                  <a:lnTo>
                    <a:pt x="20" y="32"/>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5" name="Freeform 134"/>
            <p:cNvSpPr>
              <a:spLocks noChangeArrowheads="1"/>
            </p:cNvSpPr>
            <p:nvPr/>
          </p:nvSpPr>
          <p:spPr bwMode="auto">
            <a:xfrm>
              <a:off x="1785787" y="3104864"/>
              <a:ext cx="11558" cy="10109"/>
            </a:xfrm>
            <a:custGeom>
              <a:avLst/>
              <a:gdLst>
                <a:gd name="T0" fmla="*/ 33 w 35"/>
                <a:gd name="T1" fmla="*/ 15 h 31"/>
                <a:gd name="T2" fmla="*/ 12 w 35"/>
                <a:gd name="T3" fmla="*/ 30 h 31"/>
                <a:gd name="T4" fmla="*/ 0 w 35"/>
                <a:gd name="T5" fmla="*/ 30 h 31"/>
                <a:gd name="T6" fmla="*/ 0 w 35"/>
                <a:gd name="T7" fmla="*/ 19 h 31"/>
                <a:gd name="T8" fmla="*/ 10 w 35"/>
                <a:gd name="T9" fmla="*/ 3 h 31"/>
                <a:gd name="T10" fmla="*/ 24 w 35"/>
                <a:gd name="T11" fmla="*/ 0 h 31"/>
                <a:gd name="T12" fmla="*/ 34 w 35"/>
                <a:gd name="T13" fmla="*/ 4 h 31"/>
                <a:gd name="T14" fmla="*/ 33 w 35"/>
                <a:gd name="T15" fmla="*/ 15 h 3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1"/>
                <a:gd name="T26" fmla="*/ 35 w 35"/>
                <a:gd name="T27" fmla="*/ 31 h 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1">
                  <a:moveTo>
                    <a:pt x="33" y="15"/>
                  </a:moveTo>
                  <a:lnTo>
                    <a:pt x="12" y="30"/>
                  </a:lnTo>
                  <a:lnTo>
                    <a:pt x="0" y="30"/>
                  </a:lnTo>
                  <a:lnTo>
                    <a:pt x="0" y="19"/>
                  </a:lnTo>
                  <a:lnTo>
                    <a:pt x="10" y="3"/>
                  </a:lnTo>
                  <a:lnTo>
                    <a:pt x="24" y="0"/>
                  </a:lnTo>
                  <a:lnTo>
                    <a:pt x="34" y="4"/>
                  </a:lnTo>
                  <a:lnTo>
                    <a:pt x="33" y="15"/>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6" name="Freeform 135">
              <a:hlinkClick r:id="rId8" action="ppaction://hlinksldjump"/>
            </p:cNvPr>
            <p:cNvSpPr>
              <a:spLocks noChangeArrowheads="1"/>
            </p:cNvSpPr>
            <p:nvPr/>
          </p:nvSpPr>
          <p:spPr bwMode="auto">
            <a:xfrm>
              <a:off x="1764116" y="3064428"/>
              <a:ext cx="229716" cy="252720"/>
            </a:xfrm>
            <a:custGeom>
              <a:avLst/>
              <a:gdLst>
                <a:gd name="T0" fmla="*/ 690 w 700"/>
                <a:gd name="T1" fmla="*/ 445 h 770"/>
                <a:gd name="T2" fmla="*/ 626 w 700"/>
                <a:gd name="T3" fmla="*/ 399 h 770"/>
                <a:gd name="T4" fmla="*/ 534 w 700"/>
                <a:gd name="T5" fmla="*/ 335 h 770"/>
                <a:gd name="T6" fmla="*/ 452 w 700"/>
                <a:gd name="T7" fmla="*/ 297 h 770"/>
                <a:gd name="T8" fmla="*/ 537 w 700"/>
                <a:gd name="T9" fmla="*/ 373 h 770"/>
                <a:gd name="T10" fmla="*/ 422 w 700"/>
                <a:gd name="T11" fmla="*/ 414 h 770"/>
                <a:gd name="T12" fmla="*/ 417 w 700"/>
                <a:gd name="T13" fmla="*/ 436 h 770"/>
                <a:gd name="T14" fmla="*/ 444 w 700"/>
                <a:gd name="T15" fmla="*/ 512 h 770"/>
                <a:gd name="T16" fmla="*/ 387 w 700"/>
                <a:gd name="T17" fmla="*/ 661 h 770"/>
                <a:gd name="T18" fmla="*/ 344 w 700"/>
                <a:gd name="T19" fmla="*/ 724 h 770"/>
                <a:gd name="T20" fmla="*/ 222 w 700"/>
                <a:gd name="T21" fmla="*/ 708 h 770"/>
                <a:gd name="T22" fmla="*/ 225 w 700"/>
                <a:gd name="T23" fmla="*/ 598 h 770"/>
                <a:gd name="T24" fmla="*/ 148 w 700"/>
                <a:gd name="T25" fmla="*/ 476 h 770"/>
                <a:gd name="T26" fmla="*/ 75 w 700"/>
                <a:gd name="T27" fmla="*/ 490 h 770"/>
                <a:gd name="T28" fmla="*/ 13 w 700"/>
                <a:gd name="T29" fmla="*/ 387 h 770"/>
                <a:gd name="T30" fmla="*/ 57 w 700"/>
                <a:gd name="T31" fmla="*/ 311 h 770"/>
                <a:gd name="T32" fmla="*/ 119 w 700"/>
                <a:gd name="T33" fmla="*/ 268 h 770"/>
                <a:gd name="T34" fmla="*/ 241 w 700"/>
                <a:gd name="T35" fmla="*/ 295 h 770"/>
                <a:gd name="T36" fmla="*/ 285 w 700"/>
                <a:gd name="T37" fmla="*/ 283 h 770"/>
                <a:gd name="T38" fmla="*/ 366 w 700"/>
                <a:gd name="T39" fmla="*/ 267 h 770"/>
                <a:gd name="T40" fmla="*/ 297 w 700"/>
                <a:gd name="T41" fmla="*/ 220 h 770"/>
                <a:gd name="T42" fmla="*/ 255 w 700"/>
                <a:gd name="T43" fmla="*/ 215 h 770"/>
                <a:gd name="T44" fmla="*/ 213 w 700"/>
                <a:gd name="T45" fmla="*/ 211 h 770"/>
                <a:gd name="T46" fmla="*/ 239 w 700"/>
                <a:gd name="T47" fmla="*/ 250 h 770"/>
                <a:gd name="T48" fmla="*/ 226 w 700"/>
                <a:gd name="T49" fmla="*/ 244 h 770"/>
                <a:gd name="T50" fmla="*/ 171 w 700"/>
                <a:gd name="T51" fmla="*/ 213 h 770"/>
                <a:gd name="T52" fmla="*/ 108 w 700"/>
                <a:gd name="T53" fmla="*/ 257 h 770"/>
                <a:gd name="T54" fmla="*/ 71 w 700"/>
                <a:gd name="T55" fmla="*/ 209 h 770"/>
                <a:gd name="T56" fmla="*/ 114 w 700"/>
                <a:gd name="T57" fmla="*/ 191 h 770"/>
                <a:gd name="T58" fmla="*/ 182 w 700"/>
                <a:gd name="T59" fmla="*/ 135 h 770"/>
                <a:gd name="T60" fmla="*/ 181 w 700"/>
                <a:gd name="T61" fmla="*/ 121 h 770"/>
                <a:gd name="T62" fmla="*/ 169 w 700"/>
                <a:gd name="T63" fmla="*/ 77 h 770"/>
                <a:gd name="T64" fmla="*/ 307 w 700"/>
                <a:gd name="T65" fmla="*/ 24 h 770"/>
                <a:gd name="T66" fmla="*/ 309 w 700"/>
                <a:gd name="T67" fmla="*/ 67 h 770"/>
                <a:gd name="T68" fmla="*/ 382 w 700"/>
                <a:gd name="T69" fmla="*/ 37 h 770"/>
                <a:gd name="T70" fmla="*/ 483 w 700"/>
                <a:gd name="T71" fmla="*/ 26 h 770"/>
                <a:gd name="T72" fmla="*/ 517 w 700"/>
                <a:gd name="T73" fmla="*/ 53 h 770"/>
                <a:gd name="T74" fmla="*/ 695 w 700"/>
                <a:gd name="T75" fmla="*/ 285 h 770"/>
                <a:gd name="T76" fmla="*/ 271 w 700"/>
                <a:gd name="T77" fmla="*/ 47 h 770"/>
                <a:gd name="T78" fmla="*/ 214 w 700"/>
                <a:gd name="T79" fmla="*/ 134 h 770"/>
                <a:gd name="T80" fmla="*/ 254 w 700"/>
                <a:gd name="T81" fmla="*/ 84 h 770"/>
                <a:gd name="T82" fmla="*/ 381 w 700"/>
                <a:gd name="T83" fmla="*/ 236 h 770"/>
                <a:gd name="T84" fmla="*/ 352 w 700"/>
                <a:gd name="T85" fmla="*/ 195 h 770"/>
                <a:gd name="T86" fmla="*/ 315 w 700"/>
                <a:gd name="T87" fmla="*/ 214 h 770"/>
                <a:gd name="T88" fmla="*/ 487 w 700"/>
                <a:gd name="T89" fmla="*/ 253 h 770"/>
                <a:gd name="T90" fmla="*/ 449 w 700"/>
                <a:gd name="T91" fmla="*/ 205 h 770"/>
                <a:gd name="T92" fmla="*/ 455 w 700"/>
                <a:gd name="T93" fmla="*/ 180 h 770"/>
                <a:gd name="T94" fmla="*/ 456 w 700"/>
                <a:gd name="T95" fmla="*/ 227 h 770"/>
                <a:gd name="T96" fmla="*/ 465 w 700"/>
                <a:gd name="T97" fmla="*/ 253 h 7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00"/>
                <a:gd name="T148" fmla="*/ 0 h 770"/>
                <a:gd name="T149" fmla="*/ 700 w 700"/>
                <a:gd name="T150" fmla="*/ 770 h 7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00" h="770">
                  <a:moveTo>
                    <a:pt x="695" y="285"/>
                  </a:moveTo>
                  <a:cubicBezTo>
                    <a:pt x="696" y="299"/>
                    <a:pt x="697" y="313"/>
                    <a:pt x="698" y="329"/>
                  </a:cubicBezTo>
                  <a:cubicBezTo>
                    <a:pt x="699" y="353"/>
                    <a:pt x="698" y="378"/>
                    <a:pt x="696" y="402"/>
                  </a:cubicBezTo>
                  <a:lnTo>
                    <a:pt x="690" y="445"/>
                  </a:lnTo>
                  <a:cubicBezTo>
                    <a:pt x="690" y="446"/>
                    <a:pt x="690" y="447"/>
                    <a:pt x="690" y="448"/>
                  </a:cubicBezTo>
                  <a:lnTo>
                    <a:pt x="677" y="466"/>
                  </a:lnTo>
                  <a:lnTo>
                    <a:pt x="665" y="463"/>
                  </a:lnTo>
                  <a:lnTo>
                    <a:pt x="626" y="399"/>
                  </a:lnTo>
                  <a:lnTo>
                    <a:pt x="628" y="376"/>
                  </a:lnTo>
                  <a:lnTo>
                    <a:pt x="628" y="359"/>
                  </a:lnTo>
                  <a:lnTo>
                    <a:pt x="610" y="347"/>
                  </a:lnTo>
                  <a:lnTo>
                    <a:pt x="534" y="335"/>
                  </a:lnTo>
                  <a:lnTo>
                    <a:pt x="499" y="333"/>
                  </a:lnTo>
                  <a:lnTo>
                    <a:pt x="468" y="316"/>
                  </a:lnTo>
                  <a:lnTo>
                    <a:pt x="466" y="297"/>
                  </a:lnTo>
                  <a:lnTo>
                    <a:pt x="452" y="297"/>
                  </a:lnTo>
                  <a:cubicBezTo>
                    <a:pt x="452" y="297"/>
                    <a:pt x="451" y="323"/>
                    <a:pt x="451" y="324"/>
                  </a:cubicBezTo>
                  <a:cubicBezTo>
                    <a:pt x="451" y="325"/>
                    <a:pt x="517" y="356"/>
                    <a:pt x="517" y="356"/>
                  </a:cubicBezTo>
                  <a:lnTo>
                    <a:pt x="536" y="359"/>
                  </a:lnTo>
                  <a:lnTo>
                    <a:pt x="537" y="373"/>
                  </a:lnTo>
                  <a:lnTo>
                    <a:pt x="519" y="384"/>
                  </a:lnTo>
                  <a:lnTo>
                    <a:pt x="462" y="425"/>
                  </a:lnTo>
                  <a:lnTo>
                    <a:pt x="435" y="427"/>
                  </a:lnTo>
                  <a:lnTo>
                    <a:pt x="422" y="414"/>
                  </a:lnTo>
                  <a:lnTo>
                    <a:pt x="421" y="392"/>
                  </a:lnTo>
                  <a:lnTo>
                    <a:pt x="363" y="323"/>
                  </a:lnTo>
                  <a:lnTo>
                    <a:pt x="359" y="327"/>
                  </a:lnTo>
                  <a:lnTo>
                    <a:pt x="417" y="436"/>
                  </a:lnTo>
                  <a:lnTo>
                    <a:pt x="431" y="443"/>
                  </a:lnTo>
                  <a:lnTo>
                    <a:pt x="486" y="432"/>
                  </a:lnTo>
                  <a:lnTo>
                    <a:pt x="497" y="436"/>
                  </a:lnTo>
                  <a:lnTo>
                    <a:pt x="444" y="512"/>
                  </a:lnTo>
                  <a:lnTo>
                    <a:pt x="395" y="558"/>
                  </a:lnTo>
                  <a:lnTo>
                    <a:pt x="406" y="577"/>
                  </a:lnTo>
                  <a:lnTo>
                    <a:pt x="411" y="628"/>
                  </a:lnTo>
                  <a:lnTo>
                    <a:pt x="387" y="661"/>
                  </a:lnTo>
                  <a:lnTo>
                    <a:pt x="375" y="675"/>
                  </a:lnTo>
                  <a:lnTo>
                    <a:pt x="375" y="696"/>
                  </a:lnTo>
                  <a:lnTo>
                    <a:pt x="358" y="700"/>
                  </a:lnTo>
                  <a:lnTo>
                    <a:pt x="344" y="724"/>
                  </a:lnTo>
                  <a:lnTo>
                    <a:pt x="300" y="769"/>
                  </a:lnTo>
                  <a:lnTo>
                    <a:pt x="242" y="769"/>
                  </a:lnTo>
                  <a:lnTo>
                    <a:pt x="242" y="735"/>
                  </a:lnTo>
                  <a:lnTo>
                    <a:pt x="222" y="708"/>
                  </a:lnTo>
                  <a:lnTo>
                    <a:pt x="222" y="667"/>
                  </a:lnTo>
                  <a:lnTo>
                    <a:pt x="207" y="652"/>
                  </a:lnTo>
                  <a:lnTo>
                    <a:pt x="206" y="635"/>
                  </a:lnTo>
                  <a:lnTo>
                    <a:pt x="225" y="598"/>
                  </a:lnTo>
                  <a:lnTo>
                    <a:pt x="189" y="535"/>
                  </a:lnTo>
                  <a:lnTo>
                    <a:pt x="193" y="491"/>
                  </a:lnTo>
                  <a:lnTo>
                    <a:pt x="160" y="488"/>
                  </a:lnTo>
                  <a:lnTo>
                    <a:pt x="148" y="476"/>
                  </a:lnTo>
                  <a:lnTo>
                    <a:pt x="126" y="476"/>
                  </a:lnTo>
                  <a:lnTo>
                    <a:pt x="115" y="486"/>
                  </a:lnTo>
                  <a:lnTo>
                    <a:pt x="77" y="486"/>
                  </a:lnTo>
                  <a:lnTo>
                    <a:pt x="75" y="490"/>
                  </a:lnTo>
                  <a:lnTo>
                    <a:pt x="54" y="490"/>
                  </a:lnTo>
                  <a:lnTo>
                    <a:pt x="5" y="433"/>
                  </a:lnTo>
                  <a:lnTo>
                    <a:pt x="5" y="390"/>
                  </a:lnTo>
                  <a:lnTo>
                    <a:pt x="13" y="387"/>
                  </a:lnTo>
                  <a:lnTo>
                    <a:pt x="16" y="370"/>
                  </a:lnTo>
                  <a:lnTo>
                    <a:pt x="5" y="370"/>
                  </a:lnTo>
                  <a:lnTo>
                    <a:pt x="0" y="352"/>
                  </a:lnTo>
                  <a:lnTo>
                    <a:pt x="57" y="311"/>
                  </a:lnTo>
                  <a:lnTo>
                    <a:pt x="57" y="282"/>
                  </a:lnTo>
                  <a:lnTo>
                    <a:pt x="85" y="267"/>
                  </a:lnTo>
                  <a:lnTo>
                    <a:pt x="96" y="268"/>
                  </a:lnTo>
                  <a:lnTo>
                    <a:pt x="119" y="268"/>
                  </a:lnTo>
                  <a:lnTo>
                    <a:pt x="137" y="258"/>
                  </a:lnTo>
                  <a:lnTo>
                    <a:pt x="195" y="254"/>
                  </a:lnTo>
                  <a:lnTo>
                    <a:pt x="195" y="283"/>
                  </a:lnTo>
                  <a:lnTo>
                    <a:pt x="241" y="295"/>
                  </a:lnTo>
                  <a:lnTo>
                    <a:pt x="250" y="301"/>
                  </a:lnTo>
                  <a:lnTo>
                    <a:pt x="258" y="301"/>
                  </a:lnTo>
                  <a:lnTo>
                    <a:pt x="258" y="285"/>
                  </a:lnTo>
                  <a:lnTo>
                    <a:pt x="285" y="283"/>
                  </a:lnTo>
                  <a:lnTo>
                    <a:pt x="310" y="301"/>
                  </a:lnTo>
                  <a:lnTo>
                    <a:pt x="351" y="301"/>
                  </a:lnTo>
                  <a:lnTo>
                    <a:pt x="366" y="288"/>
                  </a:lnTo>
                  <a:lnTo>
                    <a:pt x="366" y="267"/>
                  </a:lnTo>
                  <a:lnTo>
                    <a:pt x="354" y="258"/>
                  </a:lnTo>
                  <a:lnTo>
                    <a:pt x="313" y="258"/>
                  </a:lnTo>
                  <a:lnTo>
                    <a:pt x="299" y="243"/>
                  </a:lnTo>
                  <a:lnTo>
                    <a:pt x="297" y="220"/>
                  </a:lnTo>
                  <a:lnTo>
                    <a:pt x="283" y="227"/>
                  </a:lnTo>
                  <a:lnTo>
                    <a:pt x="276" y="256"/>
                  </a:lnTo>
                  <a:lnTo>
                    <a:pt x="256" y="235"/>
                  </a:lnTo>
                  <a:lnTo>
                    <a:pt x="255" y="215"/>
                  </a:lnTo>
                  <a:lnTo>
                    <a:pt x="236" y="198"/>
                  </a:lnTo>
                  <a:lnTo>
                    <a:pt x="228" y="191"/>
                  </a:lnTo>
                  <a:lnTo>
                    <a:pt x="206" y="191"/>
                  </a:lnTo>
                  <a:lnTo>
                    <a:pt x="213" y="211"/>
                  </a:lnTo>
                  <a:lnTo>
                    <a:pt x="240" y="226"/>
                  </a:lnTo>
                  <a:lnTo>
                    <a:pt x="245" y="231"/>
                  </a:lnTo>
                  <a:lnTo>
                    <a:pt x="239" y="234"/>
                  </a:lnTo>
                  <a:lnTo>
                    <a:pt x="239" y="250"/>
                  </a:lnTo>
                  <a:lnTo>
                    <a:pt x="226" y="255"/>
                  </a:lnTo>
                  <a:lnTo>
                    <a:pt x="215" y="253"/>
                  </a:lnTo>
                  <a:lnTo>
                    <a:pt x="208" y="243"/>
                  </a:lnTo>
                  <a:lnTo>
                    <a:pt x="226" y="244"/>
                  </a:lnTo>
                  <a:lnTo>
                    <a:pt x="231" y="237"/>
                  </a:lnTo>
                  <a:lnTo>
                    <a:pt x="191" y="210"/>
                  </a:lnTo>
                  <a:lnTo>
                    <a:pt x="188" y="199"/>
                  </a:lnTo>
                  <a:lnTo>
                    <a:pt x="171" y="213"/>
                  </a:lnTo>
                  <a:lnTo>
                    <a:pt x="155" y="210"/>
                  </a:lnTo>
                  <a:lnTo>
                    <a:pt x="129" y="243"/>
                  </a:lnTo>
                  <a:lnTo>
                    <a:pt x="124" y="256"/>
                  </a:lnTo>
                  <a:lnTo>
                    <a:pt x="108" y="257"/>
                  </a:lnTo>
                  <a:lnTo>
                    <a:pt x="84" y="257"/>
                  </a:lnTo>
                  <a:lnTo>
                    <a:pt x="70" y="251"/>
                  </a:lnTo>
                  <a:lnTo>
                    <a:pt x="66" y="222"/>
                  </a:lnTo>
                  <a:lnTo>
                    <a:pt x="71" y="209"/>
                  </a:lnTo>
                  <a:lnTo>
                    <a:pt x="95" y="203"/>
                  </a:lnTo>
                  <a:lnTo>
                    <a:pt x="122" y="209"/>
                  </a:lnTo>
                  <a:lnTo>
                    <a:pt x="125" y="194"/>
                  </a:lnTo>
                  <a:lnTo>
                    <a:pt x="114" y="191"/>
                  </a:lnTo>
                  <a:lnTo>
                    <a:pt x="118" y="169"/>
                  </a:lnTo>
                  <a:lnTo>
                    <a:pt x="144" y="164"/>
                  </a:lnTo>
                  <a:lnTo>
                    <a:pt x="163" y="138"/>
                  </a:lnTo>
                  <a:lnTo>
                    <a:pt x="182" y="135"/>
                  </a:lnTo>
                  <a:lnTo>
                    <a:pt x="200" y="137"/>
                  </a:lnTo>
                  <a:lnTo>
                    <a:pt x="206" y="137"/>
                  </a:lnTo>
                  <a:lnTo>
                    <a:pt x="203" y="113"/>
                  </a:lnTo>
                  <a:lnTo>
                    <a:pt x="181" y="121"/>
                  </a:lnTo>
                  <a:lnTo>
                    <a:pt x="174" y="103"/>
                  </a:lnTo>
                  <a:lnTo>
                    <a:pt x="162" y="101"/>
                  </a:lnTo>
                  <a:lnTo>
                    <a:pt x="159" y="88"/>
                  </a:lnTo>
                  <a:lnTo>
                    <a:pt x="169" y="77"/>
                  </a:lnTo>
                  <a:lnTo>
                    <a:pt x="193" y="68"/>
                  </a:lnTo>
                  <a:lnTo>
                    <a:pt x="207" y="44"/>
                  </a:lnTo>
                  <a:lnTo>
                    <a:pt x="243" y="26"/>
                  </a:lnTo>
                  <a:lnTo>
                    <a:pt x="307" y="24"/>
                  </a:lnTo>
                  <a:lnTo>
                    <a:pt x="360" y="48"/>
                  </a:lnTo>
                  <a:lnTo>
                    <a:pt x="351" y="56"/>
                  </a:lnTo>
                  <a:lnTo>
                    <a:pt x="307" y="58"/>
                  </a:lnTo>
                  <a:lnTo>
                    <a:pt x="309" y="67"/>
                  </a:lnTo>
                  <a:lnTo>
                    <a:pt x="351" y="68"/>
                  </a:lnTo>
                  <a:lnTo>
                    <a:pt x="368" y="55"/>
                  </a:lnTo>
                  <a:lnTo>
                    <a:pt x="374" y="39"/>
                  </a:lnTo>
                  <a:lnTo>
                    <a:pt x="382" y="37"/>
                  </a:lnTo>
                  <a:lnTo>
                    <a:pt x="387" y="51"/>
                  </a:lnTo>
                  <a:lnTo>
                    <a:pt x="420" y="36"/>
                  </a:lnTo>
                  <a:lnTo>
                    <a:pt x="489" y="40"/>
                  </a:lnTo>
                  <a:lnTo>
                    <a:pt x="483" y="26"/>
                  </a:lnTo>
                  <a:lnTo>
                    <a:pt x="487" y="9"/>
                  </a:lnTo>
                  <a:lnTo>
                    <a:pt x="507" y="14"/>
                  </a:lnTo>
                  <a:lnTo>
                    <a:pt x="513" y="24"/>
                  </a:lnTo>
                  <a:lnTo>
                    <a:pt x="517" y="53"/>
                  </a:lnTo>
                  <a:lnTo>
                    <a:pt x="534" y="47"/>
                  </a:lnTo>
                  <a:lnTo>
                    <a:pt x="534" y="19"/>
                  </a:lnTo>
                  <a:lnTo>
                    <a:pt x="576" y="0"/>
                  </a:lnTo>
                  <a:cubicBezTo>
                    <a:pt x="641" y="81"/>
                    <a:pt x="682" y="179"/>
                    <a:pt x="695" y="285"/>
                  </a:cubicBezTo>
                  <a:close/>
                  <a:moveTo>
                    <a:pt x="280" y="58"/>
                  </a:moveTo>
                  <a:lnTo>
                    <a:pt x="279" y="58"/>
                  </a:lnTo>
                  <a:lnTo>
                    <a:pt x="279" y="47"/>
                  </a:lnTo>
                  <a:lnTo>
                    <a:pt x="271" y="47"/>
                  </a:lnTo>
                  <a:lnTo>
                    <a:pt x="234" y="74"/>
                  </a:lnTo>
                  <a:lnTo>
                    <a:pt x="234" y="116"/>
                  </a:lnTo>
                  <a:lnTo>
                    <a:pt x="211" y="127"/>
                  </a:lnTo>
                  <a:lnTo>
                    <a:pt x="214" y="134"/>
                  </a:lnTo>
                  <a:lnTo>
                    <a:pt x="249" y="135"/>
                  </a:lnTo>
                  <a:lnTo>
                    <a:pt x="269" y="104"/>
                  </a:lnTo>
                  <a:lnTo>
                    <a:pt x="268" y="90"/>
                  </a:lnTo>
                  <a:lnTo>
                    <a:pt x="254" y="84"/>
                  </a:lnTo>
                  <a:lnTo>
                    <a:pt x="254" y="73"/>
                  </a:lnTo>
                  <a:lnTo>
                    <a:pt x="280" y="58"/>
                  </a:lnTo>
                  <a:close/>
                  <a:moveTo>
                    <a:pt x="358" y="236"/>
                  </a:moveTo>
                  <a:lnTo>
                    <a:pt x="381" y="236"/>
                  </a:lnTo>
                  <a:lnTo>
                    <a:pt x="380" y="227"/>
                  </a:lnTo>
                  <a:lnTo>
                    <a:pt x="360" y="219"/>
                  </a:lnTo>
                  <a:lnTo>
                    <a:pt x="359" y="198"/>
                  </a:lnTo>
                  <a:lnTo>
                    <a:pt x="352" y="195"/>
                  </a:lnTo>
                  <a:lnTo>
                    <a:pt x="348" y="201"/>
                  </a:lnTo>
                  <a:lnTo>
                    <a:pt x="330" y="203"/>
                  </a:lnTo>
                  <a:lnTo>
                    <a:pt x="322" y="205"/>
                  </a:lnTo>
                  <a:lnTo>
                    <a:pt x="315" y="214"/>
                  </a:lnTo>
                  <a:lnTo>
                    <a:pt x="315" y="236"/>
                  </a:lnTo>
                  <a:lnTo>
                    <a:pt x="325" y="235"/>
                  </a:lnTo>
                  <a:lnTo>
                    <a:pt x="358" y="236"/>
                  </a:lnTo>
                  <a:close/>
                  <a:moveTo>
                    <a:pt x="487" y="253"/>
                  </a:moveTo>
                  <a:lnTo>
                    <a:pt x="487" y="244"/>
                  </a:lnTo>
                  <a:lnTo>
                    <a:pt x="475" y="235"/>
                  </a:lnTo>
                  <a:lnTo>
                    <a:pt x="475" y="223"/>
                  </a:lnTo>
                  <a:lnTo>
                    <a:pt x="449" y="205"/>
                  </a:lnTo>
                  <a:lnTo>
                    <a:pt x="450" y="195"/>
                  </a:lnTo>
                  <a:lnTo>
                    <a:pt x="471" y="197"/>
                  </a:lnTo>
                  <a:lnTo>
                    <a:pt x="470" y="186"/>
                  </a:lnTo>
                  <a:lnTo>
                    <a:pt x="455" y="180"/>
                  </a:lnTo>
                  <a:lnTo>
                    <a:pt x="438" y="182"/>
                  </a:lnTo>
                  <a:lnTo>
                    <a:pt x="434" y="191"/>
                  </a:lnTo>
                  <a:lnTo>
                    <a:pt x="435" y="211"/>
                  </a:lnTo>
                  <a:lnTo>
                    <a:pt x="456" y="227"/>
                  </a:lnTo>
                  <a:lnTo>
                    <a:pt x="456" y="235"/>
                  </a:lnTo>
                  <a:lnTo>
                    <a:pt x="445" y="245"/>
                  </a:lnTo>
                  <a:lnTo>
                    <a:pt x="443" y="252"/>
                  </a:lnTo>
                  <a:lnTo>
                    <a:pt x="465" y="253"/>
                  </a:lnTo>
                  <a:lnTo>
                    <a:pt x="467" y="257"/>
                  </a:lnTo>
                  <a:lnTo>
                    <a:pt x="481" y="258"/>
                  </a:lnTo>
                  <a:lnTo>
                    <a:pt x="487" y="253"/>
                  </a:lnTo>
                  <a:close/>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7" name="Freeform 136"/>
            <p:cNvSpPr>
              <a:spLocks noChangeArrowheads="1"/>
            </p:cNvSpPr>
            <p:nvPr/>
          </p:nvSpPr>
          <p:spPr bwMode="auto">
            <a:xfrm>
              <a:off x="1697658" y="3125080"/>
              <a:ext cx="10113" cy="7221"/>
            </a:xfrm>
            <a:custGeom>
              <a:avLst/>
              <a:gdLst>
                <a:gd name="T0" fmla="*/ 15 w 32"/>
                <a:gd name="T1" fmla="*/ 8 h 20"/>
                <a:gd name="T2" fmla="*/ 18 w 32"/>
                <a:gd name="T3" fmla="*/ 0 h 20"/>
                <a:gd name="T4" fmla="*/ 24 w 32"/>
                <a:gd name="T5" fmla="*/ 0 h 20"/>
                <a:gd name="T6" fmla="*/ 31 w 32"/>
                <a:gd name="T7" fmla="*/ 1 h 20"/>
                <a:gd name="T8" fmla="*/ 28 w 32"/>
                <a:gd name="T9" fmla="*/ 7 h 20"/>
                <a:gd name="T10" fmla="*/ 21 w 32"/>
                <a:gd name="T11" fmla="*/ 8 h 20"/>
                <a:gd name="T12" fmla="*/ 19 w 32"/>
                <a:gd name="T13" fmla="*/ 15 h 20"/>
                <a:gd name="T14" fmla="*/ 14 w 32"/>
                <a:gd name="T15" fmla="*/ 19 h 20"/>
                <a:gd name="T16" fmla="*/ 4 w 32"/>
                <a:gd name="T17" fmla="*/ 19 h 20"/>
                <a:gd name="T18" fmla="*/ 4 w 32"/>
                <a:gd name="T19" fmla="*/ 16 h 20"/>
                <a:gd name="T20" fmla="*/ 0 w 32"/>
                <a:gd name="T21" fmla="*/ 16 h 20"/>
                <a:gd name="T22" fmla="*/ 0 w 32"/>
                <a:gd name="T23" fmla="*/ 8 h 20"/>
                <a:gd name="T24" fmla="*/ 15 w 32"/>
                <a:gd name="T25" fmla="*/ 8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20"/>
                <a:gd name="T41" fmla="*/ 32 w 32"/>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20">
                  <a:moveTo>
                    <a:pt x="15" y="8"/>
                  </a:moveTo>
                  <a:lnTo>
                    <a:pt x="18" y="0"/>
                  </a:lnTo>
                  <a:lnTo>
                    <a:pt x="24" y="0"/>
                  </a:lnTo>
                  <a:lnTo>
                    <a:pt x="31" y="1"/>
                  </a:lnTo>
                  <a:lnTo>
                    <a:pt x="28" y="7"/>
                  </a:lnTo>
                  <a:lnTo>
                    <a:pt x="21" y="8"/>
                  </a:lnTo>
                  <a:lnTo>
                    <a:pt x="19" y="15"/>
                  </a:lnTo>
                  <a:lnTo>
                    <a:pt x="14" y="19"/>
                  </a:lnTo>
                  <a:lnTo>
                    <a:pt x="4" y="19"/>
                  </a:lnTo>
                  <a:cubicBezTo>
                    <a:pt x="4" y="17"/>
                    <a:pt x="4" y="16"/>
                    <a:pt x="4" y="16"/>
                  </a:cubicBezTo>
                  <a:lnTo>
                    <a:pt x="0" y="16"/>
                  </a:lnTo>
                  <a:lnTo>
                    <a:pt x="0" y="8"/>
                  </a:lnTo>
                  <a:lnTo>
                    <a:pt x="15" y="8"/>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8" name="Freeform 137"/>
            <p:cNvSpPr>
              <a:spLocks noChangeArrowheads="1"/>
            </p:cNvSpPr>
            <p:nvPr/>
          </p:nvSpPr>
          <p:spPr bwMode="auto">
            <a:xfrm>
              <a:off x="1690433" y="3127969"/>
              <a:ext cx="4334" cy="4332"/>
            </a:xfrm>
            <a:custGeom>
              <a:avLst/>
              <a:gdLst>
                <a:gd name="T0" fmla="*/ 0 w 12"/>
                <a:gd name="T1" fmla="*/ 13 h 14"/>
                <a:gd name="T2" fmla="*/ 0 w 12"/>
                <a:gd name="T3" fmla="*/ 6 h 14"/>
                <a:gd name="T4" fmla="*/ 5 w 12"/>
                <a:gd name="T5" fmla="*/ 0 h 14"/>
                <a:gd name="T6" fmla="*/ 11 w 12"/>
                <a:gd name="T7" fmla="*/ 5 h 14"/>
                <a:gd name="T8" fmla="*/ 10 w 12"/>
                <a:gd name="T9" fmla="*/ 13 h 14"/>
                <a:gd name="T10" fmla="*/ 0 w 12"/>
                <a:gd name="T11" fmla="*/ 13 h 14"/>
                <a:gd name="T12" fmla="*/ 0 60000 65536"/>
                <a:gd name="T13" fmla="*/ 0 60000 65536"/>
                <a:gd name="T14" fmla="*/ 0 60000 65536"/>
                <a:gd name="T15" fmla="*/ 0 60000 65536"/>
                <a:gd name="T16" fmla="*/ 0 60000 65536"/>
                <a:gd name="T17" fmla="*/ 0 60000 65536"/>
                <a:gd name="T18" fmla="*/ 0 w 12"/>
                <a:gd name="T19" fmla="*/ 0 h 14"/>
                <a:gd name="T20" fmla="*/ 12 w 1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2" h="14">
                  <a:moveTo>
                    <a:pt x="0" y="13"/>
                  </a:moveTo>
                  <a:lnTo>
                    <a:pt x="0" y="6"/>
                  </a:lnTo>
                  <a:lnTo>
                    <a:pt x="5" y="0"/>
                  </a:lnTo>
                  <a:lnTo>
                    <a:pt x="11" y="5"/>
                  </a:lnTo>
                  <a:lnTo>
                    <a:pt x="10" y="13"/>
                  </a:lnTo>
                  <a:lnTo>
                    <a:pt x="0" y="13"/>
                  </a:lnTo>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39" name="Freeform 138"/>
            <p:cNvSpPr>
              <a:spLocks noChangeArrowheads="1"/>
            </p:cNvSpPr>
            <p:nvPr/>
          </p:nvSpPr>
          <p:spPr bwMode="auto">
            <a:xfrm>
              <a:off x="1628309" y="3065872"/>
              <a:ext cx="119914" cy="261384"/>
            </a:xfrm>
            <a:custGeom>
              <a:avLst/>
              <a:gdLst>
                <a:gd name="T0" fmla="*/ 77 w 365"/>
                <a:gd name="T1" fmla="*/ 627 h 797"/>
                <a:gd name="T2" fmla="*/ 32 w 365"/>
                <a:gd name="T3" fmla="*/ 533 h 797"/>
                <a:gd name="T4" fmla="*/ 17 w 365"/>
                <a:gd name="T5" fmla="*/ 460 h 797"/>
                <a:gd name="T6" fmla="*/ 23 w 365"/>
                <a:gd name="T7" fmla="*/ 401 h 797"/>
                <a:gd name="T8" fmla="*/ 125 w 365"/>
                <a:gd name="T9" fmla="*/ 430 h 797"/>
                <a:gd name="T10" fmla="*/ 184 w 365"/>
                <a:gd name="T11" fmla="*/ 443 h 797"/>
                <a:gd name="T12" fmla="*/ 249 w 365"/>
                <a:gd name="T13" fmla="*/ 520 h 797"/>
                <a:gd name="T14" fmla="*/ 364 w 365"/>
                <a:gd name="T15" fmla="*/ 562 h 797"/>
                <a:gd name="T16" fmla="*/ 312 w 365"/>
                <a:gd name="T17" fmla="*/ 686 h 797"/>
                <a:gd name="T18" fmla="*/ 247 w 365"/>
                <a:gd name="T19" fmla="*/ 775 h 797"/>
                <a:gd name="T20" fmla="*/ 0 w 365"/>
                <a:gd name="T21" fmla="*/ 364 h 797"/>
                <a:gd name="T22" fmla="*/ 1 w 365"/>
                <a:gd name="T23" fmla="*/ 381 h 797"/>
                <a:gd name="T24" fmla="*/ 39 w 365"/>
                <a:gd name="T25" fmla="*/ 138 h 797"/>
                <a:gd name="T26" fmla="*/ 140 w 365"/>
                <a:gd name="T27" fmla="*/ 32 h 797"/>
                <a:gd name="T28" fmla="*/ 144 w 365"/>
                <a:gd name="T29" fmla="*/ 3 h 797"/>
                <a:gd name="T30" fmla="*/ 183 w 365"/>
                <a:gd name="T31" fmla="*/ 38 h 797"/>
                <a:gd name="T32" fmla="*/ 282 w 365"/>
                <a:gd name="T33" fmla="*/ 22 h 797"/>
                <a:gd name="T34" fmla="*/ 268 w 365"/>
                <a:gd name="T35" fmla="*/ 58 h 797"/>
                <a:gd name="T36" fmla="*/ 236 w 365"/>
                <a:gd name="T37" fmla="*/ 30 h 797"/>
                <a:gd name="T38" fmla="*/ 188 w 365"/>
                <a:gd name="T39" fmla="*/ 48 h 797"/>
                <a:gd name="T40" fmla="*/ 179 w 365"/>
                <a:gd name="T41" fmla="*/ 62 h 797"/>
                <a:gd name="T42" fmla="*/ 150 w 365"/>
                <a:gd name="T43" fmla="*/ 57 h 797"/>
                <a:gd name="T44" fmla="*/ 100 w 365"/>
                <a:gd name="T45" fmla="*/ 118 h 797"/>
                <a:gd name="T46" fmla="*/ 148 w 365"/>
                <a:gd name="T47" fmla="*/ 126 h 797"/>
                <a:gd name="T48" fmla="*/ 228 w 365"/>
                <a:gd name="T49" fmla="*/ 80 h 797"/>
                <a:gd name="T50" fmla="*/ 263 w 365"/>
                <a:gd name="T51" fmla="*/ 120 h 797"/>
                <a:gd name="T52" fmla="*/ 265 w 365"/>
                <a:gd name="T53" fmla="*/ 163 h 797"/>
                <a:gd name="T54" fmla="*/ 280 w 365"/>
                <a:gd name="T55" fmla="*/ 185 h 797"/>
                <a:gd name="T56" fmla="*/ 259 w 365"/>
                <a:gd name="T57" fmla="*/ 153 h 797"/>
                <a:gd name="T58" fmla="*/ 230 w 365"/>
                <a:gd name="T59" fmla="*/ 161 h 797"/>
                <a:gd name="T60" fmla="*/ 204 w 365"/>
                <a:gd name="T61" fmla="*/ 151 h 797"/>
                <a:gd name="T62" fmla="*/ 218 w 365"/>
                <a:gd name="T63" fmla="*/ 169 h 797"/>
                <a:gd name="T64" fmla="*/ 195 w 365"/>
                <a:gd name="T65" fmla="*/ 173 h 797"/>
                <a:gd name="T66" fmla="*/ 109 w 365"/>
                <a:gd name="T67" fmla="*/ 248 h 797"/>
                <a:gd name="T68" fmla="*/ 61 w 365"/>
                <a:gd name="T69" fmla="*/ 331 h 797"/>
                <a:gd name="T70" fmla="*/ 36 w 365"/>
                <a:gd name="T71" fmla="*/ 146 h 797"/>
                <a:gd name="T72" fmla="*/ 100 w 365"/>
                <a:gd name="T73" fmla="*/ 25 h 797"/>
                <a:gd name="T74" fmla="*/ 86 w 365"/>
                <a:gd name="T75" fmla="*/ 209 h 797"/>
                <a:gd name="T76" fmla="*/ 90 w 365"/>
                <a:gd name="T77" fmla="*/ 225 h 797"/>
                <a:gd name="T78" fmla="*/ 84 w 365"/>
                <a:gd name="T79" fmla="*/ 187 h 797"/>
                <a:gd name="T80" fmla="*/ 116 w 365"/>
                <a:gd name="T81" fmla="*/ 185 h 797"/>
                <a:gd name="T82" fmla="*/ 116 w 365"/>
                <a:gd name="T83" fmla="*/ 185 h 797"/>
                <a:gd name="T84" fmla="*/ 126 w 365"/>
                <a:gd name="T85" fmla="*/ 214 h 797"/>
                <a:gd name="T86" fmla="*/ 93 w 365"/>
                <a:gd name="T87" fmla="*/ 170 h 797"/>
                <a:gd name="T88" fmla="*/ 48 w 365"/>
                <a:gd name="T89" fmla="*/ 172 h 797"/>
                <a:gd name="T90" fmla="*/ 87 w 365"/>
                <a:gd name="T91" fmla="*/ 172 h 797"/>
                <a:gd name="T92" fmla="*/ 48 w 365"/>
                <a:gd name="T93" fmla="*/ 172 h 797"/>
                <a:gd name="T94" fmla="*/ 74 w 365"/>
                <a:gd name="T95" fmla="*/ 187 h 7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797"/>
                <a:gd name="T146" fmla="*/ 365 w 365"/>
                <a:gd name="T147" fmla="*/ 797 h 7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797">
                  <a:moveTo>
                    <a:pt x="118" y="687"/>
                  </a:moveTo>
                  <a:lnTo>
                    <a:pt x="118" y="653"/>
                  </a:lnTo>
                  <a:cubicBezTo>
                    <a:pt x="118" y="653"/>
                    <a:pt x="88" y="630"/>
                    <a:pt x="86" y="630"/>
                  </a:cubicBezTo>
                  <a:cubicBezTo>
                    <a:pt x="85" y="630"/>
                    <a:pt x="81" y="628"/>
                    <a:pt x="77" y="627"/>
                  </a:cubicBezTo>
                  <a:cubicBezTo>
                    <a:pt x="73" y="622"/>
                    <a:pt x="70" y="616"/>
                    <a:pt x="67" y="610"/>
                  </a:cubicBezTo>
                  <a:lnTo>
                    <a:pt x="67" y="609"/>
                  </a:lnTo>
                  <a:lnTo>
                    <a:pt x="65" y="606"/>
                  </a:lnTo>
                  <a:cubicBezTo>
                    <a:pt x="52" y="583"/>
                    <a:pt x="42" y="558"/>
                    <a:pt x="32" y="533"/>
                  </a:cubicBezTo>
                  <a:lnTo>
                    <a:pt x="34" y="514"/>
                  </a:lnTo>
                  <a:lnTo>
                    <a:pt x="61" y="495"/>
                  </a:lnTo>
                  <a:lnTo>
                    <a:pt x="57" y="463"/>
                  </a:lnTo>
                  <a:lnTo>
                    <a:pt x="17" y="460"/>
                  </a:lnTo>
                  <a:lnTo>
                    <a:pt x="10" y="452"/>
                  </a:lnTo>
                  <a:cubicBezTo>
                    <a:pt x="7" y="437"/>
                    <a:pt x="5" y="422"/>
                    <a:pt x="3" y="408"/>
                  </a:cubicBezTo>
                  <a:cubicBezTo>
                    <a:pt x="3" y="404"/>
                    <a:pt x="2" y="401"/>
                    <a:pt x="2" y="397"/>
                  </a:cubicBezTo>
                  <a:lnTo>
                    <a:pt x="23" y="401"/>
                  </a:lnTo>
                  <a:lnTo>
                    <a:pt x="26" y="447"/>
                  </a:lnTo>
                  <a:lnTo>
                    <a:pt x="67" y="454"/>
                  </a:lnTo>
                  <a:lnTo>
                    <a:pt x="93" y="424"/>
                  </a:lnTo>
                  <a:lnTo>
                    <a:pt x="125" y="430"/>
                  </a:lnTo>
                  <a:lnTo>
                    <a:pt x="136" y="446"/>
                  </a:lnTo>
                  <a:lnTo>
                    <a:pt x="166" y="444"/>
                  </a:lnTo>
                  <a:lnTo>
                    <a:pt x="167" y="435"/>
                  </a:lnTo>
                  <a:lnTo>
                    <a:pt x="184" y="443"/>
                  </a:lnTo>
                  <a:lnTo>
                    <a:pt x="203" y="473"/>
                  </a:lnTo>
                  <a:lnTo>
                    <a:pt x="235" y="473"/>
                  </a:lnTo>
                  <a:lnTo>
                    <a:pt x="247" y="494"/>
                  </a:lnTo>
                  <a:lnTo>
                    <a:pt x="249" y="520"/>
                  </a:lnTo>
                  <a:lnTo>
                    <a:pt x="285" y="533"/>
                  </a:lnTo>
                  <a:lnTo>
                    <a:pt x="331" y="534"/>
                  </a:lnTo>
                  <a:lnTo>
                    <a:pt x="344" y="556"/>
                  </a:lnTo>
                  <a:lnTo>
                    <a:pt x="364" y="562"/>
                  </a:lnTo>
                  <a:lnTo>
                    <a:pt x="360" y="580"/>
                  </a:lnTo>
                  <a:lnTo>
                    <a:pt x="338" y="608"/>
                  </a:lnTo>
                  <a:lnTo>
                    <a:pt x="332" y="670"/>
                  </a:lnTo>
                  <a:lnTo>
                    <a:pt x="312" y="686"/>
                  </a:lnTo>
                  <a:lnTo>
                    <a:pt x="282" y="685"/>
                  </a:lnTo>
                  <a:lnTo>
                    <a:pt x="272" y="702"/>
                  </a:lnTo>
                  <a:lnTo>
                    <a:pt x="279" y="734"/>
                  </a:lnTo>
                  <a:lnTo>
                    <a:pt x="247" y="775"/>
                  </a:lnTo>
                  <a:lnTo>
                    <a:pt x="237" y="794"/>
                  </a:lnTo>
                  <a:lnTo>
                    <a:pt x="232" y="796"/>
                  </a:lnTo>
                  <a:cubicBezTo>
                    <a:pt x="188" y="765"/>
                    <a:pt x="150" y="728"/>
                    <a:pt x="118" y="687"/>
                  </a:cubicBezTo>
                  <a:close/>
                  <a:moveTo>
                    <a:pt x="0" y="364"/>
                  </a:moveTo>
                  <a:cubicBezTo>
                    <a:pt x="0" y="363"/>
                    <a:pt x="0" y="362"/>
                    <a:pt x="0" y="360"/>
                  </a:cubicBezTo>
                  <a:lnTo>
                    <a:pt x="1" y="360"/>
                  </a:lnTo>
                  <a:lnTo>
                    <a:pt x="5" y="373"/>
                  </a:lnTo>
                  <a:lnTo>
                    <a:pt x="1" y="381"/>
                  </a:lnTo>
                  <a:cubicBezTo>
                    <a:pt x="0" y="375"/>
                    <a:pt x="0" y="370"/>
                    <a:pt x="0" y="364"/>
                  </a:cubicBezTo>
                  <a:close/>
                  <a:moveTo>
                    <a:pt x="36" y="146"/>
                  </a:moveTo>
                  <a:lnTo>
                    <a:pt x="37" y="146"/>
                  </a:lnTo>
                  <a:lnTo>
                    <a:pt x="39" y="138"/>
                  </a:lnTo>
                  <a:cubicBezTo>
                    <a:pt x="52" y="105"/>
                    <a:pt x="69" y="73"/>
                    <a:pt x="88" y="42"/>
                  </a:cubicBezTo>
                  <a:lnTo>
                    <a:pt x="115" y="42"/>
                  </a:lnTo>
                  <a:lnTo>
                    <a:pt x="119" y="34"/>
                  </a:lnTo>
                  <a:lnTo>
                    <a:pt x="140" y="32"/>
                  </a:lnTo>
                  <a:lnTo>
                    <a:pt x="143" y="19"/>
                  </a:lnTo>
                  <a:lnTo>
                    <a:pt x="130" y="17"/>
                  </a:lnTo>
                  <a:lnTo>
                    <a:pt x="134" y="6"/>
                  </a:lnTo>
                  <a:lnTo>
                    <a:pt x="144" y="3"/>
                  </a:lnTo>
                  <a:lnTo>
                    <a:pt x="179" y="4"/>
                  </a:lnTo>
                  <a:lnTo>
                    <a:pt x="160" y="22"/>
                  </a:lnTo>
                  <a:lnTo>
                    <a:pt x="163" y="35"/>
                  </a:lnTo>
                  <a:lnTo>
                    <a:pt x="183" y="38"/>
                  </a:lnTo>
                  <a:lnTo>
                    <a:pt x="181" y="14"/>
                  </a:lnTo>
                  <a:lnTo>
                    <a:pt x="200" y="4"/>
                  </a:lnTo>
                  <a:lnTo>
                    <a:pt x="234" y="0"/>
                  </a:lnTo>
                  <a:lnTo>
                    <a:pt x="282" y="22"/>
                  </a:lnTo>
                  <a:lnTo>
                    <a:pt x="282" y="40"/>
                  </a:lnTo>
                  <a:lnTo>
                    <a:pt x="298" y="44"/>
                  </a:lnTo>
                  <a:lnTo>
                    <a:pt x="290" y="58"/>
                  </a:lnTo>
                  <a:lnTo>
                    <a:pt x="268" y="58"/>
                  </a:lnTo>
                  <a:lnTo>
                    <a:pt x="261" y="75"/>
                  </a:lnTo>
                  <a:lnTo>
                    <a:pt x="211" y="63"/>
                  </a:lnTo>
                  <a:lnTo>
                    <a:pt x="251" y="42"/>
                  </a:lnTo>
                  <a:lnTo>
                    <a:pt x="236" y="30"/>
                  </a:lnTo>
                  <a:lnTo>
                    <a:pt x="202" y="34"/>
                  </a:lnTo>
                  <a:lnTo>
                    <a:pt x="199" y="37"/>
                  </a:lnTo>
                  <a:lnTo>
                    <a:pt x="198" y="38"/>
                  </a:lnTo>
                  <a:lnTo>
                    <a:pt x="188" y="48"/>
                  </a:lnTo>
                  <a:lnTo>
                    <a:pt x="172" y="49"/>
                  </a:lnTo>
                  <a:lnTo>
                    <a:pt x="174" y="57"/>
                  </a:lnTo>
                  <a:lnTo>
                    <a:pt x="179" y="60"/>
                  </a:lnTo>
                  <a:lnTo>
                    <a:pt x="179" y="62"/>
                  </a:lnTo>
                  <a:lnTo>
                    <a:pt x="166" y="64"/>
                  </a:lnTo>
                  <a:lnTo>
                    <a:pt x="165" y="72"/>
                  </a:lnTo>
                  <a:lnTo>
                    <a:pt x="152" y="72"/>
                  </a:lnTo>
                  <a:lnTo>
                    <a:pt x="150" y="57"/>
                  </a:lnTo>
                  <a:lnTo>
                    <a:pt x="128" y="64"/>
                  </a:lnTo>
                  <a:lnTo>
                    <a:pt x="82" y="91"/>
                  </a:lnTo>
                  <a:lnTo>
                    <a:pt x="87" y="110"/>
                  </a:lnTo>
                  <a:lnTo>
                    <a:pt x="100" y="118"/>
                  </a:lnTo>
                  <a:lnTo>
                    <a:pt x="125" y="122"/>
                  </a:lnTo>
                  <a:lnTo>
                    <a:pt x="125" y="151"/>
                  </a:lnTo>
                  <a:lnTo>
                    <a:pt x="137" y="149"/>
                  </a:lnTo>
                  <a:lnTo>
                    <a:pt x="148" y="126"/>
                  </a:lnTo>
                  <a:lnTo>
                    <a:pt x="176" y="118"/>
                  </a:lnTo>
                  <a:lnTo>
                    <a:pt x="176" y="83"/>
                  </a:lnTo>
                  <a:lnTo>
                    <a:pt x="191" y="71"/>
                  </a:lnTo>
                  <a:lnTo>
                    <a:pt x="228" y="80"/>
                  </a:lnTo>
                  <a:lnTo>
                    <a:pt x="225" y="103"/>
                  </a:lnTo>
                  <a:lnTo>
                    <a:pt x="235" y="103"/>
                  </a:lnTo>
                  <a:lnTo>
                    <a:pt x="262" y="90"/>
                  </a:lnTo>
                  <a:lnTo>
                    <a:pt x="263" y="120"/>
                  </a:lnTo>
                  <a:lnTo>
                    <a:pt x="283" y="132"/>
                  </a:lnTo>
                  <a:lnTo>
                    <a:pt x="282" y="150"/>
                  </a:lnTo>
                  <a:lnTo>
                    <a:pt x="263" y="157"/>
                  </a:lnTo>
                  <a:lnTo>
                    <a:pt x="265" y="163"/>
                  </a:lnTo>
                  <a:lnTo>
                    <a:pt x="287" y="173"/>
                  </a:lnTo>
                  <a:lnTo>
                    <a:pt x="287" y="185"/>
                  </a:lnTo>
                  <a:lnTo>
                    <a:pt x="280" y="186"/>
                  </a:lnTo>
                  <a:lnTo>
                    <a:pt x="280" y="185"/>
                  </a:lnTo>
                  <a:lnTo>
                    <a:pt x="252" y="177"/>
                  </a:lnTo>
                  <a:lnTo>
                    <a:pt x="250" y="167"/>
                  </a:lnTo>
                  <a:lnTo>
                    <a:pt x="259" y="162"/>
                  </a:lnTo>
                  <a:lnTo>
                    <a:pt x="259" y="153"/>
                  </a:lnTo>
                  <a:lnTo>
                    <a:pt x="250" y="151"/>
                  </a:lnTo>
                  <a:lnTo>
                    <a:pt x="247" y="159"/>
                  </a:lnTo>
                  <a:lnTo>
                    <a:pt x="232" y="161"/>
                  </a:lnTo>
                  <a:lnTo>
                    <a:pt x="230" y="161"/>
                  </a:lnTo>
                  <a:lnTo>
                    <a:pt x="225" y="162"/>
                  </a:lnTo>
                  <a:lnTo>
                    <a:pt x="220" y="153"/>
                  </a:lnTo>
                  <a:lnTo>
                    <a:pt x="215" y="151"/>
                  </a:lnTo>
                  <a:lnTo>
                    <a:pt x="204" y="151"/>
                  </a:lnTo>
                  <a:lnTo>
                    <a:pt x="199" y="155"/>
                  </a:lnTo>
                  <a:lnTo>
                    <a:pt x="199" y="165"/>
                  </a:lnTo>
                  <a:lnTo>
                    <a:pt x="208" y="168"/>
                  </a:lnTo>
                  <a:lnTo>
                    <a:pt x="218" y="169"/>
                  </a:lnTo>
                  <a:lnTo>
                    <a:pt x="216" y="170"/>
                  </a:lnTo>
                  <a:lnTo>
                    <a:pt x="207" y="180"/>
                  </a:lnTo>
                  <a:lnTo>
                    <a:pt x="203" y="175"/>
                  </a:lnTo>
                  <a:lnTo>
                    <a:pt x="195" y="173"/>
                  </a:lnTo>
                  <a:lnTo>
                    <a:pt x="172" y="194"/>
                  </a:lnTo>
                  <a:lnTo>
                    <a:pt x="175" y="197"/>
                  </a:lnTo>
                  <a:lnTo>
                    <a:pt x="141" y="215"/>
                  </a:lnTo>
                  <a:lnTo>
                    <a:pt x="109" y="248"/>
                  </a:lnTo>
                  <a:lnTo>
                    <a:pt x="107" y="263"/>
                  </a:lnTo>
                  <a:lnTo>
                    <a:pt x="75" y="284"/>
                  </a:lnTo>
                  <a:lnTo>
                    <a:pt x="59" y="300"/>
                  </a:lnTo>
                  <a:lnTo>
                    <a:pt x="61" y="331"/>
                  </a:lnTo>
                  <a:lnTo>
                    <a:pt x="39" y="321"/>
                  </a:lnTo>
                  <a:lnTo>
                    <a:pt x="40" y="303"/>
                  </a:lnTo>
                  <a:lnTo>
                    <a:pt x="1" y="303"/>
                  </a:lnTo>
                  <a:cubicBezTo>
                    <a:pt x="5" y="249"/>
                    <a:pt x="16" y="196"/>
                    <a:pt x="36" y="146"/>
                  </a:cubicBezTo>
                  <a:close/>
                  <a:moveTo>
                    <a:pt x="117" y="2"/>
                  </a:moveTo>
                  <a:lnTo>
                    <a:pt x="125" y="6"/>
                  </a:lnTo>
                  <a:lnTo>
                    <a:pt x="106" y="25"/>
                  </a:lnTo>
                  <a:lnTo>
                    <a:pt x="100" y="25"/>
                  </a:lnTo>
                  <a:cubicBezTo>
                    <a:pt x="106" y="17"/>
                    <a:pt x="112" y="9"/>
                    <a:pt x="117" y="2"/>
                  </a:cubicBezTo>
                  <a:close/>
                  <a:moveTo>
                    <a:pt x="97" y="217"/>
                  </a:moveTo>
                  <a:lnTo>
                    <a:pt x="97" y="207"/>
                  </a:lnTo>
                  <a:lnTo>
                    <a:pt x="86" y="209"/>
                  </a:lnTo>
                  <a:lnTo>
                    <a:pt x="84" y="213"/>
                  </a:lnTo>
                  <a:lnTo>
                    <a:pt x="76" y="213"/>
                  </a:lnTo>
                  <a:lnTo>
                    <a:pt x="74" y="225"/>
                  </a:lnTo>
                  <a:lnTo>
                    <a:pt x="90" y="225"/>
                  </a:lnTo>
                  <a:lnTo>
                    <a:pt x="97" y="217"/>
                  </a:lnTo>
                  <a:close/>
                  <a:moveTo>
                    <a:pt x="101" y="197"/>
                  </a:moveTo>
                  <a:lnTo>
                    <a:pt x="101" y="187"/>
                  </a:lnTo>
                  <a:lnTo>
                    <a:pt x="84" y="187"/>
                  </a:lnTo>
                  <a:lnTo>
                    <a:pt x="84" y="204"/>
                  </a:lnTo>
                  <a:lnTo>
                    <a:pt x="94" y="202"/>
                  </a:lnTo>
                  <a:lnTo>
                    <a:pt x="101" y="197"/>
                  </a:lnTo>
                  <a:close/>
                  <a:moveTo>
                    <a:pt x="116" y="185"/>
                  </a:moveTo>
                  <a:lnTo>
                    <a:pt x="111" y="190"/>
                  </a:lnTo>
                  <a:lnTo>
                    <a:pt x="118" y="195"/>
                  </a:lnTo>
                  <a:lnTo>
                    <a:pt x="124" y="190"/>
                  </a:lnTo>
                  <a:lnTo>
                    <a:pt x="116" y="185"/>
                  </a:lnTo>
                  <a:close/>
                  <a:moveTo>
                    <a:pt x="106" y="198"/>
                  </a:moveTo>
                  <a:lnTo>
                    <a:pt x="106" y="207"/>
                  </a:lnTo>
                  <a:lnTo>
                    <a:pt x="110" y="214"/>
                  </a:lnTo>
                  <a:lnTo>
                    <a:pt x="126" y="214"/>
                  </a:lnTo>
                  <a:lnTo>
                    <a:pt x="126" y="204"/>
                  </a:lnTo>
                  <a:lnTo>
                    <a:pt x="107" y="198"/>
                  </a:lnTo>
                  <a:lnTo>
                    <a:pt x="106" y="198"/>
                  </a:lnTo>
                  <a:close/>
                  <a:moveTo>
                    <a:pt x="93" y="170"/>
                  </a:moveTo>
                  <a:lnTo>
                    <a:pt x="93" y="183"/>
                  </a:lnTo>
                  <a:lnTo>
                    <a:pt x="103" y="180"/>
                  </a:lnTo>
                  <a:lnTo>
                    <a:pt x="93" y="170"/>
                  </a:lnTo>
                  <a:close/>
                  <a:moveTo>
                    <a:pt x="48" y="172"/>
                  </a:moveTo>
                  <a:lnTo>
                    <a:pt x="45" y="179"/>
                  </a:lnTo>
                  <a:lnTo>
                    <a:pt x="56" y="183"/>
                  </a:lnTo>
                  <a:lnTo>
                    <a:pt x="87" y="183"/>
                  </a:lnTo>
                  <a:lnTo>
                    <a:pt x="87" y="172"/>
                  </a:lnTo>
                  <a:lnTo>
                    <a:pt x="83" y="172"/>
                  </a:lnTo>
                  <a:lnTo>
                    <a:pt x="83" y="166"/>
                  </a:lnTo>
                  <a:lnTo>
                    <a:pt x="62" y="166"/>
                  </a:lnTo>
                  <a:lnTo>
                    <a:pt x="48" y="172"/>
                  </a:lnTo>
                  <a:close/>
                  <a:moveTo>
                    <a:pt x="45" y="200"/>
                  </a:moveTo>
                  <a:lnTo>
                    <a:pt x="43" y="212"/>
                  </a:lnTo>
                  <a:lnTo>
                    <a:pt x="52" y="217"/>
                  </a:lnTo>
                  <a:lnTo>
                    <a:pt x="74" y="187"/>
                  </a:lnTo>
                  <a:lnTo>
                    <a:pt x="57" y="187"/>
                  </a:lnTo>
                  <a:lnTo>
                    <a:pt x="45" y="200"/>
                  </a:lnTo>
                  <a:close/>
                </a:path>
              </a:pathLst>
            </a:custGeom>
            <a:solidFill>
              <a:srgbClr val="BD1839"/>
            </a:solidFill>
            <a:ln w="9525">
              <a:noFill/>
              <a:bevel/>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sp>
          <p:nvSpPr>
            <p:cNvPr id="140" name="Freeform 139"/>
            <p:cNvSpPr>
              <a:spLocks noChangeArrowheads="1"/>
            </p:cNvSpPr>
            <p:nvPr/>
          </p:nvSpPr>
          <p:spPr bwMode="auto">
            <a:xfrm>
              <a:off x="1626864" y="2996555"/>
              <a:ext cx="366968" cy="371136"/>
            </a:xfrm>
            <a:custGeom>
              <a:avLst/>
              <a:gdLst>
                <a:gd name="T0" fmla="*/ 397 w 1120"/>
                <a:gd name="T1" fmla="*/ 24 h 1135"/>
                <a:gd name="T2" fmla="*/ 560 w 1120"/>
                <a:gd name="T3" fmla="*/ 0 h 1135"/>
                <a:gd name="T4" fmla="*/ 862 w 1120"/>
                <a:gd name="T5" fmla="*/ 88 h 1135"/>
                <a:gd name="T6" fmla="*/ 865 w 1120"/>
                <a:gd name="T7" fmla="*/ 91 h 1135"/>
                <a:gd name="T8" fmla="*/ 865 w 1120"/>
                <a:gd name="T9" fmla="*/ 91 h 1135"/>
                <a:gd name="T10" fmla="*/ 1112 w 1120"/>
                <a:gd name="T11" fmla="*/ 492 h 1135"/>
                <a:gd name="T12" fmla="*/ 1115 w 1120"/>
                <a:gd name="T13" fmla="*/ 535 h 1135"/>
                <a:gd name="T14" fmla="*/ 1025 w 1120"/>
                <a:gd name="T15" fmla="*/ 859 h 1135"/>
                <a:gd name="T16" fmla="*/ 764 w 1120"/>
                <a:gd name="T17" fmla="*/ 1071 h 1135"/>
                <a:gd name="T18" fmla="*/ 722 w 1120"/>
                <a:gd name="T19" fmla="*/ 1086 h 1135"/>
                <a:gd name="T20" fmla="*/ 255 w 1120"/>
                <a:gd name="T21" fmla="*/ 1019 h 1135"/>
                <a:gd name="T22" fmla="*/ 252 w 1120"/>
                <a:gd name="T23" fmla="*/ 1018 h 1135"/>
                <a:gd name="T24" fmla="*/ 7 w 1120"/>
                <a:gd name="T25" fmla="*/ 618 h 1135"/>
                <a:gd name="T26" fmla="*/ 4 w 1120"/>
                <a:gd name="T27" fmla="*/ 574 h 1135"/>
                <a:gd name="T28" fmla="*/ 94 w 1120"/>
                <a:gd name="T29" fmla="*/ 251 h 1135"/>
                <a:gd name="T30" fmla="*/ 355 w 1120"/>
                <a:gd name="T31" fmla="*/ 39 h 1135"/>
                <a:gd name="T32" fmla="*/ 397 w 1120"/>
                <a:gd name="T33" fmla="*/ 24 h 11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20"/>
                <a:gd name="T52" fmla="*/ 0 h 1135"/>
                <a:gd name="T53" fmla="*/ 1120 w 1120"/>
                <a:gd name="T54" fmla="*/ 1135 h 11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20" h="1135">
                  <a:moveTo>
                    <a:pt x="397" y="24"/>
                  </a:moveTo>
                  <a:cubicBezTo>
                    <a:pt x="451" y="8"/>
                    <a:pt x="506" y="0"/>
                    <a:pt x="560" y="0"/>
                  </a:cubicBezTo>
                  <a:cubicBezTo>
                    <a:pt x="666" y="0"/>
                    <a:pt x="771" y="30"/>
                    <a:pt x="862" y="88"/>
                  </a:cubicBezTo>
                  <a:lnTo>
                    <a:pt x="865" y="91"/>
                  </a:lnTo>
                  <a:cubicBezTo>
                    <a:pt x="1003" y="181"/>
                    <a:pt x="1093" y="327"/>
                    <a:pt x="1112" y="492"/>
                  </a:cubicBezTo>
                  <a:cubicBezTo>
                    <a:pt x="1114" y="505"/>
                    <a:pt x="1115" y="520"/>
                    <a:pt x="1115" y="535"/>
                  </a:cubicBezTo>
                  <a:cubicBezTo>
                    <a:pt x="1119" y="651"/>
                    <a:pt x="1088" y="763"/>
                    <a:pt x="1025" y="859"/>
                  </a:cubicBezTo>
                  <a:cubicBezTo>
                    <a:pt x="962" y="955"/>
                    <a:pt x="871" y="1029"/>
                    <a:pt x="764" y="1071"/>
                  </a:cubicBezTo>
                  <a:cubicBezTo>
                    <a:pt x="749" y="1077"/>
                    <a:pt x="736" y="1081"/>
                    <a:pt x="722" y="1086"/>
                  </a:cubicBezTo>
                  <a:cubicBezTo>
                    <a:pt x="563" y="1134"/>
                    <a:pt x="393" y="1110"/>
                    <a:pt x="255" y="1019"/>
                  </a:cubicBezTo>
                  <a:lnTo>
                    <a:pt x="252" y="1018"/>
                  </a:lnTo>
                  <a:cubicBezTo>
                    <a:pt x="115" y="927"/>
                    <a:pt x="26" y="781"/>
                    <a:pt x="7" y="618"/>
                  </a:cubicBezTo>
                  <a:cubicBezTo>
                    <a:pt x="5" y="604"/>
                    <a:pt x="4" y="589"/>
                    <a:pt x="4" y="574"/>
                  </a:cubicBezTo>
                  <a:cubicBezTo>
                    <a:pt x="0" y="459"/>
                    <a:pt x="31" y="347"/>
                    <a:pt x="94" y="251"/>
                  </a:cubicBezTo>
                  <a:cubicBezTo>
                    <a:pt x="157" y="154"/>
                    <a:pt x="248" y="81"/>
                    <a:pt x="355" y="39"/>
                  </a:cubicBezTo>
                  <a:cubicBezTo>
                    <a:pt x="369" y="33"/>
                    <a:pt x="383" y="28"/>
                    <a:pt x="397" y="24"/>
                  </a:cubicBezTo>
                </a:path>
              </a:pathLst>
            </a:custGeom>
            <a:noFill/>
            <a:ln w="25560">
              <a:solidFill>
                <a:srgbClr val="FFFFFF"/>
              </a:solidFill>
              <a:miter lim="800000"/>
              <a:headEnd/>
              <a:tailEnd/>
            </a:ln>
          </p:spPr>
          <p:txBody>
            <a:bodyPr wrap="none" anchor="ctr">
              <a:prstTxWarp prst="textNoShape">
                <a:avLst/>
              </a:prstTxWarp>
            </a:bodyPr>
            <a:lstStyle/>
            <a:p>
              <a:pPr fontAlgn="base">
                <a:lnSpc>
                  <a:spcPct val="90000"/>
                </a:lnSpc>
                <a:spcBef>
                  <a:spcPct val="70000"/>
                </a:spcBef>
                <a:spcAft>
                  <a:spcPct val="0"/>
                </a:spcAft>
                <a:buNone/>
              </a:pPr>
              <a:endParaRPr lang="en-US" sz="1600" dirty="0">
                <a:solidFill>
                  <a:srgbClr val="19324B"/>
                </a:solidFill>
                <a:cs typeface="Arial" pitchFamily="34" charset="0"/>
              </a:endParaRPr>
            </a:p>
          </p:txBody>
        </p:sp>
      </p:grpSp>
      <p:pic>
        <p:nvPicPr>
          <p:cNvPr id="141"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36116" y="3086101"/>
            <a:ext cx="609771" cy="361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0" name="矩形 149"/>
          <p:cNvSpPr/>
          <p:nvPr/>
        </p:nvSpPr>
        <p:spPr>
          <a:xfrm>
            <a:off x="2739497" y="1508581"/>
            <a:ext cx="1415772" cy="338554"/>
          </a:xfrm>
          <a:prstGeom prst="rect">
            <a:avLst/>
          </a:prstGeom>
        </p:spPr>
        <p:txBody>
          <a:bodyPr wrap="none">
            <a:spAutoFit/>
          </a:bodyPr>
          <a:lstStyle/>
          <a:p>
            <a:pPr algn="ctr">
              <a:buNone/>
              <a:tabLst>
                <a:tab pos="723900" algn="l"/>
                <a:tab pos="1447800" algn="l"/>
              </a:tabLst>
            </a:pP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加速上市時程</a:t>
            </a:r>
            <a:endPar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endParaRPr>
          </a:p>
        </p:txBody>
      </p:sp>
      <p:sp>
        <p:nvSpPr>
          <p:cNvPr id="151" name="矩形 150"/>
          <p:cNvSpPr/>
          <p:nvPr/>
        </p:nvSpPr>
        <p:spPr>
          <a:xfrm>
            <a:off x="5360976" y="817356"/>
            <a:ext cx="1415772" cy="338554"/>
          </a:xfrm>
          <a:prstGeom prst="rect">
            <a:avLst/>
          </a:prstGeom>
        </p:spPr>
        <p:txBody>
          <a:bodyPr wrap="none">
            <a:spAutoFit/>
          </a:bodyPr>
          <a:lstStyle/>
          <a:p>
            <a:pPr algn="ctr">
              <a:buNone/>
              <a:tabLst>
                <a:tab pos="723900" algn="l"/>
                <a:tab pos="1447800" algn="l"/>
              </a:tabLst>
            </a:pPr>
            <a:r>
              <a:rPr lang="zh-TW" altLang="en-US" sz="1600" b="1" dirty="0">
                <a:solidFill>
                  <a:srgbClr val="BE1839"/>
                </a:solidFill>
                <a:latin typeface="微軟正黑體" panose="020B0604030504040204" pitchFamily="34" charset="-120"/>
                <a:ea typeface="微軟正黑體" panose="020B0604030504040204" pitchFamily="34" charset="-120"/>
                <a:cs typeface="Arial" pitchFamily="34" charset="0"/>
              </a:rPr>
              <a:t>帶給您的益處</a:t>
            </a:r>
            <a:endParaRPr lang="en-US" altLang="zh-TW" sz="1600" b="1" dirty="0">
              <a:solidFill>
                <a:srgbClr val="BE1839"/>
              </a:solidFill>
              <a:latin typeface="微軟正黑體" panose="020B0604030504040204" pitchFamily="34" charset="-120"/>
              <a:ea typeface="微軟正黑體" panose="020B0604030504040204" pitchFamily="34" charset="-120"/>
              <a:cs typeface="Arial" pitchFamily="34" charset="0"/>
            </a:endParaRPr>
          </a:p>
        </p:txBody>
      </p:sp>
      <p:sp>
        <p:nvSpPr>
          <p:cNvPr id="152" name="矩形 151"/>
          <p:cNvSpPr/>
          <p:nvPr/>
        </p:nvSpPr>
        <p:spPr>
          <a:xfrm>
            <a:off x="8095993" y="1690181"/>
            <a:ext cx="1005404" cy="338554"/>
          </a:xfrm>
          <a:prstGeom prst="rect">
            <a:avLst/>
          </a:prstGeom>
        </p:spPr>
        <p:txBody>
          <a:bodyPr wrap="none">
            <a:spAutoFit/>
          </a:bodyPr>
          <a:lstStyle/>
          <a:p>
            <a:pPr algn="ctr">
              <a:buNone/>
              <a:tabLst>
                <a:tab pos="723900" algn="l"/>
                <a:tab pos="1447800" algn="l"/>
              </a:tabLst>
            </a:pP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風險管理</a:t>
            </a:r>
            <a:endPar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endParaRPr>
          </a:p>
        </p:txBody>
      </p:sp>
      <p:sp>
        <p:nvSpPr>
          <p:cNvPr id="153" name="矩形 152"/>
          <p:cNvSpPr/>
          <p:nvPr/>
        </p:nvSpPr>
        <p:spPr>
          <a:xfrm>
            <a:off x="8864621" y="2688938"/>
            <a:ext cx="1210588" cy="584775"/>
          </a:xfrm>
          <a:prstGeom prst="rect">
            <a:avLst/>
          </a:prstGeom>
        </p:spPr>
        <p:txBody>
          <a:bodyPr wrap="none">
            <a:spAutoFit/>
          </a:bodyPr>
          <a:lstStyle/>
          <a:p>
            <a:pPr>
              <a:buNone/>
              <a:tabLst>
                <a:tab pos="723900" algn="l"/>
                <a:tab pos="1447800" algn="l"/>
              </a:tabLst>
            </a:pP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提升品牌及</a:t>
            </a:r>
            <a:br>
              <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rPr>
            </a:b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股東價值</a:t>
            </a:r>
            <a:endPar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endParaRPr>
          </a:p>
        </p:txBody>
      </p:sp>
      <p:sp>
        <p:nvSpPr>
          <p:cNvPr id="154" name="矩形 153"/>
          <p:cNvSpPr/>
          <p:nvPr/>
        </p:nvSpPr>
        <p:spPr>
          <a:xfrm>
            <a:off x="1979572" y="2752437"/>
            <a:ext cx="1210588" cy="584775"/>
          </a:xfrm>
          <a:prstGeom prst="rect">
            <a:avLst/>
          </a:prstGeom>
        </p:spPr>
        <p:txBody>
          <a:bodyPr wrap="none">
            <a:spAutoFit/>
          </a:bodyPr>
          <a:lstStyle/>
          <a:p>
            <a:pPr>
              <a:buNone/>
              <a:tabLst>
                <a:tab pos="723900" algn="l"/>
                <a:tab pos="1447800" algn="l"/>
              </a:tabLst>
            </a:pP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最新技術及</a:t>
            </a:r>
            <a:br>
              <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rPr>
            </a:b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法規發展</a:t>
            </a:r>
            <a:endPar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endParaRPr>
          </a:p>
        </p:txBody>
      </p:sp>
      <p:sp>
        <p:nvSpPr>
          <p:cNvPr id="155" name="矩形 154"/>
          <p:cNvSpPr/>
          <p:nvPr/>
        </p:nvSpPr>
        <p:spPr>
          <a:xfrm>
            <a:off x="2583094" y="4364391"/>
            <a:ext cx="1210589" cy="338554"/>
          </a:xfrm>
          <a:prstGeom prst="rect">
            <a:avLst/>
          </a:prstGeom>
        </p:spPr>
        <p:txBody>
          <a:bodyPr wrap="none">
            <a:spAutoFit/>
          </a:bodyPr>
          <a:lstStyle/>
          <a:p>
            <a:pPr algn="ctr">
              <a:buNone/>
              <a:tabLst>
                <a:tab pos="723900" algn="l"/>
                <a:tab pos="1447800" algn="l"/>
              </a:tabLst>
            </a:pP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全球一致性</a:t>
            </a:r>
            <a:endPar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endParaRPr>
          </a:p>
        </p:txBody>
      </p:sp>
      <p:sp>
        <p:nvSpPr>
          <p:cNvPr id="156" name="矩形 155"/>
          <p:cNvSpPr/>
          <p:nvPr/>
        </p:nvSpPr>
        <p:spPr>
          <a:xfrm>
            <a:off x="8816226" y="4307344"/>
            <a:ext cx="1826141" cy="584775"/>
          </a:xfrm>
          <a:prstGeom prst="rect">
            <a:avLst/>
          </a:prstGeom>
        </p:spPr>
        <p:txBody>
          <a:bodyPr wrap="none">
            <a:spAutoFit/>
          </a:bodyPr>
          <a:lstStyle/>
          <a:p>
            <a:pPr>
              <a:buNone/>
              <a:tabLst>
                <a:tab pos="723900" algn="l"/>
                <a:tab pos="1447800" algn="l"/>
              </a:tabLst>
            </a:pP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國際採購策略佈局</a:t>
            </a:r>
            <a:br>
              <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rPr>
            </a:br>
            <a:r>
              <a:rPr lang="zh-TW" altLang="en-US" sz="1600" b="1" dirty="0">
                <a:solidFill>
                  <a:srgbClr val="5C638A"/>
                </a:solidFill>
                <a:latin typeface="微軟正黑體" panose="020B0604030504040204" pitchFamily="34" charset="-120"/>
                <a:ea typeface="微軟正黑體" panose="020B0604030504040204" pitchFamily="34" charset="-120"/>
                <a:cs typeface="Arial" pitchFamily="34" charset="0"/>
              </a:rPr>
              <a:t>及供應鏈管理</a:t>
            </a:r>
            <a:endParaRPr lang="en-US" altLang="zh-TW" sz="1600" b="1" dirty="0">
              <a:solidFill>
                <a:srgbClr val="5C638A"/>
              </a:solidFill>
              <a:latin typeface="微軟正黑體" panose="020B0604030504040204" pitchFamily="34" charset="-120"/>
              <a:ea typeface="微軟正黑體" panose="020B0604030504040204" pitchFamily="34" charset="-120"/>
              <a:cs typeface="Arial" pitchFamily="34" charset="0"/>
            </a:endParaRPr>
          </a:p>
        </p:txBody>
      </p:sp>
      <p:sp>
        <p:nvSpPr>
          <p:cNvPr id="256" name="矩形 255"/>
          <p:cNvSpPr/>
          <p:nvPr/>
        </p:nvSpPr>
        <p:spPr>
          <a:xfrm>
            <a:off x="2952043" y="5612824"/>
            <a:ext cx="6096000" cy="923330"/>
          </a:xfrm>
          <a:prstGeom prst="rect">
            <a:avLst/>
          </a:prstGeom>
        </p:spPr>
        <p:txBody>
          <a:bodyPr>
            <a:spAutoFit/>
          </a:bodyPr>
          <a:lstStyle/>
          <a:p>
            <a:pPr algn="ctr">
              <a:buNone/>
              <a:tabLst>
                <a:tab pos="723900" algn="l"/>
                <a:tab pos="1447800" algn="l"/>
              </a:tabLst>
            </a:pPr>
            <a:r>
              <a:rPr lang="zh-TW" altLang="en-US" b="1" dirty="0">
                <a:solidFill>
                  <a:srgbClr val="5C8B76"/>
                </a:solidFill>
                <a:latin typeface="微軟正黑體" panose="020B0604030504040204" pitchFamily="34" charset="-120"/>
                <a:cs typeface="Arial" pitchFamily="34" charset="0"/>
              </a:rPr>
              <a:t>您的挑戰</a:t>
            </a:r>
            <a:br>
              <a:rPr lang="en-US" altLang="zh-TW" b="1" dirty="0">
                <a:solidFill>
                  <a:srgbClr val="5C8B76"/>
                </a:solidFill>
                <a:latin typeface="微軟正黑體" panose="020B0604030504040204" pitchFamily="34" charset="-120"/>
                <a:cs typeface="Arial" pitchFamily="34" charset="0"/>
              </a:rPr>
            </a:br>
            <a:r>
              <a:rPr lang="zh-TW" altLang="en-US" b="1" dirty="0">
                <a:solidFill>
                  <a:srgbClr val="5C8B76"/>
                </a:solidFill>
                <a:latin typeface="微軟正黑體" panose="020B0604030504040204" pitchFamily="34" charset="-120"/>
                <a:cs typeface="Arial" pitchFamily="34" charset="0"/>
              </a:rPr>
              <a:t>降低總成本</a:t>
            </a:r>
            <a:r>
              <a:rPr lang="en-US" altLang="zh-TW" b="1" dirty="0">
                <a:solidFill>
                  <a:srgbClr val="5C8B76"/>
                </a:solidFill>
                <a:latin typeface="微軟正黑體" panose="020B0604030504040204" pitchFamily="34" charset="-120"/>
                <a:cs typeface="Arial" pitchFamily="34" charset="0"/>
              </a:rPr>
              <a:t>·</a:t>
            </a:r>
            <a:r>
              <a:rPr lang="zh-TW" altLang="en-US" b="1" dirty="0">
                <a:solidFill>
                  <a:srgbClr val="5C8B76"/>
                </a:solidFill>
                <a:latin typeface="微軟正黑體" panose="020B0604030504040204" pitchFamily="34" charset="-120"/>
                <a:cs typeface="Arial" pitchFamily="34" charset="0"/>
              </a:rPr>
              <a:t>提升產品品質</a:t>
            </a:r>
            <a:r>
              <a:rPr lang="en-US" altLang="zh-TW" b="1" dirty="0">
                <a:solidFill>
                  <a:srgbClr val="5C8B76"/>
                </a:solidFill>
                <a:latin typeface="微軟正黑體" panose="020B0604030504040204" pitchFamily="34" charset="-120"/>
                <a:cs typeface="Arial" pitchFamily="34" charset="0"/>
              </a:rPr>
              <a:t>·</a:t>
            </a:r>
            <a:r>
              <a:rPr lang="zh-TW" altLang="en-US" b="1" dirty="0">
                <a:solidFill>
                  <a:srgbClr val="5C8B76"/>
                </a:solidFill>
                <a:latin typeface="微軟正黑體" panose="020B0604030504040204" pitchFamily="34" charset="-120"/>
                <a:cs typeface="Arial" pitchFamily="34" charset="0"/>
              </a:rPr>
              <a:t>保護消費者及品牌資產</a:t>
            </a:r>
            <a:r>
              <a:rPr lang="en-US" altLang="zh-TW" b="1" dirty="0">
                <a:solidFill>
                  <a:srgbClr val="5C8B76"/>
                </a:solidFill>
                <a:latin typeface="微軟正黑體" panose="020B0604030504040204" pitchFamily="34" charset="-120"/>
                <a:cs typeface="Arial" pitchFamily="34" charset="0"/>
              </a:rPr>
              <a:t>·</a:t>
            </a:r>
            <a:br>
              <a:rPr lang="en-US" altLang="zh-TW" b="1" dirty="0">
                <a:solidFill>
                  <a:srgbClr val="5C8B76"/>
                </a:solidFill>
                <a:latin typeface="微軟正黑體" panose="020B0604030504040204" pitchFamily="34" charset="-120"/>
                <a:cs typeface="Arial" pitchFamily="34" charset="0"/>
              </a:rPr>
            </a:br>
            <a:r>
              <a:rPr lang="zh-TW" altLang="en-US" b="1" dirty="0">
                <a:solidFill>
                  <a:srgbClr val="5C8B76"/>
                </a:solidFill>
                <a:latin typeface="微軟正黑體" panose="020B0604030504040204" pitchFamily="34" charset="-120"/>
                <a:cs typeface="Arial" pitchFamily="34" charset="0"/>
              </a:rPr>
              <a:t>縮短產品週期</a:t>
            </a:r>
            <a:r>
              <a:rPr lang="en-US" altLang="zh-TW" b="1" dirty="0">
                <a:solidFill>
                  <a:srgbClr val="5C8B76"/>
                </a:solidFill>
                <a:latin typeface="微軟正黑體" panose="020B0604030504040204" pitchFamily="34" charset="-120"/>
                <a:cs typeface="Arial" pitchFamily="34" charset="0"/>
              </a:rPr>
              <a:t>·</a:t>
            </a:r>
            <a:r>
              <a:rPr lang="zh-TW" altLang="en-US" b="1" dirty="0">
                <a:solidFill>
                  <a:srgbClr val="5C8B76"/>
                </a:solidFill>
                <a:latin typeface="微軟正黑體" panose="020B0604030504040204" pitchFamily="34" charset="-120"/>
                <a:cs typeface="Arial" pitchFamily="34" charset="0"/>
              </a:rPr>
              <a:t>制定商業趨勢的策略</a:t>
            </a:r>
            <a:endParaRPr lang="en-US" altLang="zh-TW" b="1" dirty="0">
              <a:solidFill>
                <a:srgbClr val="5C8B76"/>
              </a:solidFill>
              <a:latin typeface="微軟正黑體" panose="020B0604030504040204" pitchFamily="34" charset="-120"/>
              <a:cs typeface="Arial" pitchFamily="34" charset="0"/>
            </a:endParaRPr>
          </a:p>
        </p:txBody>
      </p:sp>
    </p:spTree>
    <p:extLst>
      <p:ext uri="{BB962C8B-B14F-4D97-AF65-F5344CB8AC3E}">
        <p14:creationId xmlns:p14="http://schemas.microsoft.com/office/powerpoint/2010/main" val="2893428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r>
              <a:rPr lang="en-GB"/>
              <a:t>Slide / </a:t>
            </a:r>
            <a:fld id="{3EA6A558-C4CA-4506-B5EC-E793D5AE9532}" type="slidenum">
              <a:rPr lang="en-GB" smtClean="0"/>
              <a:pPr/>
              <a:t>9</a:t>
            </a:fld>
            <a:endParaRPr lang="en-GB" dirty="0"/>
          </a:p>
        </p:txBody>
      </p:sp>
      <p:sp>
        <p:nvSpPr>
          <p:cNvPr id="4" name="標題 3"/>
          <p:cNvSpPr>
            <a:spLocks noGrp="1"/>
          </p:cNvSpPr>
          <p:nvPr>
            <p:ph type="title"/>
          </p:nvPr>
        </p:nvSpPr>
        <p:spPr/>
        <p:txBody>
          <a:bodyPr/>
          <a:lstStyle/>
          <a:p>
            <a:r>
              <a:rPr lang="en-US" altLang="zh-TW" dirty="0">
                <a:solidFill>
                  <a:schemeClr val="tx1">
                    <a:lumMod val="75000"/>
                  </a:schemeClr>
                </a:solidFill>
              </a:rPr>
              <a:t>Allowing for Solutions Throughout the Supply Chain</a:t>
            </a:r>
            <a:br>
              <a:rPr lang="en-US" altLang="zh-TW" dirty="0">
                <a:solidFill>
                  <a:schemeClr val="tx1">
                    <a:lumMod val="75000"/>
                  </a:schemeClr>
                </a:solidFill>
              </a:rPr>
            </a:br>
            <a:r>
              <a:rPr lang="zh-TW" altLang="en-US" dirty="0">
                <a:solidFill>
                  <a:schemeClr val="tx1">
                    <a:lumMod val="75000"/>
                  </a:schemeClr>
                </a:solidFill>
                <a:latin typeface="微軟正黑體" panose="020B0604030504040204" pitchFamily="34" charset="-120"/>
              </a:rPr>
              <a:t>完整的供應鏈品質管理</a:t>
            </a:r>
            <a:br>
              <a:rPr lang="zh-TW" altLang="en-US" dirty="0">
                <a:solidFill>
                  <a:schemeClr val="hlink"/>
                </a:solidFill>
                <a:latin typeface="微軟正黑體" panose="020B0604030504040204" pitchFamily="34" charset="-120"/>
              </a:rPr>
            </a:br>
            <a:endParaRPr lang="zh-TW" alt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9661" y="1908381"/>
            <a:ext cx="8867409" cy="3981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Box 2"/>
          <p:cNvSpPr txBox="1">
            <a:spLocks noChangeArrowheads="1"/>
          </p:cNvSpPr>
          <p:nvPr/>
        </p:nvSpPr>
        <p:spPr bwMode="auto">
          <a:xfrm>
            <a:off x="3034905" y="1616191"/>
            <a:ext cx="6051550" cy="307975"/>
          </a:xfrm>
          <a:prstGeom prst="rect">
            <a:avLst/>
          </a:prstGeom>
          <a:noFill/>
          <a:ln w="9525">
            <a:noFill/>
            <a:round/>
            <a:headEnd/>
            <a:tailEnd/>
          </a:ln>
        </p:spPr>
        <p:txBody>
          <a:bodyPr wrap="none" lIns="0" tIns="19404" rIns="0" bIns="0" anchor="ctr">
            <a:prstTxWarp prst="textNoShape">
              <a:avLst/>
            </a:prstTxWarp>
          </a:bodyPr>
          <a:lstStyle/>
          <a:p>
            <a:pPr algn="ctr">
              <a:tabLst>
                <a:tab pos="723900" algn="l"/>
                <a:tab pos="1447800" algn="l"/>
                <a:tab pos="2171700" algn="l"/>
                <a:tab pos="2895600" algn="l"/>
                <a:tab pos="3619500" algn="l"/>
                <a:tab pos="4343400" algn="l"/>
                <a:tab pos="5067300" algn="l"/>
                <a:tab pos="5791200" algn="l"/>
              </a:tabLst>
            </a:pPr>
            <a:r>
              <a:rPr lang="zh-TW" altLang="en-US" b="1" dirty="0">
                <a:solidFill>
                  <a:srgbClr val="53597D"/>
                </a:solidFill>
                <a:latin typeface="微軟正黑體" panose="020B0604030504040204" pitchFamily="34" charset="-120"/>
                <a:ea typeface="微軟正黑體" panose="020B0604030504040204" pitchFamily="34" charset="-120"/>
                <a:cs typeface="Arial" pitchFamily="34" charset="0"/>
              </a:rPr>
              <a:t>增加產品價值</a:t>
            </a:r>
            <a:r>
              <a:rPr lang="en-US" b="1" dirty="0">
                <a:solidFill>
                  <a:srgbClr val="53597D"/>
                </a:solidFill>
                <a:latin typeface="微軟正黑體" panose="020B0604030504040204" pitchFamily="34" charset="-120"/>
                <a:ea typeface="微軟正黑體" panose="020B0604030504040204" pitchFamily="34" charset="-120"/>
                <a:cs typeface="Arial" pitchFamily="34" charset="0"/>
              </a:rPr>
              <a:t>• </a:t>
            </a:r>
            <a:r>
              <a:rPr lang="zh-TW" altLang="en-US" b="1" dirty="0">
                <a:solidFill>
                  <a:srgbClr val="53597D"/>
                </a:solidFill>
                <a:latin typeface="微軟正黑體" panose="020B0604030504040204" pitchFamily="34" charset="-120"/>
                <a:ea typeface="微軟正黑體" panose="020B0604030504040204" pitchFamily="34" charset="-120"/>
                <a:cs typeface="Arial" pitchFamily="34" charset="0"/>
              </a:rPr>
              <a:t>加速上市時程</a:t>
            </a:r>
            <a:r>
              <a:rPr lang="en-US" b="1" dirty="0">
                <a:solidFill>
                  <a:srgbClr val="53597D"/>
                </a:solidFill>
                <a:latin typeface="微軟正黑體" panose="020B0604030504040204" pitchFamily="34" charset="-120"/>
                <a:ea typeface="微軟正黑體" panose="020B0604030504040204" pitchFamily="34" charset="-120"/>
                <a:cs typeface="Arial" pitchFamily="34" charset="0"/>
              </a:rPr>
              <a:t> • </a:t>
            </a:r>
            <a:r>
              <a:rPr lang="zh-TW" altLang="en-US" b="1" dirty="0">
                <a:solidFill>
                  <a:srgbClr val="53597D"/>
                </a:solidFill>
                <a:latin typeface="微軟正黑體" panose="020B0604030504040204" pitchFamily="34" charset="-120"/>
                <a:ea typeface="微軟正黑體" panose="020B0604030504040204" pitchFamily="34" charset="-120"/>
                <a:cs typeface="Arial" pitchFamily="34" charset="0"/>
              </a:rPr>
              <a:t>最佳獲利</a:t>
            </a:r>
            <a:endParaRPr lang="en-US" b="1" dirty="0">
              <a:solidFill>
                <a:srgbClr val="53597D"/>
              </a:solidFill>
              <a:latin typeface="微軟正黑體" panose="020B0604030504040204" pitchFamily="34" charset="-120"/>
              <a:ea typeface="微軟正黑體" panose="020B0604030504040204" pitchFamily="34" charset="-120"/>
              <a:cs typeface="Arial" pitchFamily="34" charset="0"/>
            </a:endParaRPr>
          </a:p>
        </p:txBody>
      </p:sp>
    </p:spTree>
    <p:extLst>
      <p:ext uri="{BB962C8B-B14F-4D97-AF65-F5344CB8AC3E}">
        <p14:creationId xmlns:p14="http://schemas.microsoft.com/office/powerpoint/2010/main" val="1709386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6&quot;&gt;&lt;elem m_fUsage=&quot;2.90973790000000009925E+00&quot;&gt;&lt;m_msothmcolidx val=&quot;0&quot;/&gt;&lt;m_rgb r=&quot;CC&quot; g=&quot;02&quot; b=&quot;3B&quot;/&gt;&lt;m_nBrightness tagver0=&quot;26206&quot; tagname0=&quot;m_nBrightnessUNRECOGNIZED&quot; val=&quot;0&quot;/&gt;&lt;/elem&gt;&lt;elem m_fUsage=&quot;1.74995721000000004075E+00&quot;&gt;&lt;m_msothmcolidx val=&quot;0&quot;/&gt;&lt;m_rgb r=&quot;30&quot; g=&quot;C1&quot; b=&quot;AE&quot;/&gt;&lt;m_nBrightness tagver0=&quot;26206&quot; tagname0=&quot;m_nBrightnessUNRECOGNIZED&quot; val=&quot;0&quot;/&gt;&lt;/elem&gt;&lt;elem m_fUsage=&quot;1.46609999999999995879E+00&quot;&gt;&lt;m_msothmcolidx val=&quot;0&quot;/&gt;&lt;m_rgb r=&quot;E8&quot; g=&quot;C7&quot; b=&quot;0F&quot;/&gt;&lt;m_nBrightness tagver0=&quot;26206&quot; tagname0=&quot;m_nBrightnessUNRECOGNIZED&quot; val=&quot;0&quot;/&gt;&lt;/elem&gt;&lt;elem m_fUsage=&quot;3.87420489000000145552E-01&quot;&gt;&lt;m_msothmcolidx val=&quot;0&quot;/&gt;&lt;m_rgb r=&quot;72&quot; g=&quot;E4&quot; b=&quot;C9&quot;/&gt;&lt;m_nBrightness tagver0=&quot;26206&quot; tagname0=&quot;m_nBrightnessUNRECOGNIZED&quot; val=&quot;0&quot;/&gt;&lt;/elem&gt;&lt;elem m_fUsage=&quot;3.48678440100000153201E-01&quot;&gt;&lt;m_msothmcolidx val=&quot;0&quot;/&gt;&lt;m_rgb r=&quot;17&quot; g=&quot;9D&quot; b=&quot;98&quot;/&gt;&lt;m_nBrightness tagver0=&quot;26206&quot; tagname0=&quot;m_nBrightnessUNRECOGNIZED&quot; val=&quot;0&quot;/&gt;&lt;/elem&gt;&lt;elem m_fUsage=&quot;3.13810596090000171188E-01&quot;&gt;&lt;m_msothmcolidx val=&quot;0&quot;/&gt;&lt;m_rgb r=&quot;52&quot; g=&quot;4D&quot; b=&quot;00&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o202hA8SViNqnERcUR7zQ"/>
</p:tagLst>
</file>

<file path=ppt/theme/theme1.xml><?xml version="1.0" encoding="utf-8"?>
<a:theme xmlns:a="http://schemas.openxmlformats.org/drawingml/2006/main" name="Bureau Veritas">
  <a:themeElements>
    <a:clrScheme name="Personnalisé 25">
      <a:dk1>
        <a:srgbClr val="333333"/>
      </a:dk1>
      <a:lt1>
        <a:sysClr val="window" lastClr="FFFFFF"/>
      </a:lt1>
      <a:dk2>
        <a:srgbClr val="737373"/>
      </a:dk2>
      <a:lt2>
        <a:srgbClr val="E7E6E6"/>
      </a:lt2>
      <a:accent1>
        <a:srgbClr val="CC023B"/>
      </a:accent1>
      <a:accent2>
        <a:srgbClr val="333333"/>
      </a:accent2>
      <a:accent3>
        <a:srgbClr val="179D98"/>
      </a:accent3>
      <a:accent4>
        <a:srgbClr val="30C1AE"/>
      </a:accent4>
      <a:accent5>
        <a:srgbClr val="72E4C9"/>
      </a:accent5>
      <a:accent6>
        <a:srgbClr val="F6C27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Bureau Veritas">
  <a:themeElements>
    <a:clrScheme name="Bureau Veritas 2018">
      <a:dk1>
        <a:srgbClr val="333333"/>
      </a:dk1>
      <a:lt1>
        <a:sysClr val="window" lastClr="FFFFFF"/>
      </a:lt1>
      <a:dk2>
        <a:srgbClr val="737373"/>
      </a:dk2>
      <a:lt2>
        <a:srgbClr val="E7E6E6"/>
      </a:lt2>
      <a:accent1>
        <a:srgbClr val="CC023B"/>
      </a:accent1>
      <a:accent2>
        <a:srgbClr val="737373"/>
      </a:accent2>
      <a:accent3>
        <a:srgbClr val="179D98"/>
      </a:accent3>
      <a:accent4>
        <a:srgbClr val="30C1AE"/>
      </a:accent4>
      <a:accent5>
        <a:srgbClr val="72E4C9"/>
      </a:accent5>
      <a:accent6>
        <a:srgbClr val="F6C27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83</Words>
  <Application>Microsoft Office PowerPoint</Application>
  <PresentationFormat>寬螢幕</PresentationFormat>
  <Paragraphs>470</Paragraphs>
  <Slides>28</Slides>
  <Notes>10</Notes>
  <HiddenSlides>0</HiddenSlides>
  <MMClips>0</MMClips>
  <ScaleCrop>false</ScaleCrop>
  <HeadingPairs>
    <vt:vector size="8" baseType="variant">
      <vt:variant>
        <vt:lpstr>使用字型</vt:lpstr>
      </vt:variant>
      <vt:variant>
        <vt:i4>9</vt:i4>
      </vt:variant>
      <vt:variant>
        <vt:lpstr>佈景主題</vt:lpstr>
      </vt:variant>
      <vt:variant>
        <vt:i4>2</vt:i4>
      </vt:variant>
      <vt:variant>
        <vt:lpstr>內嵌 OLE 伺服程式</vt:lpstr>
      </vt:variant>
      <vt:variant>
        <vt:i4>2</vt:i4>
      </vt:variant>
      <vt:variant>
        <vt:lpstr>投影片標題</vt:lpstr>
      </vt:variant>
      <vt:variant>
        <vt:i4>28</vt:i4>
      </vt:variant>
    </vt:vector>
  </HeadingPairs>
  <TitlesOfParts>
    <vt:vector size="41" baseType="lpstr">
      <vt:lpstr>'Arial-BoldMT'</vt:lpstr>
      <vt:lpstr>'ArialMT'</vt:lpstr>
      <vt:lpstr>Microsoft JhengHei UI</vt:lpstr>
      <vt:lpstr>PingFangTC</vt:lpstr>
      <vt:lpstr>微軟正黑體</vt:lpstr>
      <vt:lpstr>新細明體</vt:lpstr>
      <vt:lpstr>Arial</vt:lpstr>
      <vt:lpstr>Calibri</vt:lpstr>
      <vt:lpstr>Wingdings</vt:lpstr>
      <vt:lpstr>Bureau Veritas</vt:lpstr>
      <vt:lpstr>7_Bureau Veritas</vt:lpstr>
      <vt:lpstr>think-cell Slide</vt:lpstr>
      <vt:lpstr>點陣圖影像</vt:lpstr>
      <vt:lpstr>PowerPoint 簡報</vt:lpstr>
      <vt:lpstr>Bureau Veritas</vt:lpstr>
      <vt:lpstr>PowerPoint 簡報</vt:lpstr>
      <vt:lpstr>A leader of the TEST, INSPECTION and CERTIFICATION market   檢驗測試、稽核、認證產業的領導者</vt:lpstr>
      <vt:lpstr>Bureau veritas 擁有194年歷史傳承的專業團隊，仍持續創新以提供更優質的服務</vt:lpstr>
      <vt:lpstr>Bureau Veritas – The Group  六大事業部</vt:lpstr>
      <vt:lpstr>Bureau Veritas Consumer Products Services</vt:lpstr>
      <vt:lpstr>Enabling a client aligned value proposition 我們的價值定位 </vt:lpstr>
      <vt:lpstr>Allowing for Solutions Throughout the Supply Chain 完整的供應鏈品質管理 </vt:lpstr>
      <vt:lpstr>Broad Range of Segments – 我們的服務範疇 </vt:lpstr>
      <vt:lpstr>Delivered through a global network – 全球版圖</vt:lpstr>
      <vt:lpstr>With a Focus on Greater China – 大中華區版圖</vt:lpstr>
      <vt:lpstr>Licensed to Operate – 國際認證實驗室</vt:lpstr>
      <vt:lpstr>Bureau Veritas</vt:lpstr>
      <vt:lpstr>Bureau Veritas 台灣</vt:lpstr>
      <vt:lpstr>Consumer Products Services, Taiwan 消費性產品事業部  台灣分公司 </vt:lpstr>
      <vt:lpstr>Our Services – 我們的服務</vt:lpstr>
      <vt:lpstr>Recruitment＆Benefit </vt:lpstr>
      <vt:lpstr>Benefit 公司福利與環境 </vt:lpstr>
      <vt:lpstr>Position招募職缺</vt:lpstr>
      <vt:lpstr>微生物測試助理工程師</vt:lpstr>
      <vt:lpstr>化學分析工程師/助理 </vt:lpstr>
      <vt:lpstr>客服專員</vt:lpstr>
      <vt:lpstr>Coordinator</vt:lpstr>
      <vt:lpstr>Technical Specialist</vt:lpstr>
      <vt:lpstr>業務專員</vt:lpstr>
      <vt:lpstr>雜貨部報告組人員</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
  <cp:lastModifiedBy/>
  <cp:revision>450</cp:revision>
  <dcterms:created xsi:type="dcterms:W3CDTF">2018-03-07T09:16:49Z</dcterms:created>
  <dcterms:modified xsi:type="dcterms:W3CDTF">2024-01-26T08:01:58Z</dcterms:modified>
</cp:coreProperties>
</file>